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0.xml" ContentType="application/vnd.openxmlformats-officedocument.presentationml.notesSlide+xml"/>
  <Override PartName="/ppt/charts/chartEx1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notesSlides/notesSlide11.xml" ContentType="application/vnd.openxmlformats-officedocument.presentationml.notesSl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14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1" r:id="rId4"/>
    <p:sldMasterId id="2147483864" r:id="rId5"/>
    <p:sldMasterId id="2147483980" r:id="rId6"/>
    <p:sldMasterId id="2147484050" r:id="rId7"/>
    <p:sldMasterId id="2147484126" r:id="rId8"/>
    <p:sldMasterId id="2147484149" r:id="rId9"/>
  </p:sldMasterIdLst>
  <p:notesMasterIdLst>
    <p:notesMasterId r:id="rId48"/>
  </p:notesMasterIdLst>
  <p:handoutMasterIdLst>
    <p:handoutMasterId r:id="rId49"/>
  </p:handoutMasterIdLst>
  <p:sldIdLst>
    <p:sldId id="2147471143" r:id="rId10"/>
    <p:sldId id="2147475788" r:id="rId11"/>
    <p:sldId id="395" r:id="rId12"/>
    <p:sldId id="2147473467" r:id="rId13"/>
    <p:sldId id="2147475648" r:id="rId14"/>
    <p:sldId id="2147475680" r:id="rId15"/>
    <p:sldId id="6931" r:id="rId16"/>
    <p:sldId id="2147473482" r:id="rId17"/>
    <p:sldId id="2147473483" r:id="rId18"/>
    <p:sldId id="2147473484" r:id="rId19"/>
    <p:sldId id="2147473487" r:id="rId20"/>
    <p:sldId id="2147473488" r:id="rId21"/>
    <p:sldId id="2147473489" r:id="rId22"/>
    <p:sldId id="2147473490" r:id="rId23"/>
    <p:sldId id="2147473491" r:id="rId24"/>
    <p:sldId id="2147473492" r:id="rId25"/>
    <p:sldId id="2147473493" r:id="rId26"/>
    <p:sldId id="2147478128" r:id="rId27"/>
    <p:sldId id="2147478143" r:id="rId28"/>
    <p:sldId id="2147478129" r:id="rId29"/>
    <p:sldId id="2147478124" r:id="rId30"/>
    <p:sldId id="2147470952" r:id="rId31"/>
    <p:sldId id="2147478141" r:id="rId32"/>
    <p:sldId id="2147478138" r:id="rId33"/>
    <p:sldId id="258" r:id="rId34"/>
    <p:sldId id="259" r:id="rId35"/>
    <p:sldId id="260" r:id="rId36"/>
    <p:sldId id="342" r:id="rId37"/>
    <p:sldId id="2147470920" r:id="rId38"/>
    <p:sldId id="2147475675" r:id="rId39"/>
    <p:sldId id="2147473332" r:id="rId40"/>
    <p:sldId id="2147473333" r:id="rId41"/>
    <p:sldId id="2147478139" r:id="rId42"/>
    <p:sldId id="681" r:id="rId43"/>
    <p:sldId id="2147478142" r:id="rId44"/>
    <p:sldId id="2147478133" r:id="rId45"/>
    <p:sldId id="2147478134" r:id="rId46"/>
    <p:sldId id="2147478135" r:id="rId47"/>
  </p:sldIdLst>
  <p:sldSz cx="12192000" cy="6858000"/>
  <p:notesSz cx="7104063" cy="10234613"/>
  <p:custDataLst>
    <p:tags r:id="rId5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6BA798F4-3CAD-49B9-A3B4-7673D9D29F16}">
          <p14:sldIdLst>
            <p14:sldId id="2147471143"/>
            <p14:sldId id="2147475788"/>
            <p14:sldId id="395"/>
            <p14:sldId id="2147473467"/>
            <p14:sldId id="2147475648"/>
            <p14:sldId id="2147475680"/>
            <p14:sldId id="6931"/>
            <p14:sldId id="2147473482"/>
            <p14:sldId id="2147473483"/>
            <p14:sldId id="2147473484"/>
            <p14:sldId id="2147473487"/>
            <p14:sldId id="2147473488"/>
            <p14:sldId id="2147473489"/>
            <p14:sldId id="2147473490"/>
            <p14:sldId id="2147473491"/>
            <p14:sldId id="2147473492"/>
            <p14:sldId id="2147473493"/>
            <p14:sldId id="2147478128"/>
            <p14:sldId id="2147478143"/>
            <p14:sldId id="2147478129"/>
            <p14:sldId id="2147478124"/>
            <p14:sldId id="2147470952"/>
            <p14:sldId id="2147478141"/>
            <p14:sldId id="2147478138"/>
            <p14:sldId id="258"/>
            <p14:sldId id="259"/>
            <p14:sldId id="260"/>
            <p14:sldId id="342"/>
            <p14:sldId id="2147470920"/>
            <p14:sldId id="2147475675"/>
            <p14:sldId id="2147473332"/>
            <p14:sldId id="2147473333"/>
            <p14:sldId id="2147478139"/>
            <p14:sldId id="681"/>
            <p14:sldId id="2147478142"/>
            <p14:sldId id="2147478133"/>
            <p14:sldId id="2147478134"/>
            <p14:sldId id="2147478135"/>
          </p14:sldIdLst>
        </p14:section>
        <p14:section name="Backup" id="{1A336F09-6F2A-4484-98DA-1C7296382B50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D9D9D9"/>
    <a:srgbClr val="6EA6A5"/>
    <a:srgbClr val="E4536C"/>
    <a:srgbClr val="315689"/>
    <a:srgbClr val="007E00"/>
    <a:srgbClr val="6F6F71"/>
    <a:srgbClr val="E6E6E6"/>
    <a:srgbClr val="317373"/>
    <a:srgbClr val="008E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EF0581-0100-4783-851A-CDD406FEFC75}" v="26" dt="2023-03-21T08:54:26.213"/>
    <p1510:client id="{5A18A187-528F-4005-96C9-E932A4AC90BC}" v="389" dt="2023-03-20T16:13:33.0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Stile 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55" autoAdjust="0"/>
    <p:restoredTop sz="94660"/>
  </p:normalViewPr>
  <p:slideViewPr>
    <p:cSldViewPr snapToGrid="0">
      <p:cViewPr varScale="1">
        <p:scale>
          <a:sx n="88" d="100"/>
          <a:sy n="88" d="100"/>
        </p:scale>
        <p:origin x="66" y="5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tags" Target="tags/tag1.xml"/><Relationship Id="rId55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notesMaster" Target="notesMasters/notesMaster1.xml"/><Relationship Id="rId56" Type="http://schemas.microsoft.com/office/2015/10/relationships/revisionInfo" Target="revisionInfo.xml"/><Relationship Id="rId8" Type="http://schemas.openxmlformats.org/officeDocument/2006/relationships/slideMaster" Target="slideMasters/slideMaster5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UNINETTI LORENZO" userId="eae03f52-2aaa-4b01-8fe4-91bc1ea4a9bc" providerId="ADAL" clId="{5A18A187-528F-4005-96C9-E932A4AC90BC}"/>
    <pc:docChg chg="undo custSel modSld sldOrd">
      <pc:chgData name="TUNINETTI LORENZO" userId="eae03f52-2aaa-4b01-8fe4-91bc1ea4a9bc" providerId="ADAL" clId="{5A18A187-528F-4005-96C9-E932A4AC90BC}" dt="2023-03-20T16:15:30.051" v="2252" actId="14100"/>
      <pc:docMkLst>
        <pc:docMk/>
      </pc:docMkLst>
      <pc:sldChg chg="delSp modSp mod">
        <pc:chgData name="TUNINETTI LORENZO" userId="eae03f52-2aaa-4b01-8fe4-91bc1ea4a9bc" providerId="ADAL" clId="{5A18A187-528F-4005-96C9-E932A4AC90BC}" dt="2023-03-20T13:46:27.607" v="1265" actId="478"/>
        <pc:sldMkLst>
          <pc:docMk/>
          <pc:sldMk cId="880744359" sldId="342"/>
        </pc:sldMkLst>
        <pc:spChg chg="mod">
          <ac:chgData name="TUNINETTI LORENZO" userId="eae03f52-2aaa-4b01-8fe4-91bc1ea4a9bc" providerId="ADAL" clId="{5A18A187-528F-4005-96C9-E932A4AC90BC}" dt="2023-03-20T13:46:23.289" v="1264" actId="113"/>
          <ac:spMkLst>
            <pc:docMk/>
            <pc:sldMk cId="880744359" sldId="342"/>
            <ac:spMk id="10" creationId="{7A6AAAF3-B806-940F-EC3D-6363265F9FB5}"/>
          </ac:spMkLst>
        </pc:spChg>
        <pc:spChg chg="del mod">
          <ac:chgData name="TUNINETTI LORENZO" userId="eae03f52-2aaa-4b01-8fe4-91bc1ea4a9bc" providerId="ADAL" clId="{5A18A187-528F-4005-96C9-E932A4AC90BC}" dt="2023-03-20T13:46:27.607" v="1265" actId="478"/>
          <ac:spMkLst>
            <pc:docMk/>
            <pc:sldMk cId="880744359" sldId="342"/>
            <ac:spMk id="27" creationId="{AA99ED61-F38F-4C26-9C18-544E01E624E5}"/>
          </ac:spMkLst>
        </pc:spChg>
        <pc:grpChg chg="mod">
          <ac:chgData name="TUNINETTI LORENZO" userId="eae03f52-2aaa-4b01-8fe4-91bc1ea4a9bc" providerId="ADAL" clId="{5A18A187-528F-4005-96C9-E932A4AC90BC}" dt="2023-03-20T13:45:46.009" v="1257" actId="1035"/>
          <ac:grpSpMkLst>
            <pc:docMk/>
            <pc:sldMk cId="880744359" sldId="342"/>
            <ac:grpSpMk id="9" creationId="{07FBE3A6-460F-4B4A-B4F4-459E362E27EB}"/>
          </ac:grpSpMkLst>
        </pc:grpChg>
      </pc:sldChg>
      <pc:sldChg chg="modSp mod">
        <pc:chgData name="TUNINETTI LORENZO" userId="eae03f52-2aaa-4b01-8fe4-91bc1ea4a9bc" providerId="ADAL" clId="{5A18A187-528F-4005-96C9-E932A4AC90BC}" dt="2023-03-20T11:50:03.237" v="1055" actId="313"/>
        <pc:sldMkLst>
          <pc:docMk/>
          <pc:sldMk cId="0" sldId="395"/>
        </pc:sldMkLst>
        <pc:spChg chg="mod">
          <ac:chgData name="TUNINETTI LORENZO" userId="eae03f52-2aaa-4b01-8fe4-91bc1ea4a9bc" providerId="ADAL" clId="{5A18A187-528F-4005-96C9-E932A4AC90BC}" dt="2023-03-20T11:50:03.237" v="1055" actId="313"/>
          <ac:spMkLst>
            <pc:docMk/>
            <pc:sldMk cId="0" sldId="395"/>
            <ac:spMk id="77" creationId="{73093B16-E974-4793-A58E-0052724D82C3}"/>
          </ac:spMkLst>
        </pc:spChg>
        <pc:grpChg chg="mod">
          <ac:chgData name="TUNINETTI LORENZO" userId="eae03f52-2aaa-4b01-8fe4-91bc1ea4a9bc" providerId="ADAL" clId="{5A18A187-528F-4005-96C9-E932A4AC90BC}" dt="2023-03-20T11:49:56.789" v="1054" actId="1038"/>
          <ac:grpSpMkLst>
            <pc:docMk/>
            <pc:sldMk cId="0" sldId="395"/>
            <ac:grpSpMk id="56" creationId="{29E2DB2C-8C9D-4147-8CDC-73907E68B8A1}"/>
          </ac:grpSpMkLst>
        </pc:grpChg>
        <pc:picChg chg="mod">
          <ac:chgData name="TUNINETTI LORENZO" userId="eae03f52-2aaa-4b01-8fe4-91bc1ea4a9bc" providerId="ADAL" clId="{5A18A187-528F-4005-96C9-E932A4AC90BC}" dt="2023-03-20T11:49:53.589" v="1050" actId="14100"/>
          <ac:picMkLst>
            <pc:docMk/>
            <pc:sldMk cId="0" sldId="395"/>
            <ac:picMk id="78" creationId="{3572DD44-7583-4962-8F25-16E2BBE91804}"/>
          </ac:picMkLst>
        </pc:picChg>
      </pc:sldChg>
      <pc:sldChg chg="addSp delSp modSp mod">
        <pc:chgData name="TUNINETTI LORENZO" userId="eae03f52-2aaa-4b01-8fe4-91bc1ea4a9bc" providerId="ADAL" clId="{5A18A187-528F-4005-96C9-E932A4AC90BC}" dt="2023-03-20T11:25:42.676" v="1013" actId="1038"/>
        <pc:sldMkLst>
          <pc:docMk/>
          <pc:sldMk cId="3230576866" sldId="2147473489"/>
        </pc:sldMkLst>
        <pc:spChg chg="add del mod">
          <ac:chgData name="TUNINETTI LORENZO" userId="eae03f52-2aaa-4b01-8fe4-91bc1ea4a9bc" providerId="ADAL" clId="{5A18A187-528F-4005-96C9-E932A4AC90BC}" dt="2023-03-20T10:53:57.267" v="322" actId="478"/>
          <ac:spMkLst>
            <pc:docMk/>
            <pc:sldMk cId="3230576866" sldId="2147473489"/>
            <ac:spMk id="4" creationId="{D3B1A37F-260A-43D3-AB23-D28FF795E3EF}"/>
          </ac:spMkLst>
        </pc:spChg>
        <pc:spChg chg="add mod">
          <ac:chgData name="TUNINETTI LORENZO" userId="eae03f52-2aaa-4b01-8fe4-91bc1ea4a9bc" providerId="ADAL" clId="{5A18A187-528F-4005-96C9-E932A4AC90BC}" dt="2023-03-20T11:11:22.954" v="530" actId="14100"/>
          <ac:spMkLst>
            <pc:docMk/>
            <pc:sldMk cId="3230576866" sldId="2147473489"/>
            <ac:spMk id="6" creationId="{1B5D9492-A8D2-4285-A89E-B50A4F2E7B41}"/>
          </ac:spMkLst>
        </pc:spChg>
        <pc:spChg chg="mod">
          <ac:chgData name="TUNINETTI LORENZO" userId="eae03f52-2aaa-4b01-8fe4-91bc1ea4a9bc" providerId="ADAL" clId="{5A18A187-528F-4005-96C9-E932A4AC90BC}" dt="2023-03-20T11:25:42.676" v="1013" actId="1038"/>
          <ac:spMkLst>
            <pc:docMk/>
            <pc:sldMk cId="3230576866" sldId="2147473489"/>
            <ac:spMk id="12" creationId="{DAF36F3D-4B98-4604-8739-83A9FC5F3C40}"/>
          </ac:spMkLst>
        </pc:spChg>
        <pc:spChg chg="del mod">
          <ac:chgData name="TUNINETTI LORENZO" userId="eae03f52-2aaa-4b01-8fe4-91bc1ea4a9bc" providerId="ADAL" clId="{5A18A187-528F-4005-96C9-E932A4AC90BC}" dt="2023-03-20T11:18:57.528" v="873" actId="478"/>
          <ac:spMkLst>
            <pc:docMk/>
            <pc:sldMk cId="3230576866" sldId="2147473489"/>
            <ac:spMk id="17" creationId="{826968A0-BB0C-4BB8-8256-7D689D75CCB7}"/>
          </ac:spMkLst>
        </pc:spChg>
        <pc:spChg chg="mod">
          <ac:chgData name="TUNINETTI LORENZO" userId="eae03f52-2aaa-4b01-8fe4-91bc1ea4a9bc" providerId="ADAL" clId="{5A18A187-528F-4005-96C9-E932A4AC90BC}" dt="2023-03-20T11:25:42.676" v="1013" actId="1038"/>
          <ac:spMkLst>
            <pc:docMk/>
            <pc:sldMk cId="3230576866" sldId="2147473489"/>
            <ac:spMk id="18" creationId="{EA684061-4ED7-4EA5-AF92-0A0C3AA81473}"/>
          </ac:spMkLst>
        </pc:spChg>
        <pc:spChg chg="mod">
          <ac:chgData name="TUNINETTI LORENZO" userId="eae03f52-2aaa-4b01-8fe4-91bc1ea4a9bc" providerId="ADAL" clId="{5A18A187-528F-4005-96C9-E932A4AC90BC}" dt="2023-03-20T11:25:42.676" v="1013" actId="1038"/>
          <ac:spMkLst>
            <pc:docMk/>
            <pc:sldMk cId="3230576866" sldId="2147473489"/>
            <ac:spMk id="20" creationId="{C993F93F-4F6A-4ABD-82C5-B35E27DD6A32}"/>
          </ac:spMkLst>
        </pc:spChg>
        <pc:spChg chg="del">
          <ac:chgData name="TUNINETTI LORENZO" userId="eae03f52-2aaa-4b01-8fe4-91bc1ea4a9bc" providerId="ADAL" clId="{5A18A187-528F-4005-96C9-E932A4AC90BC}" dt="2023-03-20T10:54:59.740" v="330" actId="478"/>
          <ac:spMkLst>
            <pc:docMk/>
            <pc:sldMk cId="3230576866" sldId="2147473489"/>
            <ac:spMk id="24" creationId="{E34021A1-ED2C-41E2-836F-A2DA01D115FA}"/>
          </ac:spMkLst>
        </pc:spChg>
        <pc:spChg chg="del">
          <ac:chgData name="TUNINETTI LORENZO" userId="eae03f52-2aaa-4b01-8fe4-91bc1ea4a9bc" providerId="ADAL" clId="{5A18A187-528F-4005-96C9-E932A4AC90BC}" dt="2023-03-20T10:33:54.688" v="167" actId="478"/>
          <ac:spMkLst>
            <pc:docMk/>
            <pc:sldMk cId="3230576866" sldId="2147473489"/>
            <ac:spMk id="25" creationId="{3583FBBB-F6E3-4835-8418-893922D13ADE}"/>
          </ac:spMkLst>
        </pc:spChg>
        <pc:spChg chg="add del mod">
          <ac:chgData name="TUNINETTI LORENZO" userId="eae03f52-2aaa-4b01-8fe4-91bc1ea4a9bc" providerId="ADAL" clId="{5A18A187-528F-4005-96C9-E932A4AC90BC}" dt="2023-03-20T11:18:57.528" v="873" actId="478"/>
          <ac:spMkLst>
            <pc:docMk/>
            <pc:sldMk cId="3230576866" sldId="2147473489"/>
            <ac:spMk id="26" creationId="{BA53C17C-79FF-4889-8A0C-B94194BD25D2}"/>
          </ac:spMkLst>
        </pc:spChg>
        <pc:spChg chg="del">
          <ac:chgData name="TUNINETTI LORENZO" userId="eae03f52-2aaa-4b01-8fe4-91bc1ea4a9bc" providerId="ADAL" clId="{5A18A187-528F-4005-96C9-E932A4AC90BC}" dt="2023-03-20T10:54:59.740" v="330" actId="478"/>
          <ac:spMkLst>
            <pc:docMk/>
            <pc:sldMk cId="3230576866" sldId="2147473489"/>
            <ac:spMk id="29" creationId="{F9C79DFA-A6AD-49C1-A7FF-26685791834D}"/>
          </ac:spMkLst>
        </pc:spChg>
        <pc:spChg chg="add del mod">
          <ac:chgData name="TUNINETTI LORENZO" userId="eae03f52-2aaa-4b01-8fe4-91bc1ea4a9bc" providerId="ADAL" clId="{5A18A187-528F-4005-96C9-E932A4AC90BC}" dt="2023-03-20T11:18:57.528" v="873" actId="478"/>
          <ac:spMkLst>
            <pc:docMk/>
            <pc:sldMk cId="3230576866" sldId="2147473489"/>
            <ac:spMk id="30" creationId="{D6B51C51-1E2C-488A-B8CD-15F3F95FD3B1}"/>
          </ac:spMkLst>
        </pc:spChg>
        <pc:spChg chg="del">
          <ac:chgData name="TUNINETTI LORENZO" userId="eae03f52-2aaa-4b01-8fe4-91bc1ea4a9bc" providerId="ADAL" clId="{5A18A187-528F-4005-96C9-E932A4AC90BC}" dt="2023-03-20T11:11:55.530" v="534" actId="478"/>
          <ac:spMkLst>
            <pc:docMk/>
            <pc:sldMk cId="3230576866" sldId="2147473489"/>
            <ac:spMk id="32" creationId="{58876D03-34CC-445C-B8D1-2445FA52CDFB}"/>
          </ac:spMkLst>
        </pc:spChg>
        <pc:spChg chg="add mod">
          <ac:chgData name="TUNINETTI LORENZO" userId="eae03f52-2aaa-4b01-8fe4-91bc1ea4a9bc" providerId="ADAL" clId="{5A18A187-528F-4005-96C9-E932A4AC90BC}" dt="2023-03-20T11:22:44.360" v="956"/>
          <ac:spMkLst>
            <pc:docMk/>
            <pc:sldMk cId="3230576866" sldId="2147473489"/>
            <ac:spMk id="33" creationId="{B96010A9-3EA5-4E23-8708-84653265DC57}"/>
          </ac:spMkLst>
        </pc:spChg>
        <pc:spChg chg="add del mod">
          <ac:chgData name="TUNINETTI LORENZO" userId="eae03f52-2aaa-4b01-8fe4-91bc1ea4a9bc" providerId="ADAL" clId="{5A18A187-528F-4005-96C9-E932A4AC90BC}" dt="2023-03-20T10:57:01.901" v="367" actId="478"/>
          <ac:spMkLst>
            <pc:docMk/>
            <pc:sldMk cId="3230576866" sldId="2147473489"/>
            <ac:spMk id="35" creationId="{B4C55F52-EE7A-46D6-9BD5-E30521E86ABC}"/>
          </ac:spMkLst>
        </pc:spChg>
        <pc:spChg chg="add mod">
          <ac:chgData name="TUNINETTI LORENZO" userId="eae03f52-2aaa-4b01-8fe4-91bc1ea4a9bc" providerId="ADAL" clId="{5A18A187-528F-4005-96C9-E932A4AC90BC}" dt="2023-03-20T11:17:30.822" v="853" actId="1038"/>
          <ac:spMkLst>
            <pc:docMk/>
            <pc:sldMk cId="3230576866" sldId="2147473489"/>
            <ac:spMk id="41" creationId="{B2B45CAA-2970-4594-A072-E1798DEB6C0C}"/>
          </ac:spMkLst>
        </pc:spChg>
        <pc:spChg chg="add mod">
          <ac:chgData name="TUNINETTI LORENZO" userId="eae03f52-2aaa-4b01-8fe4-91bc1ea4a9bc" providerId="ADAL" clId="{5A18A187-528F-4005-96C9-E932A4AC90BC}" dt="2023-03-20T11:17:48.851" v="856" actId="1036"/>
          <ac:spMkLst>
            <pc:docMk/>
            <pc:sldMk cId="3230576866" sldId="2147473489"/>
            <ac:spMk id="42" creationId="{774FD4EF-CC2B-4FAC-9320-F804E4D2A770}"/>
          </ac:spMkLst>
        </pc:spChg>
        <pc:spChg chg="add 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43" creationId="{F6B59B86-AB59-45CF-A909-B4495E55E903}"/>
          </ac:spMkLst>
        </pc:spChg>
        <pc:spChg chg="add 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44" creationId="{36B16B16-54C2-4C5F-91F9-FB324F59837F}"/>
          </ac:spMkLst>
        </pc:spChg>
        <pc:spChg chg="add 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45" creationId="{0F5D62D5-42B7-4EB8-AADD-8541EAE5F3B1}"/>
          </ac:spMkLst>
        </pc:spChg>
        <pc:spChg chg="add 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46" creationId="{662F6CA6-879C-4B7F-BE68-6F835F27A425}"/>
          </ac:spMkLst>
        </pc:spChg>
        <pc:spChg chg="mod">
          <ac:chgData name="TUNINETTI LORENZO" userId="eae03f52-2aaa-4b01-8fe4-91bc1ea4a9bc" providerId="ADAL" clId="{5A18A187-528F-4005-96C9-E932A4AC90BC}" dt="2023-03-20T11:15:13.303" v="712" actId="571"/>
          <ac:spMkLst>
            <pc:docMk/>
            <pc:sldMk cId="3230576866" sldId="2147473489"/>
            <ac:spMk id="49" creationId="{CAAE3226-EA22-4047-9052-B4737CD4FD37}"/>
          </ac:spMkLst>
        </pc:spChg>
        <pc:spChg chg="mod">
          <ac:chgData name="TUNINETTI LORENZO" userId="eae03f52-2aaa-4b01-8fe4-91bc1ea4a9bc" providerId="ADAL" clId="{5A18A187-528F-4005-96C9-E932A4AC90BC}" dt="2023-03-20T11:15:13.303" v="712" actId="571"/>
          <ac:spMkLst>
            <pc:docMk/>
            <pc:sldMk cId="3230576866" sldId="2147473489"/>
            <ac:spMk id="50" creationId="{A3CBFE7A-C49D-47FA-95A4-81B7010640FD}"/>
          </ac:spMkLst>
        </pc:spChg>
        <pc:spChg chg="mod">
          <ac:chgData name="TUNINETTI LORENZO" userId="eae03f52-2aaa-4b01-8fe4-91bc1ea4a9bc" providerId="ADAL" clId="{5A18A187-528F-4005-96C9-E932A4AC90BC}" dt="2023-03-20T11:15:13.303" v="712" actId="571"/>
          <ac:spMkLst>
            <pc:docMk/>
            <pc:sldMk cId="3230576866" sldId="2147473489"/>
            <ac:spMk id="51" creationId="{244410B9-18E7-47A2-B2E0-4B716B8793CB}"/>
          </ac:spMkLst>
        </pc:spChg>
        <pc:spChg chg="mod">
          <ac:chgData name="TUNINETTI LORENZO" userId="eae03f52-2aaa-4b01-8fe4-91bc1ea4a9bc" providerId="ADAL" clId="{5A18A187-528F-4005-96C9-E932A4AC90BC}" dt="2023-03-20T11:15:13.303" v="712" actId="571"/>
          <ac:spMkLst>
            <pc:docMk/>
            <pc:sldMk cId="3230576866" sldId="2147473489"/>
            <ac:spMk id="52" creationId="{A546C1FE-AE9C-4EAC-AC30-B31739D8D36F}"/>
          </ac:spMkLst>
        </pc:spChg>
        <pc:spChg chg="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54" creationId="{2F64DA02-534D-465D-8372-BB5BF5D59923}"/>
          </ac:spMkLst>
        </pc:spChg>
        <pc:spChg chg="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55" creationId="{BC013E5A-B9E0-4F2B-B714-903AC6E18CDF}"/>
          </ac:spMkLst>
        </pc:spChg>
        <pc:spChg chg="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56" creationId="{6055ECD5-6796-47BC-9799-C48506EF4A42}"/>
          </ac:spMkLst>
        </pc:spChg>
        <pc:spChg chg="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57" creationId="{28731314-FE9B-43D7-821B-5B0EB712886B}"/>
          </ac:spMkLst>
        </pc:spChg>
        <pc:spChg chg="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59" creationId="{FF8255E7-7DA9-4B97-A5E2-E17356351291}"/>
          </ac:spMkLst>
        </pc:spChg>
        <pc:spChg chg="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60" creationId="{3E4F6891-203C-4D68-8675-FD58AA854D5C}"/>
          </ac:spMkLst>
        </pc:spChg>
        <pc:spChg chg="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61" creationId="{7DCF70AB-860D-4BEC-A4D8-673452395B85}"/>
          </ac:spMkLst>
        </pc:spChg>
        <pc:spChg chg="mod">
          <ac:chgData name="TUNINETTI LORENZO" userId="eae03f52-2aaa-4b01-8fe4-91bc1ea4a9bc" providerId="ADAL" clId="{5A18A187-528F-4005-96C9-E932A4AC90BC}" dt="2023-03-20T11:20:40.387" v="895" actId="404"/>
          <ac:spMkLst>
            <pc:docMk/>
            <pc:sldMk cId="3230576866" sldId="2147473489"/>
            <ac:spMk id="62" creationId="{94521EF6-41A5-40FF-BF4D-8F8F222E404F}"/>
          </ac:spMkLst>
        </pc:spChg>
        <pc:grpChg chg="add mod">
          <ac:chgData name="TUNINETTI LORENZO" userId="eae03f52-2aaa-4b01-8fe4-91bc1ea4a9bc" providerId="ADAL" clId="{5A18A187-528F-4005-96C9-E932A4AC90BC}" dt="2023-03-20T11:20:40.387" v="895" actId="404"/>
          <ac:grpSpMkLst>
            <pc:docMk/>
            <pc:sldMk cId="3230576866" sldId="2147473489"/>
            <ac:grpSpMk id="7" creationId="{CD66AB7B-3A98-42C2-A962-4B2DC84CF780}"/>
          </ac:grpSpMkLst>
        </pc:grpChg>
        <pc:grpChg chg="add mod">
          <ac:chgData name="TUNINETTI LORENZO" userId="eae03f52-2aaa-4b01-8fe4-91bc1ea4a9bc" providerId="ADAL" clId="{5A18A187-528F-4005-96C9-E932A4AC90BC}" dt="2023-03-20T11:15:13.303" v="712" actId="571"/>
          <ac:grpSpMkLst>
            <pc:docMk/>
            <pc:sldMk cId="3230576866" sldId="2147473489"/>
            <ac:grpSpMk id="48" creationId="{4AB2506D-62E2-4347-A015-F57C9A297C0F}"/>
          </ac:grpSpMkLst>
        </pc:grpChg>
        <pc:grpChg chg="add mod">
          <ac:chgData name="TUNINETTI LORENZO" userId="eae03f52-2aaa-4b01-8fe4-91bc1ea4a9bc" providerId="ADAL" clId="{5A18A187-528F-4005-96C9-E932A4AC90BC}" dt="2023-03-20T11:20:40.387" v="895" actId="404"/>
          <ac:grpSpMkLst>
            <pc:docMk/>
            <pc:sldMk cId="3230576866" sldId="2147473489"/>
            <ac:grpSpMk id="53" creationId="{F8B1FC83-8B2B-4300-A34B-6144F6DDC9DD}"/>
          </ac:grpSpMkLst>
        </pc:grpChg>
        <pc:grpChg chg="add mod">
          <ac:chgData name="TUNINETTI LORENZO" userId="eae03f52-2aaa-4b01-8fe4-91bc1ea4a9bc" providerId="ADAL" clId="{5A18A187-528F-4005-96C9-E932A4AC90BC}" dt="2023-03-20T11:20:40.387" v="895" actId="404"/>
          <ac:grpSpMkLst>
            <pc:docMk/>
            <pc:sldMk cId="3230576866" sldId="2147473489"/>
            <ac:grpSpMk id="58" creationId="{9F2E5E51-441F-4B4D-9689-CE978BC16298}"/>
          </ac:grpSpMkLst>
        </pc:grpChg>
        <pc:graphicFrameChg chg="add mod">
          <ac:chgData name="TUNINETTI LORENZO" userId="eae03f52-2aaa-4b01-8fe4-91bc1ea4a9bc" providerId="ADAL" clId="{5A18A187-528F-4005-96C9-E932A4AC90BC}" dt="2023-03-20T11:19:28.851" v="883" actId="255"/>
          <ac:graphicFrameMkLst>
            <pc:docMk/>
            <pc:sldMk cId="3230576866" sldId="2147473489"/>
            <ac:graphicFrameMk id="37" creationId="{4975D1FA-C9B5-4CC6-9F95-C4EA4FFD0C87}"/>
          </ac:graphicFrameMkLst>
        </pc:graphicFrameChg>
        <pc:graphicFrameChg chg="add mod">
          <ac:chgData name="TUNINETTI LORENZO" userId="eae03f52-2aaa-4b01-8fe4-91bc1ea4a9bc" providerId="ADAL" clId="{5A18A187-528F-4005-96C9-E932A4AC90BC}" dt="2023-03-20T11:19:24.682" v="882" actId="255"/>
          <ac:graphicFrameMkLst>
            <pc:docMk/>
            <pc:sldMk cId="3230576866" sldId="2147473489"/>
            <ac:graphicFrameMk id="38" creationId="{A108E513-5E90-4D43-8BE1-3BAE676C9F96}"/>
          </ac:graphicFrameMkLst>
        </pc:graphicFrameChg>
        <pc:graphicFrameChg chg="add mod">
          <ac:chgData name="TUNINETTI LORENZO" userId="eae03f52-2aaa-4b01-8fe4-91bc1ea4a9bc" providerId="ADAL" clId="{5A18A187-528F-4005-96C9-E932A4AC90BC}" dt="2023-03-20T11:19:18.159" v="881" actId="255"/>
          <ac:graphicFrameMkLst>
            <pc:docMk/>
            <pc:sldMk cId="3230576866" sldId="2147473489"/>
            <ac:graphicFrameMk id="39" creationId="{D867EBBA-CADB-42F4-947C-46E9346B4196}"/>
          </ac:graphicFrameMkLst>
        </pc:graphicFrameChg>
        <pc:graphicFrameChg chg="add mod">
          <ac:chgData name="TUNINETTI LORENZO" userId="eae03f52-2aaa-4b01-8fe4-91bc1ea4a9bc" providerId="ADAL" clId="{5A18A187-528F-4005-96C9-E932A4AC90BC}" dt="2023-03-20T11:15:13.303" v="712" actId="571"/>
          <ac:graphicFrameMkLst>
            <pc:docMk/>
            <pc:sldMk cId="3230576866" sldId="2147473489"/>
            <ac:graphicFrameMk id="47" creationId="{054D5316-78BE-402F-B5E3-3CA7E125BCA2}"/>
          </ac:graphicFrameMkLst>
        </pc:graphicFrameChg>
        <pc:picChg chg="mod">
          <ac:chgData name="TUNINETTI LORENZO" userId="eae03f52-2aaa-4b01-8fe4-91bc1ea4a9bc" providerId="ADAL" clId="{5A18A187-528F-4005-96C9-E932A4AC90BC}" dt="2023-03-20T11:22:24.964" v="955" actId="1076"/>
          <ac:picMkLst>
            <pc:docMk/>
            <pc:sldMk cId="3230576866" sldId="2147473489"/>
            <ac:picMk id="3" creationId="{00000000-0000-0000-0000-000000000000}"/>
          </ac:picMkLst>
        </pc:picChg>
        <pc:picChg chg="mod">
          <ac:chgData name="TUNINETTI LORENZO" userId="eae03f52-2aaa-4b01-8fe4-91bc1ea4a9bc" providerId="ADAL" clId="{5A18A187-528F-4005-96C9-E932A4AC90BC}" dt="2023-03-20T11:20:20.193" v="894" actId="1076"/>
          <ac:picMkLst>
            <pc:docMk/>
            <pc:sldMk cId="3230576866" sldId="2147473489"/>
            <ac:picMk id="5" creationId="{00000000-0000-0000-0000-000000000000}"/>
          </ac:picMkLst>
        </pc:picChg>
        <pc:picChg chg="mod">
          <ac:chgData name="TUNINETTI LORENZO" userId="eae03f52-2aaa-4b01-8fe4-91bc1ea4a9bc" providerId="ADAL" clId="{5A18A187-528F-4005-96C9-E932A4AC90BC}" dt="2023-03-20T11:20:02.225" v="885" actId="14100"/>
          <ac:picMkLst>
            <pc:docMk/>
            <pc:sldMk cId="3230576866" sldId="2147473489"/>
            <ac:picMk id="14" creationId="{90D3E6C6-B768-4CF4-A2DE-099BC3180919}"/>
          </ac:picMkLst>
        </pc:picChg>
        <pc:picChg chg="mod">
          <ac:chgData name="TUNINETTI LORENZO" userId="eae03f52-2aaa-4b01-8fe4-91bc1ea4a9bc" providerId="ADAL" clId="{5A18A187-528F-4005-96C9-E932A4AC90BC}" dt="2023-03-20T11:20:03.842" v="886" actId="1076"/>
          <ac:picMkLst>
            <pc:docMk/>
            <pc:sldMk cId="3230576866" sldId="2147473489"/>
            <ac:picMk id="15" creationId="{33F3C849-DB42-4787-B32D-97BF2007B6F7}"/>
          </ac:picMkLst>
        </pc:picChg>
        <pc:picChg chg="mod">
          <ac:chgData name="TUNINETTI LORENZO" userId="eae03f52-2aaa-4b01-8fe4-91bc1ea4a9bc" providerId="ADAL" clId="{5A18A187-528F-4005-96C9-E932A4AC90BC}" dt="2023-03-20T11:20:11.138" v="890" actId="14100"/>
          <ac:picMkLst>
            <pc:docMk/>
            <pc:sldMk cId="3230576866" sldId="2147473489"/>
            <ac:picMk id="22" creationId="{7EB37155-C59F-44D2-BAFC-C5CBF42C250E}"/>
          </ac:picMkLst>
        </pc:picChg>
        <pc:picChg chg="mod">
          <ac:chgData name="TUNINETTI LORENZO" userId="eae03f52-2aaa-4b01-8fe4-91bc1ea4a9bc" providerId="ADAL" clId="{5A18A187-528F-4005-96C9-E932A4AC90BC}" dt="2023-03-20T11:20:13.658" v="891" actId="14100"/>
          <ac:picMkLst>
            <pc:docMk/>
            <pc:sldMk cId="3230576866" sldId="2147473489"/>
            <ac:picMk id="27" creationId="{73A6C4B5-55F8-4681-974C-1B671E536CA2}"/>
          </ac:picMkLst>
        </pc:picChg>
        <pc:picChg chg="mod">
          <ac:chgData name="TUNINETTI LORENZO" userId="eae03f52-2aaa-4b01-8fe4-91bc1ea4a9bc" providerId="ADAL" clId="{5A18A187-528F-4005-96C9-E932A4AC90BC}" dt="2023-03-20T11:20:16.017" v="892" actId="1076"/>
          <ac:picMkLst>
            <pc:docMk/>
            <pc:sldMk cId="3230576866" sldId="2147473489"/>
            <ac:picMk id="28" creationId="{1444F98F-8448-4E58-B92D-547C4DB9F17F}"/>
          </ac:picMkLst>
        </pc:picChg>
        <pc:cxnChg chg="mod">
          <ac:chgData name="TUNINETTI LORENZO" userId="eae03f52-2aaa-4b01-8fe4-91bc1ea4a9bc" providerId="ADAL" clId="{5A18A187-528F-4005-96C9-E932A4AC90BC}" dt="2023-03-20T11:25:22.834" v="992" actId="12789"/>
          <ac:cxnSpMkLst>
            <pc:docMk/>
            <pc:sldMk cId="3230576866" sldId="2147473489"/>
            <ac:cxnSpMk id="13" creationId="{76BD2D5A-842C-4907-BC88-D633A8EB76E1}"/>
          </ac:cxnSpMkLst>
        </pc:cxnChg>
        <pc:cxnChg chg="mod">
          <ac:chgData name="TUNINETTI LORENZO" userId="eae03f52-2aaa-4b01-8fe4-91bc1ea4a9bc" providerId="ADAL" clId="{5A18A187-528F-4005-96C9-E932A4AC90BC}" dt="2023-03-20T11:25:22.834" v="992" actId="12789"/>
          <ac:cxnSpMkLst>
            <pc:docMk/>
            <pc:sldMk cId="3230576866" sldId="2147473489"/>
            <ac:cxnSpMk id="19" creationId="{D7C69542-4A6D-45F8-9A07-082BDB099EA9}"/>
          </ac:cxnSpMkLst>
        </pc:cxnChg>
        <pc:cxnChg chg="mod">
          <ac:chgData name="TUNINETTI LORENZO" userId="eae03f52-2aaa-4b01-8fe4-91bc1ea4a9bc" providerId="ADAL" clId="{5A18A187-528F-4005-96C9-E932A4AC90BC}" dt="2023-03-20T11:25:22.834" v="992" actId="12789"/>
          <ac:cxnSpMkLst>
            <pc:docMk/>
            <pc:sldMk cId="3230576866" sldId="2147473489"/>
            <ac:cxnSpMk id="21" creationId="{7B81A68F-FA9A-42EF-B57A-71EC5A58FF7E}"/>
          </ac:cxnSpMkLst>
        </pc:cxnChg>
        <pc:cxnChg chg="add del mod">
          <ac:chgData name="TUNINETTI LORENZO" userId="eae03f52-2aaa-4b01-8fe4-91bc1ea4a9bc" providerId="ADAL" clId="{5A18A187-528F-4005-96C9-E932A4AC90BC}" dt="2023-03-20T10:57:16.594" v="402" actId="478"/>
          <ac:cxnSpMkLst>
            <pc:docMk/>
            <pc:sldMk cId="3230576866" sldId="2147473489"/>
            <ac:cxnSpMk id="31" creationId="{32F1520E-6ECE-4B18-AE15-765EC208F77D}"/>
          </ac:cxnSpMkLst>
        </pc:cxnChg>
        <pc:cxnChg chg="add del mod">
          <ac:chgData name="TUNINETTI LORENZO" userId="eae03f52-2aaa-4b01-8fe4-91bc1ea4a9bc" providerId="ADAL" clId="{5A18A187-528F-4005-96C9-E932A4AC90BC}" dt="2023-03-20T10:57:01.901" v="367" actId="478"/>
          <ac:cxnSpMkLst>
            <pc:docMk/>
            <pc:sldMk cId="3230576866" sldId="2147473489"/>
            <ac:cxnSpMk id="34" creationId="{6E96043A-E53C-4AEE-B830-8FA18C8EFA75}"/>
          </ac:cxnSpMkLst>
        </pc:cxnChg>
        <pc:cxnChg chg="add mod">
          <ac:chgData name="TUNINETTI LORENZO" userId="eae03f52-2aaa-4b01-8fe4-91bc1ea4a9bc" providerId="ADAL" clId="{5A18A187-528F-4005-96C9-E932A4AC90BC}" dt="2023-03-20T11:10:37.655" v="522" actId="14100"/>
          <ac:cxnSpMkLst>
            <pc:docMk/>
            <pc:sldMk cId="3230576866" sldId="2147473489"/>
            <ac:cxnSpMk id="36" creationId="{3CF3A516-091A-4FB7-8B03-3E53471F970E}"/>
          </ac:cxnSpMkLst>
        </pc:cxnChg>
        <pc:cxnChg chg="add mod">
          <ac:chgData name="TUNINETTI LORENZO" userId="eae03f52-2aaa-4b01-8fe4-91bc1ea4a9bc" providerId="ADAL" clId="{5A18A187-528F-4005-96C9-E932A4AC90BC}" dt="2023-03-20T11:20:46.776" v="896" actId="1035"/>
          <ac:cxnSpMkLst>
            <pc:docMk/>
            <pc:sldMk cId="3230576866" sldId="2147473489"/>
            <ac:cxnSpMk id="40" creationId="{C1E046FC-BBCB-4FC9-AF6A-618083B6EE7F}"/>
          </ac:cxnSpMkLst>
        </pc:cxnChg>
        <pc:cxnChg chg="add mod">
          <ac:chgData name="TUNINETTI LORENZO" userId="eae03f52-2aaa-4b01-8fe4-91bc1ea4a9bc" providerId="ADAL" clId="{5A18A187-528F-4005-96C9-E932A4AC90BC}" dt="2023-03-20T11:20:46.776" v="896" actId="1035"/>
          <ac:cxnSpMkLst>
            <pc:docMk/>
            <pc:sldMk cId="3230576866" sldId="2147473489"/>
            <ac:cxnSpMk id="63" creationId="{79620DD8-7AB9-4710-9C84-0DC914A4789A}"/>
          </ac:cxnSpMkLst>
        </pc:cxnChg>
        <pc:cxnChg chg="add mod">
          <ac:chgData name="TUNINETTI LORENZO" userId="eae03f52-2aaa-4b01-8fe4-91bc1ea4a9bc" providerId="ADAL" clId="{5A18A187-528F-4005-96C9-E932A4AC90BC}" dt="2023-03-20T11:20:46.776" v="896" actId="1035"/>
          <ac:cxnSpMkLst>
            <pc:docMk/>
            <pc:sldMk cId="3230576866" sldId="2147473489"/>
            <ac:cxnSpMk id="64" creationId="{36A7A278-0C7C-4507-AFDB-ABC2FCDE3AB2}"/>
          </ac:cxnSpMkLst>
        </pc:cxnChg>
      </pc:sldChg>
      <pc:sldChg chg="delSp modSp mod">
        <pc:chgData name="TUNINETTI LORENZO" userId="eae03f52-2aaa-4b01-8fe4-91bc1ea4a9bc" providerId="ADAL" clId="{5A18A187-528F-4005-96C9-E932A4AC90BC}" dt="2023-03-20T12:00:32.048" v="1083" actId="20577"/>
        <pc:sldMkLst>
          <pc:docMk/>
          <pc:sldMk cId="802097615" sldId="2147473491"/>
        </pc:sldMkLst>
        <pc:spChg chg="del mod">
          <ac:chgData name="TUNINETTI LORENZO" userId="eae03f52-2aaa-4b01-8fe4-91bc1ea4a9bc" providerId="ADAL" clId="{5A18A187-528F-4005-96C9-E932A4AC90BC}" dt="2023-03-20T11:40:13.069" v="1049" actId="478"/>
          <ac:spMkLst>
            <pc:docMk/>
            <pc:sldMk cId="802097615" sldId="2147473491"/>
            <ac:spMk id="224" creationId="{DC6BF9F3-E280-4829-812E-D3ACD9A77988}"/>
          </ac:spMkLst>
        </pc:spChg>
        <pc:spChg chg="mod">
          <ac:chgData name="TUNINETTI LORENZO" userId="eae03f52-2aaa-4b01-8fe4-91bc1ea4a9bc" providerId="ADAL" clId="{5A18A187-528F-4005-96C9-E932A4AC90BC}" dt="2023-03-20T12:00:32.048" v="1083" actId="20577"/>
          <ac:spMkLst>
            <pc:docMk/>
            <pc:sldMk cId="802097615" sldId="2147473491"/>
            <ac:spMk id="454" creationId="{E432E349-2EA2-4452-838B-DCE1E60D1F4A}"/>
          </ac:spMkLst>
        </pc:spChg>
        <pc:spChg chg="mod">
          <ac:chgData name="TUNINETTI LORENZO" userId="eae03f52-2aaa-4b01-8fe4-91bc1ea4a9bc" providerId="ADAL" clId="{5A18A187-528F-4005-96C9-E932A4AC90BC}" dt="2023-03-20T12:00:25.587" v="1078" actId="20577"/>
          <ac:spMkLst>
            <pc:docMk/>
            <pc:sldMk cId="802097615" sldId="2147473491"/>
            <ac:spMk id="455" creationId="{2D438D49-CE1D-43D8-BA91-7E48459A8224}"/>
          </ac:spMkLst>
        </pc:spChg>
        <pc:spChg chg="mod">
          <ac:chgData name="TUNINETTI LORENZO" userId="eae03f52-2aaa-4b01-8fe4-91bc1ea4a9bc" providerId="ADAL" clId="{5A18A187-528F-4005-96C9-E932A4AC90BC}" dt="2023-03-20T10:51:12.830" v="303" actId="1076"/>
          <ac:spMkLst>
            <pc:docMk/>
            <pc:sldMk cId="802097615" sldId="2147473491"/>
            <ac:spMk id="460" creationId="{478F2AD7-F3E4-410B-BFBE-9E5CB25B5995}"/>
          </ac:spMkLst>
        </pc:spChg>
        <pc:spChg chg="mod">
          <ac:chgData name="TUNINETTI LORENZO" userId="eae03f52-2aaa-4b01-8fe4-91bc1ea4a9bc" providerId="ADAL" clId="{5A18A187-528F-4005-96C9-E932A4AC90BC}" dt="2023-03-20T10:48:31.602" v="228" actId="1076"/>
          <ac:spMkLst>
            <pc:docMk/>
            <pc:sldMk cId="802097615" sldId="2147473491"/>
            <ac:spMk id="461" creationId="{1D1CC14E-9612-4AEF-A328-A86C26C51107}"/>
          </ac:spMkLst>
        </pc:spChg>
        <pc:spChg chg="mod">
          <ac:chgData name="TUNINETTI LORENZO" userId="eae03f52-2aaa-4b01-8fe4-91bc1ea4a9bc" providerId="ADAL" clId="{5A18A187-528F-4005-96C9-E932A4AC90BC}" dt="2023-03-20T11:59:35.514" v="1056" actId="6549"/>
          <ac:spMkLst>
            <pc:docMk/>
            <pc:sldMk cId="802097615" sldId="2147473491"/>
            <ac:spMk id="462" creationId="{406B0563-7A73-45D2-A937-CDE342647350}"/>
          </ac:spMkLst>
        </pc:spChg>
        <pc:spChg chg="mod">
          <ac:chgData name="TUNINETTI LORENZO" userId="eae03f52-2aaa-4b01-8fe4-91bc1ea4a9bc" providerId="ADAL" clId="{5A18A187-528F-4005-96C9-E932A4AC90BC}" dt="2023-03-20T10:45:13.617" v="182" actId="20577"/>
          <ac:spMkLst>
            <pc:docMk/>
            <pc:sldMk cId="802097615" sldId="2147473491"/>
            <ac:spMk id="463" creationId="{E8257F1F-72FD-4F62-ADB8-12B098C04307}"/>
          </ac:spMkLst>
        </pc:spChg>
        <pc:spChg chg="mod">
          <ac:chgData name="TUNINETTI LORENZO" userId="eae03f52-2aaa-4b01-8fe4-91bc1ea4a9bc" providerId="ADAL" clId="{5A18A187-528F-4005-96C9-E932A4AC90BC}" dt="2023-03-20T12:00:28.661" v="1079" actId="21"/>
          <ac:spMkLst>
            <pc:docMk/>
            <pc:sldMk cId="802097615" sldId="2147473491"/>
            <ac:spMk id="472" creationId="{E8257F1F-72FD-4F62-ADB8-12B098C04307}"/>
          </ac:spMkLst>
        </pc:spChg>
        <pc:spChg chg="mod">
          <ac:chgData name="TUNINETTI LORENZO" userId="eae03f52-2aaa-4b01-8fe4-91bc1ea4a9bc" providerId="ADAL" clId="{5A18A187-528F-4005-96C9-E932A4AC90BC}" dt="2023-03-20T10:51:12.830" v="303" actId="1076"/>
          <ac:spMkLst>
            <pc:docMk/>
            <pc:sldMk cId="802097615" sldId="2147473491"/>
            <ac:spMk id="480" creationId="{B5593ED5-DCC7-4443-95E0-94A1795F93B3}"/>
          </ac:spMkLst>
        </pc:spChg>
        <pc:spChg chg="mod">
          <ac:chgData name="TUNINETTI LORENZO" userId="eae03f52-2aaa-4b01-8fe4-91bc1ea4a9bc" providerId="ADAL" clId="{5A18A187-528F-4005-96C9-E932A4AC90BC}" dt="2023-03-20T10:45:48.665" v="183" actId="313"/>
          <ac:spMkLst>
            <pc:docMk/>
            <pc:sldMk cId="802097615" sldId="2147473491"/>
            <ac:spMk id="485" creationId="{95FB4E40-7088-4C0C-B18D-CDFFEAB892DE}"/>
          </ac:spMkLst>
        </pc:spChg>
        <pc:cxnChg chg="mod">
          <ac:chgData name="TUNINETTI LORENZO" userId="eae03f52-2aaa-4b01-8fe4-91bc1ea4a9bc" providerId="ADAL" clId="{5A18A187-528F-4005-96C9-E932A4AC90BC}" dt="2023-03-20T10:51:16.314" v="304" actId="14100"/>
          <ac:cxnSpMkLst>
            <pc:docMk/>
            <pc:sldMk cId="802097615" sldId="2147473491"/>
            <ac:cxnSpMk id="262" creationId="{82415DAB-E459-4CCB-9E79-B61E0D0460AF}"/>
          </ac:cxnSpMkLst>
        </pc:cxnChg>
      </pc:sldChg>
      <pc:sldChg chg="addSp delSp modSp mod">
        <pc:chgData name="TUNINETTI LORENZO" userId="eae03f52-2aaa-4b01-8fe4-91bc1ea4a9bc" providerId="ADAL" clId="{5A18A187-528F-4005-96C9-E932A4AC90BC}" dt="2023-03-20T13:51:57.243" v="1278" actId="1076"/>
        <pc:sldMkLst>
          <pc:docMk/>
          <pc:sldMk cId="3763395138" sldId="2147473492"/>
        </pc:sldMkLst>
        <pc:spChg chg="del">
          <ac:chgData name="TUNINETTI LORENZO" userId="eae03f52-2aaa-4b01-8fe4-91bc1ea4a9bc" providerId="ADAL" clId="{5A18A187-528F-4005-96C9-E932A4AC90BC}" dt="2023-03-20T13:51:32.729" v="1274" actId="478"/>
          <ac:spMkLst>
            <pc:docMk/>
            <pc:sldMk cId="3763395138" sldId="2147473492"/>
            <ac:spMk id="3" creationId="{00000000-0000-0000-0000-000000000000}"/>
          </ac:spMkLst>
        </pc:spChg>
        <pc:spChg chg="del">
          <ac:chgData name="TUNINETTI LORENZO" userId="eae03f52-2aaa-4b01-8fe4-91bc1ea4a9bc" providerId="ADAL" clId="{5A18A187-528F-4005-96C9-E932A4AC90BC}" dt="2023-03-20T12:36:35.933" v="1129" actId="478"/>
          <ac:spMkLst>
            <pc:docMk/>
            <pc:sldMk cId="3763395138" sldId="2147473492"/>
            <ac:spMk id="73" creationId="{D2D4917A-B987-4024-96E6-715E229338FC}"/>
          </ac:spMkLst>
        </pc:spChg>
        <pc:spChg chg="del">
          <ac:chgData name="TUNINETTI LORENZO" userId="eae03f52-2aaa-4b01-8fe4-91bc1ea4a9bc" providerId="ADAL" clId="{5A18A187-528F-4005-96C9-E932A4AC90BC}" dt="2023-03-20T12:36:31.721" v="1128" actId="478"/>
          <ac:spMkLst>
            <pc:docMk/>
            <pc:sldMk cId="3763395138" sldId="2147473492"/>
            <ac:spMk id="74" creationId="{7A994A29-EA79-4E29-8F5B-D4870AD9DB2A}"/>
          </ac:spMkLst>
        </pc:spChg>
        <pc:spChg chg="del">
          <ac:chgData name="TUNINETTI LORENZO" userId="eae03f52-2aaa-4b01-8fe4-91bc1ea4a9bc" providerId="ADAL" clId="{5A18A187-528F-4005-96C9-E932A4AC90BC}" dt="2023-03-20T12:36:31.721" v="1128" actId="478"/>
          <ac:spMkLst>
            <pc:docMk/>
            <pc:sldMk cId="3763395138" sldId="2147473492"/>
            <ac:spMk id="75" creationId="{D2D4917A-B987-4024-96E6-715E229338FC}"/>
          </ac:spMkLst>
        </pc:spChg>
        <pc:spChg chg="del">
          <ac:chgData name="TUNINETTI LORENZO" userId="eae03f52-2aaa-4b01-8fe4-91bc1ea4a9bc" providerId="ADAL" clId="{5A18A187-528F-4005-96C9-E932A4AC90BC}" dt="2023-03-20T12:36:31.721" v="1128" actId="478"/>
          <ac:spMkLst>
            <pc:docMk/>
            <pc:sldMk cId="3763395138" sldId="2147473492"/>
            <ac:spMk id="76" creationId="{7A994A29-EA79-4E29-8F5B-D4870AD9DB2A}"/>
          </ac:spMkLst>
        </pc:spChg>
        <pc:spChg chg="del">
          <ac:chgData name="TUNINETTI LORENZO" userId="eae03f52-2aaa-4b01-8fe4-91bc1ea4a9bc" providerId="ADAL" clId="{5A18A187-528F-4005-96C9-E932A4AC90BC}" dt="2023-03-20T12:36:31.721" v="1128" actId="478"/>
          <ac:spMkLst>
            <pc:docMk/>
            <pc:sldMk cId="3763395138" sldId="2147473492"/>
            <ac:spMk id="77" creationId="{D2D4917A-B987-4024-96E6-715E229338FC}"/>
          </ac:spMkLst>
        </pc:spChg>
        <pc:spChg chg="del">
          <ac:chgData name="TUNINETTI LORENZO" userId="eae03f52-2aaa-4b01-8fe4-91bc1ea4a9bc" providerId="ADAL" clId="{5A18A187-528F-4005-96C9-E932A4AC90BC}" dt="2023-03-20T12:36:31.721" v="1128" actId="478"/>
          <ac:spMkLst>
            <pc:docMk/>
            <pc:sldMk cId="3763395138" sldId="2147473492"/>
            <ac:spMk id="79" creationId="{EC6DD4CA-0310-486A-91A8-9880928EB7C6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80" creationId="{C5ED33D7-8734-4F96-83E7-998E0BB05EA1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83" creationId="{5DD5CBAA-359D-4062-9004-55ABB1CF71AE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84" creationId="{DB50EB7A-095A-41C7-85A0-E0B67DCE2996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85" creationId="{0DBEE247-3D4C-43F8-A481-B1449C1330CD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86" creationId="{F0049521-F0E7-45EF-A427-9D7CB198896B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87" creationId="{8103A6CE-45C7-4A9E-9EAB-875D2C0E67D8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88" creationId="{F49002D7-013D-4BEE-8780-3C03420B343C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89" creationId="{9B343916-8EE1-400E-A928-1BB7AB5AA43A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90" creationId="{A9614E5E-CB12-4480-8267-D0D33EAF6FF7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91" creationId="{185C59FC-DDC5-4AED-B7B6-F90099880B54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92" creationId="{81459E3C-0260-4679-90AA-2E19EDDC7EE2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95" creationId="{54A4875B-9BAF-4E65-AD7C-DDE10DE448E6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96" creationId="{090F5364-D206-4140-A8D9-FF7806E09857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97" creationId="{8ADFE6AB-2EE8-462F-8912-D2CEA63859EC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98" creationId="{98C29EC1-A89E-4159-A632-A437B4D58606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99" creationId="{00866DF2-C23F-4679-B427-3BB5443ECDE2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0" creationId="{7BAA86B9-CEB9-4224-9994-05E22821B7D1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1" creationId="{034CDE08-A3A2-4597-BAD9-833B0B0AA238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2" creationId="{A2B49F6E-1628-4ED7-8E59-087ECE2AA32A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3" creationId="{BD03446D-CC79-4B6A-950E-DC1A3B60F507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4" creationId="{5391495E-4E62-4F13-8E3F-1019BD24555A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5" creationId="{F9155077-74C9-439F-9453-C11898DD87EB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6" creationId="{D927AC34-2C20-4FF2-897E-536623ED77A0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7" creationId="{0D00758E-08C5-41CF-A127-9D5585B9CB8C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8" creationId="{6B6FAE85-2473-4931-8D55-840A1DFFAC46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09" creationId="{30327B88-4405-4EE9-8008-0DCBCC6371A9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0" creationId="{76398386-39A4-4593-BDF1-4EE5686B7C2E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1" creationId="{76481677-1040-42B2-90FC-276BDB37F646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2" creationId="{C72A4204-0442-41C0-9264-9758C20FFCE3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3" creationId="{785A4790-5F21-4AB0-96AC-4B90105F8B74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4" creationId="{332BDEE3-CD99-4935-B3E4-0397DD60A4B4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5" creationId="{E6A4567A-DC26-48D2-942E-4DB627A2424C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6" creationId="{0121AD27-58D4-42A4-8A42-F45A61D5836B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7" creationId="{8AD3AF4D-D56B-403C-828B-C5C1A75C9A52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8" creationId="{58F20B99-1448-445E-B2F6-27818E21AD00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19" creationId="{4A3B52AF-CFAC-4F8B-AEE8-0C3C217093BB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20" creationId="{933912B7-FA98-44D5-AC57-676EFBC89ADC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21" creationId="{629B127E-627E-40A9-9BE3-24C9E3003025}"/>
          </ac:spMkLst>
        </pc:spChg>
        <pc:spChg chg="mod topLvl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22" creationId="{DBD255B6-AE0E-453A-B02A-244C2E2958A1}"/>
          </ac:spMkLst>
        </pc:spChg>
        <pc:spChg chg="del mod topLvl">
          <ac:chgData name="TUNINETTI LORENZO" userId="eae03f52-2aaa-4b01-8fe4-91bc1ea4a9bc" providerId="ADAL" clId="{5A18A187-528F-4005-96C9-E932A4AC90BC}" dt="2023-03-20T12:36:28.788" v="1127" actId="478"/>
          <ac:spMkLst>
            <pc:docMk/>
            <pc:sldMk cId="3763395138" sldId="2147473492"/>
            <ac:spMk id="123" creationId="{EF15DA6E-81CC-4F6E-A226-C232955D33F7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28" creationId="{7A994A29-EA79-4E29-8F5B-D4870AD9DB2A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29" creationId="{EC6DD4CA-0310-486A-91A8-9880928EB7C6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0" creationId="{514C209D-DD37-422A-834F-2C2570931B6D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1" creationId="{0D8D4B82-F091-4B62-B4C4-8454338E7C33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2" creationId="{A60D8C06-BDD6-42B5-9E74-FAE2E865F832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3" creationId="{B4EA1641-C1BF-4D1E-B074-848B7E938599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4" creationId="{8BB56B54-EE38-449A-A922-C8F01198C743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5" creationId="{5E7AD33E-3C08-436F-B72A-0329F494BE56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6" creationId="{2B6AC68E-6C40-4CCD-B826-A01F4C128D1B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7" creationId="{FC321552-DD9F-4A31-8A4A-B858C5B33346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8" creationId="{B79D7D3E-4AB4-45CA-8275-740D33557C7A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39" creationId="{403BF864-74B8-4851-AFAC-030221443F11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0" creationId="{B1D6C37E-D651-4B0F-BBF0-0ECE69D85647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1" creationId="{8017693A-3B94-48FE-989F-BDD1F31737C8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2" creationId="{C81831AB-D080-4098-BFF8-1B0FE4D9603D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3" creationId="{4DE0CAEF-4006-482B-B8EC-3E5818673A36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4" creationId="{26717200-5E8C-4F32-8167-6EB8C98720DB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5" creationId="{1715B96E-47DC-4213-A19A-8C9B20989A3A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6" creationId="{E4974E98-A110-4C4D-9914-64BC6D6F713B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7" creationId="{3702A0C2-F67F-44B1-AD81-683CBC184991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8" creationId="{28ED1311-3D10-4953-8DD3-979B8894F409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49" creationId="{54055A3D-58A6-4F79-B217-D701E1E0723E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0" creationId="{ECE6BA62-AE10-4177-B186-40EBDE67209B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1" creationId="{59A4D37B-5343-49F3-AB25-27707B50D922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2" creationId="{8B94054B-612A-4732-B3AC-7DEB4336BB66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3" creationId="{9BDE9C9F-1FB5-468D-B92E-D386BDFCA2A6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4" creationId="{B7B18F31-A2CB-4488-B193-546EA8CB8210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5" creationId="{55DDD61E-8612-44BE-B072-A92287890690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6" creationId="{2CC6BD30-05C3-4839-A4F0-B7F824B855FD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7" creationId="{F53FAF4B-3798-4E12-A4B4-0ED68178696D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8" creationId="{B37065EC-53B1-468B-B31D-7D0BA10C2DF7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59" creationId="{060785CA-62A2-48F3-A606-9117520BEC10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60" creationId="{D2D4917A-B987-4024-96E6-715E229338FC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61" creationId="{D9E62484-0AD4-4E66-A7A0-E721985C596D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63" creationId="{CB10F9DD-60B6-4899-8B04-2EE0F36AE818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64" creationId="{8F68C6BB-A2F1-427E-A98D-958F291883AF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65" creationId="{AA3CD37C-B779-49EB-88FB-3E0CD321BC53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66" creationId="{628E81CE-C569-48F8-A15F-BEC97927E73C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67" creationId="{E07E0CCE-BD12-4481-AF55-922D21BD3EF7}"/>
          </ac:spMkLst>
        </pc:spChg>
        <pc:spChg chg="mod">
          <ac:chgData name="TUNINETTI LORENZO" userId="eae03f52-2aaa-4b01-8fe4-91bc1ea4a9bc" providerId="ADAL" clId="{5A18A187-528F-4005-96C9-E932A4AC90BC}" dt="2023-03-20T12:36:24.510" v="1126" actId="165"/>
          <ac:spMkLst>
            <pc:docMk/>
            <pc:sldMk cId="3763395138" sldId="2147473492"/>
            <ac:spMk id="168" creationId="{D3F332B5-1209-47F3-8BA3-AD137598099F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71" creationId="{066C6260-705C-4C10-903F-D6EF937FEDCE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72" creationId="{25C9A6CE-9623-4CF6-969D-3458A7756754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73" creationId="{8F1335E1-A19E-4B82-BAAE-5E2F6C6AF52A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74" creationId="{9B919687-42AE-4EDE-B03F-38A5E0931979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75" creationId="{D7DBC7A5-084E-4F2B-85B5-7DD2A83AE141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76" creationId="{7207D972-FE57-46B8-AB67-39D026A79B43}"/>
          </ac:spMkLst>
        </pc:spChg>
        <pc:spChg chg="del">
          <ac:chgData name="TUNINETTI LORENZO" userId="eae03f52-2aaa-4b01-8fe4-91bc1ea4a9bc" providerId="ADAL" clId="{5A18A187-528F-4005-96C9-E932A4AC90BC}" dt="2023-03-20T12:36:31.721" v="1128" actId="478"/>
          <ac:spMkLst>
            <pc:docMk/>
            <pc:sldMk cId="3763395138" sldId="2147473492"/>
            <ac:spMk id="177" creationId="{A19FB328-98DA-46D4-B92E-20D5B706E431}"/>
          </ac:spMkLst>
        </pc:spChg>
        <pc:spChg chg="mod">
          <ac:chgData name="TUNINETTI LORENZO" userId="eae03f52-2aaa-4b01-8fe4-91bc1ea4a9bc" providerId="ADAL" clId="{5A18A187-528F-4005-96C9-E932A4AC90BC}" dt="2023-03-20T13:10:23.633" v="1155" actId="20577"/>
          <ac:spMkLst>
            <pc:docMk/>
            <pc:sldMk cId="3763395138" sldId="2147473492"/>
            <ac:spMk id="178" creationId="{442C4793-6120-4311-A5D0-707DF716BEAA}"/>
          </ac:spMkLst>
        </pc:spChg>
        <pc:spChg chg="del">
          <ac:chgData name="TUNINETTI LORENZO" userId="eae03f52-2aaa-4b01-8fe4-91bc1ea4a9bc" providerId="ADAL" clId="{5A18A187-528F-4005-96C9-E932A4AC90BC}" dt="2023-03-20T12:36:31.721" v="1128" actId="478"/>
          <ac:spMkLst>
            <pc:docMk/>
            <pc:sldMk cId="3763395138" sldId="2147473492"/>
            <ac:spMk id="179" creationId="{F7A93684-6BB9-4E0C-9744-CF7E75B6FA5E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80" creationId="{FD60031F-89AE-4D87-81C2-BFC2AF689E84}"/>
          </ac:spMkLst>
        </pc:spChg>
        <pc:spChg chg="mod">
          <ac:chgData name="TUNINETTI LORENZO" userId="eae03f52-2aaa-4b01-8fe4-91bc1ea4a9bc" providerId="ADAL" clId="{5A18A187-528F-4005-96C9-E932A4AC90BC}" dt="2023-03-20T13:49:59.264" v="1271" actId="20577"/>
          <ac:spMkLst>
            <pc:docMk/>
            <pc:sldMk cId="3763395138" sldId="2147473492"/>
            <ac:spMk id="181" creationId="{825B1E78-B38E-4881-8E18-AC80C03B5504}"/>
          </ac:spMkLst>
        </pc:spChg>
        <pc:spChg chg="ord">
          <ac:chgData name="TUNINETTI LORENZO" userId="eae03f52-2aaa-4b01-8fe4-91bc1ea4a9bc" providerId="ADAL" clId="{5A18A187-528F-4005-96C9-E932A4AC90BC}" dt="2023-03-20T13:51:28.070" v="1273" actId="167"/>
          <ac:spMkLst>
            <pc:docMk/>
            <pc:sldMk cId="3763395138" sldId="2147473492"/>
            <ac:spMk id="183" creationId="{1CAA7491-EC08-42D2-AFAF-246D6FBAF862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85" creationId="{662B4AD8-6A11-4A34-BCD9-5489EA58768B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86" creationId="{DECE68FD-1262-4829-9441-227DBFC7CB21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87" creationId="{1F6DEE70-A97E-4497-AB0A-A3DBAA3BBDA6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88" creationId="{8C37E3BD-178D-4F69-8A7F-CAE4B84653C1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89" creationId="{626BD3FC-E5C6-4752-ADB1-340C707C7B2D}"/>
          </ac:spMkLst>
        </pc:spChg>
        <pc:spChg chg="mod">
          <ac:chgData name="TUNINETTI LORENZO" userId="eae03f52-2aaa-4b01-8fe4-91bc1ea4a9bc" providerId="ADAL" clId="{5A18A187-528F-4005-96C9-E932A4AC90BC}" dt="2023-03-20T12:36:54.737" v="1145" actId="1035"/>
          <ac:spMkLst>
            <pc:docMk/>
            <pc:sldMk cId="3763395138" sldId="2147473492"/>
            <ac:spMk id="190" creationId="{AF258F89-DDDF-4EAE-A684-9160DC872687}"/>
          </ac:spMkLst>
        </pc:spChg>
        <pc:grpChg chg="add del">
          <ac:chgData name="TUNINETTI LORENZO" userId="eae03f52-2aaa-4b01-8fe4-91bc1ea4a9bc" providerId="ADAL" clId="{5A18A187-528F-4005-96C9-E932A4AC90BC}" dt="2023-03-20T12:36:24.510" v="1126" actId="165"/>
          <ac:grpSpMkLst>
            <pc:docMk/>
            <pc:sldMk cId="3763395138" sldId="2147473492"/>
            <ac:grpSpMk id="5" creationId="{00000000-0000-0000-0000-000000000000}"/>
          </ac:grpSpMkLst>
        </pc:grpChg>
        <pc:grpChg chg="add mod">
          <ac:chgData name="TUNINETTI LORENZO" userId="eae03f52-2aaa-4b01-8fe4-91bc1ea4a9bc" providerId="ADAL" clId="{5A18A187-528F-4005-96C9-E932A4AC90BC}" dt="2023-03-20T12:36:54.737" v="1145" actId="1035"/>
          <ac:grpSpMkLst>
            <pc:docMk/>
            <pc:sldMk cId="3763395138" sldId="2147473492"/>
            <ac:grpSpMk id="78" creationId="{43774C8F-4898-4060-A2E3-4D5F97085F78}"/>
          </ac:grpSpMkLst>
        </pc:grpChg>
        <pc:grpChg chg="mod">
          <ac:chgData name="TUNINETTI LORENZO" userId="eae03f52-2aaa-4b01-8fe4-91bc1ea4a9bc" providerId="ADAL" clId="{5A18A187-528F-4005-96C9-E932A4AC90BC}" dt="2023-03-20T12:36:54.737" v="1145" actId="1035"/>
          <ac:grpSpMkLst>
            <pc:docMk/>
            <pc:sldMk cId="3763395138" sldId="2147473492"/>
            <ac:grpSpMk id="82" creationId="{F8795B76-EFBC-4D5B-BE47-63268BB7DDF5}"/>
          </ac:grpSpMkLst>
        </pc:grpChg>
        <pc:grpChg chg="mod">
          <ac:chgData name="TUNINETTI LORENZO" userId="eae03f52-2aaa-4b01-8fe4-91bc1ea4a9bc" providerId="ADAL" clId="{5A18A187-528F-4005-96C9-E932A4AC90BC}" dt="2023-03-20T12:36:54.737" v="1145" actId="1035"/>
          <ac:grpSpMkLst>
            <pc:docMk/>
            <pc:sldMk cId="3763395138" sldId="2147473492"/>
            <ac:grpSpMk id="93" creationId="{ED53D3FA-EDF4-4226-BAB2-10C573506593}"/>
          </ac:grpSpMkLst>
        </pc:grpChg>
        <pc:grpChg chg="mod">
          <ac:chgData name="TUNINETTI LORENZO" userId="eae03f52-2aaa-4b01-8fe4-91bc1ea4a9bc" providerId="ADAL" clId="{5A18A187-528F-4005-96C9-E932A4AC90BC}" dt="2023-03-20T12:36:54.737" v="1145" actId="1035"/>
          <ac:grpSpMkLst>
            <pc:docMk/>
            <pc:sldMk cId="3763395138" sldId="2147473492"/>
            <ac:grpSpMk id="94" creationId="{55E0886D-A0AA-4203-AA3F-BCEB982E1D0D}"/>
          </ac:grpSpMkLst>
        </pc:grpChg>
        <pc:grpChg chg="del mod topLvl">
          <ac:chgData name="TUNINETTI LORENZO" userId="eae03f52-2aaa-4b01-8fe4-91bc1ea4a9bc" providerId="ADAL" clId="{5A18A187-528F-4005-96C9-E932A4AC90BC}" dt="2023-03-20T12:36:28.788" v="1127" actId="478"/>
          <ac:grpSpMkLst>
            <pc:docMk/>
            <pc:sldMk cId="3763395138" sldId="2147473492"/>
            <ac:grpSpMk id="125" creationId="{62C31146-55E4-4D59-8B0A-F3281BCFCEDB}"/>
          </ac:grpSpMkLst>
        </pc:grpChg>
        <pc:grpChg chg="mod">
          <ac:chgData name="TUNINETTI LORENZO" userId="eae03f52-2aaa-4b01-8fe4-91bc1ea4a9bc" providerId="ADAL" clId="{5A18A187-528F-4005-96C9-E932A4AC90BC}" dt="2023-03-20T12:36:24.510" v="1126" actId="165"/>
          <ac:grpSpMkLst>
            <pc:docMk/>
            <pc:sldMk cId="3763395138" sldId="2147473492"/>
            <ac:grpSpMk id="126" creationId="{E1608BF6-2202-484D-BAA3-5BDF89384EFA}"/>
          </ac:grpSpMkLst>
        </pc:grpChg>
        <pc:grpChg chg="mod">
          <ac:chgData name="TUNINETTI LORENZO" userId="eae03f52-2aaa-4b01-8fe4-91bc1ea4a9bc" providerId="ADAL" clId="{5A18A187-528F-4005-96C9-E932A4AC90BC}" dt="2023-03-20T12:36:24.510" v="1126" actId="165"/>
          <ac:grpSpMkLst>
            <pc:docMk/>
            <pc:sldMk cId="3763395138" sldId="2147473492"/>
            <ac:grpSpMk id="127" creationId="{FB7CC9BC-AB58-407B-881D-799F2E484C93}"/>
          </ac:grpSpMkLst>
        </pc:grpChg>
        <pc:grpChg chg="mod">
          <ac:chgData name="TUNINETTI LORENZO" userId="eae03f52-2aaa-4b01-8fe4-91bc1ea4a9bc" providerId="ADAL" clId="{5A18A187-528F-4005-96C9-E932A4AC90BC}" dt="2023-03-20T12:36:24.510" v="1126" actId="165"/>
          <ac:grpSpMkLst>
            <pc:docMk/>
            <pc:sldMk cId="3763395138" sldId="2147473492"/>
            <ac:grpSpMk id="162" creationId="{9A6799B9-13F4-4927-873B-13C28EFD7F72}"/>
          </ac:grpSpMkLst>
        </pc:grpChg>
        <pc:grpChg chg="mod">
          <ac:chgData name="TUNINETTI LORENZO" userId="eae03f52-2aaa-4b01-8fe4-91bc1ea4a9bc" providerId="ADAL" clId="{5A18A187-528F-4005-96C9-E932A4AC90BC}" dt="2023-03-20T12:36:54.737" v="1145" actId="1035"/>
          <ac:grpSpMkLst>
            <pc:docMk/>
            <pc:sldMk cId="3763395138" sldId="2147473492"/>
            <ac:grpSpMk id="184" creationId="{73AE2BB6-03CC-41A9-9C2D-8B858E795BAF}"/>
          </ac:grpSpMkLst>
        </pc:grpChg>
        <pc:picChg chg="add mod modCrop">
          <ac:chgData name="TUNINETTI LORENZO" userId="eae03f52-2aaa-4b01-8fe4-91bc1ea4a9bc" providerId="ADAL" clId="{5A18A187-528F-4005-96C9-E932A4AC90BC}" dt="2023-03-20T13:51:57.243" v="1278" actId="1076"/>
          <ac:picMkLst>
            <pc:docMk/>
            <pc:sldMk cId="3763395138" sldId="2147473492"/>
            <ac:picMk id="6" creationId="{3D232E20-7441-4597-8C4A-CA5D7C35C6A0}"/>
          </ac:picMkLst>
        </pc:picChg>
        <pc:picChg chg="add del">
          <ac:chgData name="TUNINETTI LORENZO" userId="eae03f52-2aaa-4b01-8fe4-91bc1ea4a9bc" providerId="ADAL" clId="{5A18A187-528F-4005-96C9-E932A4AC90BC}" dt="2023-03-20T13:51:21.318" v="1272" actId="478"/>
          <ac:picMkLst>
            <pc:docMk/>
            <pc:sldMk cId="3763395138" sldId="2147473492"/>
            <ac:picMk id="8" creationId="{1AFE1D4A-9AA0-4C7B-86FF-EAE3250192D0}"/>
          </ac:picMkLst>
        </pc:picChg>
        <pc:picChg chg="del">
          <ac:chgData name="TUNINETTI LORENZO" userId="eae03f52-2aaa-4b01-8fe4-91bc1ea4a9bc" providerId="ADAL" clId="{5A18A187-528F-4005-96C9-E932A4AC90BC}" dt="2023-03-20T13:51:32.729" v="1274" actId="478"/>
          <ac:picMkLst>
            <pc:docMk/>
            <pc:sldMk cId="3763395138" sldId="2147473492"/>
            <ac:picMk id="10" creationId="{00000000-0000-0000-0000-000000000000}"/>
          </ac:picMkLst>
        </pc:picChg>
        <pc:picChg chg="mod">
          <ac:chgData name="TUNINETTI LORENZO" userId="eae03f52-2aaa-4b01-8fe4-91bc1ea4a9bc" providerId="ADAL" clId="{5A18A187-528F-4005-96C9-E932A4AC90BC}" dt="2023-03-20T12:36:54.737" v="1145" actId="1035"/>
          <ac:picMkLst>
            <pc:docMk/>
            <pc:sldMk cId="3763395138" sldId="2147473492"/>
            <ac:picMk id="81" creationId="{493D7A87-78FF-4BAE-ACD4-DA64F453E637}"/>
          </ac:picMkLst>
        </pc:picChg>
        <pc:picChg chg="del mod topLvl">
          <ac:chgData name="TUNINETTI LORENZO" userId="eae03f52-2aaa-4b01-8fe4-91bc1ea4a9bc" providerId="ADAL" clId="{5A18A187-528F-4005-96C9-E932A4AC90BC}" dt="2023-03-20T12:36:28.788" v="1127" actId="478"/>
          <ac:picMkLst>
            <pc:docMk/>
            <pc:sldMk cId="3763395138" sldId="2147473492"/>
            <ac:picMk id="124" creationId="{D8D2B5B7-DB64-4A89-9457-B5A73771813D}"/>
          </ac:picMkLst>
        </pc:picChg>
        <pc:cxnChg chg="mod">
          <ac:chgData name="TUNINETTI LORENZO" userId="eae03f52-2aaa-4b01-8fe4-91bc1ea4a9bc" providerId="ADAL" clId="{5A18A187-528F-4005-96C9-E932A4AC90BC}" dt="2023-03-20T13:11:03.260" v="1157" actId="1076"/>
          <ac:cxnSpMkLst>
            <pc:docMk/>
            <pc:sldMk cId="3763395138" sldId="2147473492"/>
            <ac:cxnSpMk id="229" creationId="{81AB0169-D338-46F6-83A6-13F8F7F39DC2}"/>
          </ac:cxnSpMkLst>
        </pc:cxnChg>
      </pc:sldChg>
      <pc:sldChg chg="modSp mod">
        <pc:chgData name="TUNINETTI LORENZO" userId="eae03f52-2aaa-4b01-8fe4-91bc1ea4a9bc" providerId="ADAL" clId="{5A18A187-528F-4005-96C9-E932A4AC90BC}" dt="2023-03-20T12:43:18.175" v="1147" actId="20577"/>
        <pc:sldMkLst>
          <pc:docMk/>
          <pc:sldMk cId="1177404986" sldId="2147473493"/>
        </pc:sldMkLst>
        <pc:spChg chg="mod">
          <ac:chgData name="TUNINETTI LORENZO" userId="eae03f52-2aaa-4b01-8fe4-91bc1ea4a9bc" providerId="ADAL" clId="{5A18A187-528F-4005-96C9-E932A4AC90BC}" dt="2023-03-20T12:43:18.175" v="1147" actId="20577"/>
          <ac:spMkLst>
            <pc:docMk/>
            <pc:sldMk cId="1177404986" sldId="2147473493"/>
            <ac:spMk id="250" creationId="{EF15DA6E-81CC-4F6E-A226-C232955D33F7}"/>
          </ac:spMkLst>
        </pc:spChg>
        <pc:picChg chg="mod">
          <ac:chgData name="TUNINETTI LORENZO" userId="eae03f52-2aaa-4b01-8fe4-91bc1ea4a9bc" providerId="ADAL" clId="{5A18A187-528F-4005-96C9-E932A4AC90BC}" dt="2023-03-20T12:24:33.863" v="1117" actId="1076"/>
          <ac:picMkLst>
            <pc:docMk/>
            <pc:sldMk cId="1177404986" sldId="2147473493"/>
            <ac:picMk id="3" creationId="{1966FD55-43B2-485C-AC13-6047B24EC1EC}"/>
          </ac:picMkLst>
        </pc:picChg>
      </pc:sldChg>
      <pc:sldChg chg="addSp delSp modSp mod">
        <pc:chgData name="TUNINETTI LORENZO" userId="eae03f52-2aaa-4b01-8fe4-91bc1ea4a9bc" providerId="ADAL" clId="{5A18A187-528F-4005-96C9-E932A4AC90BC}" dt="2023-03-20T11:24:49.191" v="991" actId="1036"/>
        <pc:sldMkLst>
          <pc:docMk/>
          <pc:sldMk cId="758005868" sldId="2147475675"/>
        </pc:sldMkLst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" creationId="{7831D497-59EF-40E2-A29A-801307110324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8" creationId="{F0F48FD4-9D4F-22D3-394D-B143213F5F50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9" creationId="{52924C04-9FF2-4133-BAB1-92119392B52B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27" creationId="{E15E7DBF-83B8-4374-966B-2F4E4B838114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42" creationId="{EA01992B-2E4A-45B4-8CAD-43443ED113CF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43" creationId="{CD637547-1D93-4858-B666-DFDDB34EC70E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47" creationId="{7AA0A69C-8541-4049-934D-4599C74193D3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48" creationId="{2ED79508-BB2C-40AA-857F-DFD7DCC48A85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54" creationId="{11AB4331-D448-45EC-8CA1-699F158BD297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55" creationId="{2ED94306-9D77-40F2-A20F-A844883F483D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56" creationId="{40931B4E-95AA-45A7-A3A9-4687E033B2CD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57" creationId="{ABE1918D-290F-4660-B7C9-AFAD7CC27A81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58" creationId="{221C4B05-08B5-492D-8834-A474E65D2E9F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59" creationId="{710F78D9-1338-4E00-9853-FE9338D0BC1A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0" creationId="{40BA6EAA-7DE2-4FD3-A21C-FD845AFD814F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1" creationId="{3A056B62-1809-42B1-A9D5-125DEF955979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2" creationId="{35F9CF78-4044-4579-9B54-793711AF77A8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3" creationId="{169ACE74-C97B-4C8B-A49A-082FC5871595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4" creationId="{3092737C-1595-4BF9-99BF-10AAED846A5F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5" creationId="{523F6CE3-EEF5-4F8E-B0C4-ED87C1F04177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6" creationId="{8B584CF2-7C69-4078-81C5-F8EC3F0F790B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7" creationId="{2EF55DD5-A6AF-4E46-84A2-751A87E9C2A9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8" creationId="{0346DBD5-F818-4CB2-B1D1-CABD4DD4CA03}"/>
          </ac:spMkLst>
        </pc:spChg>
        <pc:spChg chg="mod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69" creationId="{B4167559-F09F-401E-8980-B14BC6DDBA23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70" creationId="{DF70552C-C357-4EED-8A78-C68AA13E282A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71" creationId="{3D3B22BD-AB23-4249-A077-8FB4A7FBDC33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73" creationId="{D057A5EA-16FE-4813-9D09-29DDBED5C3D4}"/>
          </ac:spMkLst>
        </pc:spChg>
        <pc:spChg chg="mod topLvl">
          <ac:chgData name="TUNINETTI LORENZO" userId="eae03f52-2aaa-4b01-8fe4-91bc1ea4a9bc" providerId="ADAL" clId="{5A18A187-528F-4005-96C9-E932A4AC90BC}" dt="2023-03-20T10:18:55.485" v="41" actId="208"/>
          <ac:spMkLst>
            <pc:docMk/>
            <pc:sldMk cId="758005868" sldId="2147475675"/>
            <ac:spMk id="76" creationId="{F0BE7635-59CB-4051-AAF8-8ABEDD284B02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78" creationId="{8640D1F8-1DBF-45F0-B480-3EFE6009E6A1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79" creationId="{09726319-98F4-41C0-B077-B99180E397C3}"/>
          </ac:spMkLst>
        </pc:spChg>
        <pc:spChg chg="del">
          <ac:chgData name="TUNINETTI LORENZO" userId="eae03f52-2aaa-4b01-8fe4-91bc1ea4a9bc" providerId="ADAL" clId="{5A18A187-528F-4005-96C9-E932A4AC90BC}" dt="2023-03-20T10:19:12.770" v="44" actId="478"/>
          <ac:spMkLst>
            <pc:docMk/>
            <pc:sldMk cId="758005868" sldId="2147475675"/>
            <ac:spMk id="81" creationId="{A8245EC7-EEB1-4005-8CA3-16CBCD3FF3BA}"/>
          </ac:spMkLst>
        </pc:spChg>
        <pc:spChg chg="add mod topLvl">
          <ac:chgData name="TUNINETTI LORENZO" userId="eae03f52-2aaa-4b01-8fe4-91bc1ea4a9bc" providerId="ADAL" clId="{5A18A187-528F-4005-96C9-E932A4AC90BC}" dt="2023-03-20T10:20:09.611" v="75" actId="207"/>
          <ac:spMkLst>
            <pc:docMk/>
            <pc:sldMk cId="758005868" sldId="2147475675"/>
            <ac:spMk id="82" creationId="{264F4931-5873-4101-843D-F027CAE18873}"/>
          </ac:spMkLst>
        </pc:spChg>
        <pc:spChg chg="add mod">
          <ac:chgData name="TUNINETTI LORENZO" userId="eae03f52-2aaa-4b01-8fe4-91bc1ea4a9bc" providerId="ADAL" clId="{5A18A187-528F-4005-96C9-E932A4AC90BC}" dt="2023-03-20T11:24:49.191" v="991" actId="1036"/>
          <ac:spMkLst>
            <pc:docMk/>
            <pc:sldMk cId="758005868" sldId="2147475675"/>
            <ac:spMk id="83" creationId="{5C18DF2C-F711-4C27-A737-B4E44C21E39D}"/>
          </ac:spMkLst>
        </pc:spChg>
        <pc:spChg chg="add del mod">
          <ac:chgData name="TUNINETTI LORENZO" userId="eae03f52-2aaa-4b01-8fe4-91bc1ea4a9bc" providerId="ADAL" clId="{5A18A187-528F-4005-96C9-E932A4AC90BC}" dt="2023-03-20T10:20:26.061" v="77" actId="478"/>
          <ac:spMkLst>
            <pc:docMk/>
            <pc:sldMk cId="758005868" sldId="2147475675"/>
            <ac:spMk id="84" creationId="{D695D81E-98A5-4504-8B2C-1C2688E592B0}"/>
          </ac:spMkLst>
        </pc:spChg>
        <pc:spChg chg="add mod">
          <ac:chgData name="TUNINETTI LORENZO" userId="eae03f52-2aaa-4b01-8fe4-91bc1ea4a9bc" providerId="ADAL" clId="{5A18A187-528F-4005-96C9-E932A4AC90BC}" dt="2023-03-20T11:24:40.545" v="983" actId="20577"/>
          <ac:spMkLst>
            <pc:docMk/>
            <pc:sldMk cId="758005868" sldId="2147475675"/>
            <ac:spMk id="87" creationId="{1D16B9CF-280D-4BDA-8DD4-E58DD66A4870}"/>
          </ac:spMkLst>
        </pc:spChg>
        <pc:spChg chg="mod topLvl">
          <ac:chgData name="TUNINETTI LORENZO" userId="eae03f52-2aaa-4b01-8fe4-91bc1ea4a9bc" providerId="ADAL" clId="{5A18A187-528F-4005-96C9-E932A4AC90BC}" dt="2023-03-20T10:18:05.725" v="35" actId="165"/>
          <ac:spMkLst>
            <pc:docMk/>
            <pc:sldMk cId="758005868" sldId="2147475675"/>
            <ac:spMk id="100" creationId="{A6AA3CA0-11DE-44ED-926A-EBED27DE2905}"/>
          </ac:spMkLst>
        </pc:spChg>
        <pc:grpChg chg="del mod">
          <ac:chgData name="TUNINETTI LORENZO" userId="eae03f52-2aaa-4b01-8fe4-91bc1ea4a9bc" providerId="ADAL" clId="{5A18A187-528F-4005-96C9-E932A4AC90BC}" dt="2023-03-20T10:18:05.725" v="35" actId="165"/>
          <ac:grpSpMkLst>
            <pc:docMk/>
            <pc:sldMk cId="758005868" sldId="2147475675"/>
            <ac:grpSpMk id="5" creationId="{07A078FD-393C-4965-80D6-8350D4DDDE2E}"/>
          </ac:grpSpMkLst>
        </pc:grpChg>
        <pc:grpChg chg="mod topLvl">
          <ac:chgData name="TUNINETTI LORENZO" userId="eae03f52-2aaa-4b01-8fe4-91bc1ea4a9bc" providerId="ADAL" clId="{5A18A187-528F-4005-96C9-E932A4AC90BC}" dt="2023-03-20T10:18:05.725" v="35" actId="165"/>
          <ac:grpSpMkLst>
            <pc:docMk/>
            <pc:sldMk cId="758005868" sldId="2147475675"/>
            <ac:grpSpMk id="15" creationId="{EF9CF0F7-A48A-4A65-B0FC-D0CFD62F71B1}"/>
          </ac:grpSpMkLst>
        </pc:grpChg>
        <pc:grpChg chg="del">
          <ac:chgData name="TUNINETTI LORENZO" userId="eae03f52-2aaa-4b01-8fe4-91bc1ea4a9bc" providerId="ADAL" clId="{5A18A187-528F-4005-96C9-E932A4AC90BC}" dt="2023-03-20T10:17:54.149" v="31" actId="478"/>
          <ac:grpSpMkLst>
            <pc:docMk/>
            <pc:sldMk cId="758005868" sldId="2147475675"/>
            <ac:grpSpMk id="72" creationId="{E7105686-36FF-4D1D-8264-44138E854AD2}"/>
          </ac:grpSpMkLst>
        </pc:grpChg>
        <pc:grpChg chg="del">
          <ac:chgData name="TUNINETTI LORENZO" userId="eae03f52-2aaa-4b01-8fe4-91bc1ea4a9bc" providerId="ADAL" clId="{5A18A187-528F-4005-96C9-E932A4AC90BC}" dt="2023-03-20T10:17:51.449" v="30" actId="478"/>
          <ac:grpSpMkLst>
            <pc:docMk/>
            <pc:sldMk cId="758005868" sldId="2147475675"/>
            <ac:grpSpMk id="75" creationId="{62D9A6A3-CB4D-4E25-BB9F-2A269530DBF9}"/>
          </ac:grpSpMkLst>
        </pc:grpChg>
        <pc:graphicFrameChg chg="mod topLvl">
          <ac:chgData name="TUNINETTI LORENZO" userId="eae03f52-2aaa-4b01-8fe4-91bc1ea4a9bc" providerId="ADAL" clId="{5A18A187-528F-4005-96C9-E932A4AC90BC}" dt="2023-03-20T10:18:05.725" v="35" actId="165"/>
          <ac:graphicFrameMkLst>
            <pc:docMk/>
            <pc:sldMk cId="758005868" sldId="2147475675"/>
            <ac:graphicFrameMk id="80" creationId="{C2A1EA04-23BF-42AB-9A45-E4BBEA27E915}"/>
          </ac:graphicFrameMkLst>
        </pc:graphicFrameChg>
        <pc:picChg chg="mod">
          <ac:chgData name="TUNINETTI LORENZO" userId="eae03f52-2aaa-4b01-8fe4-91bc1ea4a9bc" providerId="ADAL" clId="{5A18A187-528F-4005-96C9-E932A4AC90BC}" dt="2023-03-20T10:18:05.725" v="35" actId="165"/>
          <ac:picMkLst>
            <pc:docMk/>
            <pc:sldMk cId="758005868" sldId="2147475675"/>
            <ac:picMk id="34" creationId="{418D4804-C6D4-441A-B5B5-C468FDA24058}"/>
          </ac:picMkLst>
        </pc:picChg>
        <pc:picChg chg="mod">
          <ac:chgData name="TUNINETTI LORENZO" userId="eae03f52-2aaa-4b01-8fe4-91bc1ea4a9bc" providerId="ADAL" clId="{5A18A187-528F-4005-96C9-E932A4AC90BC}" dt="2023-03-20T10:18:05.725" v="35" actId="165"/>
          <ac:picMkLst>
            <pc:docMk/>
            <pc:sldMk cId="758005868" sldId="2147475675"/>
            <ac:picMk id="35" creationId="{73EF4A3C-0573-4876-9467-362AF1F920B9}"/>
          </ac:picMkLst>
        </pc:picChg>
        <pc:picChg chg="mod">
          <ac:chgData name="TUNINETTI LORENZO" userId="eae03f52-2aaa-4b01-8fe4-91bc1ea4a9bc" providerId="ADAL" clId="{5A18A187-528F-4005-96C9-E932A4AC90BC}" dt="2023-03-20T10:18:05.725" v="35" actId="165"/>
          <ac:picMkLst>
            <pc:docMk/>
            <pc:sldMk cId="758005868" sldId="2147475675"/>
            <ac:picMk id="36" creationId="{EC89B84D-9567-4B18-9059-12F56C456989}"/>
          </ac:picMkLst>
        </pc:picChg>
        <pc:picChg chg="mod">
          <ac:chgData name="TUNINETTI LORENZO" userId="eae03f52-2aaa-4b01-8fe4-91bc1ea4a9bc" providerId="ADAL" clId="{5A18A187-528F-4005-96C9-E932A4AC90BC}" dt="2023-03-20T10:18:05.725" v="35" actId="165"/>
          <ac:picMkLst>
            <pc:docMk/>
            <pc:sldMk cId="758005868" sldId="2147475675"/>
            <ac:picMk id="37" creationId="{37B999F7-2206-46E5-BF18-E86EBB0557CE}"/>
          </ac:picMkLst>
        </pc:picChg>
        <pc:picChg chg="mod">
          <ac:chgData name="TUNINETTI LORENZO" userId="eae03f52-2aaa-4b01-8fe4-91bc1ea4a9bc" providerId="ADAL" clId="{5A18A187-528F-4005-96C9-E932A4AC90BC}" dt="2023-03-20T10:18:05.725" v="35" actId="165"/>
          <ac:picMkLst>
            <pc:docMk/>
            <pc:sldMk cId="758005868" sldId="2147475675"/>
            <ac:picMk id="44" creationId="{94012E46-1902-4F4E-AD10-457E55599AFD}"/>
          </ac:picMkLst>
        </pc:picChg>
        <pc:picChg chg="mod">
          <ac:chgData name="TUNINETTI LORENZO" userId="eae03f52-2aaa-4b01-8fe4-91bc1ea4a9bc" providerId="ADAL" clId="{5A18A187-528F-4005-96C9-E932A4AC90BC}" dt="2023-03-20T10:18:05.725" v="35" actId="165"/>
          <ac:picMkLst>
            <pc:docMk/>
            <pc:sldMk cId="758005868" sldId="2147475675"/>
            <ac:picMk id="45" creationId="{63C9F4BB-1819-41CE-B3F3-509FF8F26864}"/>
          </ac:picMkLst>
        </pc:picChg>
        <pc:picChg chg="mod">
          <ac:chgData name="TUNINETTI LORENZO" userId="eae03f52-2aaa-4b01-8fe4-91bc1ea4a9bc" providerId="ADAL" clId="{5A18A187-528F-4005-96C9-E932A4AC90BC}" dt="2023-03-20T10:18:05.725" v="35" actId="165"/>
          <ac:picMkLst>
            <pc:docMk/>
            <pc:sldMk cId="758005868" sldId="2147475675"/>
            <ac:picMk id="46" creationId="{1D1939D1-A2F6-41D1-B45D-7858F2558F82}"/>
          </ac:picMkLst>
        </pc:picChg>
        <pc:picChg chg="mod">
          <ac:chgData name="TUNINETTI LORENZO" userId="eae03f52-2aaa-4b01-8fe4-91bc1ea4a9bc" providerId="ADAL" clId="{5A18A187-528F-4005-96C9-E932A4AC90BC}" dt="2023-03-20T10:18:05.725" v="35" actId="165"/>
          <ac:picMkLst>
            <pc:docMk/>
            <pc:sldMk cId="758005868" sldId="2147475675"/>
            <ac:picMk id="51" creationId="{8B43987C-DDEE-418D-8A69-55BEB8ED493B}"/>
          </ac:picMkLst>
        </pc:picChg>
        <pc:picChg chg="del">
          <ac:chgData name="TUNINETTI LORENZO" userId="eae03f52-2aaa-4b01-8fe4-91bc1ea4a9bc" providerId="ADAL" clId="{5A18A187-528F-4005-96C9-E932A4AC90BC}" dt="2023-03-20T10:17:54.149" v="31" actId="478"/>
          <ac:picMkLst>
            <pc:docMk/>
            <pc:sldMk cId="758005868" sldId="2147475675"/>
            <ac:picMk id="74" creationId="{59255C78-26E3-4794-B81A-C34ED365B99D}"/>
          </ac:picMkLst>
        </pc:picChg>
        <pc:picChg chg="del">
          <ac:chgData name="TUNINETTI LORENZO" userId="eae03f52-2aaa-4b01-8fe4-91bc1ea4a9bc" providerId="ADAL" clId="{5A18A187-528F-4005-96C9-E932A4AC90BC}" dt="2023-03-20T10:17:51.449" v="30" actId="478"/>
          <ac:picMkLst>
            <pc:docMk/>
            <pc:sldMk cId="758005868" sldId="2147475675"/>
            <ac:picMk id="77" creationId="{AEC85045-6164-4577-A6D5-0B61B14DB3C1}"/>
          </ac:picMkLst>
        </pc:picChg>
        <pc:picChg chg="add mod">
          <ac:chgData name="TUNINETTI LORENZO" userId="eae03f52-2aaa-4b01-8fe4-91bc1ea4a9bc" providerId="ADAL" clId="{5A18A187-528F-4005-96C9-E932A4AC90BC}" dt="2023-03-20T10:21:33.034" v="127" actId="1038"/>
          <ac:picMkLst>
            <pc:docMk/>
            <pc:sldMk cId="758005868" sldId="2147475675"/>
            <ac:picMk id="85" creationId="{C9243FF1-5F9A-420A-BA2C-01C338B8C9B2}"/>
          </ac:picMkLst>
        </pc:picChg>
        <pc:picChg chg="add mod">
          <ac:chgData name="TUNINETTI LORENZO" userId="eae03f52-2aaa-4b01-8fe4-91bc1ea4a9bc" providerId="ADAL" clId="{5A18A187-528F-4005-96C9-E932A4AC90BC}" dt="2023-03-20T10:21:41.275" v="133" actId="1037"/>
          <ac:picMkLst>
            <pc:docMk/>
            <pc:sldMk cId="758005868" sldId="2147475675"/>
            <ac:picMk id="86" creationId="{91F93713-045C-4421-B762-72DF68B94671}"/>
          </ac:picMkLst>
        </pc:picChg>
      </pc:sldChg>
      <pc:sldChg chg="modSp mod">
        <pc:chgData name="TUNINETTI LORENZO" userId="eae03f52-2aaa-4b01-8fe4-91bc1ea4a9bc" providerId="ADAL" clId="{5A18A187-528F-4005-96C9-E932A4AC90BC}" dt="2023-03-20T16:11:57.877" v="2101" actId="207"/>
        <pc:sldMkLst>
          <pc:docMk/>
          <pc:sldMk cId="3940121616" sldId="2147478124"/>
        </pc:sldMkLst>
        <pc:spChg chg="mod">
          <ac:chgData name="TUNINETTI LORENZO" userId="eae03f52-2aaa-4b01-8fe4-91bc1ea4a9bc" providerId="ADAL" clId="{5A18A187-528F-4005-96C9-E932A4AC90BC}" dt="2023-03-20T16:11:57.877" v="2101" actId="207"/>
          <ac:spMkLst>
            <pc:docMk/>
            <pc:sldMk cId="3940121616" sldId="2147478124"/>
            <ac:spMk id="154" creationId="{983D270D-3C71-CDCB-0E11-063DA5E836DE}"/>
          </ac:spMkLst>
        </pc:spChg>
      </pc:sldChg>
      <pc:sldChg chg="addSp delSp modSp mod">
        <pc:chgData name="TUNINETTI LORENZO" userId="eae03f52-2aaa-4b01-8fe4-91bc1ea4a9bc" providerId="ADAL" clId="{5A18A187-528F-4005-96C9-E932A4AC90BC}" dt="2023-03-20T16:08:52.909" v="2098" actId="207"/>
        <pc:sldMkLst>
          <pc:docMk/>
          <pc:sldMk cId="1064172056" sldId="2147478129"/>
        </pc:sldMkLst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54" creationId="{00195192-350F-4C39-866D-CA963AC0CF78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60" creationId="{C7870500-DD97-41D4-B24E-D37B843A570E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61" creationId="{B93A9C84-FF3F-4FA9-BB0C-F4534E88421E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64" creationId="{E0356BA4-4DFA-4044-A27E-D46C77AA2EBC}"/>
          </ac:spMkLst>
        </pc:spChg>
        <pc:spChg chg="mod">
          <ac:chgData name="TUNINETTI LORENZO" userId="eae03f52-2aaa-4b01-8fe4-91bc1ea4a9bc" providerId="ADAL" clId="{5A18A187-528F-4005-96C9-E932A4AC90BC}" dt="2023-03-20T14:36:04.394" v="1990" actId="207"/>
          <ac:spMkLst>
            <pc:docMk/>
            <pc:sldMk cId="1064172056" sldId="2147478129"/>
            <ac:spMk id="65" creationId="{383E097C-9E90-F5EC-ADA5-25DC38B413C7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70" creationId="{7E80CF05-A4A6-435E-81DE-72436D921256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71" creationId="{217360E9-F624-4CD8-8496-A6551E1C774B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72" creationId="{8CFBDD5E-5DC7-40EF-8123-2DAA8BED5582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73" creationId="{2B8ADE06-E050-4642-BE3C-1C89E2BD80F9}"/>
          </ac:spMkLst>
        </pc:spChg>
        <pc:spChg chg="mod">
          <ac:chgData name="TUNINETTI LORENZO" userId="eae03f52-2aaa-4b01-8fe4-91bc1ea4a9bc" providerId="ADAL" clId="{5A18A187-528F-4005-96C9-E932A4AC90BC}" dt="2023-03-20T14:35:51.527" v="1989" actId="207"/>
          <ac:spMkLst>
            <pc:docMk/>
            <pc:sldMk cId="1064172056" sldId="2147478129"/>
            <ac:spMk id="74" creationId="{0421C4E5-CFD9-C430-DE97-548E301A0E75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75" creationId="{3D988555-7A27-4F73-B723-F2D241E8321C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76" creationId="{42128229-4BC6-414B-A398-18FF99F16F55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77" creationId="{31536659-6265-4933-9D75-7123118723BE}"/>
          </ac:spMkLst>
        </pc:spChg>
        <pc:spChg chg="mod">
          <ac:chgData name="TUNINETTI LORENZO" userId="eae03f52-2aaa-4b01-8fe4-91bc1ea4a9bc" providerId="ADAL" clId="{5A18A187-528F-4005-96C9-E932A4AC90BC}" dt="2023-03-20T14:34:31.916" v="1984" actId="207"/>
          <ac:spMkLst>
            <pc:docMk/>
            <pc:sldMk cId="1064172056" sldId="2147478129"/>
            <ac:spMk id="80" creationId="{19EB3439-2F78-8BD7-151E-7E3F213DBE4E}"/>
          </ac:spMkLst>
        </pc:spChg>
        <pc:spChg chg="mod">
          <ac:chgData name="TUNINETTI LORENZO" userId="eae03f52-2aaa-4b01-8fe4-91bc1ea4a9bc" providerId="ADAL" clId="{5A18A187-528F-4005-96C9-E932A4AC90BC}" dt="2023-03-20T14:35:36.133" v="1988" actId="207"/>
          <ac:spMkLst>
            <pc:docMk/>
            <pc:sldMk cId="1064172056" sldId="2147478129"/>
            <ac:spMk id="88" creationId="{CABE0619-3B2B-4A9C-BBB5-D63EB58D7097}"/>
          </ac:spMkLst>
        </pc:spChg>
        <pc:spChg chg="mod">
          <ac:chgData name="TUNINETTI LORENZO" userId="eae03f52-2aaa-4b01-8fe4-91bc1ea4a9bc" providerId="ADAL" clId="{5A18A187-528F-4005-96C9-E932A4AC90BC}" dt="2023-03-20T14:35:25.837" v="1987" actId="207"/>
          <ac:spMkLst>
            <pc:docMk/>
            <pc:sldMk cId="1064172056" sldId="2147478129"/>
            <ac:spMk id="89" creationId="{27F6AA9F-347F-BBB1-88B5-EE128D1EBCA3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96" creationId="{2C9381B1-DE29-4F45-BA07-518752F2D746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97" creationId="{3FFECE36-72F6-4EB6-83F7-28A05E0F212D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98" creationId="{32741AAD-0B05-43E2-A47A-BD11581F2162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100" creationId="{D8189F1F-CBF5-40A1-B4D9-A9180E7E49B8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101" creationId="{E84DED46-1B0F-47C5-9F6A-2DF7D4F6D04B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102" creationId="{F0C43047-EEB8-4422-8389-6CB210E9C379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103" creationId="{93733951-B077-45B7-9027-DD2B704CEF65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104" creationId="{99CEF4B2-60DD-42AB-91BB-5651992334E3}"/>
          </ac:spMkLst>
        </pc:spChg>
        <pc:spChg chg="mod">
          <ac:chgData name="TUNINETTI LORENZO" userId="eae03f52-2aaa-4b01-8fe4-91bc1ea4a9bc" providerId="ADAL" clId="{5A18A187-528F-4005-96C9-E932A4AC90BC}" dt="2023-03-20T14:34:24.350" v="1982"/>
          <ac:spMkLst>
            <pc:docMk/>
            <pc:sldMk cId="1064172056" sldId="2147478129"/>
            <ac:spMk id="105" creationId="{1A18E0F1-F33F-4759-BC53-047EB288DE67}"/>
          </ac:spMkLst>
        </pc:spChg>
        <pc:spChg chg="mod">
          <ac:chgData name="TUNINETTI LORENZO" userId="eae03f52-2aaa-4b01-8fe4-91bc1ea4a9bc" providerId="ADAL" clId="{5A18A187-528F-4005-96C9-E932A4AC90BC}" dt="2023-03-20T16:08:52.909" v="2098" actId="207"/>
          <ac:spMkLst>
            <pc:docMk/>
            <pc:sldMk cId="1064172056" sldId="2147478129"/>
            <ac:spMk id="142" creationId="{A0517419-A0AC-A93D-F179-35C57136E784}"/>
          </ac:spMkLst>
        </pc:spChg>
        <pc:spChg chg="mod">
          <ac:chgData name="TUNINETTI LORENZO" userId="eae03f52-2aaa-4b01-8fe4-91bc1ea4a9bc" providerId="ADAL" clId="{5A18A187-528F-4005-96C9-E932A4AC90BC}" dt="2023-03-20T15:56:49.557" v="2088" actId="20577"/>
          <ac:spMkLst>
            <pc:docMk/>
            <pc:sldMk cId="1064172056" sldId="2147478129"/>
            <ac:spMk id="176" creationId="{2AC8FA95-E96E-BF8A-2697-A9E24388B5A2}"/>
          </ac:spMkLst>
        </pc:spChg>
        <pc:grpChg chg="add del mod">
          <ac:chgData name="TUNINETTI LORENZO" userId="eae03f52-2aaa-4b01-8fe4-91bc1ea4a9bc" providerId="ADAL" clId="{5A18A187-528F-4005-96C9-E932A4AC90BC}" dt="2023-03-20T14:34:34.180" v="1985" actId="478"/>
          <ac:grpSpMkLst>
            <pc:docMk/>
            <pc:sldMk cId="1064172056" sldId="2147478129"/>
            <ac:grpSpMk id="53" creationId="{313849A6-3AEF-4329-9F84-51C936C8B0F8}"/>
          </ac:grpSpMkLst>
        </pc:grpChg>
      </pc:sldChg>
      <pc:sldChg chg="modSp mod">
        <pc:chgData name="TUNINETTI LORENZO" userId="eae03f52-2aaa-4b01-8fe4-91bc1ea4a9bc" providerId="ADAL" clId="{5A18A187-528F-4005-96C9-E932A4AC90BC}" dt="2023-03-20T16:11:12.496" v="2100" actId="207"/>
        <pc:sldMkLst>
          <pc:docMk/>
          <pc:sldMk cId="3349268504" sldId="2147478137"/>
        </pc:sldMkLst>
        <pc:spChg chg="mod">
          <ac:chgData name="TUNINETTI LORENZO" userId="eae03f52-2aaa-4b01-8fe4-91bc1ea4a9bc" providerId="ADAL" clId="{5A18A187-528F-4005-96C9-E932A4AC90BC}" dt="2023-03-20T16:11:12.496" v="2100" actId="207"/>
          <ac:spMkLst>
            <pc:docMk/>
            <pc:sldMk cId="3349268504" sldId="2147478137"/>
            <ac:spMk id="72" creationId="{B494BDF0-4E60-4E72-B820-91BD93A88CEE}"/>
          </ac:spMkLst>
        </pc:spChg>
        <pc:spChg chg="mod">
          <ac:chgData name="TUNINETTI LORENZO" userId="eae03f52-2aaa-4b01-8fe4-91bc1ea4a9bc" providerId="ADAL" clId="{5A18A187-528F-4005-96C9-E932A4AC90BC}" dt="2023-03-20T16:11:06.345" v="2099" actId="207"/>
          <ac:spMkLst>
            <pc:docMk/>
            <pc:sldMk cId="3349268504" sldId="2147478137"/>
            <ac:spMk id="124" creationId="{A8811788-7F94-AFE8-15C9-DD72A9B8980E}"/>
          </ac:spMkLst>
        </pc:spChg>
      </pc:sldChg>
      <pc:sldChg chg="addSp delSp modSp mod">
        <pc:chgData name="TUNINETTI LORENZO" userId="eae03f52-2aaa-4b01-8fe4-91bc1ea4a9bc" providerId="ADAL" clId="{5A18A187-528F-4005-96C9-E932A4AC90BC}" dt="2023-03-20T16:15:30.051" v="2252" actId="14100"/>
        <pc:sldMkLst>
          <pc:docMk/>
          <pc:sldMk cId="3006485774" sldId="2147478143"/>
        </pc:sldMkLst>
        <pc:spChg chg="add del mod">
          <ac:chgData name="TUNINETTI LORENZO" userId="eae03f52-2aaa-4b01-8fe4-91bc1ea4a9bc" providerId="ADAL" clId="{5A18A187-528F-4005-96C9-E932A4AC90BC}" dt="2023-03-20T16:00:34.299" v="2097" actId="478"/>
          <ac:spMkLst>
            <pc:docMk/>
            <pc:sldMk cId="3006485774" sldId="2147478143"/>
            <ac:spMk id="2" creationId="{FECAC196-E78C-437D-A397-1EE073C3B81A}"/>
          </ac:spMkLst>
        </pc:spChg>
        <pc:spChg chg="mod">
          <ac:chgData name="TUNINETTI LORENZO" userId="eae03f52-2aaa-4b01-8fe4-91bc1ea4a9bc" providerId="ADAL" clId="{5A18A187-528F-4005-96C9-E932A4AC90BC}" dt="2023-03-20T15:57:31.996" v="2096" actId="14100"/>
          <ac:spMkLst>
            <pc:docMk/>
            <pc:sldMk cId="3006485774" sldId="2147478143"/>
            <ac:spMk id="32" creationId="{33816C50-F33B-42BE-A448-ED46399AEE9C}"/>
          </ac:spMkLst>
        </pc:spChg>
        <pc:spChg chg="mod">
          <ac:chgData name="TUNINETTI LORENZO" userId="eae03f52-2aaa-4b01-8fe4-91bc1ea4a9bc" providerId="ADAL" clId="{5A18A187-528F-4005-96C9-E932A4AC90BC}" dt="2023-03-20T10:06:09.606" v="24" actId="20577"/>
          <ac:spMkLst>
            <pc:docMk/>
            <pc:sldMk cId="3006485774" sldId="2147478143"/>
            <ac:spMk id="34" creationId="{EC2567AD-3DCF-42E1-90A4-65ABB3D04AC8}"/>
          </ac:spMkLst>
        </pc:spChg>
        <pc:spChg chg="mod">
          <ac:chgData name="TUNINETTI LORENZO" userId="eae03f52-2aaa-4b01-8fe4-91bc1ea4a9bc" providerId="ADAL" clId="{5A18A187-528F-4005-96C9-E932A4AC90BC}" dt="2023-03-20T15:57:25.251" v="2092" actId="20577"/>
          <ac:spMkLst>
            <pc:docMk/>
            <pc:sldMk cId="3006485774" sldId="2147478143"/>
            <ac:spMk id="35" creationId="{33932F87-CD71-4AB9-AE82-0C74EB0FC8B4}"/>
          </ac:spMkLst>
        </pc:spChg>
        <pc:spChg chg="mod">
          <ac:chgData name="TUNINETTI LORENZO" userId="eae03f52-2aaa-4b01-8fe4-91bc1ea4a9bc" providerId="ADAL" clId="{5A18A187-528F-4005-96C9-E932A4AC90BC}" dt="2023-03-20T10:06:04.550" v="19"/>
          <ac:spMkLst>
            <pc:docMk/>
            <pc:sldMk cId="3006485774" sldId="2147478143"/>
            <ac:spMk id="36" creationId="{D6C843E8-C81F-4A22-956C-856DCB04A2C8}"/>
          </ac:spMkLst>
        </pc:spChg>
        <pc:spChg chg="add del mod">
          <ac:chgData name="TUNINETTI LORENZO" userId="eae03f52-2aaa-4b01-8fe4-91bc1ea4a9bc" providerId="ADAL" clId="{5A18A187-528F-4005-96C9-E932A4AC90BC}" dt="2023-03-20T14:06:11.144" v="1302" actId="478"/>
          <ac:spMkLst>
            <pc:docMk/>
            <pc:sldMk cId="3006485774" sldId="2147478143"/>
            <ac:spMk id="37" creationId="{BD7F7EB0-C7A4-460D-ADCF-5993D6E7078F}"/>
          </ac:spMkLst>
        </pc:spChg>
        <pc:spChg chg="add mod">
          <ac:chgData name="TUNINETTI LORENZO" userId="eae03f52-2aaa-4b01-8fe4-91bc1ea4a9bc" providerId="ADAL" clId="{5A18A187-528F-4005-96C9-E932A4AC90BC}" dt="2023-03-20T14:45:40.467" v="2081" actId="1035"/>
          <ac:spMkLst>
            <pc:docMk/>
            <pc:sldMk cId="3006485774" sldId="2147478143"/>
            <ac:spMk id="38" creationId="{4DA6D28F-3F66-4F89-A158-5E14729A3768}"/>
          </ac:spMkLst>
        </pc:spChg>
        <pc:spChg chg="add mod">
          <ac:chgData name="TUNINETTI LORENZO" userId="eae03f52-2aaa-4b01-8fe4-91bc1ea4a9bc" providerId="ADAL" clId="{5A18A187-528F-4005-96C9-E932A4AC90BC}" dt="2023-03-20T14:44:07.052" v="2008" actId="20577"/>
          <ac:spMkLst>
            <pc:docMk/>
            <pc:sldMk cId="3006485774" sldId="2147478143"/>
            <ac:spMk id="39" creationId="{3A75FDA0-5A51-4E4B-9E66-271B3DE8A3E7}"/>
          </ac:spMkLst>
        </pc:spChg>
        <pc:spChg chg="add mod">
          <ac:chgData name="TUNINETTI LORENZO" userId="eae03f52-2aaa-4b01-8fe4-91bc1ea4a9bc" providerId="ADAL" clId="{5A18A187-528F-4005-96C9-E932A4AC90BC}" dt="2023-03-20T14:44:18.800" v="2015" actId="1035"/>
          <ac:spMkLst>
            <pc:docMk/>
            <pc:sldMk cId="3006485774" sldId="2147478143"/>
            <ac:spMk id="40" creationId="{C42FBCA0-2512-4DE8-8147-76AD269AEB03}"/>
          </ac:spMkLst>
        </pc:spChg>
        <pc:spChg chg="add mod">
          <ac:chgData name="TUNINETTI LORENZO" userId="eae03f52-2aaa-4b01-8fe4-91bc1ea4a9bc" providerId="ADAL" clId="{5A18A187-528F-4005-96C9-E932A4AC90BC}" dt="2023-03-20T14:33:05.682" v="1977" actId="1036"/>
          <ac:spMkLst>
            <pc:docMk/>
            <pc:sldMk cId="3006485774" sldId="2147478143"/>
            <ac:spMk id="41" creationId="{C71E373A-F055-407D-889C-F1CF29851CCA}"/>
          </ac:spMkLst>
        </pc:spChg>
        <pc:spChg chg="add mod">
          <ac:chgData name="TUNINETTI LORENZO" userId="eae03f52-2aaa-4b01-8fe4-91bc1ea4a9bc" providerId="ADAL" clId="{5A18A187-528F-4005-96C9-E932A4AC90BC}" dt="2023-03-20T14:29:31.286" v="1847" actId="6549"/>
          <ac:spMkLst>
            <pc:docMk/>
            <pc:sldMk cId="3006485774" sldId="2147478143"/>
            <ac:spMk id="42" creationId="{60D25C7B-409C-43C7-9211-C71F54B004CE}"/>
          </ac:spMkLst>
        </pc:spChg>
        <pc:spChg chg="add mod">
          <ac:chgData name="TUNINETTI LORENZO" userId="eae03f52-2aaa-4b01-8fe4-91bc1ea4a9bc" providerId="ADAL" clId="{5A18A187-528F-4005-96C9-E932A4AC90BC}" dt="2023-03-20T16:15:30.051" v="2252" actId="14100"/>
          <ac:spMkLst>
            <pc:docMk/>
            <pc:sldMk cId="3006485774" sldId="2147478143"/>
            <ac:spMk id="47" creationId="{5F0031FD-07C2-48E2-8B89-F48FF819D6A8}"/>
          </ac:spMkLst>
        </pc:spChg>
        <pc:spChg chg="mod">
          <ac:chgData name="TUNINETTI LORENZO" userId="eae03f52-2aaa-4b01-8fe4-91bc1ea4a9bc" providerId="ADAL" clId="{5A18A187-528F-4005-96C9-E932A4AC90BC}" dt="2023-03-20T14:37:49.551" v="1999" actId="207"/>
          <ac:spMkLst>
            <pc:docMk/>
            <pc:sldMk cId="3006485774" sldId="2147478143"/>
            <ac:spMk id="56" creationId="{C95F6D69-AE21-7019-13B1-6005D05D8158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57" creationId="{24E1E73F-EEA3-8D9E-432D-281DAB023E13}"/>
          </ac:spMkLst>
        </pc:spChg>
        <pc:spChg chg="del">
          <ac:chgData name="TUNINETTI LORENZO" userId="eae03f52-2aaa-4b01-8fe4-91bc1ea4a9bc" providerId="ADAL" clId="{5A18A187-528F-4005-96C9-E932A4AC90BC}" dt="2023-03-20T14:32:40.437" v="1952" actId="478"/>
          <ac:spMkLst>
            <pc:docMk/>
            <pc:sldMk cId="3006485774" sldId="2147478143"/>
            <ac:spMk id="58" creationId="{CEA701C7-0F8E-44E2-99ED-58E0FFE49242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59" creationId="{DD4A5667-A328-9E92-B8A2-0E504B59F0F5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62" creationId="{EE61FF5D-D301-CE6D-5B55-FD87A7CE5A87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65" creationId="{383E097C-9E90-F5EC-ADA5-25DC38B413C7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66" creationId="{E64AD9A7-8585-00BC-0ABC-B7935536060A}"/>
          </ac:spMkLst>
        </pc:spChg>
        <pc:spChg chg="mod">
          <ac:chgData name="TUNINETTI LORENZO" userId="eae03f52-2aaa-4b01-8fe4-91bc1ea4a9bc" providerId="ADAL" clId="{5A18A187-528F-4005-96C9-E932A4AC90BC}" dt="2023-03-20T14:37:43.824" v="1997" actId="207"/>
          <ac:spMkLst>
            <pc:docMk/>
            <pc:sldMk cId="3006485774" sldId="2147478143"/>
            <ac:spMk id="67" creationId="{9E851B96-813A-677D-F147-1F1B6B36396A}"/>
          </ac:spMkLst>
        </pc:spChg>
        <pc:spChg chg="mod">
          <ac:chgData name="TUNINETTI LORENZO" userId="eae03f52-2aaa-4b01-8fe4-91bc1ea4a9bc" providerId="ADAL" clId="{5A18A187-528F-4005-96C9-E932A4AC90BC}" dt="2023-03-20T14:37:45.675" v="1998" actId="207"/>
          <ac:spMkLst>
            <pc:docMk/>
            <pc:sldMk cId="3006485774" sldId="2147478143"/>
            <ac:spMk id="74" creationId="{0421C4E5-CFD9-C430-DE97-548E301A0E75}"/>
          </ac:spMkLst>
        </pc:spChg>
        <pc:spChg chg="mod">
          <ac:chgData name="TUNINETTI LORENZO" userId="eae03f52-2aaa-4b01-8fe4-91bc1ea4a9bc" providerId="ADAL" clId="{5A18A187-528F-4005-96C9-E932A4AC90BC}" dt="2023-03-20T14:36:53.037" v="1992" actId="207"/>
          <ac:spMkLst>
            <pc:docMk/>
            <pc:sldMk cId="3006485774" sldId="2147478143"/>
            <ac:spMk id="78" creationId="{0A25F7E2-4AF0-E5B2-F44C-25973FC76432}"/>
          </ac:spMkLst>
        </pc:spChg>
        <pc:spChg chg="mod">
          <ac:chgData name="TUNINETTI LORENZO" userId="eae03f52-2aaa-4b01-8fe4-91bc1ea4a9bc" providerId="ADAL" clId="{5A18A187-528F-4005-96C9-E932A4AC90BC}" dt="2023-03-20T14:37:18.050" v="1994" actId="207"/>
          <ac:spMkLst>
            <pc:docMk/>
            <pc:sldMk cId="3006485774" sldId="2147478143"/>
            <ac:spMk id="79" creationId="{485A1D8B-E988-ADC0-3774-4D4029CEDCC7}"/>
          </ac:spMkLst>
        </pc:spChg>
        <pc:spChg chg="mod">
          <ac:chgData name="TUNINETTI LORENZO" userId="eae03f52-2aaa-4b01-8fe4-91bc1ea4a9bc" providerId="ADAL" clId="{5A18A187-528F-4005-96C9-E932A4AC90BC}" dt="2023-03-20T14:36:39.848" v="1991" actId="207"/>
          <ac:spMkLst>
            <pc:docMk/>
            <pc:sldMk cId="3006485774" sldId="2147478143"/>
            <ac:spMk id="80" creationId="{19EB3439-2F78-8BD7-151E-7E3F213DBE4E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81" creationId="{A5A9ABF9-6832-6302-1753-D40B90607ED6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82" creationId="{8D2102B2-53CA-2644-AF82-B06BA4ADA9BA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83" creationId="{9DB29B61-8D76-A8D7-AF6D-44D94430A8D9}"/>
          </ac:spMkLst>
        </pc:spChg>
        <pc:spChg chg="mod">
          <ac:chgData name="TUNINETTI LORENZO" userId="eae03f52-2aaa-4b01-8fe4-91bc1ea4a9bc" providerId="ADAL" clId="{5A18A187-528F-4005-96C9-E932A4AC90BC}" dt="2023-03-20T14:37:14.856" v="1993" actId="207"/>
          <ac:spMkLst>
            <pc:docMk/>
            <pc:sldMk cId="3006485774" sldId="2147478143"/>
            <ac:spMk id="84" creationId="{815D66CA-B48F-D975-632F-98F8120712E1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85" creationId="{DAEB0EFF-3622-4376-985D-89FAF4386533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86" creationId="{440B359B-8964-3394-A37E-3287963B1D36}"/>
          </ac:spMkLst>
        </pc:spChg>
        <pc:spChg chg="mod">
          <ac:chgData name="TUNINETTI LORENZO" userId="eae03f52-2aaa-4b01-8fe4-91bc1ea4a9bc" providerId="ADAL" clId="{5A18A187-528F-4005-96C9-E932A4AC90BC}" dt="2023-03-20T14:33:38.158" v="1981" actId="207"/>
          <ac:spMkLst>
            <pc:docMk/>
            <pc:sldMk cId="3006485774" sldId="2147478143"/>
            <ac:spMk id="87" creationId="{13EEC9FD-FF3A-4F10-8CE1-7742C8C6E2CB}"/>
          </ac:spMkLst>
        </pc:spChg>
        <pc:spChg chg="mod">
          <ac:chgData name="TUNINETTI LORENZO" userId="eae03f52-2aaa-4b01-8fe4-91bc1ea4a9bc" providerId="ADAL" clId="{5A18A187-528F-4005-96C9-E932A4AC90BC}" dt="2023-03-20T14:37:31.038" v="1996" actId="207"/>
          <ac:spMkLst>
            <pc:docMk/>
            <pc:sldMk cId="3006485774" sldId="2147478143"/>
            <ac:spMk id="88" creationId="{CABE0619-3B2B-4A9C-BBB5-D63EB58D7097}"/>
          </ac:spMkLst>
        </pc:spChg>
        <pc:spChg chg="mod">
          <ac:chgData name="TUNINETTI LORENZO" userId="eae03f52-2aaa-4b01-8fe4-91bc1ea4a9bc" providerId="ADAL" clId="{5A18A187-528F-4005-96C9-E932A4AC90BC}" dt="2023-03-20T14:37:27.718" v="1995" actId="207"/>
          <ac:spMkLst>
            <pc:docMk/>
            <pc:sldMk cId="3006485774" sldId="2147478143"/>
            <ac:spMk id="89" creationId="{27F6AA9F-347F-BBB1-88B5-EE128D1EBCA3}"/>
          </ac:spMkLst>
        </pc:spChg>
        <pc:spChg chg="mod">
          <ac:chgData name="TUNINETTI LORENZO" userId="eae03f52-2aaa-4b01-8fe4-91bc1ea4a9bc" providerId="ADAL" clId="{5A18A187-528F-4005-96C9-E932A4AC90BC}" dt="2023-03-20T14:44:39.609" v="2020" actId="1036"/>
          <ac:spMkLst>
            <pc:docMk/>
            <pc:sldMk cId="3006485774" sldId="2147478143"/>
            <ac:spMk id="90" creationId="{CD02B94B-0471-FA0C-5650-9DBD1304EC67}"/>
          </ac:spMkLst>
        </pc:spChg>
        <pc:spChg chg="mod">
          <ac:chgData name="TUNINETTI LORENZO" userId="eae03f52-2aaa-4b01-8fe4-91bc1ea4a9bc" providerId="ADAL" clId="{5A18A187-528F-4005-96C9-E932A4AC90BC}" dt="2023-03-20T14:44:39.609" v="2020" actId="1036"/>
          <ac:spMkLst>
            <pc:docMk/>
            <pc:sldMk cId="3006485774" sldId="2147478143"/>
            <ac:spMk id="173" creationId="{F0F33CCF-15B3-EE0A-B354-FDC66F63C33C}"/>
          </ac:spMkLst>
        </pc:spChg>
        <pc:grpChg chg="add mod">
          <ac:chgData name="TUNINETTI LORENZO" userId="eae03f52-2aaa-4b01-8fe4-91bc1ea4a9bc" providerId="ADAL" clId="{5A18A187-528F-4005-96C9-E932A4AC90BC}" dt="2023-03-20T10:06:04.550" v="19"/>
          <ac:grpSpMkLst>
            <pc:docMk/>
            <pc:sldMk cId="3006485774" sldId="2147478143"/>
            <ac:grpSpMk id="31" creationId="{CAEB0585-15F3-48C6-BFC6-0D64DFC1BA61}"/>
          </ac:grpSpMkLst>
        </pc:grpChg>
        <pc:grpChg chg="mod">
          <ac:chgData name="TUNINETTI LORENZO" userId="eae03f52-2aaa-4b01-8fe4-91bc1ea4a9bc" providerId="ADAL" clId="{5A18A187-528F-4005-96C9-E932A4AC90BC}" dt="2023-03-20T14:33:38.158" v="1981" actId="207"/>
          <ac:grpSpMkLst>
            <pc:docMk/>
            <pc:sldMk cId="3006485774" sldId="2147478143"/>
            <ac:grpSpMk id="55" creationId="{2BDF413E-5EFF-2082-81FC-AA6DD83AB548}"/>
          </ac:grpSpMkLst>
        </pc:grpChg>
        <pc:cxnChg chg="mod">
          <ac:chgData name="TUNINETTI LORENZO" userId="eae03f52-2aaa-4b01-8fe4-91bc1ea4a9bc" providerId="ADAL" clId="{5A18A187-528F-4005-96C9-E932A4AC90BC}" dt="2023-03-20T10:06:04.550" v="19"/>
          <ac:cxnSpMkLst>
            <pc:docMk/>
            <pc:sldMk cId="3006485774" sldId="2147478143"/>
            <ac:cxnSpMk id="33" creationId="{D3A9B60E-9E3A-42D3-B514-338B2EF079D0}"/>
          </ac:cxnSpMkLst>
        </pc:cxnChg>
        <pc:cxnChg chg="add mod">
          <ac:chgData name="TUNINETTI LORENZO" userId="eae03f52-2aaa-4b01-8fe4-91bc1ea4a9bc" providerId="ADAL" clId="{5A18A187-528F-4005-96C9-E932A4AC90BC}" dt="2023-03-20T14:44:18.800" v="2015" actId="1035"/>
          <ac:cxnSpMkLst>
            <pc:docMk/>
            <pc:sldMk cId="3006485774" sldId="2147478143"/>
            <ac:cxnSpMk id="43" creationId="{6A907C9F-22D6-416D-B8A8-86C6EF652EA9}"/>
          </ac:cxnSpMkLst>
        </pc:cxnChg>
        <pc:cxnChg chg="add mod">
          <ac:chgData name="TUNINETTI LORENZO" userId="eae03f52-2aaa-4b01-8fe4-91bc1ea4a9bc" providerId="ADAL" clId="{5A18A187-528F-4005-96C9-E932A4AC90BC}" dt="2023-03-20T14:33:05.682" v="1977" actId="1036"/>
          <ac:cxnSpMkLst>
            <pc:docMk/>
            <pc:sldMk cId="3006485774" sldId="2147478143"/>
            <ac:cxnSpMk id="44" creationId="{53C2C219-F362-4A7B-9CFB-A9A06D96329F}"/>
          </ac:cxnSpMkLst>
        </pc:cxnChg>
        <pc:cxnChg chg="add mod">
          <ac:chgData name="TUNINETTI LORENZO" userId="eae03f52-2aaa-4b01-8fe4-91bc1ea4a9bc" providerId="ADAL" clId="{5A18A187-528F-4005-96C9-E932A4AC90BC}" dt="2023-03-20T14:45:45.062" v="2086" actId="1035"/>
          <ac:cxnSpMkLst>
            <pc:docMk/>
            <pc:sldMk cId="3006485774" sldId="2147478143"/>
            <ac:cxnSpMk id="45" creationId="{4DFD4C20-5D54-4F64-8097-639BDE94AAF4}"/>
          </ac:cxnSpMkLst>
        </pc:cxnChg>
        <pc:cxnChg chg="add mod">
          <ac:chgData name="TUNINETTI LORENZO" userId="eae03f52-2aaa-4b01-8fe4-91bc1ea4a9bc" providerId="ADAL" clId="{5A18A187-528F-4005-96C9-E932A4AC90BC}" dt="2023-03-20T14:29:23.106" v="1841"/>
          <ac:cxnSpMkLst>
            <pc:docMk/>
            <pc:sldMk cId="3006485774" sldId="2147478143"/>
            <ac:cxnSpMk id="46" creationId="{B6D09DB5-7200-4B3E-A1C6-F809AC216578}"/>
          </ac:cxnSpMkLst>
        </pc:cxnChg>
      </pc:sldChg>
      <pc:sldChg chg="addSp delSp modSp mod ord">
        <pc:chgData name="TUNINETTI LORENZO" userId="eae03f52-2aaa-4b01-8fe4-91bc1ea4a9bc" providerId="ADAL" clId="{5A18A187-528F-4005-96C9-E932A4AC90BC}" dt="2023-03-20T13:46:37.826" v="1267"/>
        <pc:sldMkLst>
          <pc:docMk/>
          <pc:sldMk cId="4039915663" sldId="2147478144"/>
        </pc:sldMkLst>
        <pc:spChg chg="add del mod">
          <ac:chgData name="TUNINETTI LORENZO" userId="eae03f52-2aaa-4b01-8fe4-91bc1ea4a9bc" providerId="ADAL" clId="{5A18A187-528F-4005-96C9-E932A4AC90BC}" dt="2023-03-20T13:32:26.636" v="1193" actId="478"/>
          <ac:spMkLst>
            <pc:docMk/>
            <pc:sldMk cId="4039915663" sldId="2147478144"/>
            <ac:spMk id="5" creationId="{436E17DD-ECBB-40F7-AB3D-12E02D4654D8}"/>
          </ac:spMkLst>
        </pc:spChg>
        <pc:spChg chg="mod">
          <ac:chgData name="TUNINETTI LORENZO" userId="eae03f52-2aaa-4b01-8fe4-91bc1ea4a9bc" providerId="ADAL" clId="{5A18A187-528F-4005-96C9-E932A4AC90BC}" dt="2023-03-20T10:04:40.090" v="4" actId="113"/>
          <ac:spMkLst>
            <pc:docMk/>
            <pc:sldMk cId="4039915663" sldId="2147478144"/>
            <ac:spMk id="6" creationId="{987C4253-B2ED-4B98-AE7B-4E753A393A9B}"/>
          </ac:spMkLst>
        </pc:spChg>
        <pc:graphicFrameChg chg="mod modGraphic">
          <ac:chgData name="TUNINETTI LORENZO" userId="eae03f52-2aaa-4b01-8fe4-91bc1ea4a9bc" providerId="ADAL" clId="{5A18A187-528F-4005-96C9-E932A4AC90BC}" dt="2023-03-20T13:33:21.573" v="1208" actId="14734"/>
          <ac:graphicFrameMkLst>
            <pc:docMk/>
            <pc:sldMk cId="4039915663" sldId="2147478144"/>
            <ac:graphicFrameMk id="4" creationId="{44215915-6DBC-48AD-8FF7-7412D8AAF035}"/>
          </ac:graphicFrameMkLst>
        </pc:graphicFrameChg>
      </pc:sldChg>
    </pc:docChg>
  </pc:docChgLst>
  <pc:docChgLst>
    <pc:chgData name="TUNINETTI LORENZO" userId="eae03f52-2aaa-4b01-8fe4-91bc1ea4a9bc" providerId="ADAL" clId="{02EF0581-0100-4783-851A-CDD406FEFC75}"/>
    <pc:docChg chg="undo custSel addSld delSld modSld modSection">
      <pc:chgData name="TUNINETTI LORENZO" userId="eae03f52-2aaa-4b01-8fe4-91bc1ea4a9bc" providerId="ADAL" clId="{02EF0581-0100-4783-851A-CDD406FEFC75}" dt="2023-03-21T08:54:20.794" v="540" actId="20577"/>
      <pc:docMkLst>
        <pc:docMk/>
      </pc:docMkLst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100769648" sldId="261"/>
        </pc:sldMkLst>
      </pc:sldChg>
      <pc:sldChg chg="modSp del mod">
        <pc:chgData name="TUNINETTI LORENZO" userId="eae03f52-2aaa-4b01-8fe4-91bc1ea4a9bc" providerId="ADAL" clId="{02EF0581-0100-4783-851A-CDD406FEFC75}" dt="2023-03-21T08:52:20.070" v="538" actId="47"/>
        <pc:sldMkLst>
          <pc:docMk/>
          <pc:sldMk cId="3750975531" sldId="2147473362"/>
        </pc:sldMkLst>
        <pc:spChg chg="mod">
          <ac:chgData name="TUNINETTI LORENZO" userId="eae03f52-2aaa-4b01-8fe4-91bc1ea4a9bc" providerId="ADAL" clId="{02EF0581-0100-4783-851A-CDD406FEFC75}" dt="2023-03-21T08:27:38.398" v="11" actId="20577"/>
          <ac:spMkLst>
            <pc:docMk/>
            <pc:sldMk cId="3750975531" sldId="2147473362"/>
            <ac:spMk id="260" creationId="{EFDCC9C9-3540-4F24-9642-F64595F20E2F}"/>
          </ac:spMkLst>
        </pc:spChg>
      </pc:sldChg>
      <pc:sldChg chg="addSp delSp modSp mod">
        <pc:chgData name="TUNINETTI LORENZO" userId="eae03f52-2aaa-4b01-8fe4-91bc1ea4a9bc" providerId="ADAL" clId="{02EF0581-0100-4783-851A-CDD406FEFC75}" dt="2023-03-21T08:39:42.278" v="452" actId="1035"/>
        <pc:sldMkLst>
          <pc:docMk/>
          <pc:sldMk cId="2541670391" sldId="2147473488"/>
        </pc:sldMkLst>
        <pc:spChg chg="mod">
          <ac:chgData name="TUNINETTI LORENZO" userId="eae03f52-2aaa-4b01-8fe4-91bc1ea4a9bc" providerId="ADAL" clId="{02EF0581-0100-4783-851A-CDD406FEFC75}" dt="2023-03-21T08:34:02.084" v="113" actId="164"/>
          <ac:spMkLst>
            <pc:docMk/>
            <pc:sldMk cId="2541670391" sldId="2147473488"/>
            <ac:spMk id="2" creationId="{BC4BEA4B-EC1F-471B-A0B8-A61F9DAFDC35}"/>
          </ac:spMkLst>
        </pc:spChg>
        <pc:spChg chg="mod">
          <ac:chgData name="TUNINETTI LORENZO" userId="eae03f52-2aaa-4b01-8fe4-91bc1ea4a9bc" providerId="ADAL" clId="{02EF0581-0100-4783-851A-CDD406FEFC75}" dt="2023-03-21T08:34:02.084" v="113" actId="164"/>
          <ac:spMkLst>
            <pc:docMk/>
            <pc:sldMk cId="2541670391" sldId="2147473488"/>
            <ac:spMk id="9" creationId="{91748238-C8C4-43C2-A01D-2F796720AEEE}"/>
          </ac:spMkLst>
        </pc:spChg>
        <pc:spChg chg="add mod">
          <ac:chgData name="TUNINETTI LORENZO" userId="eae03f52-2aaa-4b01-8fe4-91bc1ea4a9bc" providerId="ADAL" clId="{02EF0581-0100-4783-851A-CDD406FEFC75}" dt="2023-03-21T08:36:06.073" v="232" actId="164"/>
          <ac:spMkLst>
            <pc:docMk/>
            <pc:sldMk cId="2541670391" sldId="2147473488"/>
            <ac:spMk id="23" creationId="{568E0EB0-CDB9-4A86-94AE-CBD5FBFB7E73}"/>
          </ac:spMkLst>
        </pc:spChg>
        <pc:spChg chg="mod">
          <ac:chgData name="TUNINETTI LORENZO" userId="eae03f52-2aaa-4b01-8fe4-91bc1ea4a9bc" providerId="ADAL" clId="{02EF0581-0100-4783-851A-CDD406FEFC75}" dt="2023-03-21T08:34:02.084" v="113" actId="164"/>
          <ac:spMkLst>
            <pc:docMk/>
            <pc:sldMk cId="2541670391" sldId="2147473488"/>
            <ac:spMk id="107" creationId="{81C49E4A-8975-475A-B70D-C518B9514137}"/>
          </ac:spMkLst>
        </pc:spChg>
        <pc:spChg chg="mod">
          <ac:chgData name="TUNINETTI LORENZO" userId="eae03f52-2aaa-4b01-8fe4-91bc1ea4a9bc" providerId="ADAL" clId="{02EF0581-0100-4783-851A-CDD406FEFC75}" dt="2023-03-21T08:34:02.084" v="113" actId="164"/>
          <ac:spMkLst>
            <pc:docMk/>
            <pc:sldMk cId="2541670391" sldId="2147473488"/>
            <ac:spMk id="109" creationId="{FAF8B05A-C565-45DB-BC4B-4389A8108A9C}"/>
          </ac:spMkLst>
        </pc:spChg>
        <pc:spChg chg="del mod">
          <ac:chgData name="TUNINETTI LORENZO" userId="eae03f52-2aaa-4b01-8fe4-91bc1ea4a9bc" providerId="ADAL" clId="{02EF0581-0100-4783-851A-CDD406FEFC75}" dt="2023-03-21T08:30:25.816" v="29" actId="478"/>
          <ac:spMkLst>
            <pc:docMk/>
            <pc:sldMk cId="2541670391" sldId="2147473488"/>
            <ac:spMk id="117" creationId="{E4EF5CF6-062A-4D4E-80A3-F3C3362B39FB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18" creationId="{635E56F7-3760-4937-8D8D-7A63FC644212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19" creationId="{D6B17724-2F94-4A29-84EB-A421E17E06A0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0" creationId="{1CF5F35B-9020-4A36-AC7B-47BC64DCE8C3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1" creationId="{215A2AF6-34E4-4F48-BEB2-161D807A15E6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2" creationId="{303DFA7F-AD96-4A9E-BC51-62A199035540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3" creationId="{B6872F3C-8C36-4D60-81E7-3589AA72E25F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4" creationId="{88B9D511-1D3F-4DC3-A312-B9B7A243794B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5" creationId="{D5ED9C10-DB92-44F0-B06E-AF9420205410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6" creationId="{9089FE4A-4538-446D-A4E4-96633DFEBA38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7" creationId="{72E88B5D-B5B8-4FAE-B87C-559E48BF057A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8" creationId="{90D1F53D-B500-46EA-9A79-A59BCF692CBE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29" creationId="{85ECE145-97F9-4636-A2C5-CAC210D659A6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0" creationId="{7AECD40F-E226-4B95-AEBC-E6717AD22649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1" creationId="{CE60BEDD-4DE3-4E3C-9D5E-32739ADDC88D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2" creationId="{AFB57FE2-ECF6-4752-96C0-FD29831C3B64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3" creationId="{95D80FF0-1993-4C9A-A425-2C7BBEB1CF1C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4" creationId="{2CBC7A21-93C0-471C-AA8C-7546D32C756D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5" creationId="{25AD698B-1C08-4C83-906A-C2EA15614AEC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6" creationId="{036DBEF5-98E6-48A3-A44D-EE77EA3ECDD6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7" creationId="{BBB464AF-35BC-496E-9D28-BF571BFD51F5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8" creationId="{24C7E497-D963-44E9-B024-47069567BDF6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39" creationId="{3BBCCECE-EFFF-46ED-8743-1C22692A1E52}"/>
          </ac:spMkLst>
        </pc:spChg>
        <pc:spChg chg="del mod">
          <ac:chgData name="TUNINETTI LORENZO" userId="eae03f52-2aaa-4b01-8fe4-91bc1ea4a9bc" providerId="ADAL" clId="{02EF0581-0100-4783-851A-CDD406FEFC75}" dt="2023-03-21T08:30:25.816" v="29" actId="478"/>
          <ac:spMkLst>
            <pc:docMk/>
            <pc:sldMk cId="2541670391" sldId="2147473488"/>
            <ac:spMk id="140" creationId="{FD69E57A-4105-44CA-9F20-A8B068E76BE8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41" creationId="{2D876C9C-AF84-4060-8217-F17A5E6A2705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42" creationId="{93E5B673-3124-448A-AF9F-D06B0EF87503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43" creationId="{76ACDF82-8D41-4227-B237-EF305CA32929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44" creationId="{C311C22F-B38B-47A1-BE70-C4122E97C541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45" creationId="{0ED3A214-87FC-4FD8-8703-81DE3B1F0091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46" creationId="{341B31A4-E707-4F6C-BEC3-85B73FB4C669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47" creationId="{028CEA24-E46A-44AB-9447-2223A06BB05B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48" creationId="{B3276A8A-BA48-49EB-B4B4-B3018DFBA225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49" creationId="{E94FE81E-5D11-4991-B97A-B72EF092BBF5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0" creationId="{1770137F-3E22-478F-8AC1-E0088AFC2065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1" creationId="{F3D31426-149C-450F-9D0C-66AE2DCC949A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2" creationId="{6C0572C1-3F26-4D3D-94FF-A60EFB782B6A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3" creationId="{9BCCEA16-4815-4E98-8424-2EE3EE5FFC6E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4" creationId="{305DD91F-888C-4066-83DA-5C34F0E19D3B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5" creationId="{71D4EB25-1DC5-42BA-B9A2-D053F0A535F2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6" creationId="{22A04290-91D5-43B5-96CF-4335899571B3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7" creationId="{299CF204-4341-4B48-BDD5-2684E3F55FDD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8" creationId="{D270DE5C-18E8-4735-B72E-1C7EA3DEC405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59" creationId="{56D250FA-58B1-4659-8B2F-844326DDAD42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60" creationId="{C8A3CF7A-4A2C-41D0-8C1C-FF15ED0DAD54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61" creationId="{E3CCFED5-CE2E-4F6A-9F62-4CE4B7A8826C}"/>
          </ac:spMkLst>
        </pc:spChg>
        <pc:spChg chg="mod">
          <ac:chgData name="TUNINETTI LORENZO" userId="eae03f52-2aaa-4b01-8fe4-91bc1ea4a9bc" providerId="ADAL" clId="{02EF0581-0100-4783-851A-CDD406FEFC75}" dt="2023-03-21T08:30:12.477" v="25"/>
          <ac:spMkLst>
            <pc:docMk/>
            <pc:sldMk cId="2541670391" sldId="2147473488"/>
            <ac:spMk id="162" creationId="{26DFACB3-27E8-49EE-B654-970B07097455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67" creationId="{4CF63855-5482-4543-828A-C1FBB1722429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68" creationId="{CD0C6C1A-390B-45A3-8950-BB83E407138B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69" creationId="{F5A58D96-5C40-477C-A1AF-378BB8C14EA6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0" creationId="{53D5CCE5-D03B-4181-806E-AADD3385638A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1" creationId="{B12FB804-F517-4A58-A625-E677C8319C78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2" creationId="{91F8AC24-19EB-4FA9-A6FD-84829AF37F5E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3" creationId="{73F6B3A6-2C43-4E89-945B-464913358A95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4" creationId="{53A07E82-A93D-45A2-83DF-3639EA14C0A2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5" creationId="{8DE1768A-DFCC-4C6F-BC3C-08A32947805F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6" creationId="{FEE7B0FA-7471-4D7B-B59C-D3CB04D99C8F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7" creationId="{6256D3AA-CE17-4AC0-9407-7BD5BB23A996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8" creationId="{E181ED30-0CD9-4DD5-8F0C-C3F62F5C27C7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79" creationId="{A0D36A6E-66A5-4385-8269-1B769F44DA3C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0" creationId="{F6081C55-5D9B-4004-B276-FC37A773AFFB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1" creationId="{6A483EE6-323F-4AA4-B580-2CC1A05C3391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2" creationId="{166CAE9B-5B88-43FF-AD3C-8E5152969768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3" creationId="{11075DCF-1609-4DC4-AAE2-F774A112CE67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4" creationId="{1731BAA8-056D-41D6-A7D3-9B63E21A3415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5" creationId="{E898A4AA-E934-4406-B745-3721F1FE8FBC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6" creationId="{11AFEF0E-A169-4D08-8B00-4B3FF451D42B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7" creationId="{68FB489D-FD1C-4FC2-B339-B9166FD4691B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8" creationId="{A64D7343-7373-49F3-AD88-A7987ED30F0F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89" creationId="{DC752EF0-FCB4-4092-AB99-1184CABD4E37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0" creationId="{328730C9-4083-4F64-93CA-C8B8979602EA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1" creationId="{6D8E58A9-9476-4007-B371-6D24E1589EA3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2" creationId="{C4F2AF4A-868D-4644-823E-6B4D804DF3F0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3" creationId="{290D536E-8526-46AB-A9FC-66CEBABC0004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4" creationId="{1B94431A-B8F4-4370-970C-6C2E731C2B7F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5" creationId="{6924F632-76A8-4717-8752-8BEED188D90A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6" creationId="{4A137FF9-4C56-46B0-9305-7E18F0BACE60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7" creationId="{B4C4380C-C1DF-4FAF-9618-7C1091FDC7FD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8" creationId="{EC90408E-788C-49C7-AF69-CAE706D15C33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199" creationId="{8B657225-8D2D-4EDD-928E-C402EDF388C1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0" creationId="{B5B2F1C7-A3E7-46F1-B706-97DE86D467DE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1" creationId="{092ED194-6D51-46EC-96FF-354884010AF7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2" creationId="{CB93E5D7-7A29-4DE1-AE40-D8D862F7E166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3" creationId="{A4518E3D-206F-44B8-9F93-76A7ECF38DEB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4" creationId="{C605A6B7-C651-47F5-8A49-4F47A46FD65C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5" creationId="{4492BC62-AC8C-4424-8E08-7A88C637754E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6" creationId="{AF3CC498-D137-4CE6-829B-9AE436FFD12F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7" creationId="{E3DA33E3-ADF9-4150-9C09-3356DA76D737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8" creationId="{CEE0F9BB-C64A-4FEF-83CB-49D6095CF4AD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09" creationId="{33302A82-1C62-4353-801C-4B33BBCB520A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10" creationId="{086F2E0F-E643-4E6F-8390-AE4D12860539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11" creationId="{D5B66A9B-FACF-4910-BEAB-8AF6CFAA0F42}"/>
          </ac:spMkLst>
        </pc:spChg>
        <pc:spChg chg="mod">
          <ac:chgData name="TUNINETTI LORENZO" userId="eae03f52-2aaa-4b01-8fe4-91bc1ea4a9bc" providerId="ADAL" clId="{02EF0581-0100-4783-851A-CDD406FEFC75}" dt="2023-03-21T08:32:14.026" v="92"/>
          <ac:spMkLst>
            <pc:docMk/>
            <pc:sldMk cId="2541670391" sldId="2147473488"/>
            <ac:spMk id="212" creationId="{0D462411-35D4-4DB9-9E47-9633D02A6B17}"/>
          </ac:spMkLst>
        </pc:spChg>
        <pc:spChg chg="add mod">
          <ac:chgData name="TUNINETTI LORENZO" userId="eae03f52-2aaa-4b01-8fe4-91bc1ea4a9bc" providerId="ADAL" clId="{02EF0581-0100-4783-851A-CDD406FEFC75}" dt="2023-03-21T08:39:42.278" v="452" actId="1035"/>
          <ac:spMkLst>
            <pc:docMk/>
            <pc:sldMk cId="2541670391" sldId="2147473488"/>
            <ac:spMk id="217" creationId="{185B16D3-1553-4DEE-9222-0F845F8E4E1B}"/>
          </ac:spMkLst>
        </pc:spChg>
        <pc:spChg chg="add mod">
          <ac:chgData name="TUNINETTI LORENZO" userId="eae03f52-2aaa-4b01-8fe4-91bc1ea4a9bc" providerId="ADAL" clId="{02EF0581-0100-4783-851A-CDD406FEFC75}" dt="2023-03-21T08:38:23.227" v="286" actId="14100"/>
          <ac:spMkLst>
            <pc:docMk/>
            <pc:sldMk cId="2541670391" sldId="2147473488"/>
            <ac:spMk id="219" creationId="{32EC2AC6-F499-4DBF-940A-460A1D5557E4}"/>
          </ac:spMkLst>
        </pc:spChg>
        <pc:spChg chg="add mod">
          <ac:chgData name="TUNINETTI LORENZO" userId="eae03f52-2aaa-4b01-8fe4-91bc1ea4a9bc" providerId="ADAL" clId="{02EF0581-0100-4783-851A-CDD406FEFC75}" dt="2023-03-21T08:38:30.123" v="287" actId="571"/>
          <ac:spMkLst>
            <pc:docMk/>
            <pc:sldMk cId="2541670391" sldId="2147473488"/>
            <ac:spMk id="220" creationId="{0075AC00-3EF6-494A-9914-C264F1878D73}"/>
          </ac:spMkLst>
        </pc:spChg>
        <pc:spChg chg="add mod">
          <ac:chgData name="TUNINETTI LORENZO" userId="eae03f52-2aaa-4b01-8fe4-91bc1ea4a9bc" providerId="ADAL" clId="{02EF0581-0100-4783-851A-CDD406FEFC75}" dt="2023-03-21T08:38:38.171" v="288" actId="571"/>
          <ac:spMkLst>
            <pc:docMk/>
            <pc:sldMk cId="2541670391" sldId="2147473488"/>
            <ac:spMk id="221" creationId="{F6079769-66A0-4ADF-A82B-54EACB4840E4}"/>
          </ac:spMkLst>
        </pc:spChg>
        <pc:spChg chg="add mod">
          <ac:chgData name="TUNINETTI LORENZO" userId="eae03f52-2aaa-4b01-8fe4-91bc1ea4a9bc" providerId="ADAL" clId="{02EF0581-0100-4783-851A-CDD406FEFC75}" dt="2023-03-21T08:38:41.829" v="289" actId="571"/>
          <ac:spMkLst>
            <pc:docMk/>
            <pc:sldMk cId="2541670391" sldId="2147473488"/>
            <ac:spMk id="222" creationId="{13350CC1-C3DA-4103-B928-DFC34F847725}"/>
          </ac:spMkLst>
        </pc:spChg>
        <pc:spChg chg="mod">
          <ac:chgData name="TUNINETTI LORENZO" userId="eae03f52-2aaa-4b01-8fe4-91bc1ea4a9bc" providerId="ADAL" clId="{02EF0581-0100-4783-851A-CDD406FEFC75}" dt="2023-03-21T08:30:16.319" v="27" actId="1076"/>
          <ac:spMkLst>
            <pc:docMk/>
            <pc:sldMk cId="2541670391" sldId="2147473488"/>
            <ac:spMk id="1334" creationId="{00000000-0000-0000-0000-000000000000}"/>
          </ac:spMkLst>
        </pc:spChg>
        <pc:grpChg chg="mod">
          <ac:chgData name="TUNINETTI LORENZO" userId="eae03f52-2aaa-4b01-8fe4-91bc1ea4a9bc" providerId="ADAL" clId="{02EF0581-0100-4783-851A-CDD406FEFC75}" dt="2023-03-21T08:34:39.952" v="137" actId="1076"/>
          <ac:grpSpMkLst>
            <pc:docMk/>
            <pc:sldMk cId="2541670391" sldId="2147473488"/>
            <ac:grpSpMk id="18" creationId="{00000000-0000-0000-0000-000000000000}"/>
          </ac:grpSpMkLst>
        </pc:grpChg>
        <pc:grpChg chg="add del mod">
          <ac:chgData name="TUNINETTI LORENZO" userId="eae03f52-2aaa-4b01-8fe4-91bc1ea4a9bc" providerId="ADAL" clId="{02EF0581-0100-4783-851A-CDD406FEFC75}" dt="2023-03-21T08:34:02.569" v="114" actId="21"/>
          <ac:grpSpMkLst>
            <pc:docMk/>
            <pc:sldMk cId="2541670391" sldId="2147473488"/>
            <ac:grpSpMk id="21" creationId="{37B35579-BC15-4599-82C0-460917AD0882}"/>
          </ac:grpSpMkLst>
        </pc:grpChg>
        <pc:grpChg chg="add mod">
          <ac:chgData name="TUNINETTI LORENZO" userId="eae03f52-2aaa-4b01-8fe4-91bc1ea4a9bc" providerId="ADAL" clId="{02EF0581-0100-4783-851A-CDD406FEFC75}" dt="2023-03-21T08:36:34.255" v="262" actId="1035"/>
          <ac:grpSpMkLst>
            <pc:docMk/>
            <pc:sldMk cId="2541670391" sldId="2147473488"/>
            <ac:grpSpMk id="24" creationId="{3BBBE76F-8381-4F49-BC89-C7F59490818C}"/>
          </ac:grpSpMkLst>
        </pc:grpChg>
        <pc:grpChg chg="add del mod">
          <ac:chgData name="TUNINETTI LORENZO" userId="eae03f52-2aaa-4b01-8fe4-91bc1ea4a9bc" providerId="ADAL" clId="{02EF0581-0100-4783-851A-CDD406FEFC75}" dt="2023-03-21T08:32:07.021" v="91" actId="478"/>
          <ac:grpSpMkLst>
            <pc:docMk/>
            <pc:sldMk cId="2541670391" sldId="2147473488"/>
            <ac:grpSpMk id="113" creationId="{2E00DF39-9B0E-4436-8742-2BE6B9DF744E}"/>
          </ac:grpSpMkLst>
        </pc:grpChg>
        <pc:grpChg chg="mod">
          <ac:chgData name="TUNINETTI LORENZO" userId="eae03f52-2aaa-4b01-8fe4-91bc1ea4a9bc" providerId="ADAL" clId="{02EF0581-0100-4783-851A-CDD406FEFC75}" dt="2023-03-21T08:30:12.477" v="25"/>
          <ac:grpSpMkLst>
            <pc:docMk/>
            <pc:sldMk cId="2541670391" sldId="2147473488"/>
            <ac:grpSpMk id="114" creationId="{5E6F7349-206B-425B-B756-3A772A00AEEF}"/>
          </ac:grpSpMkLst>
        </pc:grpChg>
        <pc:grpChg chg="del mod">
          <ac:chgData name="TUNINETTI LORENZO" userId="eae03f52-2aaa-4b01-8fe4-91bc1ea4a9bc" providerId="ADAL" clId="{02EF0581-0100-4783-851A-CDD406FEFC75}" dt="2023-03-21T08:30:25.816" v="29" actId="478"/>
          <ac:grpSpMkLst>
            <pc:docMk/>
            <pc:sldMk cId="2541670391" sldId="2147473488"/>
            <ac:grpSpMk id="115" creationId="{6517312E-152C-4588-A989-0493679FE2EB}"/>
          </ac:grpSpMkLst>
        </pc:grpChg>
        <pc:grpChg chg="mod">
          <ac:chgData name="TUNINETTI LORENZO" userId="eae03f52-2aaa-4b01-8fe4-91bc1ea4a9bc" providerId="ADAL" clId="{02EF0581-0100-4783-851A-CDD406FEFC75}" dt="2023-03-21T08:30:12.477" v="25"/>
          <ac:grpSpMkLst>
            <pc:docMk/>
            <pc:sldMk cId="2541670391" sldId="2147473488"/>
            <ac:grpSpMk id="116" creationId="{FA041707-04BB-4F43-B037-2C65DBB40873}"/>
          </ac:grpSpMkLst>
        </pc:grpChg>
        <pc:grpChg chg="add del mod">
          <ac:chgData name="TUNINETTI LORENZO" userId="eae03f52-2aaa-4b01-8fe4-91bc1ea4a9bc" providerId="ADAL" clId="{02EF0581-0100-4783-851A-CDD406FEFC75}" dt="2023-03-21T08:32:23.942" v="94" actId="21"/>
          <ac:grpSpMkLst>
            <pc:docMk/>
            <pc:sldMk cId="2541670391" sldId="2147473488"/>
            <ac:grpSpMk id="163" creationId="{7391204F-DA51-46E5-9E2A-257E638DF2C6}"/>
          </ac:grpSpMkLst>
        </pc:grpChg>
        <pc:grpChg chg="mod">
          <ac:chgData name="TUNINETTI LORENZO" userId="eae03f52-2aaa-4b01-8fe4-91bc1ea4a9bc" providerId="ADAL" clId="{02EF0581-0100-4783-851A-CDD406FEFC75}" dt="2023-03-21T08:32:14.026" v="92"/>
          <ac:grpSpMkLst>
            <pc:docMk/>
            <pc:sldMk cId="2541670391" sldId="2147473488"/>
            <ac:grpSpMk id="164" creationId="{26EEA8A4-8332-4ED0-8E84-980C0F24D493}"/>
          </ac:grpSpMkLst>
        </pc:grpChg>
        <pc:grpChg chg="mod">
          <ac:chgData name="TUNINETTI LORENZO" userId="eae03f52-2aaa-4b01-8fe4-91bc1ea4a9bc" providerId="ADAL" clId="{02EF0581-0100-4783-851A-CDD406FEFC75}" dt="2023-03-21T08:32:14.026" v="92"/>
          <ac:grpSpMkLst>
            <pc:docMk/>
            <pc:sldMk cId="2541670391" sldId="2147473488"/>
            <ac:grpSpMk id="165" creationId="{7138CFBD-8DBE-4F58-B5B1-51E957EB8175}"/>
          </ac:grpSpMkLst>
        </pc:grpChg>
        <pc:grpChg chg="mod">
          <ac:chgData name="TUNINETTI LORENZO" userId="eae03f52-2aaa-4b01-8fe4-91bc1ea4a9bc" providerId="ADAL" clId="{02EF0581-0100-4783-851A-CDD406FEFC75}" dt="2023-03-21T08:32:14.026" v="92"/>
          <ac:grpSpMkLst>
            <pc:docMk/>
            <pc:sldMk cId="2541670391" sldId="2147473488"/>
            <ac:grpSpMk id="166" creationId="{BDD23F0C-46E9-49C2-96B5-8F7805E8F4BA}"/>
          </ac:grpSpMkLst>
        </pc:grpChg>
        <pc:grpChg chg="del">
          <ac:chgData name="TUNINETTI LORENZO" userId="eae03f52-2aaa-4b01-8fe4-91bc1ea4a9bc" providerId="ADAL" clId="{02EF0581-0100-4783-851A-CDD406FEFC75}" dt="2023-03-21T08:30:07.559" v="24" actId="478"/>
          <ac:grpSpMkLst>
            <pc:docMk/>
            <pc:sldMk cId="2541670391" sldId="2147473488"/>
            <ac:grpSpMk id="1115" creationId="{00000000-0000-0000-0000-000000000000}"/>
          </ac:grpSpMkLst>
        </pc:grpChg>
        <pc:picChg chg="add mod modCrop">
          <ac:chgData name="TUNINETTI LORENZO" userId="eae03f52-2aaa-4b01-8fe4-91bc1ea4a9bc" providerId="ADAL" clId="{02EF0581-0100-4783-851A-CDD406FEFC75}" dt="2023-03-21T08:36:26.219" v="247" actId="1035"/>
          <ac:picMkLst>
            <pc:docMk/>
            <pc:sldMk cId="2541670391" sldId="2147473488"/>
            <ac:picMk id="17" creationId="{4E25FB34-730B-4C28-B5E6-3221DEB79238}"/>
          </ac:picMkLst>
        </pc:picChg>
        <pc:picChg chg="add mod">
          <ac:chgData name="TUNINETTI LORENZO" userId="eae03f52-2aaa-4b01-8fe4-91bc1ea4a9bc" providerId="ADAL" clId="{02EF0581-0100-4783-851A-CDD406FEFC75}" dt="2023-03-21T08:36:34.255" v="262" actId="1035"/>
          <ac:picMkLst>
            <pc:docMk/>
            <pc:sldMk cId="2541670391" sldId="2147473488"/>
            <ac:picMk id="22" creationId="{1C383B12-B888-4A7E-9C86-CD6467397F3B}"/>
          </ac:picMkLst>
        </pc:picChg>
        <pc:picChg chg="add mod">
          <ac:chgData name="TUNINETTI LORENZO" userId="eae03f52-2aaa-4b01-8fe4-91bc1ea4a9bc" providerId="ADAL" clId="{02EF0581-0100-4783-851A-CDD406FEFC75}" dt="2023-03-21T08:36:06.073" v="232" actId="164"/>
          <ac:picMkLst>
            <pc:docMk/>
            <pc:sldMk cId="2541670391" sldId="2147473488"/>
            <ac:picMk id="112" creationId="{923D4E8D-B7DE-4838-B498-1E7602AE5E3E}"/>
          </ac:picMkLst>
        </pc:picChg>
        <pc:picChg chg="add mod modCrop">
          <ac:chgData name="TUNINETTI LORENZO" userId="eae03f52-2aaa-4b01-8fe4-91bc1ea4a9bc" providerId="ADAL" clId="{02EF0581-0100-4783-851A-CDD406FEFC75}" dt="2023-03-21T08:36:26.219" v="247" actId="1035"/>
          <ac:picMkLst>
            <pc:docMk/>
            <pc:sldMk cId="2541670391" sldId="2147473488"/>
            <ac:picMk id="213" creationId="{31373DFF-0E68-4A50-AC49-56226CDB310F}"/>
          </ac:picMkLst>
        </pc:picChg>
        <pc:picChg chg="del">
          <ac:chgData name="TUNINETTI LORENZO" userId="eae03f52-2aaa-4b01-8fe4-91bc1ea4a9bc" providerId="ADAL" clId="{02EF0581-0100-4783-851A-CDD406FEFC75}" dt="2023-03-21T08:29:59.734" v="20" actId="478"/>
          <ac:picMkLst>
            <pc:docMk/>
            <pc:sldMk cId="2541670391" sldId="2147473488"/>
            <ac:picMk id="1040" creationId="{00000000-0000-0000-0000-000000000000}"/>
          </ac:picMkLst>
        </pc:picChg>
      </pc:sldChg>
      <pc:sldChg chg="modSp mod">
        <pc:chgData name="TUNINETTI LORENZO" userId="eae03f52-2aaa-4b01-8fe4-91bc1ea4a9bc" providerId="ADAL" clId="{02EF0581-0100-4783-851A-CDD406FEFC75}" dt="2023-03-21T08:26:45.884" v="8" actId="20577"/>
        <pc:sldMkLst>
          <pc:docMk/>
          <pc:sldMk cId="361170268" sldId="2147475680"/>
        </pc:sldMkLst>
        <pc:spChg chg="mod">
          <ac:chgData name="TUNINETTI LORENZO" userId="eae03f52-2aaa-4b01-8fe4-91bc1ea4a9bc" providerId="ADAL" clId="{02EF0581-0100-4783-851A-CDD406FEFC75}" dt="2023-03-21T08:26:45.884" v="8" actId="20577"/>
          <ac:spMkLst>
            <pc:docMk/>
            <pc:sldMk cId="361170268" sldId="2147475680"/>
            <ac:spMk id="104" creationId="{00000000-0000-0000-0000-000000000000}"/>
          </ac:spMkLst>
        </pc:spChg>
      </pc:sldChg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4140429992" sldId="2147475777"/>
        </pc:sldMkLst>
      </pc:sldChg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2132368979" sldId="2147475874"/>
        </pc:sldMkLst>
      </pc:sldChg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1849024709" sldId="2147475888"/>
        </pc:sldMkLst>
      </pc:sldChg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2772479365" sldId="2147478120"/>
        </pc:sldMkLst>
      </pc:sldChg>
      <pc:sldChg chg="modSp mod">
        <pc:chgData name="TUNINETTI LORENZO" userId="eae03f52-2aaa-4b01-8fe4-91bc1ea4a9bc" providerId="ADAL" clId="{02EF0581-0100-4783-851A-CDD406FEFC75}" dt="2023-03-21T08:45:26.338" v="493" actId="6549"/>
        <pc:sldMkLst>
          <pc:docMk/>
          <pc:sldMk cId="3940121616" sldId="2147478124"/>
        </pc:sldMkLst>
        <pc:spChg chg="mod">
          <ac:chgData name="TUNINETTI LORENZO" userId="eae03f52-2aaa-4b01-8fe4-91bc1ea4a9bc" providerId="ADAL" clId="{02EF0581-0100-4783-851A-CDD406FEFC75}" dt="2023-03-21T08:45:26.338" v="493" actId="6549"/>
          <ac:spMkLst>
            <pc:docMk/>
            <pc:sldMk cId="3940121616" sldId="2147478124"/>
            <ac:spMk id="134" creationId="{E7A35C79-8F3E-C31C-1F29-3E8C497D4D0D}"/>
          </ac:spMkLst>
        </pc:spChg>
      </pc:sldChg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331116589" sldId="2147478130"/>
        </pc:sldMkLst>
      </pc:sldChg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1077579010" sldId="2147478136"/>
        </pc:sldMkLst>
      </pc:sldChg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3349268504" sldId="2147478137"/>
        </pc:sldMkLst>
      </pc:sldChg>
      <pc:sldChg chg="modSp mod">
        <pc:chgData name="TUNINETTI LORENZO" userId="eae03f52-2aaa-4b01-8fe4-91bc1ea4a9bc" providerId="ADAL" clId="{02EF0581-0100-4783-851A-CDD406FEFC75}" dt="2023-03-21T08:54:20.794" v="540" actId="20577"/>
        <pc:sldMkLst>
          <pc:docMk/>
          <pc:sldMk cId="1660654323" sldId="2147478138"/>
        </pc:sldMkLst>
        <pc:spChg chg="mod">
          <ac:chgData name="TUNINETTI LORENZO" userId="eae03f52-2aaa-4b01-8fe4-91bc1ea4a9bc" providerId="ADAL" clId="{02EF0581-0100-4783-851A-CDD406FEFC75}" dt="2023-03-21T08:27:57.233" v="16" actId="20577"/>
          <ac:spMkLst>
            <pc:docMk/>
            <pc:sldMk cId="1660654323" sldId="2147478138"/>
            <ac:spMk id="2" creationId="{FEBDDEEC-0C6F-B85D-8FCD-4D30D281F515}"/>
          </ac:spMkLst>
        </pc:spChg>
        <pc:spChg chg="mod">
          <ac:chgData name="TUNINETTI LORENZO" userId="eae03f52-2aaa-4b01-8fe4-91bc1ea4a9bc" providerId="ADAL" clId="{02EF0581-0100-4783-851A-CDD406FEFC75}" dt="2023-03-21T08:28:05.173" v="19" actId="20577"/>
          <ac:spMkLst>
            <pc:docMk/>
            <pc:sldMk cId="1660654323" sldId="2147478138"/>
            <ac:spMk id="6" creationId="{8639CA53-D8F9-9109-5C11-DD713CACCBDC}"/>
          </ac:spMkLst>
        </pc:spChg>
        <pc:spChg chg="mod">
          <ac:chgData name="TUNINETTI LORENZO" userId="eae03f52-2aaa-4b01-8fe4-91bc1ea4a9bc" providerId="ADAL" clId="{02EF0581-0100-4783-851A-CDD406FEFC75}" dt="2023-03-21T08:54:20.794" v="540" actId="20577"/>
          <ac:spMkLst>
            <pc:docMk/>
            <pc:sldMk cId="1660654323" sldId="2147478138"/>
            <ac:spMk id="112" creationId="{00000000-0000-0000-0000-000000000000}"/>
          </ac:spMkLst>
        </pc:spChg>
      </pc:sldChg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4004758110" sldId="2147478140"/>
        </pc:sldMkLst>
      </pc:sldChg>
      <pc:sldChg chg="addSp modSp mod">
        <pc:chgData name="TUNINETTI LORENZO" userId="eae03f52-2aaa-4b01-8fe4-91bc1ea4a9bc" providerId="ADAL" clId="{02EF0581-0100-4783-851A-CDD406FEFC75}" dt="2023-03-21T08:51:44.875" v="537" actId="207"/>
        <pc:sldMkLst>
          <pc:docMk/>
          <pc:sldMk cId="3006485774" sldId="2147478143"/>
        </pc:sldMkLst>
        <pc:spChg chg="mod">
          <ac:chgData name="TUNINETTI LORENZO" userId="eae03f52-2aaa-4b01-8fe4-91bc1ea4a9bc" providerId="ADAL" clId="{02EF0581-0100-4783-851A-CDD406FEFC75}" dt="2023-03-21T08:51:20.125" v="531" actId="207"/>
          <ac:spMkLst>
            <pc:docMk/>
            <pc:sldMk cId="3006485774" sldId="2147478143"/>
            <ac:spMk id="38" creationId="{4DA6D28F-3F66-4F89-A158-5E14729A3768}"/>
          </ac:spMkLst>
        </pc:spChg>
        <pc:spChg chg="mod">
          <ac:chgData name="TUNINETTI LORENZO" userId="eae03f52-2aaa-4b01-8fe4-91bc1ea4a9bc" providerId="ADAL" clId="{02EF0581-0100-4783-851A-CDD406FEFC75}" dt="2023-03-21T08:47:59.891" v="509" actId="207"/>
          <ac:spMkLst>
            <pc:docMk/>
            <pc:sldMk cId="3006485774" sldId="2147478143"/>
            <ac:spMk id="39" creationId="{3A75FDA0-5A51-4E4B-9E66-271B3DE8A3E7}"/>
          </ac:spMkLst>
        </pc:spChg>
        <pc:spChg chg="mod">
          <ac:chgData name="TUNINETTI LORENZO" userId="eae03f52-2aaa-4b01-8fe4-91bc1ea4a9bc" providerId="ADAL" clId="{02EF0581-0100-4783-851A-CDD406FEFC75}" dt="2023-03-21T08:51:12.743" v="530" actId="207"/>
          <ac:spMkLst>
            <pc:docMk/>
            <pc:sldMk cId="3006485774" sldId="2147478143"/>
            <ac:spMk id="40" creationId="{C42FBCA0-2512-4DE8-8147-76AD269AEB03}"/>
          </ac:spMkLst>
        </pc:spChg>
        <pc:spChg chg="mod">
          <ac:chgData name="TUNINETTI LORENZO" userId="eae03f52-2aaa-4b01-8fe4-91bc1ea4a9bc" providerId="ADAL" clId="{02EF0581-0100-4783-851A-CDD406FEFC75}" dt="2023-03-21T08:51:44.875" v="537" actId="207"/>
          <ac:spMkLst>
            <pc:docMk/>
            <pc:sldMk cId="3006485774" sldId="2147478143"/>
            <ac:spMk id="41" creationId="{C71E373A-F055-407D-889C-F1CF29851CCA}"/>
          </ac:spMkLst>
        </pc:spChg>
        <pc:spChg chg="mod">
          <ac:chgData name="TUNINETTI LORENZO" userId="eae03f52-2aaa-4b01-8fe4-91bc1ea4a9bc" providerId="ADAL" clId="{02EF0581-0100-4783-851A-CDD406FEFC75}" dt="2023-03-21T08:51:31.522" v="533" actId="207"/>
          <ac:spMkLst>
            <pc:docMk/>
            <pc:sldMk cId="3006485774" sldId="2147478143"/>
            <ac:spMk id="42" creationId="{60D25C7B-409C-43C7-9211-C71F54B004CE}"/>
          </ac:spMkLst>
        </pc:spChg>
        <pc:spChg chg="add mod">
          <ac:chgData name="TUNINETTI LORENZO" userId="eae03f52-2aaa-4b01-8fe4-91bc1ea4a9bc" providerId="ADAL" clId="{02EF0581-0100-4783-851A-CDD406FEFC75}" dt="2023-03-21T08:44:54.014" v="453"/>
          <ac:spMkLst>
            <pc:docMk/>
            <pc:sldMk cId="3006485774" sldId="2147478143"/>
            <ac:spMk id="48" creationId="{28A326C2-C755-4051-A7E1-725CE816BB65}"/>
          </ac:spMkLst>
        </pc:spChg>
        <pc:spChg chg="add mod">
          <ac:chgData name="TUNINETTI LORENZO" userId="eae03f52-2aaa-4b01-8fe4-91bc1ea4a9bc" providerId="ADAL" clId="{02EF0581-0100-4783-851A-CDD406FEFC75}" dt="2023-03-21T08:45:08.452" v="489" actId="1036"/>
          <ac:spMkLst>
            <pc:docMk/>
            <pc:sldMk cId="3006485774" sldId="2147478143"/>
            <ac:spMk id="49" creationId="{68F8BA06-27EC-43AE-9577-2A2BAE16DF5D}"/>
          </ac:spMkLst>
        </pc:spChg>
        <pc:grpChg chg="mod">
          <ac:chgData name="TUNINETTI LORENZO" userId="eae03f52-2aaa-4b01-8fe4-91bc1ea4a9bc" providerId="ADAL" clId="{02EF0581-0100-4783-851A-CDD406FEFC75}" dt="2023-03-21T08:45:01.126" v="469" actId="1036"/>
          <ac:grpSpMkLst>
            <pc:docMk/>
            <pc:sldMk cId="3006485774" sldId="2147478143"/>
            <ac:grpSpMk id="31" creationId="{CAEB0585-15F3-48C6-BFC6-0D64DFC1BA61}"/>
          </ac:grpSpMkLst>
        </pc:grpChg>
      </pc:sldChg>
      <pc:sldChg chg="del">
        <pc:chgData name="TUNINETTI LORENZO" userId="eae03f52-2aaa-4b01-8fe4-91bc1ea4a9bc" providerId="ADAL" clId="{02EF0581-0100-4783-851A-CDD406FEFC75}" dt="2023-03-21T08:52:20.070" v="538" actId="47"/>
        <pc:sldMkLst>
          <pc:docMk/>
          <pc:sldMk cId="4039915663" sldId="2147478144"/>
        </pc:sldMkLst>
      </pc:sldChg>
      <pc:sldChg chg="addSp delSp modSp add del mod">
        <pc:chgData name="TUNINETTI LORENZO" userId="eae03f52-2aaa-4b01-8fe4-91bc1ea4a9bc" providerId="ADAL" clId="{02EF0581-0100-4783-851A-CDD406FEFC75}" dt="2023-03-21T08:32:00.350" v="90" actId="47"/>
        <pc:sldMkLst>
          <pc:docMk/>
          <pc:sldMk cId="2080914579" sldId="2147478145"/>
        </pc:sldMkLst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2" creationId="{BC4BEA4B-EC1F-471B-A0B8-A61F9DAFDC35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6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4" creationId="{4D856913-3ED2-4B28-8842-FC075714326F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07" creationId="{81C49E4A-8975-475A-B70D-C518B9514137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18" creationId="{635E56F7-3760-4937-8D8D-7A63FC644212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19" creationId="{D6B17724-2F94-4A29-84EB-A421E17E06A0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0" creationId="{1CF5F35B-9020-4A36-AC7B-47BC64DCE8C3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1" creationId="{215A2AF6-34E4-4F48-BEB2-161D807A15E6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2" creationId="{303DFA7F-AD96-4A9E-BC51-62A199035540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3" creationId="{B6872F3C-8C36-4D60-81E7-3589AA72E25F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4" creationId="{88B9D511-1D3F-4DC3-A312-B9B7A243794B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5" creationId="{D5ED9C10-DB92-44F0-B06E-AF9420205410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6" creationId="{9089FE4A-4538-446D-A4E4-96633DFEBA38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7" creationId="{72E88B5D-B5B8-4FAE-B87C-559E48BF057A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8" creationId="{90D1F53D-B500-46EA-9A79-A59BCF692CBE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29" creationId="{85ECE145-97F9-4636-A2C5-CAC210D659A6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0" creationId="{7AECD40F-E226-4B95-AEBC-E6717AD22649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1" creationId="{CE60BEDD-4DE3-4E3C-9D5E-32739ADDC88D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2" creationId="{AFB57FE2-ECF6-4752-96C0-FD29831C3B64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3" creationId="{95D80FF0-1993-4C9A-A425-2C7BBEB1CF1C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4" creationId="{2CBC7A21-93C0-471C-AA8C-7546D32C756D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5" creationId="{25AD698B-1C08-4C83-906A-C2EA15614AEC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6" creationId="{036DBEF5-98E6-48A3-A44D-EE77EA3ECDD6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7" creationId="{BBB464AF-35BC-496E-9D28-BF571BFD51F5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8" creationId="{24C7E497-D963-44E9-B024-47069567BDF6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39" creationId="{3BBCCECE-EFFF-46ED-8743-1C22692A1E52}"/>
          </ac:spMkLst>
        </pc:spChg>
        <pc:spChg chg="del">
          <ac:chgData name="TUNINETTI LORENZO" userId="eae03f52-2aaa-4b01-8fe4-91bc1ea4a9bc" providerId="ADAL" clId="{02EF0581-0100-4783-851A-CDD406FEFC75}" dt="2023-03-21T08:30:47.949" v="34" actId="478"/>
          <ac:spMkLst>
            <pc:docMk/>
            <pc:sldMk cId="2080914579" sldId="2147478145"/>
            <ac:spMk id="141" creationId="{2D876C9C-AF84-4060-8217-F17A5E6A2705}"/>
          </ac:spMkLst>
        </pc:spChg>
        <pc:spChg chg="del">
          <ac:chgData name="TUNINETTI LORENZO" userId="eae03f52-2aaa-4b01-8fe4-91bc1ea4a9bc" providerId="ADAL" clId="{02EF0581-0100-4783-851A-CDD406FEFC75}" dt="2023-03-21T08:30:47.949" v="34" actId="478"/>
          <ac:spMkLst>
            <pc:docMk/>
            <pc:sldMk cId="2080914579" sldId="2147478145"/>
            <ac:spMk id="142" creationId="{93E5B673-3124-448A-AF9F-D06B0EF87503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43" creationId="{76ACDF82-8D41-4227-B237-EF305CA32929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44" creationId="{C311C22F-B38B-47A1-BE70-C4122E97C541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45" creationId="{0ED3A214-87FC-4FD8-8703-81DE3B1F0091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46" creationId="{341B31A4-E707-4F6C-BEC3-85B73FB4C669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47" creationId="{028CEA24-E46A-44AB-9447-2223A06BB05B}"/>
          </ac:spMkLst>
        </pc:spChg>
        <pc:spChg chg="del">
          <ac:chgData name="TUNINETTI LORENZO" userId="eae03f52-2aaa-4b01-8fe4-91bc1ea4a9bc" providerId="ADAL" clId="{02EF0581-0100-4783-851A-CDD406FEFC75}" dt="2023-03-21T08:30:47.949" v="34" actId="478"/>
          <ac:spMkLst>
            <pc:docMk/>
            <pc:sldMk cId="2080914579" sldId="2147478145"/>
            <ac:spMk id="148" creationId="{B3276A8A-BA48-49EB-B4B4-B3018DFBA225}"/>
          </ac:spMkLst>
        </pc:spChg>
        <pc:spChg chg="del">
          <ac:chgData name="TUNINETTI LORENZO" userId="eae03f52-2aaa-4b01-8fe4-91bc1ea4a9bc" providerId="ADAL" clId="{02EF0581-0100-4783-851A-CDD406FEFC75}" dt="2023-03-21T08:30:47.949" v="34" actId="478"/>
          <ac:spMkLst>
            <pc:docMk/>
            <pc:sldMk cId="2080914579" sldId="2147478145"/>
            <ac:spMk id="149" creationId="{E94FE81E-5D11-4991-B97A-B72EF092BBF5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50" creationId="{1770137F-3E22-478F-8AC1-E0088AFC2065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51" creationId="{F3D31426-149C-450F-9D0C-66AE2DCC949A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52" creationId="{6C0572C1-3F26-4D3D-94FF-A60EFB782B6A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53" creationId="{9BCCEA16-4815-4E98-8424-2EE3EE5FFC6E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54" creationId="{305DD91F-888C-4066-83DA-5C34F0E19D3B}"/>
          </ac:spMkLst>
        </pc:spChg>
        <pc:spChg chg="mod topLvl">
          <ac:chgData name="TUNINETTI LORENZO" userId="eae03f52-2aaa-4b01-8fe4-91bc1ea4a9bc" providerId="ADAL" clId="{02EF0581-0100-4783-851A-CDD406FEFC75}" dt="2023-03-21T08:31:56.390" v="89" actId="1035"/>
          <ac:spMkLst>
            <pc:docMk/>
            <pc:sldMk cId="2080914579" sldId="2147478145"/>
            <ac:spMk id="155" creationId="{71D4EB25-1DC5-42BA-B9A2-D053F0A535F2}"/>
          </ac:spMkLst>
        </pc:spChg>
        <pc:spChg chg="mod topLvl">
          <ac:chgData name="TUNINETTI LORENZO" userId="eae03f52-2aaa-4b01-8fe4-91bc1ea4a9bc" providerId="ADAL" clId="{02EF0581-0100-4783-851A-CDD406FEFC75}" dt="2023-03-21T08:31:56.390" v="89" actId="1035"/>
          <ac:spMkLst>
            <pc:docMk/>
            <pc:sldMk cId="2080914579" sldId="2147478145"/>
            <ac:spMk id="156" creationId="{22A04290-91D5-43B5-96CF-4335899571B3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57" creationId="{299CF204-4341-4B48-BDD5-2684E3F55FDD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58" creationId="{D270DE5C-18E8-4735-B72E-1C7EA3DEC405}"/>
          </ac:spMkLst>
        </pc:spChg>
        <pc:spChg chg="del">
          <ac:chgData name="TUNINETTI LORENZO" userId="eae03f52-2aaa-4b01-8fe4-91bc1ea4a9bc" providerId="ADAL" clId="{02EF0581-0100-4783-851A-CDD406FEFC75}" dt="2023-03-21T08:30:51.920" v="35" actId="478"/>
          <ac:spMkLst>
            <pc:docMk/>
            <pc:sldMk cId="2080914579" sldId="2147478145"/>
            <ac:spMk id="159" creationId="{56D250FA-58B1-4659-8B2F-844326DDAD42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60" creationId="{C8A3CF7A-4A2C-41D0-8C1C-FF15ED0DAD54}"/>
          </ac:spMkLst>
        </pc:spChg>
        <pc:spChg chg="mod topLvl">
          <ac:chgData name="TUNINETTI LORENZO" userId="eae03f52-2aaa-4b01-8fe4-91bc1ea4a9bc" providerId="ADAL" clId="{02EF0581-0100-4783-851A-CDD406FEFC75}" dt="2023-03-21T08:31:55.484" v="87" actId="165"/>
          <ac:spMkLst>
            <pc:docMk/>
            <pc:sldMk cId="2080914579" sldId="2147478145"/>
            <ac:spMk id="161" creationId="{E3CCFED5-CE2E-4F6A-9F62-4CE4B7A8826C}"/>
          </ac:spMkLst>
        </pc:spChg>
        <pc:spChg chg="del">
          <ac:chgData name="TUNINETTI LORENZO" userId="eae03f52-2aaa-4b01-8fe4-91bc1ea4a9bc" providerId="ADAL" clId="{02EF0581-0100-4783-851A-CDD406FEFC75}" dt="2023-03-21T08:30:51.920" v="35" actId="478"/>
          <ac:spMkLst>
            <pc:docMk/>
            <pc:sldMk cId="2080914579" sldId="2147478145"/>
            <ac:spMk id="162" creationId="{26DFACB3-27E8-49EE-B654-970B07097455}"/>
          </ac:spMkLst>
        </pc:spChg>
        <pc:spChg chg="del">
          <ac:chgData name="TUNINETTI LORENZO" userId="eae03f52-2aaa-4b01-8fe4-91bc1ea4a9bc" providerId="ADAL" clId="{02EF0581-0100-4783-851A-CDD406FEFC75}" dt="2023-03-21T08:30:36.334" v="32" actId="478"/>
          <ac:spMkLst>
            <pc:docMk/>
            <pc:sldMk cId="2080914579" sldId="2147478145"/>
            <ac:spMk id="249" creationId="{4D856913-3ED2-4B28-8842-FC075714326F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148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149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150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172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173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174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175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181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182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05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06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07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08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09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10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12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13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14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15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16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17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18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19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0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1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2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3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4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5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6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7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8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29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30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31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32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33" creationId="{00000000-0000-0000-0000-000000000000}"/>
          </ac:spMkLst>
        </pc:spChg>
        <pc:spChg chg="del">
          <ac:chgData name="TUNINETTI LORENZO" userId="eae03f52-2aaa-4b01-8fe4-91bc1ea4a9bc" providerId="ADAL" clId="{02EF0581-0100-4783-851A-CDD406FEFC75}" dt="2023-03-21T08:30:34.974" v="31" actId="478"/>
          <ac:spMkLst>
            <pc:docMk/>
            <pc:sldMk cId="2080914579" sldId="2147478145"/>
            <ac:spMk id="1334" creationId="{00000000-0000-0000-0000-000000000000}"/>
          </ac:spMkLst>
        </pc:spChg>
        <pc:grpChg chg="del">
          <ac:chgData name="TUNINETTI LORENZO" userId="eae03f52-2aaa-4b01-8fe4-91bc1ea4a9bc" providerId="ADAL" clId="{02EF0581-0100-4783-851A-CDD406FEFC75}" dt="2023-03-21T08:30:34.974" v="31" actId="478"/>
          <ac:grpSpMkLst>
            <pc:docMk/>
            <pc:sldMk cId="2080914579" sldId="2147478145"/>
            <ac:grpSpMk id="10" creationId="{00000000-0000-0000-0000-000000000000}"/>
          </ac:grpSpMkLst>
        </pc:grpChg>
        <pc:grpChg chg="del">
          <ac:chgData name="TUNINETTI LORENZO" userId="eae03f52-2aaa-4b01-8fe4-91bc1ea4a9bc" providerId="ADAL" clId="{02EF0581-0100-4783-851A-CDD406FEFC75}" dt="2023-03-21T08:30:34.974" v="31" actId="478"/>
          <ac:grpSpMkLst>
            <pc:docMk/>
            <pc:sldMk cId="2080914579" sldId="2147478145"/>
            <ac:grpSpMk id="18" creationId="{00000000-0000-0000-0000-000000000000}"/>
          </ac:grpSpMkLst>
        </pc:grpChg>
        <pc:grpChg chg="add del mod">
          <ac:chgData name="TUNINETTI LORENZO" userId="eae03f52-2aaa-4b01-8fe4-91bc1ea4a9bc" providerId="ADAL" clId="{02EF0581-0100-4783-851A-CDD406FEFC75}" dt="2023-03-21T08:31:55.484" v="87" actId="165"/>
          <ac:grpSpMkLst>
            <pc:docMk/>
            <pc:sldMk cId="2080914579" sldId="2147478145"/>
            <ac:grpSpMk id="113" creationId="{2E00DF39-9B0E-4436-8742-2BE6B9DF744E}"/>
          </ac:grpSpMkLst>
        </pc:grpChg>
        <pc:grpChg chg="add del mod topLvl">
          <ac:chgData name="TUNINETTI LORENZO" userId="eae03f52-2aaa-4b01-8fe4-91bc1ea4a9bc" providerId="ADAL" clId="{02EF0581-0100-4783-851A-CDD406FEFC75}" dt="2023-03-21T08:31:55.484" v="87" actId="165"/>
          <ac:grpSpMkLst>
            <pc:docMk/>
            <pc:sldMk cId="2080914579" sldId="2147478145"/>
            <ac:grpSpMk id="114" creationId="{5E6F7349-206B-425B-B756-3A772A00AEEF}"/>
          </ac:grpSpMkLst>
        </pc:grpChg>
        <pc:grpChg chg="add del mod topLvl">
          <ac:chgData name="TUNINETTI LORENZO" userId="eae03f52-2aaa-4b01-8fe4-91bc1ea4a9bc" providerId="ADAL" clId="{02EF0581-0100-4783-851A-CDD406FEFC75}" dt="2023-03-21T08:31:55.484" v="87" actId="165"/>
          <ac:grpSpMkLst>
            <pc:docMk/>
            <pc:sldMk cId="2080914579" sldId="2147478145"/>
            <ac:grpSpMk id="116" creationId="{FA041707-04BB-4F43-B037-2C65DBB40873}"/>
          </ac:grpSpMkLst>
        </pc:grpChg>
        <pc:grpChg chg="del">
          <ac:chgData name="TUNINETTI LORENZO" userId="eae03f52-2aaa-4b01-8fe4-91bc1ea4a9bc" providerId="ADAL" clId="{02EF0581-0100-4783-851A-CDD406FEFC75}" dt="2023-03-21T08:30:34.974" v="31" actId="478"/>
          <ac:grpSpMkLst>
            <pc:docMk/>
            <pc:sldMk cId="2080914579" sldId="2147478145"/>
            <ac:grpSpMk id="1151" creationId="{00000000-0000-0000-0000-000000000000}"/>
          </ac:grpSpMkLst>
        </pc:grpChg>
        <pc:grpChg chg="del">
          <ac:chgData name="TUNINETTI LORENZO" userId="eae03f52-2aaa-4b01-8fe4-91bc1ea4a9bc" providerId="ADAL" clId="{02EF0581-0100-4783-851A-CDD406FEFC75}" dt="2023-03-21T08:30:34.974" v="31" actId="478"/>
          <ac:grpSpMkLst>
            <pc:docMk/>
            <pc:sldMk cId="2080914579" sldId="2147478145"/>
            <ac:grpSpMk id="1284" creationId="{00000000-0000-0000-0000-000000000000}"/>
          </ac:grpSpMkLst>
        </pc:grpChg>
        <pc:cxnChg chg="del">
          <ac:chgData name="TUNINETTI LORENZO" userId="eae03f52-2aaa-4b01-8fe4-91bc1ea4a9bc" providerId="ADAL" clId="{02EF0581-0100-4783-851A-CDD406FEFC75}" dt="2023-03-21T08:30:34.974" v="31" actId="478"/>
          <ac:cxnSpMkLst>
            <pc:docMk/>
            <pc:sldMk cId="2080914579" sldId="2147478145"/>
            <ac:cxnSpMk id="15" creationId="{08C5C688-F90D-40BE-A3A6-F8034566A6F4}"/>
          </ac:cxnSpMkLst>
        </pc:cxnChg>
        <pc:cxnChg chg="del">
          <ac:chgData name="TUNINETTI LORENZO" userId="eae03f52-2aaa-4b01-8fe4-91bc1ea4a9bc" providerId="ADAL" clId="{02EF0581-0100-4783-851A-CDD406FEFC75}" dt="2023-03-21T08:30:34.974" v="31" actId="478"/>
          <ac:cxnSpMkLst>
            <pc:docMk/>
            <pc:sldMk cId="2080914579" sldId="2147478145"/>
            <ac:cxnSpMk id="1179" creationId="{08C5C688-F90D-40BE-A3A6-F8034566A6F4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946631\Desktop\Rete%20merc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946631\Desktop\Rete%20merc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946631\Desktop\Rete%20merci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Foglio_di_lavoro_di_Microsoft_Excel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file:///C:\Users\946631\Desktop\Sardegna_Allegato-statistico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solidFill>
                <a:schemeClr val="bg2"/>
              </a:solidFill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056F-4C64-85E3-2B5A95AD3D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Tavola A1'!$C$2:$F$3</c:f>
              <c:multiLvlStrCache>
                <c:ptCount val="4"/>
                <c:lvl>
                  <c:pt idx="0">
                    <c:v>2022</c:v>
                  </c:pt>
                  <c:pt idx="1">
                    <c:v>2024</c:v>
                  </c:pt>
                  <c:pt idx="2">
                    <c:v>2027</c:v>
                  </c:pt>
                  <c:pt idx="3">
                    <c:v>2030</c:v>
                  </c:pt>
                </c:lvl>
                <c:lvl>
                  <c:pt idx="0">
                    <c:v>Sagoma</c:v>
                  </c:pt>
                </c:lvl>
              </c:multiLvlStrCache>
            </c:multiLvlStrRef>
          </c:cat>
          <c:val>
            <c:numRef>
              <c:f>'Tavola A1'!$C$4:$F$4</c:f>
              <c:numCache>
                <c:formatCode>0%</c:formatCode>
                <c:ptCount val="4"/>
                <c:pt idx="0">
                  <c:v>0.45</c:v>
                </c:pt>
                <c:pt idx="1">
                  <c:v>0.6</c:v>
                </c:pt>
                <c:pt idx="2">
                  <c:v>0.7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6F-4C64-85E3-2B5A95AD3DE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-27"/>
        <c:axId val="1008719856"/>
        <c:axId val="1008721936"/>
      </c:barChart>
      <c:catAx>
        <c:axId val="10087198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08721936"/>
        <c:crosses val="autoZero"/>
        <c:auto val="1"/>
        <c:lblAlgn val="ctr"/>
        <c:lblOffset val="100"/>
        <c:noMultiLvlLbl val="0"/>
      </c:catAx>
      <c:valAx>
        <c:axId val="1008721936"/>
        <c:scaling>
          <c:orientation val="minMax"/>
          <c:max val="1.2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1008719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solidFill>
                <a:schemeClr val="bg2"/>
              </a:solidFill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DBC-4B4B-9560-D91D50BC2A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Tavola A1'!$C$2:$F$3</c:f>
              <c:multiLvlStrCache>
                <c:ptCount val="4"/>
                <c:lvl>
                  <c:pt idx="0">
                    <c:v>2022</c:v>
                  </c:pt>
                  <c:pt idx="1">
                    <c:v>2024</c:v>
                  </c:pt>
                  <c:pt idx="2">
                    <c:v>2027</c:v>
                  </c:pt>
                  <c:pt idx="3">
                    <c:v>2030</c:v>
                  </c:pt>
                </c:lvl>
                <c:lvl>
                  <c:pt idx="0">
                    <c:v>Sagoma</c:v>
                  </c:pt>
                </c:lvl>
              </c:multiLvlStrCache>
            </c:multiLvlStrRef>
          </c:cat>
          <c:val>
            <c:numRef>
              <c:f>'Tavola A1'!$C$8:$F$8</c:f>
              <c:numCache>
                <c:formatCode>0%</c:formatCode>
                <c:ptCount val="4"/>
                <c:pt idx="0">
                  <c:v>0.02</c:v>
                </c:pt>
                <c:pt idx="1">
                  <c:v>0.02</c:v>
                </c:pt>
                <c:pt idx="2">
                  <c:v>0.4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BC-4B4B-9560-D91D50BC2A3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-27"/>
        <c:axId val="1008719856"/>
        <c:axId val="1008721936"/>
      </c:barChart>
      <c:catAx>
        <c:axId val="10087198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08721936"/>
        <c:crosses val="autoZero"/>
        <c:auto val="1"/>
        <c:lblAlgn val="ctr"/>
        <c:lblOffset val="100"/>
        <c:noMultiLvlLbl val="0"/>
      </c:catAx>
      <c:valAx>
        <c:axId val="1008721936"/>
        <c:scaling>
          <c:orientation val="minMax"/>
          <c:max val="1.2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1008719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solidFill>
                <a:schemeClr val="bg2"/>
              </a:solidFill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1EF-42B7-936E-6389EA11760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Tavola A1'!$C$2:$F$3</c:f>
              <c:multiLvlStrCache>
                <c:ptCount val="4"/>
                <c:lvl>
                  <c:pt idx="0">
                    <c:v>2022</c:v>
                  </c:pt>
                  <c:pt idx="1">
                    <c:v>2024</c:v>
                  </c:pt>
                  <c:pt idx="2">
                    <c:v>2027</c:v>
                  </c:pt>
                  <c:pt idx="3">
                    <c:v>2030</c:v>
                  </c:pt>
                </c:lvl>
                <c:lvl>
                  <c:pt idx="0">
                    <c:v>Sagoma</c:v>
                  </c:pt>
                </c:lvl>
              </c:multiLvlStrCache>
            </c:multiLvlStrRef>
          </c:cat>
          <c:val>
            <c:numRef>
              <c:f>'Tavola A1'!$C$12:$F$12</c:f>
              <c:numCache>
                <c:formatCode>0%</c:formatCode>
                <c:ptCount val="4"/>
                <c:pt idx="0">
                  <c:v>0.77</c:v>
                </c:pt>
                <c:pt idx="1">
                  <c:v>0.77</c:v>
                </c:pt>
                <c:pt idx="2">
                  <c:v>0.86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EF-42B7-936E-6389EA11760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-27"/>
        <c:axId val="1008719856"/>
        <c:axId val="1008721936"/>
      </c:barChart>
      <c:catAx>
        <c:axId val="10087198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08721936"/>
        <c:crosses val="autoZero"/>
        <c:auto val="1"/>
        <c:lblAlgn val="ctr"/>
        <c:lblOffset val="100"/>
        <c:noMultiLvlLbl val="0"/>
      </c:catAx>
      <c:valAx>
        <c:axId val="1008721936"/>
        <c:scaling>
          <c:orientation val="minMax"/>
          <c:max val="1.2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1008719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IG. 19'!$C$4</c:f>
              <c:strCache>
                <c:ptCount val="1"/>
              </c:strCache>
            </c:strRef>
          </c:tx>
          <c:spPr>
            <a:solidFill>
              <a:srgbClr val="FFFFFF">
                <a:lumMod val="85000"/>
              </a:srgbClr>
            </a:solidFill>
            <a:ln>
              <a:solidFill>
                <a:srgbClr val="71707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IG. 19'!$B$5:$B$26</c:f>
              <c:numCache>
                <c:formatCode>General</c:formatCode>
                <c:ptCount val="22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</c:numCache>
            </c:numRef>
          </c:cat>
          <c:val>
            <c:numRef>
              <c:f>'FIG. 19'!$C$5:$C$26</c:f>
              <c:numCache>
                <c:formatCode>_-* #,##0.0_-;\-* #,##0.0_-;_-* "-"_-;_-@_-</c:formatCode>
                <c:ptCount val="22"/>
                <c:pt idx="0">
                  <c:v>3.6358190000000001</c:v>
                </c:pt>
                <c:pt idx="1">
                  <c:v>4.2660629999999999</c:v>
                </c:pt>
                <c:pt idx="2">
                  <c:v>5.7546841055505187</c:v>
                </c:pt>
                <c:pt idx="3">
                  <c:v>6.6437657899400007</c:v>
                </c:pt>
                <c:pt idx="4">
                  <c:v>6.4907282841199994</c:v>
                </c:pt>
                <c:pt idx="5">
                  <c:v>5.7545665163873991</c:v>
                </c:pt>
                <c:pt idx="6">
                  <c:v>5.5659078804113573</c:v>
                </c:pt>
                <c:pt idx="7">
                  <c:v>4.8065684209199988</c:v>
                </c:pt>
                <c:pt idx="8">
                  <c:v>3.7119999999999997</c:v>
                </c:pt>
                <c:pt idx="9">
                  <c:v>3.2049653073325715</c:v>
                </c:pt>
                <c:pt idx="10">
                  <c:v>2.8791612639745545</c:v>
                </c:pt>
                <c:pt idx="11">
                  <c:v>2.7404988658700002</c:v>
                </c:pt>
                <c:pt idx="12">
                  <c:v>2.7430100550400001</c:v>
                </c:pt>
                <c:pt idx="13">
                  <c:v>2.8522121796</c:v>
                </c:pt>
                <c:pt idx="14">
                  <c:v>3.5529999999999999</c:v>
                </c:pt>
                <c:pt idx="15">
                  <c:v>4.173</c:v>
                </c:pt>
                <c:pt idx="16">
                  <c:v>4.4087681159000001</c:v>
                </c:pt>
                <c:pt idx="17">
                  <c:v>4.7688537109199993</c:v>
                </c:pt>
                <c:pt idx="18">
                  <c:v>4.6787987234299999</c:v>
                </c:pt>
                <c:pt idx="19">
                  <c:v>4.3682324230200003</c:v>
                </c:pt>
                <c:pt idx="20">
                  <c:v>5.7203554549899689</c:v>
                </c:pt>
                <c:pt idx="21">
                  <c:v>6.161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07-458B-B038-369C70F142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1934074895"/>
        <c:axId val="1934059919"/>
      </c:barChart>
      <c:catAx>
        <c:axId val="1934074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934059919"/>
        <c:crosses val="autoZero"/>
        <c:auto val="1"/>
        <c:lblAlgn val="ctr"/>
        <c:lblOffset val="100"/>
        <c:noMultiLvlLbl val="0"/>
      </c:catAx>
      <c:valAx>
        <c:axId val="1934059919"/>
        <c:scaling>
          <c:orientation val="minMax"/>
        </c:scaling>
        <c:delete val="1"/>
        <c:axPos val="l"/>
        <c:numFmt formatCode="_-* #,##0.0_-;\-* #,##0.0_-;_-* &quot;-&quot;_-;_-@_-" sourceLinked="1"/>
        <c:majorTickMark val="none"/>
        <c:minorTickMark val="none"/>
        <c:tickLblPos val="nextTo"/>
        <c:crossAx val="19340748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Tavola A1'!$D$504:$F$504</cx:f>
        <cx:lvl ptCount="3">
          <cx:pt idx="0">Ultimati</cx:pt>
          <cx:pt idx="1">Definanziamenti</cx:pt>
          <cx:pt idx="2">Nuove risorse</cx:pt>
        </cx:lvl>
      </cx:strDim>
      <cx:numDim type="val">
        <cx:f>'Tavola A1'!$D$505:$F$505</cx:f>
        <cx:lvl ptCount="3" formatCode="#.##0,0">
          <cx:pt idx="0">-2.8238799999999999</cx:pt>
          <cx:pt idx="1">-0.036639999999999999</cx:pt>
          <cx:pt idx="2">13.070309999999999</cx:pt>
        </cx:lvl>
      </cx:numDim>
    </cx:data>
  </cx:chartData>
  <cx:chart>
    <cx:plotArea>
      <cx:plotAreaRegion>
        <cx:series layoutId="waterfall" uniqueId="{95DF9016-A7AF-4D8D-AA8E-0502352D577E}">
          <cx:spPr>
            <a:pattFill prst="pct5">
              <a:fgClr>
                <a:schemeClr val="accent4"/>
              </a:fgClr>
              <a:bgClr>
                <a:schemeClr val="bg1"/>
              </a:bgClr>
            </a:pattFill>
            <a:ln>
              <a:solidFill>
                <a:schemeClr val="accent4">
                  <a:lumMod val="60000"/>
                  <a:lumOff val="40000"/>
                </a:schemeClr>
              </a:solidFill>
            </a:ln>
          </cx:spPr>
          <cx:dataPt idx="1">
            <cx:spPr>
              <a:solidFill>
                <a:srgbClr val="DC002E"/>
              </a:solidFill>
              <a:ln>
                <a:solidFill>
                  <a:srgbClr val="DC002E"/>
                </a:solidFill>
              </a:ln>
            </cx:spPr>
          </cx:dataPt>
          <cx:dataPt idx="2">
            <cx:spPr>
              <a:solidFill>
                <a:srgbClr val="006666"/>
              </a:solidFill>
              <a:ln>
                <a:solidFill>
                  <a:srgbClr val="006666"/>
                </a:solidFill>
              </a:ln>
            </cx:spPr>
          </cx:dataPt>
          <cx:dataLabels pos="ctr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600">
                    <a:solidFill>
                      <a:schemeClr val="bg1"/>
                    </a:solidFill>
                  </a:defRPr>
                </a:pPr>
                <a:endParaRPr lang="it-IT" sz="1600" b="0" i="0" u="none" strike="noStrike" baseline="0">
                  <a:solidFill>
                    <a:schemeClr val="bg1"/>
                  </a:solidFill>
                  <a:latin typeface="Calibri"/>
                </a:endParaRPr>
              </a:p>
            </cx:txPr>
            <cx:visibility seriesName="0" categoryName="0" value="1"/>
            <cx:separator>, </cx:separator>
            <cx:dataLabel idx="0" pos="ctr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600"/>
                  </a:pPr>
                  <a:r>
                    <a:rPr lang="it-IT" sz="1600" b="0" i="0" u="none" strike="noStrike" baseline="0">
                      <a:solidFill>
                        <a:schemeClr val="tx1"/>
                      </a:solidFill>
                      <a:latin typeface="Calibri"/>
                    </a:rPr>
                    <a:t>-2,8</a:t>
                  </a:r>
                </a:p>
              </cx:txPr>
              <cx:visibility seriesName="0" categoryName="0" value="1"/>
              <cx:separator>, </cx:separator>
            </cx:dataLabel>
            <cx:dataLabel idx="1" pos="ctr">
              <cx:numFmt formatCode="#.##0,00" sourceLinked="0"/>
              <cx:spPr>
                <a:solidFill>
                  <a:schemeClr val="tx2"/>
                </a:solidFill>
              </cx:spPr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600"/>
                  </a:pPr>
                  <a:r>
                    <a:rPr lang="it-IT" sz="1600" b="0" i="0" u="none" strike="noStrike" baseline="0">
                      <a:solidFill>
                        <a:schemeClr val="bg1"/>
                      </a:solidFill>
                      <a:latin typeface="Calibri"/>
                    </a:rPr>
                    <a:t>-0,04</a:t>
                  </a:r>
                </a:p>
              </cx:txPr>
              <cx:visibility seriesName="0" categoryName="0" value="1"/>
              <cx:separator>, </cx:separator>
            </cx:dataLabel>
          </cx:dataLabels>
          <cx:dataId val="0"/>
          <cx:layoutPr>
            <cx:visibility connectorLines="0"/>
            <cx:subtotals/>
          </cx:layoutPr>
        </cx:series>
      </cx:plotAreaRegion>
      <cx:axis id="0" hidden="1">
        <cx:catScaling gapWidth="0.5"/>
        <cx:tickLabels/>
      </cx:axis>
      <cx:axis id="1" hidden="1">
        <cx:valScaling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3508"/>
          </a:xfrm>
          <a:prstGeom prst="rect">
            <a:avLst/>
          </a:prstGeom>
        </p:spPr>
        <p:txBody>
          <a:bodyPr vert="horz" lIns="95490" tIns="47744" rIns="95490" bIns="4774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4023991" y="0"/>
            <a:ext cx="3078428" cy="513508"/>
          </a:xfrm>
          <a:prstGeom prst="rect">
            <a:avLst/>
          </a:prstGeom>
        </p:spPr>
        <p:txBody>
          <a:bodyPr vert="horz" lIns="95490" tIns="47744" rIns="95490" bIns="47744" rtlCol="0"/>
          <a:lstStyle>
            <a:lvl1pPr algn="r">
              <a:defRPr sz="1300"/>
            </a:lvl1pPr>
          </a:lstStyle>
          <a:p>
            <a:fld id="{620FE731-46A2-46A5-9AD2-A416FE8CEE67}" type="datetimeFigureOut">
              <a:rPr lang="en-GB" smtClean="0"/>
              <a:t>21/03/2023</a:t>
            </a:fld>
            <a:endParaRPr lang="en-GB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8" cy="513507"/>
          </a:xfrm>
          <a:prstGeom prst="rect">
            <a:avLst/>
          </a:prstGeom>
        </p:spPr>
        <p:txBody>
          <a:bodyPr vert="horz" lIns="95490" tIns="47744" rIns="95490" bIns="4774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4023991" y="9721107"/>
            <a:ext cx="3078428" cy="513507"/>
          </a:xfrm>
          <a:prstGeom prst="rect">
            <a:avLst/>
          </a:prstGeom>
        </p:spPr>
        <p:txBody>
          <a:bodyPr vert="horz" lIns="95490" tIns="47744" rIns="95490" bIns="47744" rtlCol="0" anchor="b"/>
          <a:lstStyle>
            <a:lvl1pPr algn="r">
              <a:defRPr sz="1300"/>
            </a:lvl1pPr>
          </a:lstStyle>
          <a:p>
            <a:fld id="{389669B9-D8F4-4B71-AFE9-987693379946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8094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3508"/>
          </a:xfrm>
          <a:prstGeom prst="rect">
            <a:avLst/>
          </a:prstGeom>
        </p:spPr>
        <p:txBody>
          <a:bodyPr vert="horz" lIns="95490" tIns="47744" rIns="95490" bIns="47744" rtlCol="0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023991" y="0"/>
            <a:ext cx="3078428" cy="513508"/>
          </a:xfrm>
          <a:prstGeom prst="rect">
            <a:avLst/>
          </a:prstGeom>
        </p:spPr>
        <p:txBody>
          <a:bodyPr vert="horz" lIns="95490" tIns="47744" rIns="95490" bIns="47744" rtlCol="0"/>
          <a:lstStyle>
            <a:lvl1pPr algn="r">
              <a:defRPr sz="1300"/>
            </a:lvl1pPr>
          </a:lstStyle>
          <a:p>
            <a:fld id="{D84BD0BD-8420-46F9-8257-B8F286606235}" type="datetimeFigureOut">
              <a:rPr lang="it-IT" smtClean="0"/>
              <a:t>21/03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90" tIns="47744" rIns="95490" bIns="47744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10407" y="4925409"/>
            <a:ext cx="5683250" cy="4029879"/>
          </a:xfrm>
          <a:prstGeom prst="rect">
            <a:avLst/>
          </a:prstGeom>
        </p:spPr>
        <p:txBody>
          <a:bodyPr vert="horz" lIns="95490" tIns="47744" rIns="95490" bIns="47744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8" cy="513507"/>
          </a:xfrm>
          <a:prstGeom prst="rect">
            <a:avLst/>
          </a:prstGeom>
        </p:spPr>
        <p:txBody>
          <a:bodyPr vert="horz" lIns="95490" tIns="47744" rIns="95490" bIns="47744" rtlCol="0" anchor="b"/>
          <a:lstStyle>
            <a:lvl1pPr algn="l">
              <a:defRPr sz="13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023991" y="9721107"/>
            <a:ext cx="3078428" cy="513507"/>
          </a:xfrm>
          <a:prstGeom prst="rect">
            <a:avLst/>
          </a:prstGeom>
        </p:spPr>
        <p:txBody>
          <a:bodyPr vert="horz" lIns="95490" tIns="47744" rIns="95490" bIns="47744" rtlCol="0" anchor="b"/>
          <a:lstStyle>
            <a:lvl1pPr algn="r">
              <a:defRPr sz="1300"/>
            </a:lvl1pPr>
          </a:lstStyle>
          <a:p>
            <a:fld id="{BFD64B0E-3DDE-4A0E-88A9-3A41651A45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28101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hbr.org/2011/07/adaptability-the-new-competitive-advantage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54813">
              <a:defRPr/>
            </a:pPr>
            <a:fld id="{FF06457E-F90C-4CF9-85C5-3C82E76B4AD0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4813">
                <a:defRPr/>
              </a:pPr>
              <a:t>2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849128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4908">
              <a:defRPr/>
            </a:pPr>
            <a:fld id="{7C07FB52-7D63-479B-9ECE-7059AD0C8AC5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4908">
                <a:defRPr/>
              </a:pPr>
              <a:t>30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216994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58172">
              <a:defRPr/>
            </a:pPr>
            <a:fld id="{2B7AE2E3-1882-4F3E-8B08-4CDB271A63F7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8172">
                <a:defRPr/>
              </a:pPr>
              <a:t>31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322810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54813">
              <a:defRPr/>
            </a:pPr>
            <a:fld id="{FF06457E-F90C-4CF9-85C5-3C82E76B4AD0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4813">
                <a:defRPr/>
              </a:pPr>
              <a:t>35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053856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5150">
              <a:defRPr/>
            </a:pPr>
            <a:fld id="{10FB27A7-4CBD-459A-8AB1-A47A9D5D8727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65150">
                <a:defRPr/>
              </a:pPr>
              <a:t>36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720122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58157">
              <a:defRPr/>
            </a:pPr>
            <a:fld id="{2B7AE2E3-1882-4F3E-8B08-4CDB271A63F7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8157">
                <a:defRPr/>
              </a:pPr>
              <a:t>37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49917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58157">
              <a:defRPr/>
            </a:pPr>
            <a:fld id="{2B7AE2E3-1882-4F3E-8B08-4CDB271A63F7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8157">
                <a:defRPr/>
              </a:pPr>
              <a:t>38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592506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4908">
              <a:defRPr/>
            </a:pPr>
            <a:fld id="{7C07FB52-7D63-479B-9ECE-7059AD0C8AC5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4908">
                <a:defRPr/>
              </a:pPr>
              <a:t>3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22652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0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1907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251908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65508">
              <a:defRPr/>
            </a:pPr>
            <a:fld id="{A6F3B64B-586B-41E1-B607-1B8D2FF1727E}" type="slidenum">
              <a:rPr lang="it-IT" altLang="it-IT">
                <a:solidFill>
                  <a:srgbClr val="000000"/>
                </a:solidFill>
                <a:latin typeface="Calibri"/>
              </a:rPr>
              <a:pPr defTabSz="965508">
                <a:defRPr/>
              </a:pPr>
              <a:t>4</a:t>
            </a:fld>
            <a:endParaRPr lang="it-IT" altLang="it-IT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9498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4908">
              <a:defRPr/>
            </a:pPr>
            <a:fld id="{BFD64B0E-3DDE-4A0E-88A9-3A41651A4597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4908">
                <a:defRPr/>
              </a:pPr>
              <a:t>6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430260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/>
              <a:t>Resilience is especially important today because </a:t>
            </a:r>
            <a:r>
              <a:rPr lang="en-US" sz="1300">
                <a:hlinkClick r:id="rId3"/>
              </a:rPr>
              <a:t>the business environment is becoming more dynamic and unpredictable</a:t>
            </a:r>
            <a:r>
              <a:rPr lang="en-US" sz="1300"/>
              <a:t>. This is a result of several enduring forces stressing and stretching business systems — from accelerated technological evolution to a greater interconnectedness of the global economy to broader issues such as rising inequality, species depletion, and climate change.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54908">
              <a:defRPr/>
            </a:pPr>
            <a:fld id="{5420BBDF-CC39-4AFB-A248-9385D9085427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4908">
                <a:defRPr/>
              </a:pPr>
              <a:t>7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823071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5236">
              <a:defRPr/>
            </a:pPr>
            <a:fld id="{10FB27A7-4CBD-459A-8AB1-A47A9D5D8727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65236">
                <a:defRPr/>
              </a:pPr>
              <a:t>22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05141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54813">
              <a:defRPr/>
            </a:pPr>
            <a:fld id="{FF06457E-F90C-4CF9-85C5-3C82E76B4AD0}" type="slidenum">
              <a:rPr lang="it-IT">
                <a:solidFill>
                  <a:prstClr val="black"/>
                </a:solidFill>
                <a:latin typeface="Calibri" panose="020F0502020204030204"/>
              </a:rPr>
              <a:pPr defTabSz="954813">
                <a:defRPr/>
              </a:pPr>
              <a:t>23</a:t>
            </a:fld>
            <a:endParaRPr lang="it-IT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983508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0291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altLang="it-IT"/>
          </a:p>
        </p:txBody>
      </p:sp>
      <p:sp>
        <p:nvSpPr>
          <p:cNvPr id="140292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61097">
              <a:defRPr/>
            </a:pPr>
            <a:fld id="{1355F70E-B92C-4E9E-8876-8C9B2F32B543}" type="slidenum">
              <a:rPr lang="it-IT" altLang="it-IT">
                <a:solidFill>
                  <a:srgbClr val="000000"/>
                </a:solidFill>
                <a:latin typeface="Calibri" panose="020F0502020204030204"/>
              </a:rPr>
              <a:pPr defTabSz="961097">
                <a:defRPr/>
              </a:pPr>
              <a:t>24</a:t>
            </a:fld>
            <a:endParaRPr lang="it-IT" altLang="it-IT">
              <a:solidFill>
                <a:srgbClr val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566668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57225" y="139700"/>
            <a:ext cx="5297488" cy="2979738"/>
          </a:xfrm>
          <a:prstGeom prst="rect">
            <a:avLst/>
          </a:prstGeom>
        </p:spPr>
      </p:sp>
      <p:sp>
        <p:nvSpPr>
          <p:cNvPr id="787" name="PlaceHolder 2"/>
          <p:cNvSpPr>
            <a:spLocks noGrp="1"/>
          </p:cNvSpPr>
          <p:nvPr>
            <p:ph type="body"/>
          </p:nvPr>
        </p:nvSpPr>
        <p:spPr>
          <a:xfrm>
            <a:off x="122930" y="3017721"/>
            <a:ext cx="10037407" cy="4641586"/>
          </a:xfrm>
          <a:prstGeom prst="rect">
            <a:avLst/>
          </a:prstGeom>
        </p:spPr>
        <p:txBody>
          <a:bodyPr lIns="101473" tIns="50926" rIns="101473" bIns="50926">
            <a:noAutofit/>
          </a:bodyPr>
          <a:lstStyle/>
          <a:p>
            <a:endParaRPr lang="it-IT" sz="2100" spc="-1">
              <a:latin typeface="Arial"/>
            </a:endParaRPr>
          </a:p>
        </p:txBody>
      </p:sp>
      <p:sp>
        <p:nvSpPr>
          <p:cNvPr id="788" name="CustomShape 3"/>
          <p:cNvSpPr/>
          <p:nvPr/>
        </p:nvSpPr>
        <p:spPr>
          <a:xfrm>
            <a:off x="6001956" y="7209022"/>
            <a:ext cx="4590186" cy="38051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01473" tIns="50926" rIns="101473" bIns="50926" anchor="b">
            <a:noAutofit/>
          </a:bodyPr>
          <a:lstStyle/>
          <a:p>
            <a:pPr algn="r" defTabSz="482658">
              <a:defRPr/>
            </a:pPr>
            <a:fld id="{49BF0DAD-576E-497F-9FFF-CC9AB87CD4C8}" type="slidenum">
              <a:rPr lang="it-IT" sz="1300" spc="-1">
                <a:solidFill>
                  <a:srgbClr val="000000"/>
                </a:solidFill>
                <a:latin typeface="Futura LT"/>
              </a:rPr>
              <a:pPr algn="r" defTabSz="482658">
                <a:defRPr/>
              </a:pPr>
              <a:t>27</a:t>
            </a:fld>
            <a:endParaRPr lang="it-IT" sz="1300" spc="-1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88251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131016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42645379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223330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77178501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03797862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005217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34487651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9" name="Rettangolo 8"/>
          <p:cNvSpPr/>
          <p:nvPr userDrawn="1"/>
        </p:nvSpPr>
        <p:spPr>
          <a:xfrm>
            <a:off x="5210476" y="6316312"/>
            <a:ext cx="1722268" cy="4431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21903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7" name="Rettangolo 6"/>
          <p:cNvSpPr/>
          <p:nvPr userDrawn="1"/>
        </p:nvSpPr>
        <p:spPr>
          <a:xfrm>
            <a:off x="5210476" y="6325548"/>
            <a:ext cx="1722268" cy="4431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312109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Rettangolo 10"/>
          <p:cNvSpPr/>
          <p:nvPr userDrawn="1"/>
        </p:nvSpPr>
        <p:spPr>
          <a:xfrm>
            <a:off x="5273336" y="6390489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0655589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9" name="Rettangolo 18"/>
          <p:cNvSpPr/>
          <p:nvPr userDrawn="1"/>
        </p:nvSpPr>
        <p:spPr>
          <a:xfrm>
            <a:off x="5273336" y="6427433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6057100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3" name="Rettangolo 22"/>
          <p:cNvSpPr/>
          <p:nvPr userDrawn="1"/>
        </p:nvSpPr>
        <p:spPr>
          <a:xfrm>
            <a:off x="5273336" y="6427433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45114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6194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703355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7693490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09067564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1011863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80660732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19282210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750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198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42445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5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76990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18682297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432" y="6"/>
            <a:ext cx="11488559" cy="419551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95432" y="594453"/>
            <a:ext cx="11488559" cy="39132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762"/>
              </a:spcBef>
              <a:defRPr lang="it-IT" sz="127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429" y="1484673"/>
            <a:ext cx="11488785" cy="3467552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270"/>
            </a:lvl1pPr>
            <a:lvl2pPr marL="287325" indent="0">
              <a:buClr>
                <a:schemeClr val="tx2"/>
              </a:buClr>
              <a:buSzPct val="140000"/>
              <a:buFontTx/>
              <a:buNone/>
              <a:defRPr sz="1143"/>
            </a:lvl2pPr>
            <a:lvl3pPr marL="568602" indent="0">
              <a:buClr>
                <a:schemeClr val="tx2"/>
              </a:buClr>
              <a:buSzPct val="140000"/>
              <a:buFontTx/>
              <a:buNone/>
              <a:defRPr sz="1016"/>
            </a:lvl3pPr>
            <a:lvl4pPr marL="852903" indent="0">
              <a:buClr>
                <a:schemeClr val="tx2"/>
              </a:buClr>
              <a:buSzPct val="140000"/>
              <a:buFontTx/>
              <a:buNone/>
              <a:defRPr sz="889"/>
            </a:lvl4pPr>
            <a:lvl5pPr marL="1140229" indent="0">
              <a:buClr>
                <a:schemeClr val="tx2"/>
              </a:buClr>
              <a:buSzPct val="140000"/>
              <a:buFontTx/>
              <a:buNone/>
              <a:defRPr sz="762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07327" y="6409889"/>
            <a:ext cx="2660279" cy="128719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l">
              <a:defRPr lang="it-IT" sz="889" baseline="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XXX YYY</a:t>
            </a:r>
          </a:p>
        </p:txBody>
      </p:sp>
      <p:sp>
        <p:nvSpPr>
          <p:cNvPr id="2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509341" y="6680309"/>
            <a:ext cx="2658264" cy="104565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algn="l">
              <a:defRPr lang="it-IT" sz="762" baseline="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err="1"/>
              <a:t>Xxxx</a:t>
            </a:r>
            <a:endParaRPr lang="it-IT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20"/>
          </p:nvPr>
        </p:nvSpPr>
        <p:spPr>
          <a:xfrm>
            <a:off x="11549345" y="6484825"/>
            <a:ext cx="364464" cy="195484"/>
          </a:xfrm>
        </p:spPr>
        <p:txBody>
          <a:bodyPr/>
          <a:lstStyle>
            <a:lvl1pPr>
              <a:defRPr>
                <a:solidFill>
                  <a:srgbClr val="FF0000"/>
                </a:solidFill>
              </a:defRPr>
            </a:lvl1pPr>
          </a:lstStyle>
          <a:p>
            <a:fld id="{10E6F475-DDC1-44BD-B776-FEA8E680116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33061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2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fld id="{EECC0957-A9BB-43BF-8AD8-44AE951C7A5D}" type="datetime1">
              <a:rPr lang="it-IT" smtClean="0"/>
              <a:t>21/03/2023</a:t>
            </a:fld>
            <a:endParaRPr lang="en-GB"/>
          </a:p>
        </p:txBody>
      </p:sp>
      <p:sp>
        <p:nvSpPr>
          <p:cNvPr id="2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Vulnerability Assessment   I  Reporting</a:t>
            </a:r>
          </a:p>
        </p:txBody>
      </p:sp>
    </p:spTree>
    <p:extLst>
      <p:ext uri="{BB962C8B-B14F-4D97-AF65-F5344CB8AC3E}">
        <p14:creationId xmlns:p14="http://schemas.microsoft.com/office/powerpoint/2010/main" val="203245195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20F55-C94A-4351-9024-2FC5F745848D}" type="datetimeFigureOut">
              <a:rPr lang="it-IT" smtClean="0"/>
              <a:t>21/03/202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2695-7014-4008-A137-6AE1609816F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18088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491169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4983831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10244926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5509167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rgbClr val="FFFFFF"/>
                </a:solidFill>
              </a:endParaRPr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>
                <a:solidFill>
                  <a:srgbClr val="DC002E"/>
                </a:solidFill>
              </a:rPr>
              <a:pPr defTabSz="1219170"/>
              <a:t>‹N›</a:t>
            </a:fld>
            <a:endParaRPr lang="it-IT">
              <a:solidFill>
                <a:srgbClr val="DC002E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FFFFFF"/>
                </a:solidFill>
              </a:rPr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>
                <a:solidFill>
                  <a:srgbClr val="FFFFFF"/>
                </a:solidFill>
              </a:rPr>
              <a:t>Titolo</a:t>
            </a:r>
            <a:r>
              <a:rPr lang="en-GB">
                <a:solidFill>
                  <a:srgbClr val="FFFFFF"/>
                </a:solidFill>
              </a:rPr>
              <a:t> </a:t>
            </a:r>
            <a:r>
              <a:rPr lang="en-GB" err="1">
                <a:solidFill>
                  <a:srgbClr val="FFFFFF"/>
                </a:solidFill>
              </a:rPr>
              <a:t>presentazione</a:t>
            </a:r>
            <a:r>
              <a:rPr lang="en-GB">
                <a:solidFill>
                  <a:srgbClr val="FFFFFF"/>
                </a:solidFill>
              </a:rPr>
              <a:t>   I   Nome </a:t>
            </a:r>
            <a:r>
              <a:rPr lang="en-GB" err="1">
                <a:solidFill>
                  <a:srgbClr val="FFFFFF"/>
                </a:solidFill>
              </a:rPr>
              <a:t>relatore</a:t>
            </a:r>
            <a:endParaRPr lang="en-GB">
              <a:solidFill>
                <a:srgbClr val="FFFFFF"/>
              </a:solidFill>
            </a:endParaRPr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474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>
              <a:solidFill>
                <a:srgbClr val="FFFFFF"/>
              </a:solidFill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>
                <a:solidFill>
                  <a:srgbClr val="DC002E"/>
                </a:solidFill>
              </a:rPr>
              <a:pPr defTabSz="1219170"/>
              <a:t>‹N›</a:t>
            </a:fld>
            <a:endParaRPr lang="it-IT">
              <a:solidFill>
                <a:srgbClr val="DC002E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FFFFFF"/>
                </a:solidFill>
              </a:rPr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>
                <a:solidFill>
                  <a:srgbClr val="FFFFFF"/>
                </a:solidFill>
              </a:rPr>
              <a:t>Titolo</a:t>
            </a:r>
            <a:r>
              <a:rPr lang="en-GB">
                <a:solidFill>
                  <a:srgbClr val="FFFFFF"/>
                </a:solidFill>
              </a:rPr>
              <a:t> </a:t>
            </a:r>
            <a:r>
              <a:rPr lang="en-GB" err="1">
                <a:solidFill>
                  <a:srgbClr val="FFFFFF"/>
                </a:solidFill>
              </a:rPr>
              <a:t>presentazione</a:t>
            </a:r>
            <a:r>
              <a:rPr lang="en-GB">
                <a:solidFill>
                  <a:srgbClr val="FFFFFF"/>
                </a:solidFill>
              </a:rPr>
              <a:t>   I   Nome </a:t>
            </a:r>
            <a:r>
              <a:rPr lang="en-GB" err="1">
                <a:solidFill>
                  <a:srgbClr val="FFFFFF"/>
                </a:solidFill>
              </a:rPr>
              <a:t>relatore</a:t>
            </a:r>
            <a:endParaRPr lang="en-GB">
              <a:solidFill>
                <a:srgbClr val="FFFFFF"/>
              </a:solidFill>
            </a:endParaRPr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793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007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94B01E12-0ADC-0AEA-51A8-2E9AA9DAFE19}"/>
              </a:ext>
            </a:extLst>
          </p:cNvPr>
          <p:cNvSpPr/>
          <p:nvPr userDrawn="1"/>
        </p:nvSpPr>
        <p:spPr>
          <a:xfrm>
            <a:off x="4623758" y="6495691"/>
            <a:ext cx="2958861" cy="362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787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2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951">
              <a:lnSpc>
                <a:spcPts val="1066"/>
              </a:lnSpc>
            </a:pPr>
            <a:r>
              <a:rPr spc="-5">
                <a:solidFill>
                  <a:srgbClr val="000000"/>
                </a:solidFill>
              </a:rPr>
              <a:t>Informazione</a:t>
            </a:r>
            <a:r>
              <a:rPr spc="-15">
                <a:solidFill>
                  <a:srgbClr val="000000"/>
                </a:solidFill>
              </a:rPr>
              <a:t> </a:t>
            </a:r>
            <a:r>
              <a:rPr>
                <a:solidFill>
                  <a:srgbClr val="000000"/>
                </a:solidFill>
              </a:rPr>
              <a:t>ad</a:t>
            </a:r>
            <a:r>
              <a:rPr spc="-15">
                <a:solidFill>
                  <a:srgbClr val="000000"/>
                </a:solidFill>
              </a:rPr>
              <a:t> </a:t>
            </a:r>
            <a:r>
              <a:rPr spc="-10">
                <a:solidFill>
                  <a:srgbClr val="000000"/>
                </a:solidFill>
              </a:rPr>
              <a:t>uso</a:t>
            </a:r>
            <a:r>
              <a:rPr spc="-15">
                <a:solidFill>
                  <a:srgbClr val="000000"/>
                </a:solidFill>
              </a:rPr>
              <a:t> </a:t>
            </a:r>
            <a:r>
              <a:rPr spc="-5">
                <a:solidFill>
                  <a:srgbClr val="000000"/>
                </a:solidFill>
              </a:rPr>
              <a:t>interno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/>
              <a:t>3/21/2023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11828701" y="6563812"/>
            <a:ext cx="208599" cy="287724"/>
          </a:xfrm>
          <a:prstGeom prst="rect">
            <a:avLst/>
          </a:prstGeom>
        </p:spPr>
        <p:txBody>
          <a:bodyPr lIns="0" tIns="0" rIns="0" bIns="0"/>
          <a:lstStyle>
            <a:lvl1pPr>
              <a:defRPr sz="102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38854">
              <a:lnSpc>
                <a:spcPts val="1066"/>
              </a:lnSpc>
            </a:pPr>
            <a:fld id="{81D60167-4931-47E6-BA6A-407CBD079E47}" type="slidenum">
              <a:rPr lang="it-IT" spc="-5" smtClean="0">
                <a:solidFill>
                  <a:srgbClr val="FFFFFF"/>
                </a:solidFill>
              </a:rPr>
              <a:pPr marL="38854">
                <a:lnSpc>
                  <a:spcPts val="1066"/>
                </a:lnSpc>
              </a:pPr>
              <a:t>‹N›</a:t>
            </a:fld>
            <a:endParaRPr lang="it-IT" spc="-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561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ius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C53505-DA61-448D-80C5-D220BD0FC3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C53505-DA61-448D-80C5-D220BD0FC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995BBC-9B2A-4867-BADF-2302E9241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1" y="6356350"/>
            <a:ext cx="5487988" cy="123111"/>
          </a:xfrm>
        </p:spPr>
        <p:txBody>
          <a:bodyPr/>
          <a:lstStyle/>
          <a:p>
            <a:endParaRPr lang="en-US">
              <a:solidFill>
                <a:srgbClr val="717073"/>
              </a:solidFill>
            </a:endParaRPr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27FEE3EB-3FF6-4ADB-A869-994695B7E2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8" name="Segnaposto contenuto 2">
            <a:extLst>
              <a:ext uri="{FF2B5EF4-FFF2-40B4-BE49-F238E27FC236}">
                <a16:creationId xmlns:a16="http://schemas.microsoft.com/office/drawing/2014/main" id="{19893C14-23F3-4765-A412-64738529A76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pic>
        <p:nvPicPr>
          <p:cNvPr id="10" name="Immagine 25">
            <a:extLst>
              <a:ext uri="{FF2B5EF4-FFF2-40B4-BE49-F238E27FC236}">
                <a16:creationId xmlns:a16="http://schemas.microsoft.com/office/drawing/2014/main" id="{A81A6285-6FA3-4734-9765-B052E06914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649" y="6342599"/>
            <a:ext cx="1262446" cy="36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5041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/>
              <a:t>COPERTINA 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4162" y="2027528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/>
              <a:t>Sottotitolo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5340914"/>
            <a:ext cx="1553547" cy="322467"/>
          </a:xfrm>
          <a:prstGeom prst="rect">
            <a:avLst/>
          </a:prstGeom>
        </p:spPr>
        <p:txBody>
          <a:bodyPr lIns="0" rIns="0"/>
          <a:lstStyle>
            <a:lvl1pPr algn="l"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00 Mese 0000</a:t>
            </a:r>
          </a:p>
        </p:txBody>
      </p:sp>
      <p:pic>
        <p:nvPicPr>
          <p:cNvPr id="24" name="Immagin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114800"/>
            <a:ext cx="2061819" cy="540000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CCF29858-0B6A-FB46-2197-44349C632ED7}"/>
              </a:ext>
            </a:extLst>
          </p:cNvPr>
          <p:cNvSpPr/>
          <p:nvPr userDrawn="1"/>
        </p:nvSpPr>
        <p:spPr>
          <a:xfrm>
            <a:off x="4580626" y="6654800"/>
            <a:ext cx="3079631" cy="20320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625488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9112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407988" y="1789113"/>
            <a:ext cx="5430838" cy="2511691"/>
          </a:xfrm>
          <a:prstGeom prst="rect">
            <a:avLst/>
          </a:prstGeom>
        </p:spPr>
        <p:txBody>
          <a:bodyPr anchor="ctr" anchorCtr="0"/>
          <a:lstStyle>
            <a:lvl1pPr algn="r">
              <a:defRPr sz="5400">
                <a:solidFill>
                  <a:schemeClr val="bg1"/>
                </a:solidFill>
              </a:defRPr>
            </a:lvl1pPr>
          </a:lstStyle>
          <a:p>
            <a:r>
              <a:rPr lang="it-IT"/>
              <a:t>Copertina sezione - alt 2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4350048"/>
            <a:ext cx="5430838" cy="585527"/>
          </a:xfrm>
          <a:prstGeom prst="rect">
            <a:avLst/>
          </a:prstGeom>
        </p:spPr>
        <p:txBody>
          <a:bodyPr anchor="ctr" anchorCtr="0"/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38385644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17634118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1683302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045449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6367438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9438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926809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18568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667378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7289243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7764140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711505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9344245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305579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9171987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7022612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18157314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17229679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75121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4232354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326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45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/>
              <a:t>COPERTINA 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4162" y="2027528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/>
              <a:t>Sottotitolo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5340914"/>
            <a:ext cx="1553547" cy="322467"/>
          </a:xfrm>
          <a:prstGeom prst="rect">
            <a:avLst/>
          </a:prstGeom>
        </p:spPr>
        <p:txBody>
          <a:bodyPr lIns="0" rIns="0"/>
          <a:lstStyle>
            <a:lvl1pPr algn="l"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00 Mese 0000</a:t>
            </a:r>
          </a:p>
        </p:txBody>
      </p:sp>
      <p:pic>
        <p:nvPicPr>
          <p:cNvPr id="24" name="Immagine 2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114800"/>
            <a:ext cx="206181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756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72009" y="1958664"/>
            <a:ext cx="6356861" cy="346386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l">
              <a:defRPr lang="it-IT" sz="2000" baseline="0" smtClean="0">
                <a:solidFill>
                  <a:schemeClr val="bg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Indice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778424" y="1958663"/>
            <a:ext cx="543732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r">
              <a:defRPr lang="it-IT" sz="2000" baseline="0" smtClean="0">
                <a:solidFill>
                  <a:schemeClr val="bg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N </a:t>
            </a:r>
          </a:p>
        </p:txBody>
      </p:sp>
      <p:sp>
        <p:nvSpPr>
          <p:cNvPr id="28" name="CasellaDiTesto 27"/>
          <p:cNvSpPr txBox="1"/>
          <p:nvPr userDrawn="1"/>
        </p:nvSpPr>
        <p:spPr>
          <a:xfrm>
            <a:off x="9506078" y="1119200"/>
            <a:ext cx="18122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NDICE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673265" y="1958663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r">
              <a:defRPr lang="it-IT" sz="2000" b="1" baseline="0" smtClean="0">
                <a:solidFill>
                  <a:schemeClr val="tx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00</a:t>
            </a:r>
          </a:p>
        </p:txBody>
      </p:sp>
      <p:sp>
        <p:nvSpPr>
          <p:cNvPr id="35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80918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037029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690578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335393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3820A8FF-A3CF-520B-9220-68F36ECF72F1}"/>
              </a:ext>
            </a:extLst>
          </p:cNvPr>
          <p:cNvSpPr/>
          <p:nvPr userDrawn="1"/>
        </p:nvSpPr>
        <p:spPr>
          <a:xfrm>
            <a:off x="4563374" y="6426679"/>
            <a:ext cx="3062377" cy="3909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87469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195557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429027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10295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614580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7778551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785464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6582883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3866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9670793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86233097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1963894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7920003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12851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1046390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226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311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4854855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158981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3" name="Tex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525B2-4347-4F72-BAF7-76B19438D329}" type="datetimeFigureOut">
              <a:rPr lang="en-US" smtClean="0"/>
              <a:t>3/21/2023</a:t>
            </a:fld>
            <a:endParaRPr lang="en-US"/>
          </a:p>
        </p:txBody>
      </p:sp>
      <p:sp>
        <p:nvSpPr>
          <p:cNvPr id="5" name="Foo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073CC-40D5-4B23-8DF0-9BD0A0C12F2C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5761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4" name="Rettangolo 3"/>
          <p:cNvSpPr/>
          <p:nvPr userDrawn="1"/>
        </p:nvSpPr>
        <p:spPr>
          <a:xfrm>
            <a:off x="11718524" y="0"/>
            <a:ext cx="473476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9594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8625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6" name="Rettangolo 5"/>
          <p:cNvSpPr/>
          <p:nvPr userDrawn="1"/>
        </p:nvSpPr>
        <p:spPr>
          <a:xfrm>
            <a:off x="5210476" y="6316312"/>
            <a:ext cx="1722268" cy="4431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82995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3" name="Rettangolo 2"/>
          <p:cNvSpPr/>
          <p:nvPr userDrawn="1"/>
        </p:nvSpPr>
        <p:spPr>
          <a:xfrm>
            <a:off x="5210476" y="6316312"/>
            <a:ext cx="1722268" cy="4431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7321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8320595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7" name="Rettangolo 6"/>
          <p:cNvSpPr/>
          <p:nvPr userDrawn="1"/>
        </p:nvSpPr>
        <p:spPr>
          <a:xfrm>
            <a:off x="5273336" y="6427433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2865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Rettangolo 6"/>
          <p:cNvSpPr/>
          <p:nvPr userDrawn="1"/>
        </p:nvSpPr>
        <p:spPr>
          <a:xfrm>
            <a:off x="5273336" y="6372016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8472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9" name="Rettangolo 8"/>
          <p:cNvSpPr/>
          <p:nvPr userDrawn="1"/>
        </p:nvSpPr>
        <p:spPr>
          <a:xfrm>
            <a:off x="5273336" y="6427433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27885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6" name="Rettangolo 15"/>
          <p:cNvSpPr/>
          <p:nvPr userDrawn="1"/>
        </p:nvSpPr>
        <p:spPr>
          <a:xfrm>
            <a:off x="5273336" y="6390489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107547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991337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11015752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9" name="Rettangolo 8"/>
          <p:cNvSpPr/>
          <p:nvPr userDrawn="1"/>
        </p:nvSpPr>
        <p:spPr>
          <a:xfrm>
            <a:off x="5210476" y="6316312"/>
            <a:ext cx="1722268" cy="4431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29957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7" name="Rettangolo 6"/>
          <p:cNvSpPr/>
          <p:nvPr userDrawn="1"/>
        </p:nvSpPr>
        <p:spPr>
          <a:xfrm>
            <a:off x="5210476" y="6325548"/>
            <a:ext cx="1722268" cy="4431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492714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Rettangolo 10"/>
          <p:cNvSpPr/>
          <p:nvPr userDrawn="1"/>
        </p:nvSpPr>
        <p:spPr>
          <a:xfrm>
            <a:off x="5273336" y="6390489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95757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9" name="Rettangolo 18"/>
          <p:cNvSpPr/>
          <p:nvPr userDrawn="1"/>
        </p:nvSpPr>
        <p:spPr>
          <a:xfrm>
            <a:off x="5273336" y="6427433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91979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1189603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3" name="Rettangolo 22"/>
          <p:cNvSpPr/>
          <p:nvPr userDrawn="1"/>
        </p:nvSpPr>
        <p:spPr>
          <a:xfrm>
            <a:off x="5273336" y="6427433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631293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8348248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190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556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10196" y="274501"/>
            <a:ext cx="10971609" cy="1142505"/>
          </a:xfrm>
          <a:prstGeom prst="rect">
            <a:avLst/>
          </a:prstGeom>
        </p:spPr>
        <p:txBody>
          <a:bodyPr lIns="91427" tIns="45712" rIns="91427" bIns="45712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10196" y="1599510"/>
            <a:ext cx="10971609" cy="4526993"/>
          </a:xfrm>
          <a:prstGeom prst="rect">
            <a:avLst/>
          </a:prstGeom>
        </p:spPr>
        <p:txBody>
          <a:bodyPr lIns="91427" tIns="45712" rIns="91427" bIns="45712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5310541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5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646703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268833539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DF3070-BF5A-4548-8511-B14363A954D0}" type="datetimeFigureOut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/03/2023</a:t>
            </a:fld>
            <a:endParaRPr kumimoji="0" lang="it-IT" sz="800" b="0" i="0" u="none" strike="noStrike" kern="1200" cap="none" spc="0" normalizeH="0" baseline="0" noProof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800" b="0" i="0" u="none" strike="noStrike" kern="1200" cap="none" spc="0" normalizeH="0" baseline="0" noProof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8DFD1-4342-423F-B305-EABD080305F9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34034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3" name="Rettangolo 2"/>
          <p:cNvSpPr/>
          <p:nvPr userDrawn="1"/>
        </p:nvSpPr>
        <p:spPr>
          <a:xfrm>
            <a:off x="4983623" y="6321159"/>
            <a:ext cx="2024108" cy="4431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56527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D0088DDB-21B9-16D1-B30E-18A6D42F72BD}"/>
              </a:ext>
            </a:extLst>
          </p:cNvPr>
          <p:cNvSpPr/>
          <p:nvPr userDrawn="1"/>
        </p:nvSpPr>
        <p:spPr>
          <a:xfrm>
            <a:off x="4468483" y="6314536"/>
            <a:ext cx="3260785" cy="543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5142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270466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6" name="Rettangolo 5"/>
          <p:cNvSpPr/>
          <p:nvPr userDrawn="1"/>
        </p:nvSpPr>
        <p:spPr>
          <a:xfrm>
            <a:off x="5210476" y="6316312"/>
            <a:ext cx="1722268" cy="4431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11131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356284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7" name="Rettangolo 6"/>
          <p:cNvSpPr/>
          <p:nvPr userDrawn="1"/>
        </p:nvSpPr>
        <p:spPr>
          <a:xfrm>
            <a:off x="5273336" y="6427433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39537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Rettangolo 6"/>
          <p:cNvSpPr/>
          <p:nvPr userDrawn="1"/>
        </p:nvSpPr>
        <p:spPr>
          <a:xfrm>
            <a:off x="5273336" y="6372016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40612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9" name="Rettangolo 8"/>
          <p:cNvSpPr/>
          <p:nvPr userDrawn="1"/>
        </p:nvSpPr>
        <p:spPr>
          <a:xfrm>
            <a:off x="5273336" y="6427433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305755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6" name="Rettangolo 15"/>
          <p:cNvSpPr/>
          <p:nvPr userDrawn="1"/>
        </p:nvSpPr>
        <p:spPr>
          <a:xfrm>
            <a:off x="5273336" y="6390489"/>
            <a:ext cx="1651247" cy="430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1846595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801583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999408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710469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43920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5.emf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theme" Target="../theme/theme6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FFFFFF"/>
              </a:solidFill>
            </a:endParaRP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>
                <a:solidFill>
                  <a:srgbClr val="000000"/>
                </a:solidFill>
              </a:endParaRPr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>
                <a:solidFill>
                  <a:srgbClr val="FFFFFF"/>
                </a:solidFill>
              </a:rPr>
              <a:pPr defTabSz="1219170"/>
              <a:t>‹N›</a:t>
            </a:fld>
            <a:endParaRPr lang="it-IT">
              <a:solidFill>
                <a:srgbClr val="FFFFFF"/>
              </a:solidFill>
            </a:endParaRPr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>
                <a:solidFill>
                  <a:srgbClr val="DC002E"/>
                </a:solidFill>
              </a:rPr>
              <a:t>Formato data GG/MM/AAAA</a:t>
            </a:r>
            <a:endParaRPr lang="en-GB">
              <a:solidFill>
                <a:srgbClr val="DC002E"/>
              </a:solidFill>
            </a:endParaRPr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2" name="MSIPCMContentMarking" descr="{&quot;HashCode&quot;:-764840278,&quot;Placement&quot;:&quot;Footer&quot;,&quot;Top&quot;:519.343,&quot;Left&quot;:355.551178,&quot;SlideWidth&quot;:960,&quot;SlideHeight&quot;:540}">
            <a:extLst>
              <a:ext uri="{FF2B5EF4-FFF2-40B4-BE49-F238E27FC236}">
                <a16:creationId xmlns:a16="http://schemas.microsoft.com/office/drawing/2014/main" id="{BB3FC932-C5AF-4904-87C5-899B4D2265E9}"/>
              </a:ext>
            </a:extLst>
          </p:cNvPr>
          <p:cNvSpPr txBox="1"/>
          <p:nvPr userDrawn="1"/>
        </p:nvSpPr>
        <p:spPr>
          <a:xfrm>
            <a:off x="4515500" y="6595656"/>
            <a:ext cx="31609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 - Internal use information</a:t>
            </a:r>
          </a:p>
        </p:txBody>
      </p:sp>
    </p:spTree>
    <p:extLst>
      <p:ext uri="{BB962C8B-B14F-4D97-AF65-F5344CB8AC3E}">
        <p14:creationId xmlns:p14="http://schemas.microsoft.com/office/powerpoint/2010/main" val="2473713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3" r:id="rId2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magine 1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28282" y="4032501"/>
            <a:ext cx="11908093" cy="2120669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" name="MSIPCMContentMarking" descr="{&quot;HashCode&quot;:-764840278,&quot;Placement&quot;:&quot;Footer&quot;,&quot;Top&quot;:519.343,&quot;Left&quot;:355.551178,&quot;SlideWidth&quot;:960,&quot;SlideHeight&quot;:540}">
            <a:extLst>
              <a:ext uri="{FF2B5EF4-FFF2-40B4-BE49-F238E27FC236}">
                <a16:creationId xmlns:a16="http://schemas.microsoft.com/office/drawing/2014/main" id="{670AAAEC-AC55-4C9E-A093-1DBA2EA1C2B0}"/>
              </a:ext>
            </a:extLst>
          </p:cNvPr>
          <p:cNvSpPr txBox="1"/>
          <p:nvPr userDrawn="1"/>
        </p:nvSpPr>
        <p:spPr>
          <a:xfrm>
            <a:off x="4515500" y="6595656"/>
            <a:ext cx="31609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 - Internal use information</a:t>
            </a:r>
          </a:p>
        </p:txBody>
      </p:sp>
    </p:spTree>
    <p:extLst>
      <p:ext uri="{BB962C8B-B14F-4D97-AF65-F5344CB8AC3E}">
        <p14:creationId xmlns:p14="http://schemas.microsoft.com/office/powerpoint/2010/main" val="1252396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2" name="MSIPCMContentMarking" descr="{&quot;HashCode&quot;:-764840278,&quot;Placement&quot;:&quot;Footer&quot;,&quot;Top&quot;:519.343,&quot;Left&quot;:355.551178,&quot;SlideWidth&quot;:960,&quot;SlideHeight&quot;:540}">
            <a:extLst>
              <a:ext uri="{FF2B5EF4-FFF2-40B4-BE49-F238E27FC236}">
                <a16:creationId xmlns:a16="http://schemas.microsoft.com/office/drawing/2014/main" id="{8EBAAD77-24A5-4D89-9BDC-35CD453ED6DB}"/>
              </a:ext>
            </a:extLst>
          </p:cNvPr>
          <p:cNvSpPr txBox="1"/>
          <p:nvPr userDrawn="1"/>
        </p:nvSpPr>
        <p:spPr>
          <a:xfrm>
            <a:off x="4515500" y="6595656"/>
            <a:ext cx="31609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 - Internal use information</a:t>
            </a:r>
          </a:p>
        </p:txBody>
      </p:sp>
    </p:spTree>
    <p:extLst>
      <p:ext uri="{BB962C8B-B14F-4D97-AF65-F5344CB8AC3E}">
        <p14:creationId xmlns:p14="http://schemas.microsoft.com/office/powerpoint/2010/main" val="1890904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  <p:sldLayoutId id="2147483994" r:id="rId14"/>
    <p:sldLayoutId id="2147483995" r:id="rId15"/>
    <p:sldLayoutId id="2147483996" r:id="rId16"/>
    <p:sldLayoutId id="2147483997" r:id="rId17"/>
    <p:sldLayoutId id="2147483998" r:id="rId18"/>
    <p:sldLayoutId id="2147483999" r:id="rId19"/>
    <p:sldLayoutId id="2147484000" r:id="rId20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2" name="MSIPCMContentMarking" descr="{&quot;HashCode&quot;:-764840278,&quot;Placement&quot;:&quot;Footer&quot;,&quot;Top&quot;:519.343,&quot;Left&quot;:355.551178,&quot;SlideWidth&quot;:960,&quot;SlideHeight&quot;:540}">
            <a:extLst>
              <a:ext uri="{FF2B5EF4-FFF2-40B4-BE49-F238E27FC236}">
                <a16:creationId xmlns:a16="http://schemas.microsoft.com/office/drawing/2014/main" id="{4F6B3E53-9927-499B-9AAD-61C118B24C84}"/>
              </a:ext>
            </a:extLst>
          </p:cNvPr>
          <p:cNvSpPr txBox="1"/>
          <p:nvPr userDrawn="1"/>
        </p:nvSpPr>
        <p:spPr>
          <a:xfrm>
            <a:off x="4515500" y="6595656"/>
            <a:ext cx="31609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 - Internal use information</a:t>
            </a:r>
          </a:p>
        </p:txBody>
      </p:sp>
    </p:spTree>
    <p:extLst>
      <p:ext uri="{BB962C8B-B14F-4D97-AF65-F5344CB8AC3E}">
        <p14:creationId xmlns:p14="http://schemas.microsoft.com/office/powerpoint/2010/main" val="1094137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  <p:sldLayoutId id="2147484063" r:id="rId13"/>
    <p:sldLayoutId id="2147484064" r:id="rId14"/>
    <p:sldLayoutId id="2147484065" r:id="rId15"/>
    <p:sldLayoutId id="2147484066" r:id="rId16"/>
    <p:sldLayoutId id="2147484067" r:id="rId17"/>
    <p:sldLayoutId id="2147484068" r:id="rId18"/>
    <p:sldLayoutId id="2147484070" r:id="rId19"/>
    <p:sldLayoutId id="2147484071" r:id="rId20"/>
    <p:sldLayoutId id="2147484072" r:id="rId2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2" name="MSIPCMContentMarking" descr="{&quot;HashCode&quot;:-764840278,&quot;Placement&quot;:&quot;Footer&quot;,&quot;Top&quot;:519.343,&quot;Left&quot;:355.551178,&quot;SlideWidth&quot;:960,&quot;SlideHeight&quot;:540}">
            <a:extLst>
              <a:ext uri="{FF2B5EF4-FFF2-40B4-BE49-F238E27FC236}">
                <a16:creationId xmlns:a16="http://schemas.microsoft.com/office/drawing/2014/main" id="{9E04CE0F-D37B-4AC9-8663-C82F23E32740}"/>
              </a:ext>
            </a:extLst>
          </p:cNvPr>
          <p:cNvSpPr txBox="1"/>
          <p:nvPr userDrawn="1"/>
        </p:nvSpPr>
        <p:spPr>
          <a:xfrm>
            <a:off x="4515500" y="6595656"/>
            <a:ext cx="31609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 - Internal use information</a:t>
            </a:r>
          </a:p>
        </p:txBody>
      </p:sp>
    </p:spTree>
    <p:extLst>
      <p:ext uri="{BB962C8B-B14F-4D97-AF65-F5344CB8AC3E}">
        <p14:creationId xmlns:p14="http://schemas.microsoft.com/office/powerpoint/2010/main" val="676749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8" r:id="rId2"/>
    <p:sldLayoutId id="2147484129" r:id="rId3"/>
    <p:sldLayoutId id="2147484130" r:id="rId4"/>
    <p:sldLayoutId id="2147484131" r:id="rId5"/>
    <p:sldLayoutId id="2147484132" r:id="rId6"/>
    <p:sldLayoutId id="2147484133" r:id="rId7"/>
    <p:sldLayoutId id="2147484134" r:id="rId8"/>
    <p:sldLayoutId id="2147484135" r:id="rId9"/>
    <p:sldLayoutId id="2147484136" r:id="rId10"/>
    <p:sldLayoutId id="2147484137" r:id="rId11"/>
    <p:sldLayoutId id="2147484138" r:id="rId12"/>
    <p:sldLayoutId id="2147484139" r:id="rId13"/>
    <p:sldLayoutId id="2147484140" r:id="rId14"/>
    <p:sldLayoutId id="2147484141" r:id="rId15"/>
    <p:sldLayoutId id="2147484142" r:id="rId16"/>
    <p:sldLayoutId id="2147484143" r:id="rId17"/>
    <p:sldLayoutId id="2147484144" r:id="rId18"/>
    <p:sldLayoutId id="2147484145" r:id="rId19"/>
    <p:sldLayoutId id="2147484146" r:id="rId20"/>
    <p:sldLayoutId id="2147484147" r:id="rId21"/>
    <p:sldLayoutId id="2147484148" r:id="rId22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2" name="MSIPCMContentMarking" descr="{&quot;HashCode&quot;:-764840278,&quot;Placement&quot;:&quot;Footer&quot;,&quot;Top&quot;:519.343,&quot;Left&quot;:355.551178,&quot;SlideWidth&quot;:960,&quot;SlideHeight&quot;:540}">
            <a:extLst>
              <a:ext uri="{FF2B5EF4-FFF2-40B4-BE49-F238E27FC236}">
                <a16:creationId xmlns:a16="http://schemas.microsoft.com/office/drawing/2014/main" id="{43DAAEC5-69FB-4BAF-A4C0-394DAA8BECF8}"/>
              </a:ext>
            </a:extLst>
          </p:cNvPr>
          <p:cNvSpPr txBox="1"/>
          <p:nvPr userDrawn="1"/>
        </p:nvSpPr>
        <p:spPr>
          <a:xfrm>
            <a:off x="4515500" y="6595656"/>
            <a:ext cx="31609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 - Internal use information</a:t>
            </a:r>
          </a:p>
        </p:txBody>
      </p:sp>
    </p:spTree>
    <p:extLst>
      <p:ext uri="{BB962C8B-B14F-4D97-AF65-F5344CB8AC3E}">
        <p14:creationId xmlns:p14="http://schemas.microsoft.com/office/powerpoint/2010/main" val="197427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  <p:sldLayoutId id="2147484155" r:id="rId6"/>
    <p:sldLayoutId id="2147484156" r:id="rId7"/>
    <p:sldLayoutId id="2147484157" r:id="rId8"/>
    <p:sldLayoutId id="2147484158" r:id="rId9"/>
    <p:sldLayoutId id="2147484159" r:id="rId10"/>
    <p:sldLayoutId id="2147484160" r:id="rId11"/>
    <p:sldLayoutId id="2147484162" r:id="rId12"/>
    <p:sldLayoutId id="2147484163" r:id="rId13"/>
    <p:sldLayoutId id="2147484164" r:id="rId14"/>
    <p:sldLayoutId id="2147484165" r:id="rId15"/>
    <p:sldLayoutId id="2147484166" r:id="rId16"/>
    <p:sldLayoutId id="2147484167" r:id="rId17"/>
    <p:sldLayoutId id="2147484168" r:id="rId18"/>
    <p:sldLayoutId id="2147484169" r:id="rId19"/>
    <p:sldLayoutId id="2147484170" r:id="rId20"/>
    <p:sldLayoutId id="2147484171" r:id="rId21"/>
    <p:sldLayoutId id="2147484172" r:id="rId22"/>
    <p:sldLayoutId id="2147484173" r:id="rId23"/>
    <p:sldLayoutId id="2147484174" r:id="rId24"/>
    <p:sldLayoutId id="2147484175" r:id="rId25"/>
    <p:sldLayoutId id="2147484176" r:id="rId26"/>
    <p:sldLayoutId id="2147484177" r:id="rId27"/>
    <p:sldLayoutId id="2147484178" r:id="rId28"/>
    <p:sldLayoutId id="2147484179" r:id="rId29"/>
    <p:sldLayoutId id="2147484180" r:id="rId30"/>
    <p:sldLayoutId id="2147484181" r:id="rId31"/>
    <p:sldLayoutId id="2147484182" r:id="rId32"/>
    <p:sldLayoutId id="2147484183" r:id="rId33"/>
    <p:sldLayoutId id="2147484184" r:id="rId34"/>
    <p:sldLayoutId id="2147484185" r:id="rId35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4.png"/><Relationship Id="rId18" Type="http://schemas.openxmlformats.org/officeDocument/2006/relationships/image" Target="../media/image96.png"/><Relationship Id="rId3" Type="http://schemas.microsoft.com/office/2007/relationships/hdphoto" Target="../media/hdphoto17.wdp"/><Relationship Id="rId21" Type="http://schemas.openxmlformats.org/officeDocument/2006/relationships/image" Target="../media/image72.png"/><Relationship Id="rId7" Type="http://schemas.microsoft.com/office/2007/relationships/hdphoto" Target="../media/hdphoto19.wdp"/><Relationship Id="rId12" Type="http://schemas.microsoft.com/office/2007/relationships/hdphoto" Target="../media/hdphoto21.wdp"/><Relationship Id="rId17" Type="http://schemas.microsoft.com/office/2007/relationships/hdphoto" Target="../media/hdphoto16.wdp"/><Relationship Id="rId2" Type="http://schemas.openxmlformats.org/officeDocument/2006/relationships/image" Target="../media/image89.png"/><Relationship Id="rId16" Type="http://schemas.openxmlformats.org/officeDocument/2006/relationships/image" Target="../media/image73.png"/><Relationship Id="rId20" Type="http://schemas.openxmlformats.org/officeDocument/2006/relationships/image" Target="../media/image9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png"/><Relationship Id="rId11" Type="http://schemas.openxmlformats.org/officeDocument/2006/relationships/image" Target="../media/image93.png"/><Relationship Id="rId5" Type="http://schemas.microsoft.com/office/2007/relationships/hdphoto" Target="../media/hdphoto18.wdp"/><Relationship Id="rId15" Type="http://schemas.microsoft.com/office/2007/relationships/hdphoto" Target="../media/hdphoto22.wdp"/><Relationship Id="rId10" Type="http://schemas.openxmlformats.org/officeDocument/2006/relationships/image" Target="../media/image36.png"/><Relationship Id="rId19" Type="http://schemas.microsoft.com/office/2007/relationships/hdphoto" Target="../media/hdphoto23.wdp"/><Relationship Id="rId4" Type="http://schemas.openxmlformats.org/officeDocument/2006/relationships/image" Target="../media/image90.png"/><Relationship Id="rId9" Type="http://schemas.microsoft.com/office/2007/relationships/hdphoto" Target="../media/hdphoto20.wdp"/><Relationship Id="rId14" Type="http://schemas.openxmlformats.org/officeDocument/2006/relationships/image" Target="../media/image95.png"/><Relationship Id="rId22" Type="http://schemas.microsoft.com/office/2007/relationships/hdphoto" Target="../media/hdphoto15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slideLayout" Target="../slideLayouts/slideLayout2.xml"/><Relationship Id="rId7" Type="http://schemas.microsoft.com/office/2007/relationships/hdphoto" Target="../media/hdphoto16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3.png"/><Relationship Id="rId5" Type="http://schemas.openxmlformats.org/officeDocument/2006/relationships/image" Target="../media/image75.emf"/><Relationship Id="rId10" Type="http://schemas.openxmlformats.org/officeDocument/2006/relationships/image" Target="../media/image106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1.png"/><Relationship Id="rId11" Type="http://schemas.openxmlformats.org/officeDocument/2006/relationships/chart" Target="../charts/chart3.xml"/><Relationship Id="rId5" Type="http://schemas.openxmlformats.org/officeDocument/2006/relationships/image" Target="../media/image110.png"/><Relationship Id="rId10" Type="http://schemas.openxmlformats.org/officeDocument/2006/relationships/chart" Target="../charts/chart2.xml"/><Relationship Id="rId4" Type="http://schemas.openxmlformats.org/officeDocument/2006/relationships/image" Target="../media/image109.png"/><Relationship Id="rId9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image" Target="../media/image119.jpeg"/><Relationship Id="rId7" Type="http://schemas.openxmlformats.org/officeDocument/2006/relationships/image" Target="../media/image123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2.png"/><Relationship Id="rId5" Type="http://schemas.openxmlformats.org/officeDocument/2006/relationships/image" Target="../media/image121.png"/><Relationship Id="rId10" Type="http://schemas.openxmlformats.org/officeDocument/2006/relationships/image" Target="../media/image126.png"/><Relationship Id="rId4" Type="http://schemas.openxmlformats.org/officeDocument/2006/relationships/image" Target="../media/image120.jpeg"/><Relationship Id="rId9" Type="http://schemas.openxmlformats.org/officeDocument/2006/relationships/image" Target="../media/image12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7.xml"/><Relationship Id="rId7" Type="http://schemas.openxmlformats.org/officeDocument/2006/relationships/image" Target="../media/image130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4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135.png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7" Type="http://schemas.openxmlformats.org/officeDocument/2006/relationships/image" Target="../media/image141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0.png"/><Relationship Id="rId5" Type="http://schemas.openxmlformats.org/officeDocument/2006/relationships/image" Target="../media/image139.png"/><Relationship Id="rId4" Type="http://schemas.openxmlformats.org/officeDocument/2006/relationships/image" Target="../media/image138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8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8.jpe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microsoft.com/office/2007/relationships/hdphoto" Target="../media/hdphoto1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jpeg"/><Relationship Id="rId13" Type="http://schemas.openxmlformats.org/officeDocument/2006/relationships/image" Target="../media/image150.png"/><Relationship Id="rId3" Type="http://schemas.openxmlformats.org/officeDocument/2006/relationships/image" Target="../media/image142.jpeg"/><Relationship Id="rId7" Type="http://schemas.openxmlformats.org/officeDocument/2006/relationships/image" Target="../media/image146.jpeg"/><Relationship Id="rId12" Type="http://schemas.openxmlformats.org/officeDocument/2006/relationships/image" Target="../media/image1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145.jpeg"/><Relationship Id="rId11" Type="http://schemas.microsoft.com/office/2014/relationships/chartEx" Target="../charts/chartEx1.xml"/><Relationship Id="rId5" Type="http://schemas.openxmlformats.org/officeDocument/2006/relationships/image" Target="../media/image144.jpeg"/><Relationship Id="rId10" Type="http://schemas.openxmlformats.org/officeDocument/2006/relationships/image" Target="../media/image149.jpeg"/><Relationship Id="rId4" Type="http://schemas.openxmlformats.org/officeDocument/2006/relationships/image" Target="../media/image143.jpeg"/><Relationship Id="rId9" Type="http://schemas.openxmlformats.org/officeDocument/2006/relationships/image" Target="../media/image148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57.svg"/><Relationship Id="rId2" Type="http://schemas.openxmlformats.org/officeDocument/2006/relationships/slideLayout" Target="../slideLayouts/slideLayout48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54.png"/><Relationship Id="rId5" Type="http://schemas.openxmlformats.org/officeDocument/2006/relationships/image" Target="../media/image153.png"/><Relationship Id="rId4" Type="http://schemas.openxmlformats.org/officeDocument/2006/relationships/image" Target="../media/image15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56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png"/><Relationship Id="rId13" Type="http://schemas.openxmlformats.org/officeDocument/2006/relationships/image" Target="../media/image165.png"/><Relationship Id="rId3" Type="http://schemas.openxmlformats.org/officeDocument/2006/relationships/image" Target="../media/image157.jpeg"/><Relationship Id="rId7" Type="http://schemas.openxmlformats.org/officeDocument/2006/relationships/image" Target="../media/image160.png"/><Relationship Id="rId12" Type="http://schemas.openxmlformats.org/officeDocument/2006/relationships/image" Target="../media/image164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63.svg"/><Relationship Id="rId11" Type="http://schemas.openxmlformats.org/officeDocument/2006/relationships/image" Target="../media/image163.png"/><Relationship Id="rId5" Type="http://schemas.openxmlformats.org/officeDocument/2006/relationships/image" Target="../media/image159.png"/><Relationship Id="rId15" Type="http://schemas.openxmlformats.org/officeDocument/2006/relationships/image" Target="../media/image167.png"/><Relationship Id="rId10" Type="http://schemas.openxmlformats.org/officeDocument/2006/relationships/image" Target="../media/image162.png"/><Relationship Id="rId4" Type="http://schemas.openxmlformats.org/officeDocument/2006/relationships/image" Target="../media/image158.png"/><Relationship Id="rId9" Type="http://schemas.openxmlformats.org/officeDocument/2006/relationships/image" Target="../media/image166.svg"/><Relationship Id="rId14" Type="http://schemas.openxmlformats.org/officeDocument/2006/relationships/image" Target="../media/image166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169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73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72.png"/><Relationship Id="rId5" Type="http://schemas.openxmlformats.org/officeDocument/2006/relationships/image" Target="../media/image171.png"/><Relationship Id="rId10" Type="http://schemas.openxmlformats.org/officeDocument/2006/relationships/image" Target="../media/image176.png"/><Relationship Id="rId4" Type="http://schemas.openxmlformats.org/officeDocument/2006/relationships/image" Target="../media/image170.png"/><Relationship Id="rId9" Type="http://schemas.openxmlformats.org/officeDocument/2006/relationships/image" Target="../media/image175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51.png"/><Relationship Id="rId12" Type="http://schemas.openxmlformats.org/officeDocument/2006/relationships/image" Target="../media/image153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71.png"/><Relationship Id="rId11" Type="http://schemas.openxmlformats.org/officeDocument/2006/relationships/image" Target="../media/image185.svg"/><Relationship Id="rId5" Type="http://schemas.openxmlformats.org/officeDocument/2006/relationships/image" Target="../media/image170.png"/><Relationship Id="rId10" Type="http://schemas.openxmlformats.org/officeDocument/2006/relationships/image" Target="../media/image179.png"/><Relationship Id="rId4" Type="http://schemas.openxmlformats.org/officeDocument/2006/relationships/image" Target="../media/image175.jpeg"/><Relationship Id="rId9" Type="http://schemas.openxmlformats.org/officeDocument/2006/relationships/image" Target="../media/image17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7.svg"/><Relationship Id="rId18" Type="http://schemas.openxmlformats.org/officeDocument/2006/relationships/image" Target="../media/image29.png"/><Relationship Id="rId3" Type="http://schemas.openxmlformats.org/officeDocument/2006/relationships/image" Target="../media/image19.png"/><Relationship Id="rId21" Type="http://schemas.openxmlformats.org/officeDocument/2006/relationships/image" Target="../media/image32.png"/><Relationship Id="rId7" Type="http://schemas.openxmlformats.org/officeDocument/2006/relationships/image" Target="../media/image22.png"/><Relationship Id="rId12" Type="http://schemas.openxmlformats.org/officeDocument/2006/relationships/image" Target="../media/image25.pn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6" Type="http://schemas.microsoft.com/office/2007/relationships/hdphoto" Target="../media/hdphoto3.wdp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1.png"/><Relationship Id="rId11" Type="http://schemas.microsoft.com/office/2007/relationships/hdphoto" Target="../media/hdphoto2.wdp"/><Relationship Id="rId5" Type="http://schemas.openxmlformats.org/officeDocument/2006/relationships/image" Target="../media/image21.svg"/><Relationship Id="rId15" Type="http://schemas.openxmlformats.org/officeDocument/2006/relationships/image" Target="../media/image27.png"/><Relationship Id="rId10" Type="http://schemas.openxmlformats.org/officeDocument/2006/relationships/image" Target="../media/image24.png"/><Relationship Id="rId19" Type="http://schemas.openxmlformats.org/officeDocument/2006/relationships/image" Target="../media/image30.png"/><Relationship Id="rId4" Type="http://schemas.openxmlformats.org/officeDocument/2006/relationships/image" Target="../media/image20.png"/><Relationship Id="rId9" Type="http://schemas.openxmlformats.org/officeDocument/2006/relationships/image" Target="../media/image16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2.png"/><Relationship Id="rId18" Type="http://schemas.openxmlformats.org/officeDocument/2006/relationships/image" Target="../media/image45.png"/><Relationship Id="rId26" Type="http://schemas.openxmlformats.org/officeDocument/2006/relationships/image" Target="../media/image51.png"/><Relationship Id="rId3" Type="http://schemas.openxmlformats.org/officeDocument/2006/relationships/image" Target="../media/image35.png"/><Relationship Id="rId21" Type="http://schemas.openxmlformats.org/officeDocument/2006/relationships/image" Target="../media/image48.png"/><Relationship Id="rId7" Type="http://schemas.microsoft.com/office/2007/relationships/hdphoto" Target="../media/hdphoto1.wdp"/><Relationship Id="rId12" Type="http://schemas.openxmlformats.org/officeDocument/2006/relationships/image" Target="../media/image41.png"/><Relationship Id="rId17" Type="http://schemas.openxmlformats.org/officeDocument/2006/relationships/image" Target="../media/image44.png"/><Relationship Id="rId25" Type="http://schemas.openxmlformats.org/officeDocument/2006/relationships/image" Target="../media/image50.png"/><Relationship Id="rId33" Type="http://schemas.microsoft.com/office/2007/relationships/hdphoto" Target="../media/hdphoto12.wdp"/><Relationship Id="rId2" Type="http://schemas.openxmlformats.org/officeDocument/2006/relationships/notesSlide" Target="../notesSlides/notesSlide4.xml"/><Relationship Id="rId16" Type="http://schemas.microsoft.com/office/2007/relationships/hdphoto" Target="../media/hdphoto7.wdp"/><Relationship Id="rId20" Type="http://schemas.openxmlformats.org/officeDocument/2006/relationships/image" Target="../media/image47.png"/><Relationship Id="rId29" Type="http://schemas.microsoft.com/office/2007/relationships/hdphoto" Target="../media/hdphoto11.wd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11" Type="http://schemas.openxmlformats.org/officeDocument/2006/relationships/image" Target="../media/image40.png"/><Relationship Id="rId24" Type="http://schemas.microsoft.com/office/2007/relationships/hdphoto" Target="../media/hdphoto9.wdp"/><Relationship Id="rId32" Type="http://schemas.openxmlformats.org/officeDocument/2006/relationships/image" Target="../media/image55.png"/><Relationship Id="rId5" Type="http://schemas.openxmlformats.org/officeDocument/2006/relationships/image" Target="../media/image36.png"/><Relationship Id="rId15" Type="http://schemas.openxmlformats.org/officeDocument/2006/relationships/image" Target="../media/image43.png"/><Relationship Id="rId23" Type="http://schemas.openxmlformats.org/officeDocument/2006/relationships/image" Target="../media/image49.png"/><Relationship Id="rId28" Type="http://schemas.openxmlformats.org/officeDocument/2006/relationships/image" Target="../media/image52.png"/><Relationship Id="rId10" Type="http://schemas.microsoft.com/office/2007/relationships/hdphoto" Target="../media/hdphoto5.wdp"/><Relationship Id="rId19" Type="http://schemas.openxmlformats.org/officeDocument/2006/relationships/image" Target="../media/image46.png"/><Relationship Id="rId31" Type="http://schemas.openxmlformats.org/officeDocument/2006/relationships/image" Target="../media/image54.png"/><Relationship Id="rId4" Type="http://schemas.microsoft.com/office/2007/relationships/hdphoto" Target="../media/hdphoto4.wdp"/><Relationship Id="rId9" Type="http://schemas.openxmlformats.org/officeDocument/2006/relationships/image" Target="../media/image39.png"/><Relationship Id="rId14" Type="http://schemas.microsoft.com/office/2007/relationships/hdphoto" Target="../media/hdphoto6.wdp"/><Relationship Id="rId22" Type="http://schemas.microsoft.com/office/2007/relationships/hdphoto" Target="../media/hdphoto8.wdp"/><Relationship Id="rId27" Type="http://schemas.microsoft.com/office/2007/relationships/hdphoto" Target="../media/hdphoto10.wdp"/><Relationship Id="rId30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18" Type="http://schemas.openxmlformats.org/officeDocument/2006/relationships/image" Target="../media/image70.png"/><Relationship Id="rId3" Type="http://schemas.openxmlformats.org/officeDocument/2006/relationships/image" Target="../media/image56.png"/><Relationship Id="rId21" Type="http://schemas.openxmlformats.org/officeDocument/2006/relationships/image" Target="../media/image72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17" Type="http://schemas.openxmlformats.org/officeDocument/2006/relationships/image" Target="../media/image69.png"/><Relationship Id="rId25" Type="http://schemas.openxmlformats.org/officeDocument/2006/relationships/image" Target="../media/image7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8.png"/><Relationship Id="rId20" Type="http://schemas.microsoft.com/office/2007/relationships/hdphoto" Target="../media/hdphoto14.wd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24" Type="http://schemas.microsoft.com/office/2007/relationships/hdphoto" Target="../media/hdphoto16.wdp"/><Relationship Id="rId5" Type="http://schemas.openxmlformats.org/officeDocument/2006/relationships/image" Target="../media/image57.png"/><Relationship Id="rId15" Type="http://schemas.openxmlformats.org/officeDocument/2006/relationships/image" Target="../media/image67.png"/><Relationship Id="rId23" Type="http://schemas.openxmlformats.org/officeDocument/2006/relationships/image" Target="../media/image73.png"/><Relationship Id="rId10" Type="http://schemas.openxmlformats.org/officeDocument/2006/relationships/image" Target="../media/image62.png"/><Relationship Id="rId19" Type="http://schemas.openxmlformats.org/officeDocument/2006/relationships/image" Target="../media/image71.png"/><Relationship Id="rId4" Type="http://schemas.microsoft.com/office/2007/relationships/hdphoto" Target="../media/hdphoto13.wdp"/><Relationship Id="rId9" Type="http://schemas.openxmlformats.org/officeDocument/2006/relationships/image" Target="../media/image61.png"/><Relationship Id="rId14" Type="http://schemas.openxmlformats.org/officeDocument/2006/relationships/image" Target="../media/image66.png"/><Relationship Id="rId22" Type="http://schemas.microsoft.com/office/2007/relationships/hdphoto" Target="../media/hdphoto15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7.png"/><Relationship Id="rId12" Type="http://schemas.openxmlformats.org/officeDocument/2006/relationships/image" Target="../media/image8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6.png"/><Relationship Id="rId11" Type="http://schemas.openxmlformats.org/officeDocument/2006/relationships/image" Target="../media/image81.jpeg"/><Relationship Id="rId5" Type="http://schemas.openxmlformats.org/officeDocument/2006/relationships/image" Target="../media/image75.emf"/><Relationship Id="rId10" Type="http://schemas.openxmlformats.org/officeDocument/2006/relationships/image" Target="../media/image80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9.png"/><Relationship Id="rId14" Type="http://schemas.openxmlformats.org/officeDocument/2006/relationships/image" Target="../media/image7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2.emf"/><Relationship Id="rId12" Type="http://schemas.openxmlformats.org/officeDocument/2006/relationships/image" Target="../media/image8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4.png"/><Relationship Id="rId11" Type="http://schemas.openxmlformats.org/officeDocument/2006/relationships/image" Target="../media/image87.png"/><Relationship Id="rId5" Type="http://schemas.openxmlformats.org/officeDocument/2006/relationships/image" Target="../media/image75.emf"/><Relationship Id="rId10" Type="http://schemas.openxmlformats.org/officeDocument/2006/relationships/image" Target="../media/image8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-816425" y="1289504"/>
            <a:ext cx="12487502" cy="2540549"/>
          </a:xfrm>
        </p:spPr>
        <p:txBody>
          <a:bodyPr/>
          <a:lstStyle/>
          <a:p>
            <a:r>
              <a:rPr lang="it-IT" sz="4200"/>
              <a:t>IX COMMISSIONE PERMANENTE CAMERA DEPUTATI</a:t>
            </a:r>
            <a:br>
              <a:rPr lang="it-IT" sz="4200"/>
            </a:br>
            <a:r>
              <a:rPr lang="it-IT" sz="4200"/>
              <a:t>(TRASPORTI, POSTE E TELECOMUNICAZIONI)</a:t>
            </a:r>
            <a:br>
              <a:rPr lang="it-IT" sz="4200"/>
            </a:br>
            <a:r>
              <a:rPr lang="it-IT" sz="4200"/>
              <a:t/>
            </a:r>
            <a:br>
              <a:rPr lang="it-IT" sz="4200"/>
            </a:br>
            <a:r>
              <a:rPr lang="it-IT" sz="3200">
                <a:solidFill>
                  <a:schemeClr val="bg1"/>
                </a:solidFill>
              </a:rPr>
              <a:t>Esame Contratti di Programma 2022- 2026</a:t>
            </a:r>
            <a:br>
              <a:rPr lang="it-IT" sz="3200">
                <a:solidFill>
                  <a:schemeClr val="bg1"/>
                </a:solidFill>
              </a:rPr>
            </a:br>
            <a:r>
              <a:rPr lang="it-IT" sz="3200">
                <a:solidFill>
                  <a:schemeClr val="bg1"/>
                </a:solidFill>
              </a:rPr>
              <a:t>parte Servizi e parte Investimenti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381862" y="5293561"/>
            <a:ext cx="1780041" cy="322467"/>
          </a:xfrm>
        </p:spPr>
        <p:txBody>
          <a:bodyPr lIns="0" tIns="45720" rIns="0" bIns="45720" anchor="t"/>
          <a:lstStyle/>
          <a:p>
            <a:r>
              <a:rPr lang="it-IT" sz="1600"/>
              <a:t>21 Marzo 2023</a:t>
            </a:r>
          </a:p>
        </p:txBody>
      </p:sp>
    </p:spTree>
    <p:extLst>
      <p:ext uri="{BB962C8B-B14F-4D97-AF65-F5344CB8AC3E}">
        <p14:creationId xmlns:p14="http://schemas.microsoft.com/office/powerpoint/2010/main" val="25734185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Sviluppo tecnologico e nuove sperimentazioni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/>
              <a:t>I programmi di sviluppo tecnologico</a:t>
            </a:r>
          </a:p>
        </p:txBody>
      </p:sp>
      <p:grpSp>
        <p:nvGrpSpPr>
          <p:cNvPr id="71" name="Group 5">
            <a:extLst>
              <a:ext uri="{FF2B5EF4-FFF2-40B4-BE49-F238E27FC236}">
                <a16:creationId xmlns:a16="http://schemas.microsoft.com/office/drawing/2014/main" id="{95A489B8-4EBE-4AB2-83AF-858AF8488EC2}"/>
              </a:ext>
            </a:extLst>
          </p:cNvPr>
          <p:cNvGrpSpPr/>
          <p:nvPr/>
        </p:nvGrpSpPr>
        <p:grpSpPr>
          <a:xfrm>
            <a:off x="5416400" y="1350171"/>
            <a:ext cx="6083713" cy="668469"/>
            <a:chOff x="4716014" y="1639851"/>
            <a:chExt cx="5124209" cy="668179"/>
          </a:xfrm>
        </p:grpSpPr>
        <p:sp>
          <p:nvSpPr>
            <p:cNvPr id="72" name="TextBox 6">
              <a:extLst>
                <a:ext uri="{FF2B5EF4-FFF2-40B4-BE49-F238E27FC236}">
                  <a16:creationId xmlns:a16="http://schemas.microsoft.com/office/drawing/2014/main" id="{B0072DCD-35B5-44A0-93D7-1ECF9E97FA31}"/>
                </a:ext>
              </a:extLst>
            </p:cNvPr>
            <p:cNvSpPr txBox="1"/>
            <p:nvPr/>
          </p:nvSpPr>
          <p:spPr>
            <a:xfrm>
              <a:off x="4716015" y="1846565"/>
              <a:ext cx="5124208" cy="461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ko-KR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Sostituzione Apparati Centrali Elettrici di comando e controllo enti di stazione (elettromeccanici) con ACCM (elettronici); Sostituzione SCMT/SSC con ERTMS ed eliminazione segnali luminosi;</a:t>
              </a:r>
            </a:p>
          </p:txBody>
        </p:sp>
        <p:sp>
          <p:nvSpPr>
            <p:cNvPr id="73" name="TextBox 7">
              <a:extLst>
                <a:ext uri="{FF2B5EF4-FFF2-40B4-BE49-F238E27FC236}">
                  <a16:creationId xmlns:a16="http://schemas.microsoft.com/office/drawing/2014/main" id="{A2D3AD16-4369-4722-A038-BEB7AC08DA06}"/>
                </a:ext>
              </a:extLst>
            </p:cNvPr>
            <p:cNvSpPr txBox="1"/>
            <p:nvPr/>
          </p:nvSpPr>
          <p:spPr>
            <a:xfrm>
              <a:off x="4716014" y="1639851"/>
              <a:ext cx="3888433" cy="307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ko-KR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Sottosistema Comando, Controllo e Segnalamento</a:t>
              </a:r>
            </a:p>
          </p:txBody>
        </p:sp>
      </p:grpSp>
      <p:grpSp>
        <p:nvGrpSpPr>
          <p:cNvPr id="75" name="Group 9">
            <a:extLst>
              <a:ext uri="{FF2B5EF4-FFF2-40B4-BE49-F238E27FC236}">
                <a16:creationId xmlns:a16="http://schemas.microsoft.com/office/drawing/2014/main" id="{311D4956-517B-41D5-89A5-E2751B7BC4C9}"/>
              </a:ext>
            </a:extLst>
          </p:cNvPr>
          <p:cNvGrpSpPr/>
          <p:nvPr/>
        </p:nvGrpSpPr>
        <p:grpSpPr>
          <a:xfrm>
            <a:off x="6362027" y="3186419"/>
            <a:ext cx="5138087" cy="853135"/>
            <a:chOff x="4716014" y="1639851"/>
            <a:chExt cx="4327724" cy="852764"/>
          </a:xfrm>
        </p:grpSpPr>
        <p:sp>
          <p:nvSpPr>
            <p:cNvPr id="76" name="TextBox 10">
              <a:extLst>
                <a:ext uri="{FF2B5EF4-FFF2-40B4-BE49-F238E27FC236}">
                  <a16:creationId xmlns:a16="http://schemas.microsoft.com/office/drawing/2014/main" id="{18288A29-23D8-4D96-A97A-EBF4B842FADC}"/>
                </a:ext>
              </a:extLst>
            </p:cNvPr>
            <p:cNvSpPr txBox="1"/>
            <p:nvPr/>
          </p:nvSpPr>
          <p:spPr>
            <a:xfrm>
              <a:off x="4716015" y="1846565"/>
              <a:ext cx="4327723" cy="6460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ko-KR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Studio potenzialità elettrica linee merci, produzione energia da fonti rinnovabili; produzione per trazione ad idrogeno; SSE innovative per recupero energia di frenatura; tecnologie riduzione consumi; sistemi di storage.</a:t>
              </a:r>
            </a:p>
          </p:txBody>
        </p:sp>
        <p:sp>
          <p:nvSpPr>
            <p:cNvPr id="77" name="TextBox 11">
              <a:extLst>
                <a:ext uri="{FF2B5EF4-FFF2-40B4-BE49-F238E27FC236}">
                  <a16:creationId xmlns:a16="http://schemas.microsoft.com/office/drawing/2014/main" id="{EB1820EF-DD6B-4379-BEAB-565F2FBEAEB2}"/>
                </a:ext>
              </a:extLst>
            </p:cNvPr>
            <p:cNvSpPr txBox="1"/>
            <p:nvPr/>
          </p:nvSpPr>
          <p:spPr>
            <a:xfrm>
              <a:off x="4716014" y="1639851"/>
              <a:ext cx="3888433" cy="307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Sottosistema energia</a:t>
              </a: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맑은 고딕" panose="020B0503020000020004" pitchFamily="34" charset="-127"/>
                <a:cs typeface="+mn-cs"/>
              </a:endParaRPr>
            </a:p>
          </p:txBody>
        </p:sp>
      </p:grpSp>
      <p:grpSp>
        <p:nvGrpSpPr>
          <p:cNvPr id="79" name="Group 13">
            <a:extLst>
              <a:ext uri="{FF2B5EF4-FFF2-40B4-BE49-F238E27FC236}">
                <a16:creationId xmlns:a16="http://schemas.microsoft.com/office/drawing/2014/main" id="{9F546C11-1F86-4BDC-8DD9-4549DDA82788}"/>
              </a:ext>
            </a:extLst>
          </p:cNvPr>
          <p:cNvGrpSpPr/>
          <p:nvPr/>
        </p:nvGrpSpPr>
        <p:grpSpPr>
          <a:xfrm>
            <a:off x="5292573" y="5109751"/>
            <a:ext cx="6207541" cy="668467"/>
            <a:chOff x="4716014" y="1639851"/>
            <a:chExt cx="5228507" cy="668176"/>
          </a:xfrm>
        </p:grpSpPr>
        <p:sp>
          <p:nvSpPr>
            <p:cNvPr id="80" name="TextBox 14">
              <a:extLst>
                <a:ext uri="{FF2B5EF4-FFF2-40B4-BE49-F238E27FC236}">
                  <a16:creationId xmlns:a16="http://schemas.microsoft.com/office/drawing/2014/main" id="{4DAE8ED2-89D7-4EB5-A7A9-47D7E51EA7C9}"/>
                </a:ext>
              </a:extLst>
            </p:cNvPr>
            <p:cNvSpPr txBox="1"/>
            <p:nvPr/>
          </p:nvSpPr>
          <p:spPr>
            <a:xfrm>
              <a:off x="4716015" y="1846563"/>
              <a:ext cx="5228506" cy="4614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ko-KR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Interventi su passaggi a livello; interventi su sistemi di terra per controllo veicoli ferroviari;  sistemi di verifica e controllo componenti infrastruttura; gestione delle emergenze in galleria. </a:t>
              </a:r>
            </a:p>
          </p:txBody>
        </p:sp>
        <p:sp>
          <p:nvSpPr>
            <p:cNvPr id="81" name="TextBox 15">
              <a:extLst>
                <a:ext uri="{FF2B5EF4-FFF2-40B4-BE49-F238E27FC236}">
                  <a16:creationId xmlns:a16="http://schemas.microsoft.com/office/drawing/2014/main" id="{DADE8FB0-A9C5-4CD8-979B-55DEF4AA9C93}"/>
                </a:ext>
              </a:extLst>
            </p:cNvPr>
            <p:cNvSpPr txBox="1"/>
            <p:nvPr/>
          </p:nvSpPr>
          <p:spPr>
            <a:xfrm>
              <a:off x="4716014" y="1639851"/>
              <a:ext cx="3888433" cy="307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ko-KR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Altri interventi per miglioramento sicurezza</a:t>
              </a:r>
            </a:p>
          </p:txBody>
        </p:sp>
      </p:grpSp>
      <p:grpSp>
        <p:nvGrpSpPr>
          <p:cNvPr id="83" name="Group 17">
            <a:extLst>
              <a:ext uri="{FF2B5EF4-FFF2-40B4-BE49-F238E27FC236}">
                <a16:creationId xmlns:a16="http://schemas.microsoft.com/office/drawing/2014/main" id="{8EA8A35C-5BD3-4D43-BAB9-B68BA5720485}"/>
              </a:ext>
            </a:extLst>
          </p:cNvPr>
          <p:cNvGrpSpPr/>
          <p:nvPr/>
        </p:nvGrpSpPr>
        <p:grpSpPr>
          <a:xfrm>
            <a:off x="6112095" y="2268293"/>
            <a:ext cx="5522365" cy="668468"/>
            <a:chOff x="4716014" y="1639851"/>
            <a:chExt cx="4651395" cy="668178"/>
          </a:xfrm>
        </p:grpSpPr>
        <p:sp>
          <p:nvSpPr>
            <p:cNvPr id="84" name="TextBox 18">
              <a:extLst>
                <a:ext uri="{FF2B5EF4-FFF2-40B4-BE49-F238E27FC236}">
                  <a16:creationId xmlns:a16="http://schemas.microsoft.com/office/drawing/2014/main" id="{6FECAA4E-0033-4C55-A7AE-B22E39EB3FFD}"/>
                </a:ext>
              </a:extLst>
            </p:cNvPr>
            <p:cNvSpPr txBox="1"/>
            <p:nvPr/>
          </p:nvSpPr>
          <p:spPr>
            <a:xfrm>
              <a:off x="4716015" y="1846564"/>
              <a:ext cx="4651394" cy="461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ko-KR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Nuova rete dati, Cyber security, Rete cavi fibra ottica, Reti telefoniche fisse, sostituzione GSM-R su tecnologia 2G con il FRMCS su tecnologia 5G.</a:t>
              </a:r>
            </a:p>
          </p:txBody>
        </p:sp>
        <p:sp>
          <p:nvSpPr>
            <p:cNvPr id="85" name="TextBox 19">
              <a:extLst>
                <a:ext uri="{FF2B5EF4-FFF2-40B4-BE49-F238E27FC236}">
                  <a16:creationId xmlns:a16="http://schemas.microsoft.com/office/drawing/2014/main" id="{F37C0167-0502-4038-BED4-539525D55E21}"/>
                </a:ext>
              </a:extLst>
            </p:cNvPr>
            <p:cNvSpPr txBox="1"/>
            <p:nvPr/>
          </p:nvSpPr>
          <p:spPr>
            <a:xfrm>
              <a:off x="4716014" y="1639851"/>
              <a:ext cx="3888433" cy="307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Sottosistema Telecomunicazioni</a:t>
              </a:r>
            </a:p>
          </p:txBody>
        </p:sp>
      </p:grpSp>
      <p:grpSp>
        <p:nvGrpSpPr>
          <p:cNvPr id="87" name="Group 21">
            <a:extLst>
              <a:ext uri="{FF2B5EF4-FFF2-40B4-BE49-F238E27FC236}">
                <a16:creationId xmlns:a16="http://schemas.microsoft.com/office/drawing/2014/main" id="{A1714734-ECFF-494D-A4ED-8C2F5AF16A96}"/>
              </a:ext>
            </a:extLst>
          </p:cNvPr>
          <p:cNvGrpSpPr/>
          <p:nvPr/>
        </p:nvGrpSpPr>
        <p:grpSpPr>
          <a:xfrm>
            <a:off x="6136478" y="4191623"/>
            <a:ext cx="5447510" cy="668468"/>
            <a:chOff x="4716014" y="1639851"/>
            <a:chExt cx="4588346" cy="668178"/>
          </a:xfrm>
        </p:grpSpPr>
        <p:sp>
          <p:nvSpPr>
            <p:cNvPr id="88" name="TextBox 22">
              <a:extLst>
                <a:ext uri="{FF2B5EF4-FFF2-40B4-BE49-F238E27FC236}">
                  <a16:creationId xmlns:a16="http://schemas.microsoft.com/office/drawing/2014/main" id="{60F3ECD5-96C6-4607-8989-AAF18BB85AF6}"/>
                </a:ext>
              </a:extLst>
            </p:cNvPr>
            <p:cNvSpPr txBox="1"/>
            <p:nvPr/>
          </p:nvSpPr>
          <p:spPr>
            <a:xfrm>
              <a:off x="4716015" y="1846564"/>
              <a:ext cx="4588345" cy="461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ko-KR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Rischio idrogeologico; Rischio sismico con una rete di accelerometri; Diagnostica sistemi tecnologici (Comando e Controllo Segnali, TLC, Energia).</a:t>
              </a:r>
            </a:p>
          </p:txBody>
        </p:sp>
        <p:sp>
          <p:nvSpPr>
            <p:cNvPr id="89" name="TextBox 23">
              <a:extLst>
                <a:ext uri="{FF2B5EF4-FFF2-40B4-BE49-F238E27FC236}">
                  <a16:creationId xmlns:a16="http://schemas.microsoft.com/office/drawing/2014/main" id="{042A6CEB-DAC5-48F9-B1B5-634134992F34}"/>
                </a:ext>
              </a:extLst>
            </p:cNvPr>
            <p:cNvSpPr txBox="1"/>
            <p:nvPr/>
          </p:nvSpPr>
          <p:spPr>
            <a:xfrm>
              <a:off x="4716014" y="1639851"/>
              <a:ext cx="3888433" cy="307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맑은 고딕" panose="020B0503020000020004" pitchFamily="34" charset="-127"/>
                  <a:cs typeface="+mn-cs"/>
                </a:rPr>
                <a:t>Sistemi di monitoraggio dell’infrastruttura</a:t>
              </a:r>
            </a:p>
          </p:txBody>
        </p:sp>
      </p:grpSp>
      <p:sp>
        <p:nvSpPr>
          <p:cNvPr id="185" name="Arc 2">
            <a:extLst>
              <a:ext uri="{FF2B5EF4-FFF2-40B4-BE49-F238E27FC236}">
                <a16:creationId xmlns:a16="http://schemas.microsoft.com/office/drawing/2014/main" id="{F5036BEC-DC95-465B-AC98-4C101D9A2F97}"/>
              </a:ext>
            </a:extLst>
          </p:cNvPr>
          <p:cNvSpPr/>
          <p:nvPr/>
        </p:nvSpPr>
        <p:spPr>
          <a:xfrm>
            <a:off x="299422" y="1571414"/>
            <a:ext cx="3970151" cy="3970151"/>
          </a:xfrm>
          <a:prstGeom prst="arc">
            <a:avLst>
              <a:gd name="adj1" fmla="val 16200000"/>
              <a:gd name="adj2" fmla="val 5433205"/>
            </a:avLst>
          </a:prstGeom>
          <a:noFill/>
          <a:ln w="53975" cap="flat" cmpd="sng" algn="ctr">
            <a:gradFill>
              <a:gsLst>
                <a:gs pos="82000">
                  <a:srgbClr val="D9D9D9"/>
                </a:gs>
                <a:gs pos="0">
                  <a:sysClr val="window" lastClr="FFFFFF">
                    <a:lumMod val="85000"/>
                    <a:alpha val="0"/>
                  </a:sysClr>
                </a:gs>
                <a:gs pos="20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85000"/>
                    <a:alpha val="0"/>
                  </a:sys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Oval 3">
            <a:extLst>
              <a:ext uri="{FF2B5EF4-FFF2-40B4-BE49-F238E27FC236}">
                <a16:creationId xmlns:a16="http://schemas.microsoft.com/office/drawing/2014/main" id="{6DE6C11E-53D3-4591-BA9B-7E7282735DDF}"/>
              </a:ext>
            </a:extLst>
          </p:cNvPr>
          <p:cNvSpPr/>
          <p:nvPr/>
        </p:nvSpPr>
        <p:spPr>
          <a:xfrm>
            <a:off x="2913792" y="1628379"/>
            <a:ext cx="216118" cy="216118"/>
          </a:xfrm>
          <a:prstGeom prst="ellipse">
            <a:avLst/>
          </a:prstGeom>
          <a:solidFill>
            <a:srgbClr val="26262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Oval 4">
            <a:extLst>
              <a:ext uri="{FF2B5EF4-FFF2-40B4-BE49-F238E27FC236}">
                <a16:creationId xmlns:a16="http://schemas.microsoft.com/office/drawing/2014/main" id="{757B348F-95F0-49C1-ADAC-7CDC25A402C2}"/>
              </a:ext>
            </a:extLst>
          </p:cNvPr>
          <p:cNvSpPr/>
          <p:nvPr/>
        </p:nvSpPr>
        <p:spPr>
          <a:xfrm>
            <a:off x="4840792" y="1485288"/>
            <a:ext cx="549613" cy="549613"/>
          </a:xfrm>
          <a:prstGeom prst="ellipse">
            <a:avLst/>
          </a:prstGeom>
          <a:solidFill>
            <a:srgbClr val="26262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Oval 8">
            <a:extLst>
              <a:ext uri="{FF2B5EF4-FFF2-40B4-BE49-F238E27FC236}">
                <a16:creationId xmlns:a16="http://schemas.microsoft.com/office/drawing/2014/main" id="{0C292F01-EE60-4369-B38C-D6AF69F31626}"/>
              </a:ext>
            </a:extLst>
          </p:cNvPr>
          <p:cNvSpPr/>
          <p:nvPr/>
        </p:nvSpPr>
        <p:spPr>
          <a:xfrm>
            <a:off x="5786419" y="3321534"/>
            <a:ext cx="549613" cy="549613"/>
          </a:xfrm>
          <a:prstGeom prst="ellipse">
            <a:avLst/>
          </a:prstGeom>
          <a:solidFill>
            <a:srgbClr val="28608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Oval 12">
            <a:extLst>
              <a:ext uri="{FF2B5EF4-FFF2-40B4-BE49-F238E27FC236}">
                <a16:creationId xmlns:a16="http://schemas.microsoft.com/office/drawing/2014/main" id="{B23EDC94-B5C7-45B9-862E-098B87CDEF43}"/>
              </a:ext>
            </a:extLst>
          </p:cNvPr>
          <p:cNvSpPr/>
          <p:nvPr/>
        </p:nvSpPr>
        <p:spPr>
          <a:xfrm>
            <a:off x="4716965" y="5157780"/>
            <a:ext cx="549613" cy="549613"/>
          </a:xfrm>
          <a:prstGeom prst="ellipse">
            <a:avLst/>
          </a:prstGeom>
          <a:solidFill>
            <a:srgbClr val="3282B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9" name="Oval 16">
            <a:extLst>
              <a:ext uri="{FF2B5EF4-FFF2-40B4-BE49-F238E27FC236}">
                <a16:creationId xmlns:a16="http://schemas.microsoft.com/office/drawing/2014/main" id="{F3453F04-BD04-4931-B560-B4E8082CA8B6}"/>
              </a:ext>
            </a:extLst>
          </p:cNvPr>
          <p:cNvSpPr/>
          <p:nvPr/>
        </p:nvSpPr>
        <p:spPr>
          <a:xfrm>
            <a:off x="5536487" y="2403411"/>
            <a:ext cx="549613" cy="549613"/>
          </a:xfrm>
          <a:prstGeom prst="ellipse">
            <a:avLst/>
          </a:prstGeom>
          <a:solidFill>
            <a:srgbClr val="3282B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3" name="Oval 20">
            <a:extLst>
              <a:ext uri="{FF2B5EF4-FFF2-40B4-BE49-F238E27FC236}">
                <a16:creationId xmlns:a16="http://schemas.microsoft.com/office/drawing/2014/main" id="{62011654-01BF-426A-BA51-A6EAE63D7CAB}"/>
              </a:ext>
            </a:extLst>
          </p:cNvPr>
          <p:cNvSpPr/>
          <p:nvPr/>
        </p:nvSpPr>
        <p:spPr>
          <a:xfrm>
            <a:off x="5560870" y="4239657"/>
            <a:ext cx="549613" cy="549613"/>
          </a:xfrm>
          <a:prstGeom prst="ellipse">
            <a:avLst/>
          </a:prstGeom>
          <a:solidFill>
            <a:srgbClr val="26262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7" name="Oval 24">
            <a:extLst>
              <a:ext uri="{FF2B5EF4-FFF2-40B4-BE49-F238E27FC236}">
                <a16:creationId xmlns:a16="http://schemas.microsoft.com/office/drawing/2014/main" id="{9061E6D5-4C03-4780-83CF-2E1E8B4FD4C8}"/>
              </a:ext>
            </a:extLst>
          </p:cNvPr>
          <p:cNvSpPr/>
          <p:nvPr/>
        </p:nvSpPr>
        <p:spPr>
          <a:xfrm>
            <a:off x="3942848" y="2546503"/>
            <a:ext cx="216118" cy="216118"/>
          </a:xfrm>
          <a:prstGeom prst="ellipse">
            <a:avLst/>
          </a:prstGeom>
          <a:solidFill>
            <a:srgbClr val="3282B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8" name="Oval 25">
            <a:extLst>
              <a:ext uri="{FF2B5EF4-FFF2-40B4-BE49-F238E27FC236}">
                <a16:creationId xmlns:a16="http://schemas.microsoft.com/office/drawing/2014/main" id="{419F14F0-A075-44E0-909A-E69D465AEFE0}"/>
              </a:ext>
            </a:extLst>
          </p:cNvPr>
          <p:cNvSpPr/>
          <p:nvPr/>
        </p:nvSpPr>
        <p:spPr>
          <a:xfrm>
            <a:off x="4175724" y="3464625"/>
            <a:ext cx="216118" cy="216118"/>
          </a:xfrm>
          <a:prstGeom prst="ellipse">
            <a:avLst/>
          </a:prstGeom>
          <a:solidFill>
            <a:srgbClr val="28608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9" name="Oval 26">
            <a:extLst>
              <a:ext uri="{FF2B5EF4-FFF2-40B4-BE49-F238E27FC236}">
                <a16:creationId xmlns:a16="http://schemas.microsoft.com/office/drawing/2014/main" id="{94A3B94B-4902-4379-B90A-34F23F805895}"/>
              </a:ext>
            </a:extLst>
          </p:cNvPr>
          <p:cNvSpPr/>
          <p:nvPr/>
        </p:nvSpPr>
        <p:spPr>
          <a:xfrm>
            <a:off x="3922396" y="4382749"/>
            <a:ext cx="216118" cy="216118"/>
          </a:xfrm>
          <a:prstGeom prst="ellipse">
            <a:avLst/>
          </a:prstGeom>
          <a:solidFill>
            <a:srgbClr val="26262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0" name="Oval 27">
            <a:extLst>
              <a:ext uri="{FF2B5EF4-FFF2-40B4-BE49-F238E27FC236}">
                <a16:creationId xmlns:a16="http://schemas.microsoft.com/office/drawing/2014/main" id="{1CE95243-D6EA-486B-A509-FB82BE61FAAE}"/>
              </a:ext>
            </a:extLst>
          </p:cNvPr>
          <p:cNvSpPr/>
          <p:nvPr/>
        </p:nvSpPr>
        <p:spPr>
          <a:xfrm>
            <a:off x="2913792" y="5300871"/>
            <a:ext cx="216118" cy="216118"/>
          </a:xfrm>
          <a:prstGeom prst="ellipse">
            <a:avLst/>
          </a:prstGeom>
          <a:solidFill>
            <a:srgbClr val="3282B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1" name="Straight Connector 28">
            <a:extLst>
              <a:ext uri="{FF2B5EF4-FFF2-40B4-BE49-F238E27FC236}">
                <a16:creationId xmlns:a16="http://schemas.microsoft.com/office/drawing/2014/main" id="{DDEFE30E-6FBF-4A0C-B2FA-BB6F4A7D82AF}"/>
              </a:ext>
            </a:extLst>
          </p:cNvPr>
          <p:cNvCxnSpPr>
            <a:cxnSpLocks/>
          </p:cNvCxnSpPr>
          <p:nvPr/>
        </p:nvCxnSpPr>
        <p:spPr>
          <a:xfrm>
            <a:off x="3445304" y="1736486"/>
            <a:ext cx="1080470" cy="1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212" name="Straight Connector 29">
            <a:extLst>
              <a:ext uri="{FF2B5EF4-FFF2-40B4-BE49-F238E27FC236}">
                <a16:creationId xmlns:a16="http://schemas.microsoft.com/office/drawing/2014/main" id="{76436BF2-71C8-4AD4-956F-67934180274B}"/>
              </a:ext>
            </a:extLst>
          </p:cNvPr>
          <p:cNvCxnSpPr>
            <a:cxnSpLocks/>
          </p:cNvCxnSpPr>
          <p:nvPr/>
        </p:nvCxnSpPr>
        <p:spPr>
          <a:xfrm>
            <a:off x="4307680" y="2654609"/>
            <a:ext cx="1080470" cy="1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213" name="Straight Connector 30">
            <a:extLst>
              <a:ext uri="{FF2B5EF4-FFF2-40B4-BE49-F238E27FC236}">
                <a16:creationId xmlns:a16="http://schemas.microsoft.com/office/drawing/2014/main" id="{6013300B-AFEF-422B-9F4E-69AF0415D29F}"/>
              </a:ext>
            </a:extLst>
          </p:cNvPr>
          <p:cNvCxnSpPr>
            <a:cxnSpLocks/>
          </p:cNvCxnSpPr>
          <p:nvPr/>
        </p:nvCxnSpPr>
        <p:spPr>
          <a:xfrm>
            <a:off x="4549084" y="3572732"/>
            <a:ext cx="1080470" cy="1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214" name="Straight Connector 31">
            <a:extLst>
              <a:ext uri="{FF2B5EF4-FFF2-40B4-BE49-F238E27FC236}">
                <a16:creationId xmlns:a16="http://schemas.microsoft.com/office/drawing/2014/main" id="{756DCD09-1866-4376-BCD3-F450F2627690}"/>
              </a:ext>
            </a:extLst>
          </p:cNvPr>
          <p:cNvCxnSpPr>
            <a:cxnSpLocks/>
          </p:cNvCxnSpPr>
          <p:nvPr/>
        </p:nvCxnSpPr>
        <p:spPr>
          <a:xfrm>
            <a:off x="4309646" y="4490855"/>
            <a:ext cx="1080470" cy="1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215" name="Straight Connector 32">
            <a:extLst>
              <a:ext uri="{FF2B5EF4-FFF2-40B4-BE49-F238E27FC236}">
                <a16:creationId xmlns:a16="http://schemas.microsoft.com/office/drawing/2014/main" id="{2DC8C86B-6EE3-4602-9965-4211943D3876}"/>
              </a:ext>
            </a:extLst>
          </p:cNvPr>
          <p:cNvCxnSpPr>
            <a:cxnSpLocks/>
          </p:cNvCxnSpPr>
          <p:nvPr/>
        </p:nvCxnSpPr>
        <p:spPr>
          <a:xfrm>
            <a:off x="3383390" y="5408978"/>
            <a:ext cx="1080470" cy="1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oval"/>
            <a:tailEnd type="oval"/>
          </a:ln>
          <a:effectLst/>
        </p:spPr>
      </p:cxnSp>
      <p:sp>
        <p:nvSpPr>
          <p:cNvPr id="216" name="Parallelogram 30">
            <a:extLst>
              <a:ext uri="{FF2B5EF4-FFF2-40B4-BE49-F238E27FC236}">
                <a16:creationId xmlns:a16="http://schemas.microsoft.com/office/drawing/2014/main" id="{8E4B37FA-CADB-4146-BE45-668523FA596D}"/>
              </a:ext>
            </a:extLst>
          </p:cNvPr>
          <p:cNvSpPr/>
          <p:nvPr/>
        </p:nvSpPr>
        <p:spPr>
          <a:xfrm flipH="1">
            <a:off x="5697672" y="4373641"/>
            <a:ext cx="292786" cy="293510"/>
          </a:xfrm>
          <a:custGeom>
            <a:avLst/>
            <a:gdLst/>
            <a:ahLst/>
            <a:cxnLst/>
            <a:rect l="l" t="t" r="r" b="b"/>
            <a:pathLst>
              <a:path w="3240000" h="3248012">
                <a:moveTo>
                  <a:pt x="712553" y="858820"/>
                </a:moveTo>
                <a:cubicBezTo>
                  <a:pt x="727950" y="858820"/>
                  <a:pt x="743348" y="864694"/>
                  <a:pt x="755096" y="876443"/>
                </a:cubicBezTo>
                <a:lnTo>
                  <a:pt x="1193671" y="1315016"/>
                </a:lnTo>
                <a:lnTo>
                  <a:pt x="1509169" y="999517"/>
                </a:lnTo>
                <a:cubicBezTo>
                  <a:pt x="1509517" y="999169"/>
                  <a:pt x="1509868" y="998827"/>
                  <a:pt x="1510414" y="998691"/>
                </a:cubicBezTo>
                <a:lnTo>
                  <a:pt x="1518932" y="988592"/>
                </a:lnTo>
                <a:cubicBezTo>
                  <a:pt x="1531945" y="978263"/>
                  <a:pt x="1547912" y="974188"/>
                  <a:pt x="1563209" y="975946"/>
                </a:cubicBezTo>
                <a:cubicBezTo>
                  <a:pt x="1578505" y="977705"/>
                  <a:pt x="1593131" y="985299"/>
                  <a:pt x="1603459" y="998313"/>
                </a:cubicBezTo>
                <a:lnTo>
                  <a:pt x="1892346" y="1362277"/>
                </a:lnTo>
                <a:lnTo>
                  <a:pt x="2149759" y="1177067"/>
                </a:lnTo>
                <a:lnTo>
                  <a:pt x="2151621" y="1174867"/>
                </a:lnTo>
                <a:cubicBezTo>
                  <a:pt x="2159033" y="1169006"/>
                  <a:pt x="2167397" y="1165168"/>
                  <a:pt x="2176160" y="1163802"/>
                </a:cubicBezTo>
                <a:cubicBezTo>
                  <a:pt x="2177188" y="1163485"/>
                  <a:pt x="2178237" y="1163269"/>
                  <a:pt x="2179375" y="1163558"/>
                </a:cubicBezTo>
                <a:cubicBezTo>
                  <a:pt x="2184768" y="1161771"/>
                  <a:pt x="2190389" y="1161654"/>
                  <a:pt x="2195921" y="1162300"/>
                </a:cubicBezTo>
                <a:cubicBezTo>
                  <a:pt x="2196662" y="1162386"/>
                  <a:pt x="2197402" y="1162487"/>
                  <a:pt x="2198081" y="1162987"/>
                </a:cubicBezTo>
                <a:cubicBezTo>
                  <a:pt x="2202197" y="1163290"/>
                  <a:pt x="2206218" y="1164270"/>
                  <a:pt x="2209739" y="1166702"/>
                </a:cubicBezTo>
                <a:cubicBezTo>
                  <a:pt x="2213116" y="1166857"/>
                  <a:pt x="2216051" y="1168231"/>
                  <a:pt x="2218766" y="1170038"/>
                </a:cubicBezTo>
                <a:cubicBezTo>
                  <a:pt x="2225342" y="1173160"/>
                  <a:pt x="2231151" y="1177875"/>
                  <a:pt x="2235489" y="1184194"/>
                </a:cubicBezTo>
                <a:lnTo>
                  <a:pt x="2236132" y="1184737"/>
                </a:lnTo>
                <a:lnTo>
                  <a:pt x="2236287" y="1184934"/>
                </a:lnTo>
                <a:lnTo>
                  <a:pt x="2238712" y="1187183"/>
                </a:lnTo>
                <a:cubicBezTo>
                  <a:pt x="2239115" y="1187744"/>
                  <a:pt x="2239507" y="1188310"/>
                  <a:pt x="2239574" y="1189090"/>
                </a:cubicBezTo>
                <a:lnTo>
                  <a:pt x="2540580" y="1569705"/>
                </a:lnTo>
                <a:cubicBezTo>
                  <a:pt x="2561191" y="1595768"/>
                  <a:pt x="2556772" y="1633604"/>
                  <a:pt x="2530710" y="1654215"/>
                </a:cubicBezTo>
                <a:cubicBezTo>
                  <a:pt x="2504647" y="1674827"/>
                  <a:pt x="2466811" y="1670408"/>
                  <a:pt x="2446199" y="1644345"/>
                </a:cubicBezTo>
                <a:lnTo>
                  <a:pt x="2177884" y="1305067"/>
                </a:lnTo>
                <a:lnTo>
                  <a:pt x="1934804" y="1479967"/>
                </a:lnTo>
                <a:cubicBezTo>
                  <a:pt x="1927367" y="1485317"/>
                  <a:pt x="1919123" y="1488726"/>
                  <a:pt x="1910598" y="1489881"/>
                </a:cubicBezTo>
                <a:cubicBezTo>
                  <a:pt x="1885257" y="1507791"/>
                  <a:pt x="1850121" y="1502627"/>
                  <a:pt x="1830495" y="1477903"/>
                </a:cubicBezTo>
                <a:lnTo>
                  <a:pt x="1551924" y="1126933"/>
                </a:lnTo>
                <a:lnTo>
                  <a:pt x="1239041" y="1439816"/>
                </a:lnTo>
                <a:cubicBezTo>
                  <a:pt x="1226569" y="1452288"/>
                  <a:pt x="1209983" y="1458139"/>
                  <a:pt x="1193674" y="1456888"/>
                </a:cubicBezTo>
                <a:cubicBezTo>
                  <a:pt x="1177363" y="1458142"/>
                  <a:pt x="1160774" y="1452290"/>
                  <a:pt x="1148301" y="1439816"/>
                </a:cubicBezTo>
                <a:lnTo>
                  <a:pt x="670011" y="961527"/>
                </a:lnTo>
                <a:cubicBezTo>
                  <a:pt x="646515" y="938031"/>
                  <a:pt x="646515" y="899938"/>
                  <a:pt x="670011" y="876442"/>
                </a:cubicBezTo>
                <a:cubicBezTo>
                  <a:pt x="681760" y="864694"/>
                  <a:pt x="697157" y="858820"/>
                  <a:pt x="712553" y="858820"/>
                </a:cubicBezTo>
                <a:close/>
                <a:moveTo>
                  <a:pt x="2790000" y="699581"/>
                </a:moveTo>
                <a:lnTo>
                  <a:pt x="450000" y="699581"/>
                </a:lnTo>
                <a:lnTo>
                  <a:pt x="450000" y="1851581"/>
                </a:lnTo>
                <a:lnTo>
                  <a:pt x="2790000" y="1851581"/>
                </a:lnTo>
                <a:close/>
                <a:moveTo>
                  <a:pt x="2987972" y="519497"/>
                </a:moveTo>
                <a:lnTo>
                  <a:pt x="2987972" y="2031665"/>
                </a:lnTo>
                <a:lnTo>
                  <a:pt x="252028" y="2031665"/>
                </a:lnTo>
                <a:lnTo>
                  <a:pt x="252028" y="519497"/>
                </a:lnTo>
                <a:close/>
                <a:moveTo>
                  <a:pt x="1620000" y="0"/>
                </a:moveTo>
                <a:cubicBezTo>
                  <a:pt x="1540462" y="0"/>
                  <a:pt x="1475984" y="64478"/>
                  <a:pt x="1475984" y="144016"/>
                </a:cubicBezTo>
                <a:lnTo>
                  <a:pt x="1475984" y="267469"/>
                </a:lnTo>
                <a:lnTo>
                  <a:pt x="0" y="267469"/>
                </a:lnTo>
                <a:lnTo>
                  <a:pt x="0" y="2283693"/>
                </a:lnTo>
                <a:lnTo>
                  <a:pt x="852101" y="2283693"/>
                </a:lnTo>
                <a:lnTo>
                  <a:pt x="323771" y="3248012"/>
                </a:lnTo>
                <a:lnTo>
                  <a:pt x="621526" y="3248012"/>
                </a:lnTo>
                <a:lnTo>
                  <a:pt x="1149856" y="2283693"/>
                </a:lnTo>
                <a:lnTo>
                  <a:pt x="2090146" y="2283693"/>
                </a:lnTo>
                <a:lnTo>
                  <a:pt x="2618476" y="3248012"/>
                </a:lnTo>
                <a:lnTo>
                  <a:pt x="2916231" y="3248012"/>
                </a:lnTo>
                <a:lnTo>
                  <a:pt x="2387901" y="2283693"/>
                </a:lnTo>
                <a:lnTo>
                  <a:pt x="3240000" y="2283693"/>
                </a:lnTo>
                <a:lnTo>
                  <a:pt x="3240000" y="267469"/>
                </a:lnTo>
                <a:lnTo>
                  <a:pt x="1764016" y="267469"/>
                </a:lnTo>
                <a:lnTo>
                  <a:pt x="1764016" y="144016"/>
                </a:lnTo>
                <a:cubicBezTo>
                  <a:pt x="1764016" y="64478"/>
                  <a:pt x="1699538" y="0"/>
                  <a:pt x="1620000" y="0"/>
                </a:cubicBezTo>
                <a:close/>
              </a:path>
            </a:pathLst>
          </a:cu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pic>
        <p:nvPicPr>
          <p:cNvPr id="17410" name="Picture 2" descr="Energia elettrica lampo | Icona Gratis"/>
          <p:cNvPicPr>
            <a:picLocks noChangeAspect="1" noChangeArrowheads="1"/>
          </p:cNvPicPr>
          <p:nvPr/>
        </p:nvPicPr>
        <p:blipFill>
          <a:blip r:embed="rId2" cstate="hq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5368" y="3445431"/>
            <a:ext cx="301463" cy="30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 descr="Torre de sinalização - ícones de tecnologia grátis"/>
          <p:cNvPicPr>
            <a:picLocks noChangeAspect="1" noChangeArrowheads="1"/>
          </p:cNvPicPr>
          <p:nvPr/>
        </p:nvPicPr>
        <p:blipFill>
          <a:blip r:embed="rId4" cstate="hq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4757" y="2478481"/>
            <a:ext cx="365701" cy="36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4" name="Picture 6" descr="Microchip | Icona Gratis"/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6446" y="1558744"/>
            <a:ext cx="347053" cy="347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Passaggio a livello immagini grafiche vettoriali clipart  -vc026525-CoolCLIPS.com"/>
          <p:cNvPicPr>
            <a:picLocks noChangeAspect="1" noChangeArrowheads="1"/>
          </p:cNvPicPr>
          <p:nvPr/>
        </p:nvPicPr>
        <p:blipFill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67797" y="5210939"/>
            <a:ext cx="357297" cy="40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uppo 2"/>
          <p:cNvGrpSpPr/>
          <p:nvPr/>
        </p:nvGrpSpPr>
        <p:grpSpPr>
          <a:xfrm>
            <a:off x="43756" y="1653923"/>
            <a:ext cx="3900270" cy="3852987"/>
            <a:chOff x="43756" y="1682951"/>
            <a:chExt cx="3900270" cy="3852987"/>
          </a:xfrm>
        </p:grpSpPr>
        <p:sp>
          <p:nvSpPr>
            <p:cNvPr id="434" name="Oval 21">
              <a:extLst>
                <a:ext uri="{FF2B5EF4-FFF2-40B4-BE49-F238E27FC236}">
                  <a16:creationId xmlns:a16="http://schemas.microsoft.com/office/drawing/2014/main" id="{48C4DDE5-9EB5-4CA7-B3A1-2F19934179B5}"/>
                </a:ext>
              </a:extLst>
            </p:cNvPr>
            <p:cNvSpPr/>
            <p:nvPr/>
          </p:nvSpPr>
          <p:spPr>
            <a:xfrm>
              <a:off x="1079358" y="2667434"/>
              <a:ext cx="1822500" cy="1822500"/>
            </a:xfrm>
            <a:prstGeom prst="ellipse">
              <a:avLst/>
            </a:prstGeom>
            <a:solidFill>
              <a:srgbClr val="3282B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맑은 고딕" panose="020B0503020000020004" pitchFamily="34" charset="-127"/>
                <a:cs typeface="+mn-cs"/>
              </a:endParaRPr>
            </a:p>
          </p:txBody>
        </p:sp>
        <p:grpSp>
          <p:nvGrpSpPr>
            <p:cNvPr id="435" name="그룹 6">
              <a:extLst>
                <a:ext uri="{FF2B5EF4-FFF2-40B4-BE49-F238E27FC236}">
                  <a16:creationId xmlns:a16="http://schemas.microsoft.com/office/drawing/2014/main" id="{BF42AA7F-8297-4BFB-9A93-87AA2E63AB5D}"/>
                </a:ext>
              </a:extLst>
            </p:cNvPr>
            <p:cNvGrpSpPr/>
            <p:nvPr/>
          </p:nvGrpSpPr>
          <p:grpSpPr>
            <a:xfrm>
              <a:off x="597263" y="2241705"/>
              <a:ext cx="2716603" cy="2727333"/>
              <a:chOff x="7462518" y="2036160"/>
              <a:chExt cx="2716603" cy="2727333"/>
            </a:xfrm>
          </p:grpSpPr>
          <p:sp>
            <p:nvSpPr>
              <p:cNvPr id="436" name="Diamond 5">
                <a:extLst>
                  <a:ext uri="{FF2B5EF4-FFF2-40B4-BE49-F238E27FC236}">
                    <a16:creationId xmlns:a16="http://schemas.microsoft.com/office/drawing/2014/main" id="{A162C6D4-CE05-41BC-950C-1FD0C865C899}"/>
                  </a:ext>
                </a:extLst>
              </p:cNvPr>
              <p:cNvSpPr/>
              <p:nvPr/>
            </p:nvSpPr>
            <p:spPr>
              <a:xfrm>
                <a:off x="8312848" y="2036160"/>
                <a:ext cx="337247" cy="338244"/>
              </a:xfrm>
              <a:custGeom>
                <a:avLst/>
                <a:gdLst/>
                <a:ahLst/>
                <a:cxnLst/>
                <a:rect l="l" t="t" r="r" b="b"/>
                <a:pathLst>
                  <a:path w="3240001" h="3249575">
                    <a:moveTo>
                      <a:pt x="1275349" y="2002569"/>
                    </a:moveTo>
                    <a:lnTo>
                      <a:pt x="1625117" y="2233002"/>
                    </a:lnTo>
                    <a:lnTo>
                      <a:pt x="1968772" y="2006596"/>
                    </a:lnTo>
                    <a:lnTo>
                      <a:pt x="3240001" y="3249575"/>
                    </a:lnTo>
                    <a:lnTo>
                      <a:pt x="0" y="3249575"/>
                    </a:lnTo>
                    <a:close/>
                    <a:moveTo>
                      <a:pt x="1067116" y="1473605"/>
                    </a:moveTo>
                    <a:lnTo>
                      <a:pt x="1067116" y="1581605"/>
                    </a:lnTo>
                    <a:lnTo>
                      <a:pt x="2183116" y="1581605"/>
                    </a:lnTo>
                    <a:lnTo>
                      <a:pt x="2183116" y="1473605"/>
                    </a:lnTo>
                    <a:close/>
                    <a:moveTo>
                      <a:pt x="1067116" y="1267205"/>
                    </a:moveTo>
                    <a:lnTo>
                      <a:pt x="1067116" y="1375205"/>
                    </a:lnTo>
                    <a:lnTo>
                      <a:pt x="2183116" y="1375205"/>
                    </a:lnTo>
                    <a:lnTo>
                      <a:pt x="2183116" y="1267205"/>
                    </a:lnTo>
                    <a:close/>
                    <a:moveTo>
                      <a:pt x="3240001" y="1172196"/>
                    </a:moveTo>
                    <a:lnTo>
                      <a:pt x="3240001" y="3142550"/>
                    </a:lnTo>
                    <a:lnTo>
                      <a:pt x="2026252" y="1968728"/>
                    </a:lnTo>
                    <a:lnTo>
                      <a:pt x="3049854" y="1294362"/>
                    </a:lnTo>
                    <a:close/>
                    <a:moveTo>
                      <a:pt x="0" y="1172196"/>
                    </a:moveTo>
                    <a:lnTo>
                      <a:pt x="602850" y="1559516"/>
                    </a:lnTo>
                    <a:lnTo>
                      <a:pt x="1217896" y="1964719"/>
                    </a:lnTo>
                    <a:lnTo>
                      <a:pt x="0" y="3142550"/>
                    </a:lnTo>
                    <a:close/>
                    <a:moveTo>
                      <a:pt x="1067116" y="1060805"/>
                    </a:moveTo>
                    <a:lnTo>
                      <a:pt x="1067116" y="1168805"/>
                    </a:lnTo>
                    <a:lnTo>
                      <a:pt x="2183116" y="1168805"/>
                    </a:lnTo>
                    <a:lnTo>
                      <a:pt x="2183116" y="1060805"/>
                    </a:lnTo>
                    <a:close/>
                    <a:moveTo>
                      <a:pt x="869032" y="816137"/>
                    </a:moveTo>
                    <a:lnTo>
                      <a:pt x="2381200" y="816137"/>
                    </a:lnTo>
                    <a:lnTo>
                      <a:pt x="2381200" y="1623491"/>
                    </a:lnTo>
                    <a:lnTo>
                      <a:pt x="1668045" y="2093329"/>
                    </a:lnTo>
                    <a:lnTo>
                      <a:pt x="1625116" y="2121611"/>
                    </a:lnTo>
                    <a:lnTo>
                      <a:pt x="869032" y="1623491"/>
                    </a:lnTo>
                    <a:close/>
                    <a:moveTo>
                      <a:pt x="1625116" y="0"/>
                    </a:moveTo>
                    <a:lnTo>
                      <a:pt x="3235286" y="1060806"/>
                    </a:lnTo>
                    <a:lnTo>
                      <a:pt x="2489212" y="1552331"/>
                    </a:lnTo>
                    <a:lnTo>
                      <a:pt x="2489212" y="708008"/>
                    </a:lnTo>
                    <a:lnTo>
                      <a:pt x="761020" y="708008"/>
                    </a:lnTo>
                    <a:lnTo>
                      <a:pt x="761020" y="1552331"/>
                    </a:lnTo>
                    <a:lnTo>
                      <a:pt x="14946" y="1060806"/>
                    </a:lnTo>
                    <a:close/>
                  </a:path>
                </a:pathLst>
              </a:custGeom>
              <a:solidFill>
                <a:srgbClr val="3282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37" name="Isosceles Triangle 51">
                <a:extLst>
                  <a:ext uri="{FF2B5EF4-FFF2-40B4-BE49-F238E27FC236}">
                    <a16:creationId xmlns:a16="http://schemas.microsoft.com/office/drawing/2014/main" id="{5B3ACB59-B875-4E75-B21A-9C86697C6B5E}"/>
                  </a:ext>
                </a:extLst>
              </p:cNvPr>
              <p:cNvSpPr/>
              <p:nvPr/>
            </p:nvSpPr>
            <p:spPr>
              <a:xfrm>
                <a:off x="9841875" y="3307350"/>
                <a:ext cx="337246" cy="247304"/>
              </a:xfrm>
              <a:custGeom>
                <a:avLst/>
                <a:gdLst/>
                <a:ahLst/>
                <a:cxnLst/>
                <a:rect l="l" t="t" r="r" b="b"/>
                <a:pathLst>
                  <a:path w="3240001" h="2375905">
                    <a:moveTo>
                      <a:pt x="1974640" y="1379575"/>
                    </a:moveTo>
                    <a:lnTo>
                      <a:pt x="3240001" y="2375905"/>
                    </a:lnTo>
                    <a:lnTo>
                      <a:pt x="1" y="2375905"/>
                    </a:lnTo>
                    <a:lnTo>
                      <a:pt x="1269863" y="1399042"/>
                    </a:lnTo>
                    <a:lnTo>
                      <a:pt x="1610574" y="1745545"/>
                    </a:lnTo>
                    <a:close/>
                    <a:moveTo>
                      <a:pt x="3240001" y="126952"/>
                    </a:moveTo>
                    <a:lnTo>
                      <a:pt x="3240001" y="2258912"/>
                    </a:lnTo>
                    <a:lnTo>
                      <a:pt x="2032457" y="1334195"/>
                    </a:lnTo>
                    <a:close/>
                    <a:moveTo>
                      <a:pt x="0" y="117525"/>
                    </a:moveTo>
                    <a:lnTo>
                      <a:pt x="1207545" y="1324768"/>
                    </a:lnTo>
                    <a:lnTo>
                      <a:pt x="0" y="2249485"/>
                    </a:lnTo>
                    <a:close/>
                    <a:moveTo>
                      <a:pt x="0" y="0"/>
                    </a:moveTo>
                    <a:lnTo>
                      <a:pt x="3240000" y="0"/>
                    </a:lnTo>
                    <a:lnTo>
                      <a:pt x="1610572" y="1620513"/>
                    </a:lnTo>
                    <a:close/>
                  </a:path>
                </a:pathLst>
              </a:custGeom>
              <a:solidFill>
                <a:srgbClr val="3282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38" name="Rectangle 7">
                <a:extLst>
                  <a:ext uri="{FF2B5EF4-FFF2-40B4-BE49-F238E27FC236}">
                    <a16:creationId xmlns:a16="http://schemas.microsoft.com/office/drawing/2014/main" id="{91451B68-CF83-4443-9A72-FDB705710E99}"/>
                  </a:ext>
                </a:extLst>
              </p:cNvPr>
              <p:cNvSpPr/>
              <p:nvPr/>
            </p:nvSpPr>
            <p:spPr>
              <a:xfrm rot="18900000">
                <a:off x="8790454" y="2079359"/>
                <a:ext cx="154109" cy="343323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rgbClr val="26262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40" name="Rectangle 30">
                <a:extLst>
                  <a:ext uri="{FF2B5EF4-FFF2-40B4-BE49-F238E27FC236}">
                    <a16:creationId xmlns:a16="http://schemas.microsoft.com/office/drawing/2014/main" id="{8FBAFD21-EFDD-413C-B081-DF7B0C822584}"/>
                  </a:ext>
                </a:extLst>
              </p:cNvPr>
              <p:cNvSpPr/>
              <p:nvPr/>
            </p:nvSpPr>
            <p:spPr>
              <a:xfrm>
                <a:off x="7724055" y="2551719"/>
                <a:ext cx="299435" cy="298560"/>
              </a:xfrm>
              <a:custGeom>
                <a:avLst/>
                <a:gdLst/>
                <a:ahLst/>
                <a:cxnLst/>
                <a:rect l="l" t="t" r="r" b="b"/>
                <a:pathLst>
                  <a:path w="3240000" h="3230531">
                    <a:moveTo>
                      <a:pt x="720000" y="2697973"/>
                    </a:moveTo>
                    <a:cubicBezTo>
                      <a:pt x="680235" y="2697973"/>
                      <a:pt x="648000" y="2730208"/>
                      <a:pt x="648000" y="2769973"/>
                    </a:cubicBezTo>
                    <a:cubicBezTo>
                      <a:pt x="648000" y="2809738"/>
                      <a:pt x="680235" y="2841973"/>
                      <a:pt x="720000" y="2841973"/>
                    </a:cubicBezTo>
                    <a:lnTo>
                      <a:pt x="2520000" y="2841973"/>
                    </a:lnTo>
                    <a:cubicBezTo>
                      <a:pt x="2559765" y="2841973"/>
                      <a:pt x="2592000" y="2809738"/>
                      <a:pt x="2592000" y="2769973"/>
                    </a:cubicBezTo>
                    <a:cubicBezTo>
                      <a:pt x="2592000" y="2730208"/>
                      <a:pt x="2559765" y="2697973"/>
                      <a:pt x="2520000" y="2697973"/>
                    </a:cubicBezTo>
                    <a:close/>
                    <a:moveTo>
                      <a:pt x="720000" y="2366733"/>
                    </a:moveTo>
                    <a:cubicBezTo>
                      <a:pt x="680235" y="2366733"/>
                      <a:pt x="648000" y="2398968"/>
                      <a:pt x="648000" y="2438733"/>
                    </a:cubicBezTo>
                    <a:cubicBezTo>
                      <a:pt x="648000" y="2478498"/>
                      <a:pt x="680235" y="2510733"/>
                      <a:pt x="720000" y="2510733"/>
                    </a:cubicBezTo>
                    <a:lnTo>
                      <a:pt x="2520000" y="2510733"/>
                    </a:lnTo>
                    <a:cubicBezTo>
                      <a:pt x="2559765" y="2510733"/>
                      <a:pt x="2592000" y="2478498"/>
                      <a:pt x="2592000" y="2438733"/>
                    </a:cubicBezTo>
                    <a:cubicBezTo>
                      <a:pt x="2592000" y="2398968"/>
                      <a:pt x="2559765" y="2366733"/>
                      <a:pt x="2520000" y="2366733"/>
                    </a:cubicBezTo>
                    <a:close/>
                    <a:moveTo>
                      <a:pt x="720000" y="2035493"/>
                    </a:moveTo>
                    <a:cubicBezTo>
                      <a:pt x="680235" y="2035493"/>
                      <a:pt x="648000" y="2067728"/>
                      <a:pt x="648000" y="2107493"/>
                    </a:cubicBezTo>
                    <a:cubicBezTo>
                      <a:pt x="648000" y="2147258"/>
                      <a:pt x="680235" y="2179493"/>
                      <a:pt x="720000" y="2179493"/>
                    </a:cubicBezTo>
                    <a:lnTo>
                      <a:pt x="2520000" y="2179493"/>
                    </a:lnTo>
                    <a:cubicBezTo>
                      <a:pt x="2559765" y="2179493"/>
                      <a:pt x="2592000" y="2147258"/>
                      <a:pt x="2592000" y="2107493"/>
                    </a:cubicBezTo>
                    <a:cubicBezTo>
                      <a:pt x="2592000" y="2067728"/>
                      <a:pt x="2559765" y="2035493"/>
                      <a:pt x="2520000" y="2035493"/>
                    </a:cubicBezTo>
                    <a:close/>
                    <a:moveTo>
                      <a:pt x="720000" y="1704253"/>
                    </a:moveTo>
                    <a:cubicBezTo>
                      <a:pt x="680235" y="1704253"/>
                      <a:pt x="648000" y="1736488"/>
                      <a:pt x="648000" y="1776253"/>
                    </a:cubicBezTo>
                    <a:cubicBezTo>
                      <a:pt x="648000" y="1816018"/>
                      <a:pt x="680235" y="1848253"/>
                      <a:pt x="720000" y="1848253"/>
                    </a:cubicBezTo>
                    <a:lnTo>
                      <a:pt x="2520000" y="1848253"/>
                    </a:lnTo>
                    <a:cubicBezTo>
                      <a:pt x="2559765" y="1848253"/>
                      <a:pt x="2592000" y="1816018"/>
                      <a:pt x="2592000" y="1776253"/>
                    </a:cubicBezTo>
                    <a:cubicBezTo>
                      <a:pt x="2592000" y="1736488"/>
                      <a:pt x="2559765" y="1704253"/>
                      <a:pt x="2520000" y="1704253"/>
                    </a:cubicBezTo>
                    <a:close/>
                    <a:moveTo>
                      <a:pt x="720000" y="1373013"/>
                    </a:moveTo>
                    <a:cubicBezTo>
                      <a:pt x="680235" y="1373013"/>
                      <a:pt x="648000" y="1405248"/>
                      <a:pt x="648000" y="1445013"/>
                    </a:cubicBezTo>
                    <a:cubicBezTo>
                      <a:pt x="648000" y="1484778"/>
                      <a:pt x="680235" y="1517013"/>
                      <a:pt x="720000" y="1517013"/>
                    </a:cubicBezTo>
                    <a:lnTo>
                      <a:pt x="2520000" y="1517013"/>
                    </a:lnTo>
                    <a:cubicBezTo>
                      <a:pt x="2559765" y="1517013"/>
                      <a:pt x="2592000" y="1484778"/>
                      <a:pt x="2592000" y="1445013"/>
                    </a:cubicBezTo>
                    <a:cubicBezTo>
                      <a:pt x="2592000" y="1405248"/>
                      <a:pt x="2559765" y="1373013"/>
                      <a:pt x="2520000" y="1373013"/>
                    </a:cubicBezTo>
                    <a:close/>
                    <a:moveTo>
                      <a:pt x="720000" y="1041773"/>
                    </a:moveTo>
                    <a:cubicBezTo>
                      <a:pt x="680235" y="1041773"/>
                      <a:pt x="648000" y="1074008"/>
                      <a:pt x="648000" y="1113773"/>
                    </a:cubicBezTo>
                    <a:cubicBezTo>
                      <a:pt x="648000" y="1153538"/>
                      <a:pt x="680235" y="1185773"/>
                      <a:pt x="720000" y="1185773"/>
                    </a:cubicBezTo>
                    <a:lnTo>
                      <a:pt x="2520000" y="1185773"/>
                    </a:lnTo>
                    <a:cubicBezTo>
                      <a:pt x="2559765" y="1185773"/>
                      <a:pt x="2592000" y="1153538"/>
                      <a:pt x="2592000" y="1113773"/>
                    </a:cubicBezTo>
                    <a:cubicBezTo>
                      <a:pt x="2592000" y="1074008"/>
                      <a:pt x="2559765" y="1041773"/>
                      <a:pt x="2520000" y="1041773"/>
                    </a:cubicBezTo>
                    <a:close/>
                    <a:moveTo>
                      <a:pt x="0" y="305988"/>
                    </a:moveTo>
                    <a:lnTo>
                      <a:pt x="181957" y="305988"/>
                    </a:lnTo>
                    <a:lnTo>
                      <a:pt x="181957" y="470032"/>
                    </a:lnTo>
                    <a:cubicBezTo>
                      <a:pt x="181957" y="599267"/>
                      <a:pt x="286722" y="704032"/>
                      <a:pt x="415957" y="704032"/>
                    </a:cubicBezTo>
                    <a:cubicBezTo>
                      <a:pt x="545192" y="704032"/>
                      <a:pt x="649957" y="599267"/>
                      <a:pt x="649957" y="470032"/>
                    </a:cubicBezTo>
                    <a:lnTo>
                      <a:pt x="649957" y="305988"/>
                    </a:lnTo>
                    <a:lnTo>
                      <a:pt x="802357" y="305988"/>
                    </a:lnTo>
                    <a:lnTo>
                      <a:pt x="802357" y="470031"/>
                    </a:lnTo>
                    <a:cubicBezTo>
                      <a:pt x="802357" y="599266"/>
                      <a:pt x="907122" y="704031"/>
                      <a:pt x="1036357" y="704031"/>
                    </a:cubicBezTo>
                    <a:cubicBezTo>
                      <a:pt x="1165592" y="704031"/>
                      <a:pt x="1270357" y="599266"/>
                      <a:pt x="1270357" y="470031"/>
                    </a:cubicBezTo>
                    <a:lnTo>
                      <a:pt x="1270357" y="305988"/>
                    </a:lnTo>
                    <a:lnTo>
                      <a:pt x="1422757" y="305988"/>
                    </a:lnTo>
                    <a:lnTo>
                      <a:pt x="1422757" y="470030"/>
                    </a:lnTo>
                    <a:cubicBezTo>
                      <a:pt x="1422757" y="599265"/>
                      <a:pt x="1527522" y="704030"/>
                      <a:pt x="1656757" y="704030"/>
                    </a:cubicBezTo>
                    <a:cubicBezTo>
                      <a:pt x="1785992" y="704030"/>
                      <a:pt x="1890757" y="599265"/>
                      <a:pt x="1890757" y="470030"/>
                    </a:cubicBezTo>
                    <a:lnTo>
                      <a:pt x="1890757" y="305988"/>
                    </a:lnTo>
                    <a:lnTo>
                      <a:pt x="2043157" y="305988"/>
                    </a:lnTo>
                    <a:lnTo>
                      <a:pt x="2043157" y="470029"/>
                    </a:lnTo>
                    <a:cubicBezTo>
                      <a:pt x="2043157" y="599264"/>
                      <a:pt x="2147922" y="704029"/>
                      <a:pt x="2277157" y="704029"/>
                    </a:cubicBezTo>
                    <a:cubicBezTo>
                      <a:pt x="2406392" y="704029"/>
                      <a:pt x="2511157" y="599264"/>
                      <a:pt x="2511157" y="470029"/>
                    </a:cubicBezTo>
                    <a:lnTo>
                      <a:pt x="2511157" y="305988"/>
                    </a:lnTo>
                    <a:lnTo>
                      <a:pt x="2663557" y="305988"/>
                    </a:lnTo>
                    <a:lnTo>
                      <a:pt x="2663557" y="470028"/>
                    </a:lnTo>
                    <a:cubicBezTo>
                      <a:pt x="2663557" y="599263"/>
                      <a:pt x="2768322" y="704028"/>
                      <a:pt x="2897557" y="704028"/>
                    </a:cubicBezTo>
                    <a:cubicBezTo>
                      <a:pt x="3026792" y="704028"/>
                      <a:pt x="3131557" y="599263"/>
                      <a:pt x="3131557" y="470028"/>
                    </a:cubicBezTo>
                    <a:lnTo>
                      <a:pt x="3131557" y="305988"/>
                    </a:lnTo>
                    <a:lnTo>
                      <a:pt x="3240000" y="305988"/>
                    </a:lnTo>
                    <a:lnTo>
                      <a:pt x="3240000" y="3230531"/>
                    </a:lnTo>
                    <a:lnTo>
                      <a:pt x="0" y="3230531"/>
                    </a:lnTo>
                    <a:close/>
                    <a:moveTo>
                      <a:pt x="415957" y="4"/>
                    </a:moveTo>
                    <a:cubicBezTo>
                      <a:pt x="485545" y="4"/>
                      <a:pt x="541957" y="56416"/>
                      <a:pt x="541957" y="126004"/>
                    </a:cubicBezTo>
                    <a:lnTo>
                      <a:pt x="541957" y="485972"/>
                    </a:lnTo>
                    <a:cubicBezTo>
                      <a:pt x="541957" y="555560"/>
                      <a:pt x="485545" y="611972"/>
                      <a:pt x="415957" y="611972"/>
                    </a:cubicBezTo>
                    <a:cubicBezTo>
                      <a:pt x="346369" y="611972"/>
                      <a:pt x="289957" y="555560"/>
                      <a:pt x="289957" y="485972"/>
                    </a:cubicBezTo>
                    <a:lnTo>
                      <a:pt x="289957" y="126004"/>
                    </a:lnTo>
                    <a:cubicBezTo>
                      <a:pt x="289957" y="56416"/>
                      <a:pt x="346369" y="4"/>
                      <a:pt x="415957" y="4"/>
                    </a:cubicBezTo>
                    <a:close/>
                    <a:moveTo>
                      <a:pt x="1036357" y="3"/>
                    </a:moveTo>
                    <a:cubicBezTo>
                      <a:pt x="1105945" y="3"/>
                      <a:pt x="1162357" y="56415"/>
                      <a:pt x="1162357" y="126003"/>
                    </a:cubicBezTo>
                    <a:lnTo>
                      <a:pt x="1162357" y="485971"/>
                    </a:lnTo>
                    <a:cubicBezTo>
                      <a:pt x="1162357" y="555559"/>
                      <a:pt x="1105945" y="611971"/>
                      <a:pt x="1036357" y="611971"/>
                    </a:cubicBezTo>
                    <a:cubicBezTo>
                      <a:pt x="966769" y="611971"/>
                      <a:pt x="910357" y="555559"/>
                      <a:pt x="910357" y="485971"/>
                    </a:cubicBezTo>
                    <a:lnTo>
                      <a:pt x="910357" y="126003"/>
                    </a:lnTo>
                    <a:cubicBezTo>
                      <a:pt x="910357" y="56415"/>
                      <a:pt x="966769" y="3"/>
                      <a:pt x="1036357" y="3"/>
                    </a:cubicBezTo>
                    <a:close/>
                    <a:moveTo>
                      <a:pt x="1656757" y="2"/>
                    </a:moveTo>
                    <a:cubicBezTo>
                      <a:pt x="1726345" y="2"/>
                      <a:pt x="1782757" y="56414"/>
                      <a:pt x="1782757" y="126002"/>
                    </a:cubicBezTo>
                    <a:lnTo>
                      <a:pt x="1782757" y="485970"/>
                    </a:lnTo>
                    <a:cubicBezTo>
                      <a:pt x="1782757" y="555558"/>
                      <a:pt x="1726345" y="611970"/>
                      <a:pt x="1656757" y="611970"/>
                    </a:cubicBezTo>
                    <a:cubicBezTo>
                      <a:pt x="1587169" y="611970"/>
                      <a:pt x="1530757" y="555558"/>
                      <a:pt x="1530757" y="485970"/>
                    </a:cubicBezTo>
                    <a:lnTo>
                      <a:pt x="1530757" y="126002"/>
                    </a:lnTo>
                    <a:cubicBezTo>
                      <a:pt x="1530757" y="56414"/>
                      <a:pt x="1587169" y="2"/>
                      <a:pt x="1656757" y="2"/>
                    </a:cubicBezTo>
                    <a:close/>
                    <a:moveTo>
                      <a:pt x="2277157" y="1"/>
                    </a:moveTo>
                    <a:cubicBezTo>
                      <a:pt x="2346745" y="1"/>
                      <a:pt x="2403157" y="56413"/>
                      <a:pt x="2403157" y="126001"/>
                    </a:cubicBezTo>
                    <a:lnTo>
                      <a:pt x="2403157" y="485969"/>
                    </a:lnTo>
                    <a:cubicBezTo>
                      <a:pt x="2403157" y="555557"/>
                      <a:pt x="2346745" y="611969"/>
                      <a:pt x="2277157" y="611969"/>
                    </a:cubicBezTo>
                    <a:cubicBezTo>
                      <a:pt x="2207569" y="611969"/>
                      <a:pt x="2151157" y="555557"/>
                      <a:pt x="2151157" y="485969"/>
                    </a:cubicBezTo>
                    <a:lnTo>
                      <a:pt x="2151157" y="126001"/>
                    </a:lnTo>
                    <a:cubicBezTo>
                      <a:pt x="2151157" y="56413"/>
                      <a:pt x="2207569" y="1"/>
                      <a:pt x="2277157" y="1"/>
                    </a:cubicBezTo>
                    <a:close/>
                    <a:moveTo>
                      <a:pt x="2897557" y="0"/>
                    </a:moveTo>
                    <a:cubicBezTo>
                      <a:pt x="2967145" y="0"/>
                      <a:pt x="3023557" y="56412"/>
                      <a:pt x="3023557" y="126000"/>
                    </a:cubicBezTo>
                    <a:lnTo>
                      <a:pt x="3023557" y="485968"/>
                    </a:lnTo>
                    <a:cubicBezTo>
                      <a:pt x="3023557" y="555556"/>
                      <a:pt x="2967145" y="611968"/>
                      <a:pt x="2897557" y="611968"/>
                    </a:cubicBezTo>
                    <a:cubicBezTo>
                      <a:pt x="2827969" y="611968"/>
                      <a:pt x="2771557" y="555556"/>
                      <a:pt x="2771557" y="485968"/>
                    </a:cubicBezTo>
                    <a:lnTo>
                      <a:pt x="2771557" y="126000"/>
                    </a:lnTo>
                    <a:cubicBezTo>
                      <a:pt x="2771557" y="56412"/>
                      <a:pt x="2827969" y="0"/>
                      <a:pt x="2897557" y="0"/>
                    </a:cubicBezTo>
                    <a:close/>
                  </a:path>
                </a:pathLst>
              </a:custGeom>
              <a:solidFill>
                <a:srgbClr val="26262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41" name="Rectangle 15">
                <a:extLst>
                  <a:ext uri="{FF2B5EF4-FFF2-40B4-BE49-F238E27FC236}">
                    <a16:creationId xmlns:a16="http://schemas.microsoft.com/office/drawing/2014/main" id="{FFAD610C-1B2C-4432-8301-D766E7B03879}"/>
                  </a:ext>
                </a:extLst>
              </p:cNvPr>
              <p:cNvSpPr/>
              <p:nvPr/>
            </p:nvSpPr>
            <p:spPr>
              <a:xfrm rot="5400000">
                <a:off x="9487193" y="2294113"/>
                <a:ext cx="304400" cy="303996"/>
              </a:xfrm>
              <a:custGeom>
                <a:avLst/>
                <a:gdLst/>
                <a:ahLst/>
                <a:cxnLst/>
                <a:rect l="l" t="t" r="r" b="b"/>
                <a:pathLst>
                  <a:path w="3244313" h="3240000">
                    <a:moveTo>
                      <a:pt x="2055482" y="677891"/>
                    </a:moveTo>
                    <a:lnTo>
                      <a:pt x="2055482" y="209891"/>
                    </a:lnTo>
                    <a:lnTo>
                      <a:pt x="2919482" y="209891"/>
                    </a:lnTo>
                    <a:lnTo>
                      <a:pt x="2919482" y="677891"/>
                    </a:lnTo>
                    <a:close/>
                    <a:moveTo>
                      <a:pt x="1695482" y="1397971"/>
                    </a:moveTo>
                    <a:lnTo>
                      <a:pt x="1695482" y="929971"/>
                    </a:lnTo>
                    <a:lnTo>
                      <a:pt x="2919482" y="929971"/>
                    </a:lnTo>
                    <a:lnTo>
                      <a:pt x="2919482" y="1397971"/>
                    </a:lnTo>
                    <a:close/>
                    <a:moveTo>
                      <a:pt x="1335482" y="2118051"/>
                    </a:moveTo>
                    <a:lnTo>
                      <a:pt x="1335482" y="1650051"/>
                    </a:lnTo>
                    <a:lnTo>
                      <a:pt x="2919482" y="1650051"/>
                    </a:lnTo>
                    <a:lnTo>
                      <a:pt x="2919482" y="2118051"/>
                    </a:lnTo>
                    <a:close/>
                    <a:moveTo>
                      <a:pt x="975482" y="2838131"/>
                    </a:moveTo>
                    <a:lnTo>
                      <a:pt x="975482" y="2370131"/>
                    </a:lnTo>
                    <a:lnTo>
                      <a:pt x="2919482" y="2370131"/>
                    </a:lnTo>
                    <a:lnTo>
                      <a:pt x="2919482" y="2838131"/>
                    </a:lnTo>
                    <a:close/>
                    <a:moveTo>
                      <a:pt x="10788" y="2651034"/>
                    </a:moveTo>
                    <a:lnTo>
                      <a:pt x="1168116" y="646484"/>
                    </a:lnTo>
                    <a:lnTo>
                      <a:pt x="1038664" y="571745"/>
                    </a:lnTo>
                    <a:lnTo>
                      <a:pt x="1533856" y="311959"/>
                    </a:lnTo>
                    <a:lnTo>
                      <a:pt x="1556471" y="870701"/>
                    </a:lnTo>
                    <a:lnTo>
                      <a:pt x="1427019" y="795962"/>
                    </a:lnTo>
                    <a:lnTo>
                      <a:pt x="269691" y="2800512"/>
                    </a:lnTo>
                    <a:close/>
                    <a:moveTo>
                      <a:pt x="0" y="3240000"/>
                    </a:moveTo>
                    <a:lnTo>
                      <a:pt x="0" y="3060000"/>
                    </a:lnTo>
                    <a:lnTo>
                      <a:pt x="3064313" y="3060000"/>
                    </a:lnTo>
                    <a:lnTo>
                      <a:pt x="3064313" y="0"/>
                    </a:lnTo>
                    <a:lnTo>
                      <a:pt x="3244313" y="0"/>
                    </a:lnTo>
                    <a:lnTo>
                      <a:pt x="3244313" y="3240000"/>
                    </a:lnTo>
                    <a:lnTo>
                      <a:pt x="3240000" y="3240000"/>
                    </a:lnTo>
                    <a:lnTo>
                      <a:pt x="3064313" y="3240000"/>
                    </a:lnTo>
                    <a:close/>
                  </a:path>
                </a:pathLst>
              </a:custGeom>
              <a:solidFill>
                <a:srgbClr val="3282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42" name="Block Arc 14">
                <a:extLst>
                  <a:ext uri="{FF2B5EF4-FFF2-40B4-BE49-F238E27FC236}">
                    <a16:creationId xmlns:a16="http://schemas.microsoft.com/office/drawing/2014/main" id="{2F039CA0-E764-4E93-B9E2-6A3FCDE97D7E}"/>
                  </a:ext>
                </a:extLst>
              </p:cNvPr>
              <p:cNvSpPr/>
              <p:nvPr/>
            </p:nvSpPr>
            <p:spPr>
              <a:xfrm rot="16200000">
                <a:off x="7774440" y="4017199"/>
                <a:ext cx="365774" cy="366015"/>
              </a:xfrm>
              <a:custGeom>
                <a:avLst/>
                <a:gdLst/>
                <a:ahLst/>
                <a:cxnLst/>
                <a:rect l="l" t="t" r="r" b="b"/>
                <a:pathLst>
                  <a:path w="3185463" h="3187558">
                    <a:moveTo>
                      <a:pt x="764000" y="2343999"/>
                    </a:moveTo>
                    <a:cubicBezTo>
                      <a:pt x="566798" y="2256389"/>
                      <a:pt x="385374" y="2134753"/>
                      <a:pt x="230072" y="1981662"/>
                    </a:cubicBezTo>
                    <a:cubicBezTo>
                      <a:pt x="297001" y="2223876"/>
                      <a:pt x="428049" y="2439341"/>
                      <a:pt x="603989" y="2608945"/>
                    </a:cubicBezTo>
                    <a:cubicBezTo>
                      <a:pt x="667739" y="2525681"/>
                      <a:pt x="720588" y="2436567"/>
                      <a:pt x="764000" y="2343999"/>
                    </a:cubicBezTo>
                    <a:close/>
                    <a:moveTo>
                      <a:pt x="783530" y="862903"/>
                    </a:moveTo>
                    <a:cubicBezTo>
                      <a:pt x="737619" y="760936"/>
                      <a:pt x="681240" y="662513"/>
                      <a:pt x="611676" y="571152"/>
                    </a:cubicBezTo>
                    <a:cubicBezTo>
                      <a:pt x="419218" y="754019"/>
                      <a:pt x="279227" y="991173"/>
                      <a:pt x="215545" y="1258034"/>
                    </a:cubicBezTo>
                    <a:cubicBezTo>
                      <a:pt x="378729" y="1090139"/>
                      <a:pt x="571934" y="956907"/>
                      <a:pt x="783530" y="862903"/>
                    </a:cubicBezTo>
                    <a:close/>
                    <a:moveTo>
                      <a:pt x="935657" y="1673146"/>
                    </a:moveTo>
                    <a:lnTo>
                      <a:pt x="227023" y="1673146"/>
                    </a:lnTo>
                    <a:cubicBezTo>
                      <a:pt x="393068" y="1882941"/>
                      <a:pt x="605618" y="2045968"/>
                      <a:pt x="844267" y="2153109"/>
                    </a:cubicBezTo>
                    <a:cubicBezTo>
                      <a:pt x="897907" y="1997390"/>
                      <a:pt x="928862" y="1835739"/>
                      <a:pt x="935657" y="1673146"/>
                    </a:cubicBezTo>
                    <a:close/>
                    <a:moveTo>
                      <a:pt x="935928" y="1493146"/>
                    </a:moveTo>
                    <a:cubicBezTo>
                      <a:pt x="928922" y="1345638"/>
                      <a:pt x="902278" y="1198995"/>
                      <a:pt x="856775" y="1056956"/>
                    </a:cubicBezTo>
                    <a:cubicBezTo>
                      <a:pt x="636768" y="1156959"/>
                      <a:pt x="439487" y="1304654"/>
                      <a:pt x="281464" y="1493146"/>
                    </a:cubicBezTo>
                    <a:close/>
                    <a:moveTo>
                      <a:pt x="1469785" y="2515107"/>
                    </a:moveTo>
                    <a:cubicBezTo>
                      <a:pt x="1283000" y="2508124"/>
                      <a:pt x="1100523" y="2472287"/>
                      <a:pt x="927628" y="2411229"/>
                    </a:cubicBezTo>
                    <a:cubicBezTo>
                      <a:pt x="876831" y="2520843"/>
                      <a:pt x="814172" y="2626182"/>
                      <a:pt x="738220" y="2724387"/>
                    </a:cubicBezTo>
                    <a:cubicBezTo>
                      <a:pt x="944637" y="2881665"/>
                      <a:pt x="1196120" y="2982471"/>
                      <a:pt x="1469785" y="3005418"/>
                    </a:cubicBezTo>
                    <a:close/>
                    <a:moveTo>
                      <a:pt x="1469785" y="1673146"/>
                    </a:moveTo>
                    <a:lnTo>
                      <a:pt x="1112275" y="1673146"/>
                    </a:lnTo>
                    <a:cubicBezTo>
                      <a:pt x="1105327" y="1858153"/>
                      <a:pt x="1070032" y="2042144"/>
                      <a:pt x="1008001" y="2219039"/>
                    </a:cubicBezTo>
                    <a:cubicBezTo>
                      <a:pt x="1155519" y="2270408"/>
                      <a:pt x="1310845" y="2300826"/>
                      <a:pt x="1469785" y="2307834"/>
                    </a:cubicBezTo>
                    <a:close/>
                    <a:moveTo>
                      <a:pt x="1469785" y="898989"/>
                    </a:moveTo>
                    <a:cubicBezTo>
                      <a:pt x="1315103" y="907762"/>
                      <a:pt x="1164166" y="938783"/>
                      <a:pt x="1020939" y="990066"/>
                    </a:cubicBezTo>
                    <a:cubicBezTo>
                      <a:pt x="1074574" y="1153655"/>
                      <a:pt x="1105461" y="1322925"/>
                      <a:pt x="1112368" y="1493146"/>
                    </a:cubicBezTo>
                    <a:lnTo>
                      <a:pt x="1469785" y="1493146"/>
                    </a:lnTo>
                    <a:close/>
                    <a:moveTo>
                      <a:pt x="1469785" y="182141"/>
                    </a:moveTo>
                    <a:cubicBezTo>
                      <a:pt x="1199839" y="204777"/>
                      <a:pt x="951477" y="303168"/>
                      <a:pt x="746615" y="456764"/>
                    </a:cubicBezTo>
                    <a:cubicBezTo>
                      <a:pt x="828296" y="562801"/>
                      <a:pt x="894225" y="677310"/>
                      <a:pt x="947434" y="796072"/>
                    </a:cubicBezTo>
                    <a:cubicBezTo>
                      <a:pt x="1113886" y="736067"/>
                      <a:pt x="1289644" y="700323"/>
                      <a:pt x="1469785" y="691530"/>
                    </a:cubicBezTo>
                    <a:close/>
                    <a:moveTo>
                      <a:pt x="2150063" y="992171"/>
                    </a:moveTo>
                    <a:cubicBezTo>
                      <a:pt x="1990712" y="935501"/>
                      <a:pt x="1822242" y="902595"/>
                      <a:pt x="1649785" y="897224"/>
                    </a:cubicBezTo>
                    <a:lnTo>
                      <a:pt x="1649785" y="1493146"/>
                    </a:lnTo>
                    <a:lnTo>
                      <a:pt x="2063712" y="1493146"/>
                    </a:lnTo>
                    <a:cubicBezTo>
                      <a:pt x="2069089" y="1323887"/>
                      <a:pt x="2098366" y="1155330"/>
                      <a:pt x="2150063" y="992171"/>
                    </a:cubicBezTo>
                    <a:close/>
                    <a:moveTo>
                      <a:pt x="2168848" y="2199110"/>
                    </a:moveTo>
                    <a:cubicBezTo>
                      <a:pt x="2108555" y="2028681"/>
                      <a:pt x="2073581" y="1851532"/>
                      <a:pt x="2065295" y="1673146"/>
                    </a:cubicBezTo>
                    <a:lnTo>
                      <a:pt x="1649785" y="1673146"/>
                    </a:lnTo>
                    <a:lnTo>
                      <a:pt x="1649785" y="2307299"/>
                    </a:lnTo>
                    <a:cubicBezTo>
                      <a:pt x="1829404" y="2299517"/>
                      <a:pt x="2004315" y="2261965"/>
                      <a:pt x="2168848" y="2199110"/>
                    </a:cubicBezTo>
                    <a:close/>
                    <a:moveTo>
                      <a:pt x="2422394" y="446879"/>
                    </a:moveTo>
                    <a:cubicBezTo>
                      <a:pt x="2204309" y="287209"/>
                      <a:pt x="1938140" y="189883"/>
                      <a:pt x="1649785" y="178919"/>
                    </a:cubicBezTo>
                    <a:lnTo>
                      <a:pt x="1649785" y="689876"/>
                    </a:lnTo>
                    <a:cubicBezTo>
                      <a:pt x="1846998" y="695154"/>
                      <a:pt x="2039668" y="732502"/>
                      <a:pt x="2221721" y="797410"/>
                    </a:cubicBezTo>
                    <a:cubicBezTo>
                      <a:pt x="2275056" y="675360"/>
                      <a:pt x="2341760" y="557662"/>
                      <a:pt x="2422394" y="446879"/>
                    </a:cubicBezTo>
                    <a:close/>
                    <a:moveTo>
                      <a:pt x="2447278" y="2722123"/>
                    </a:moveTo>
                    <a:cubicBezTo>
                      <a:pt x="2366121" y="2618714"/>
                      <a:pt x="2299534" y="2507403"/>
                      <a:pt x="2246145" y="2391362"/>
                    </a:cubicBezTo>
                    <a:cubicBezTo>
                      <a:pt x="2057375" y="2464119"/>
                      <a:pt x="1856285" y="2506958"/>
                      <a:pt x="1649785" y="2514779"/>
                    </a:cubicBezTo>
                    <a:lnTo>
                      <a:pt x="1649785" y="3008639"/>
                    </a:lnTo>
                    <a:cubicBezTo>
                      <a:pt x="1949198" y="2997255"/>
                      <a:pt x="2224691" y="2892757"/>
                      <a:pt x="2447278" y="2722123"/>
                    </a:cubicBezTo>
                    <a:close/>
                    <a:moveTo>
                      <a:pt x="2878934" y="1493146"/>
                    </a:moveTo>
                    <a:cubicBezTo>
                      <a:pt x="2723190" y="1307255"/>
                      <a:pt x="2529440" y="1161128"/>
                      <a:pt x="2313862" y="1060620"/>
                    </a:cubicBezTo>
                    <a:cubicBezTo>
                      <a:pt x="2270535" y="1201714"/>
                      <a:pt x="2245604" y="1347104"/>
                      <a:pt x="2240109" y="1493146"/>
                    </a:cubicBezTo>
                    <a:close/>
                    <a:moveTo>
                      <a:pt x="2890636" y="1673146"/>
                    </a:moveTo>
                    <a:lnTo>
                      <a:pt x="2241814" y="1673146"/>
                    </a:lnTo>
                    <a:cubicBezTo>
                      <a:pt x="2249736" y="1827102"/>
                      <a:pt x="2279520" y="1979973"/>
                      <a:pt x="2329964" y="2127513"/>
                    </a:cubicBezTo>
                    <a:cubicBezTo>
                      <a:pt x="2545677" y="2019923"/>
                      <a:pt x="2738160" y="1866413"/>
                      <a:pt x="2890636" y="1673146"/>
                    </a:cubicBezTo>
                    <a:close/>
                    <a:moveTo>
                      <a:pt x="2973035" y="1284386"/>
                    </a:moveTo>
                    <a:cubicBezTo>
                      <a:pt x="2912066" y="1001840"/>
                      <a:pt x="2765308" y="751379"/>
                      <a:pt x="2561381" y="561108"/>
                    </a:cubicBezTo>
                    <a:cubicBezTo>
                      <a:pt x="2489321" y="656437"/>
                      <a:pt x="2431363" y="759225"/>
                      <a:pt x="2384553" y="865647"/>
                    </a:cubicBezTo>
                    <a:cubicBezTo>
                      <a:pt x="2604520" y="964977"/>
                      <a:pt x="2804622" y="1106677"/>
                      <a:pt x="2973035" y="1284386"/>
                    </a:cubicBezTo>
                    <a:close/>
                    <a:moveTo>
                      <a:pt x="2974277" y="1897328"/>
                    </a:moveTo>
                    <a:cubicBezTo>
                      <a:pt x="2812488" y="2073933"/>
                      <a:pt x="2619878" y="2216690"/>
                      <a:pt x="2407486" y="2319665"/>
                    </a:cubicBezTo>
                    <a:cubicBezTo>
                      <a:pt x="2454169" y="2420503"/>
                      <a:pt x="2511856" y="2517376"/>
                      <a:pt x="2582047" y="2607468"/>
                    </a:cubicBezTo>
                    <a:cubicBezTo>
                      <a:pt x="2776399" y="2417974"/>
                      <a:pt x="2916061" y="2172750"/>
                      <a:pt x="2974277" y="1897328"/>
                    </a:cubicBezTo>
                    <a:close/>
                    <a:moveTo>
                      <a:pt x="3185463" y="1593779"/>
                    </a:moveTo>
                    <a:cubicBezTo>
                      <a:pt x="3185463" y="2473999"/>
                      <a:pt x="2471904" y="3187558"/>
                      <a:pt x="1591684" y="3187558"/>
                    </a:cubicBezTo>
                    <a:cubicBezTo>
                      <a:pt x="738111" y="3187558"/>
                      <a:pt x="41261" y="2516549"/>
                      <a:pt x="1913" y="1673146"/>
                    </a:cubicBezTo>
                    <a:lnTo>
                      <a:pt x="0" y="1673146"/>
                    </a:lnTo>
                    <a:lnTo>
                      <a:pt x="0" y="1493146"/>
                    </a:lnTo>
                    <a:lnTo>
                      <a:pt x="2750" y="1493146"/>
                    </a:lnTo>
                    <a:cubicBezTo>
                      <a:pt x="50490" y="700174"/>
                      <a:pt x="679654" y="64473"/>
                      <a:pt x="1469785" y="6156"/>
                    </a:cubicBezTo>
                    <a:lnTo>
                      <a:pt x="1469785" y="0"/>
                    </a:lnTo>
                    <a:lnTo>
                      <a:pt x="1591684" y="0"/>
                    </a:lnTo>
                    <a:lnTo>
                      <a:pt x="1649785" y="0"/>
                    </a:lnTo>
                    <a:lnTo>
                      <a:pt x="1649785" y="2934"/>
                    </a:lnTo>
                    <a:cubicBezTo>
                      <a:pt x="2503127" y="31654"/>
                      <a:pt x="3185463" y="733032"/>
                      <a:pt x="3185463" y="1593779"/>
                    </a:cubicBezTo>
                    <a:close/>
                  </a:path>
                </a:pathLst>
              </a:custGeom>
              <a:solidFill>
                <a:srgbClr val="3282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44" name="Round Same Side Corner Rectangle 21">
                <a:extLst>
                  <a:ext uri="{FF2B5EF4-FFF2-40B4-BE49-F238E27FC236}">
                    <a16:creationId xmlns:a16="http://schemas.microsoft.com/office/drawing/2014/main" id="{33FBE472-C035-4BD1-9571-98C04666B05F}"/>
                  </a:ext>
                </a:extLst>
              </p:cNvPr>
              <p:cNvSpPr/>
              <p:nvPr/>
            </p:nvSpPr>
            <p:spPr>
              <a:xfrm rot="10800000">
                <a:off x="8452982" y="4482014"/>
                <a:ext cx="249263" cy="281479"/>
              </a:xfrm>
              <a:custGeom>
                <a:avLst/>
                <a:gdLst/>
                <a:ahLst/>
                <a:cxnLst/>
                <a:rect l="l" t="t" r="r" b="b"/>
                <a:pathLst>
                  <a:path w="2880320" h="3252576">
                    <a:moveTo>
                      <a:pt x="612726" y="2220771"/>
                    </a:moveTo>
                    <a:cubicBezTo>
                      <a:pt x="662432" y="2220771"/>
                      <a:pt x="702726" y="2180477"/>
                      <a:pt x="702726" y="2130771"/>
                    </a:cubicBezTo>
                    <a:lnTo>
                      <a:pt x="702726" y="438771"/>
                    </a:lnTo>
                    <a:cubicBezTo>
                      <a:pt x="702726" y="389065"/>
                      <a:pt x="662432" y="348771"/>
                      <a:pt x="612726" y="348771"/>
                    </a:cubicBezTo>
                    <a:cubicBezTo>
                      <a:pt x="563020" y="348771"/>
                      <a:pt x="522726" y="389065"/>
                      <a:pt x="522726" y="438771"/>
                    </a:cubicBezTo>
                    <a:lnTo>
                      <a:pt x="522726" y="2130771"/>
                    </a:lnTo>
                    <a:cubicBezTo>
                      <a:pt x="522726" y="2180477"/>
                      <a:pt x="563020" y="2220771"/>
                      <a:pt x="612726" y="2220771"/>
                    </a:cubicBezTo>
                    <a:close/>
                    <a:moveTo>
                      <a:pt x="1188790" y="2220771"/>
                    </a:moveTo>
                    <a:cubicBezTo>
                      <a:pt x="1238496" y="2220771"/>
                      <a:pt x="1278790" y="2180477"/>
                      <a:pt x="1278790" y="2130771"/>
                    </a:cubicBezTo>
                    <a:lnTo>
                      <a:pt x="1278790" y="438771"/>
                    </a:lnTo>
                    <a:cubicBezTo>
                      <a:pt x="1278790" y="389065"/>
                      <a:pt x="1238496" y="348771"/>
                      <a:pt x="1188790" y="348771"/>
                    </a:cubicBezTo>
                    <a:cubicBezTo>
                      <a:pt x="1139084" y="348771"/>
                      <a:pt x="1098790" y="389065"/>
                      <a:pt x="1098790" y="438771"/>
                    </a:cubicBezTo>
                    <a:lnTo>
                      <a:pt x="1098790" y="2130771"/>
                    </a:lnTo>
                    <a:cubicBezTo>
                      <a:pt x="1098790" y="2180477"/>
                      <a:pt x="1139084" y="2220771"/>
                      <a:pt x="1188790" y="2220771"/>
                    </a:cubicBezTo>
                    <a:close/>
                    <a:moveTo>
                      <a:pt x="1764854" y="2220771"/>
                    </a:moveTo>
                    <a:cubicBezTo>
                      <a:pt x="1814560" y="2220771"/>
                      <a:pt x="1854854" y="2180477"/>
                      <a:pt x="1854854" y="2130771"/>
                    </a:cubicBezTo>
                    <a:lnTo>
                      <a:pt x="1854854" y="438771"/>
                    </a:lnTo>
                    <a:cubicBezTo>
                      <a:pt x="1854854" y="389065"/>
                      <a:pt x="1814560" y="348771"/>
                      <a:pt x="1764854" y="348771"/>
                    </a:cubicBezTo>
                    <a:cubicBezTo>
                      <a:pt x="1715148" y="348771"/>
                      <a:pt x="1674854" y="389065"/>
                      <a:pt x="1674854" y="438771"/>
                    </a:cubicBezTo>
                    <a:lnTo>
                      <a:pt x="1674854" y="2130771"/>
                    </a:lnTo>
                    <a:cubicBezTo>
                      <a:pt x="1674854" y="2180477"/>
                      <a:pt x="1715148" y="2220771"/>
                      <a:pt x="1764854" y="2220771"/>
                    </a:cubicBezTo>
                    <a:close/>
                    <a:moveTo>
                      <a:pt x="2340918" y="2220771"/>
                    </a:moveTo>
                    <a:cubicBezTo>
                      <a:pt x="2390624" y="2220771"/>
                      <a:pt x="2430918" y="2180477"/>
                      <a:pt x="2430918" y="2130771"/>
                    </a:cubicBezTo>
                    <a:lnTo>
                      <a:pt x="2430918" y="438771"/>
                    </a:lnTo>
                    <a:cubicBezTo>
                      <a:pt x="2430918" y="389065"/>
                      <a:pt x="2390624" y="348771"/>
                      <a:pt x="2340918" y="348771"/>
                    </a:cubicBezTo>
                    <a:cubicBezTo>
                      <a:pt x="2291212" y="348771"/>
                      <a:pt x="2250918" y="389065"/>
                      <a:pt x="2250918" y="438771"/>
                    </a:cubicBezTo>
                    <a:lnTo>
                      <a:pt x="2250918" y="2130771"/>
                    </a:lnTo>
                    <a:cubicBezTo>
                      <a:pt x="2250918" y="2180477"/>
                      <a:pt x="2291212" y="2220771"/>
                      <a:pt x="2340918" y="2220771"/>
                    </a:cubicBezTo>
                    <a:close/>
                    <a:moveTo>
                      <a:pt x="2784182" y="2519920"/>
                    </a:moveTo>
                    <a:lnTo>
                      <a:pt x="96136" y="2519920"/>
                    </a:lnTo>
                    <a:lnTo>
                      <a:pt x="96136" y="419995"/>
                    </a:lnTo>
                    <a:cubicBezTo>
                      <a:pt x="96136" y="188038"/>
                      <a:pt x="284174" y="0"/>
                      <a:pt x="516131" y="0"/>
                    </a:cubicBezTo>
                    <a:lnTo>
                      <a:pt x="2364187" y="0"/>
                    </a:lnTo>
                    <a:cubicBezTo>
                      <a:pt x="2596144" y="0"/>
                      <a:pt x="2784182" y="188038"/>
                      <a:pt x="2784182" y="419995"/>
                    </a:cubicBezTo>
                    <a:close/>
                    <a:moveTo>
                      <a:pt x="1687966" y="3252576"/>
                    </a:moveTo>
                    <a:lnTo>
                      <a:pt x="1192350" y="3252576"/>
                    </a:lnTo>
                    <a:cubicBezTo>
                      <a:pt x="1129224" y="3252576"/>
                      <a:pt x="1078050" y="3201402"/>
                      <a:pt x="1078050" y="3138276"/>
                    </a:cubicBezTo>
                    <a:lnTo>
                      <a:pt x="1078050" y="3023976"/>
                    </a:lnTo>
                    <a:lnTo>
                      <a:pt x="60008" y="3023976"/>
                    </a:lnTo>
                    <a:cubicBezTo>
                      <a:pt x="26866" y="3023976"/>
                      <a:pt x="0" y="2997110"/>
                      <a:pt x="0" y="2963968"/>
                    </a:cubicBezTo>
                    <a:lnTo>
                      <a:pt x="0" y="2723944"/>
                    </a:lnTo>
                    <a:cubicBezTo>
                      <a:pt x="0" y="2690802"/>
                      <a:pt x="26866" y="2663936"/>
                      <a:pt x="60008" y="2663936"/>
                    </a:cubicBezTo>
                    <a:lnTo>
                      <a:pt x="2820312" y="2663936"/>
                    </a:lnTo>
                    <a:cubicBezTo>
                      <a:pt x="2853454" y="2663936"/>
                      <a:pt x="2880320" y="2690802"/>
                      <a:pt x="2880320" y="2723944"/>
                    </a:cubicBezTo>
                    <a:lnTo>
                      <a:pt x="2880320" y="2963968"/>
                    </a:lnTo>
                    <a:cubicBezTo>
                      <a:pt x="2880320" y="2997110"/>
                      <a:pt x="2853454" y="3023976"/>
                      <a:pt x="2820312" y="3023976"/>
                    </a:cubicBezTo>
                    <a:lnTo>
                      <a:pt x="1802266" y="3023976"/>
                    </a:lnTo>
                    <a:lnTo>
                      <a:pt x="1802266" y="3138276"/>
                    </a:lnTo>
                    <a:cubicBezTo>
                      <a:pt x="1802266" y="3201402"/>
                      <a:pt x="1751092" y="3252576"/>
                      <a:pt x="1687966" y="3252576"/>
                    </a:cubicBezTo>
                    <a:close/>
                  </a:path>
                </a:pathLst>
              </a:custGeom>
              <a:solidFill>
                <a:srgbClr val="28608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46" name="Freeform 32">
                <a:extLst>
                  <a:ext uri="{FF2B5EF4-FFF2-40B4-BE49-F238E27FC236}">
                    <a16:creationId xmlns:a16="http://schemas.microsoft.com/office/drawing/2014/main" id="{F9CC61EE-2F22-43F6-97F1-8773D07BBE91}"/>
                  </a:ext>
                </a:extLst>
              </p:cNvPr>
              <p:cNvSpPr/>
              <p:nvPr/>
            </p:nvSpPr>
            <p:spPr>
              <a:xfrm>
                <a:off x="9237455" y="4216475"/>
                <a:ext cx="385170" cy="352802"/>
              </a:xfrm>
              <a:custGeom>
                <a:avLst/>
                <a:gdLst/>
                <a:ahLst/>
                <a:cxnLst/>
                <a:rect l="l" t="t" r="r" b="b"/>
                <a:pathLst>
                  <a:path w="3210745" h="2940925">
                    <a:moveTo>
                      <a:pt x="340528" y="2526682"/>
                    </a:moveTo>
                    <a:cubicBezTo>
                      <a:pt x="280875" y="2526682"/>
                      <a:pt x="232516" y="2575041"/>
                      <a:pt x="232516" y="2634694"/>
                    </a:cubicBezTo>
                    <a:cubicBezTo>
                      <a:pt x="232516" y="2694347"/>
                      <a:pt x="280875" y="2742706"/>
                      <a:pt x="340528" y="2742706"/>
                    </a:cubicBezTo>
                    <a:cubicBezTo>
                      <a:pt x="400181" y="2742706"/>
                      <a:pt x="448540" y="2694347"/>
                      <a:pt x="448540" y="2634694"/>
                    </a:cubicBezTo>
                    <a:cubicBezTo>
                      <a:pt x="448540" y="2575041"/>
                      <a:pt x="400181" y="2526682"/>
                      <a:pt x="340528" y="2526682"/>
                    </a:cubicBezTo>
                    <a:close/>
                    <a:moveTo>
                      <a:pt x="1821636" y="152"/>
                    </a:moveTo>
                    <a:cubicBezTo>
                      <a:pt x="1920275" y="-4956"/>
                      <a:pt x="2051571" y="119306"/>
                      <a:pt x="2102482" y="278737"/>
                    </a:cubicBezTo>
                    <a:cubicBezTo>
                      <a:pt x="2192513" y="649582"/>
                      <a:pt x="1575154" y="1213351"/>
                      <a:pt x="2006019" y="1236931"/>
                    </a:cubicBezTo>
                    <a:cubicBezTo>
                      <a:pt x="2310412" y="1206920"/>
                      <a:pt x="2473326" y="1176910"/>
                      <a:pt x="2803442" y="1166192"/>
                    </a:cubicBezTo>
                    <a:cubicBezTo>
                      <a:pt x="3103547" y="1170479"/>
                      <a:pt x="3152850" y="1361260"/>
                      <a:pt x="3002798" y="1564903"/>
                    </a:cubicBezTo>
                    <a:cubicBezTo>
                      <a:pt x="3191435" y="1575621"/>
                      <a:pt x="3347919" y="1869296"/>
                      <a:pt x="3022090" y="1989338"/>
                    </a:cubicBezTo>
                    <a:cubicBezTo>
                      <a:pt x="3332913" y="2182262"/>
                      <a:pt x="3154994" y="2426634"/>
                      <a:pt x="2977074" y="2471650"/>
                    </a:cubicBezTo>
                    <a:cubicBezTo>
                      <a:pt x="3127127" y="2606697"/>
                      <a:pt x="3109978" y="2709590"/>
                      <a:pt x="2957782" y="2793191"/>
                    </a:cubicBezTo>
                    <a:cubicBezTo>
                      <a:pt x="2620164" y="2932526"/>
                      <a:pt x="1747715" y="3028988"/>
                      <a:pt x="1253613" y="2818914"/>
                    </a:cubicBezTo>
                    <a:cubicBezTo>
                      <a:pt x="1018944" y="2738561"/>
                      <a:pt x="869067" y="2654318"/>
                      <a:pt x="700568" y="2648441"/>
                    </a:cubicBezTo>
                    <a:lnTo>
                      <a:pt x="700568" y="2796242"/>
                    </a:lnTo>
                    <a:cubicBezTo>
                      <a:pt x="700568" y="2860729"/>
                      <a:pt x="648291" y="2913006"/>
                      <a:pt x="583804" y="2913006"/>
                    </a:cubicBezTo>
                    <a:lnTo>
                      <a:pt x="0" y="2913006"/>
                    </a:lnTo>
                    <a:lnTo>
                      <a:pt x="0" y="1400838"/>
                    </a:lnTo>
                    <a:lnTo>
                      <a:pt x="583804" y="1400838"/>
                    </a:lnTo>
                    <a:cubicBezTo>
                      <a:pt x="648291" y="1400838"/>
                      <a:pt x="700568" y="1453115"/>
                      <a:pt x="700568" y="1517602"/>
                    </a:cubicBezTo>
                    <a:lnTo>
                      <a:pt x="700568" y="1571674"/>
                    </a:lnTo>
                    <a:cubicBezTo>
                      <a:pt x="721537" y="1568378"/>
                      <a:pt x="746526" y="1559634"/>
                      <a:pt x="784162" y="1539180"/>
                    </a:cubicBezTo>
                    <a:cubicBezTo>
                      <a:pt x="831321" y="1421281"/>
                      <a:pt x="890271" y="1323747"/>
                      <a:pt x="1034964" y="1191915"/>
                    </a:cubicBezTo>
                    <a:cubicBezTo>
                      <a:pt x="1257900" y="851081"/>
                      <a:pt x="1628744" y="677449"/>
                      <a:pt x="1703770" y="169413"/>
                    </a:cubicBezTo>
                    <a:cubicBezTo>
                      <a:pt x="1715024" y="52855"/>
                      <a:pt x="1762452" y="3217"/>
                      <a:pt x="1821636" y="152"/>
                    </a:cubicBezTo>
                    <a:close/>
                  </a:path>
                </a:pathLst>
              </a:custGeom>
              <a:solidFill>
                <a:srgbClr val="3282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47" name="Rounded Rectangle 10">
                <a:extLst>
                  <a:ext uri="{FF2B5EF4-FFF2-40B4-BE49-F238E27FC236}">
                    <a16:creationId xmlns:a16="http://schemas.microsoft.com/office/drawing/2014/main" id="{3EE48C52-F3ED-4BE5-97FA-FC7A31FD7A36}"/>
                  </a:ext>
                </a:extLst>
              </p:cNvPr>
              <p:cNvSpPr/>
              <p:nvPr/>
            </p:nvSpPr>
            <p:spPr>
              <a:xfrm>
                <a:off x="7625603" y="3662090"/>
                <a:ext cx="239919" cy="317505"/>
              </a:xfrm>
              <a:custGeom>
                <a:avLst/>
                <a:gdLst/>
                <a:ahLst/>
                <a:cxnLst/>
                <a:rect l="l" t="t" r="r" b="b"/>
                <a:pathLst>
                  <a:path w="2448272" h="3240000">
                    <a:moveTo>
                      <a:pt x="1358676" y="2676152"/>
                    </a:moveTo>
                    <a:cubicBezTo>
                      <a:pt x="1327753" y="2676152"/>
                      <a:pt x="1302685" y="2701220"/>
                      <a:pt x="1302685" y="2732143"/>
                    </a:cubicBezTo>
                    <a:lnTo>
                      <a:pt x="1302685" y="2956101"/>
                    </a:lnTo>
                    <a:cubicBezTo>
                      <a:pt x="1302685" y="2987024"/>
                      <a:pt x="1327753" y="3012092"/>
                      <a:pt x="1358676" y="3012092"/>
                    </a:cubicBezTo>
                    <a:lnTo>
                      <a:pt x="1582634" y="3012092"/>
                    </a:lnTo>
                    <a:cubicBezTo>
                      <a:pt x="1613557" y="3012092"/>
                      <a:pt x="1638625" y="2987024"/>
                      <a:pt x="1638625" y="2956101"/>
                    </a:cubicBezTo>
                    <a:lnTo>
                      <a:pt x="1638625" y="2732143"/>
                    </a:lnTo>
                    <a:cubicBezTo>
                      <a:pt x="1638625" y="2701220"/>
                      <a:pt x="1613557" y="2676152"/>
                      <a:pt x="1582634" y="2676152"/>
                    </a:cubicBezTo>
                    <a:close/>
                    <a:moveTo>
                      <a:pt x="837062" y="2676152"/>
                    </a:moveTo>
                    <a:cubicBezTo>
                      <a:pt x="806139" y="2676152"/>
                      <a:pt x="781071" y="2701220"/>
                      <a:pt x="781071" y="2732143"/>
                    </a:cubicBezTo>
                    <a:lnTo>
                      <a:pt x="781071" y="2956101"/>
                    </a:lnTo>
                    <a:cubicBezTo>
                      <a:pt x="781071" y="2987024"/>
                      <a:pt x="806139" y="3012092"/>
                      <a:pt x="837062" y="3012092"/>
                    </a:cubicBezTo>
                    <a:lnTo>
                      <a:pt x="1061020" y="3012092"/>
                    </a:lnTo>
                    <a:cubicBezTo>
                      <a:pt x="1091943" y="3012092"/>
                      <a:pt x="1117011" y="2987024"/>
                      <a:pt x="1117011" y="2956101"/>
                    </a:cubicBezTo>
                    <a:lnTo>
                      <a:pt x="1117011" y="2732143"/>
                    </a:lnTo>
                    <a:cubicBezTo>
                      <a:pt x="1117011" y="2701220"/>
                      <a:pt x="1091943" y="2676152"/>
                      <a:pt x="1061020" y="2676152"/>
                    </a:cubicBezTo>
                    <a:close/>
                    <a:moveTo>
                      <a:pt x="315448" y="2676152"/>
                    </a:moveTo>
                    <a:cubicBezTo>
                      <a:pt x="284525" y="2676152"/>
                      <a:pt x="259457" y="2701220"/>
                      <a:pt x="259457" y="2732143"/>
                    </a:cubicBezTo>
                    <a:lnTo>
                      <a:pt x="259457" y="2956101"/>
                    </a:lnTo>
                    <a:cubicBezTo>
                      <a:pt x="259457" y="2987024"/>
                      <a:pt x="284525" y="3012092"/>
                      <a:pt x="315448" y="3012092"/>
                    </a:cubicBezTo>
                    <a:lnTo>
                      <a:pt x="539406" y="3012092"/>
                    </a:lnTo>
                    <a:cubicBezTo>
                      <a:pt x="570329" y="3012092"/>
                      <a:pt x="595397" y="2987024"/>
                      <a:pt x="595397" y="2956101"/>
                    </a:cubicBezTo>
                    <a:lnTo>
                      <a:pt x="595397" y="2732143"/>
                    </a:lnTo>
                    <a:cubicBezTo>
                      <a:pt x="595397" y="2701220"/>
                      <a:pt x="570329" y="2676152"/>
                      <a:pt x="539406" y="2676152"/>
                    </a:cubicBezTo>
                    <a:close/>
                    <a:moveTo>
                      <a:pt x="1880291" y="2179832"/>
                    </a:moveTo>
                    <a:cubicBezTo>
                      <a:pt x="1849368" y="2179832"/>
                      <a:pt x="1824300" y="2204900"/>
                      <a:pt x="1824300" y="2235823"/>
                    </a:cubicBezTo>
                    <a:lnTo>
                      <a:pt x="1824300" y="2956101"/>
                    </a:lnTo>
                    <a:cubicBezTo>
                      <a:pt x="1824300" y="2987024"/>
                      <a:pt x="1849368" y="3012092"/>
                      <a:pt x="1880291" y="3012092"/>
                    </a:cubicBezTo>
                    <a:lnTo>
                      <a:pt x="2104249" y="3012092"/>
                    </a:lnTo>
                    <a:cubicBezTo>
                      <a:pt x="2135172" y="3012092"/>
                      <a:pt x="2160240" y="2987024"/>
                      <a:pt x="2160240" y="2956101"/>
                    </a:cubicBezTo>
                    <a:lnTo>
                      <a:pt x="2160240" y="2235823"/>
                    </a:lnTo>
                    <a:cubicBezTo>
                      <a:pt x="2160240" y="2204900"/>
                      <a:pt x="2135172" y="2179832"/>
                      <a:pt x="2104249" y="2179832"/>
                    </a:cubicBezTo>
                    <a:close/>
                    <a:moveTo>
                      <a:pt x="1358676" y="2179832"/>
                    </a:moveTo>
                    <a:cubicBezTo>
                      <a:pt x="1327753" y="2179832"/>
                      <a:pt x="1302685" y="2204900"/>
                      <a:pt x="1302685" y="2235823"/>
                    </a:cubicBezTo>
                    <a:lnTo>
                      <a:pt x="1302685" y="2459781"/>
                    </a:lnTo>
                    <a:cubicBezTo>
                      <a:pt x="1302685" y="2490704"/>
                      <a:pt x="1327753" y="2515772"/>
                      <a:pt x="1358676" y="2515772"/>
                    </a:cubicBezTo>
                    <a:lnTo>
                      <a:pt x="1582634" y="2515772"/>
                    </a:lnTo>
                    <a:cubicBezTo>
                      <a:pt x="1613557" y="2515772"/>
                      <a:pt x="1638625" y="2490704"/>
                      <a:pt x="1638625" y="2459781"/>
                    </a:cubicBezTo>
                    <a:lnTo>
                      <a:pt x="1638625" y="2235823"/>
                    </a:lnTo>
                    <a:cubicBezTo>
                      <a:pt x="1638625" y="2204900"/>
                      <a:pt x="1613557" y="2179832"/>
                      <a:pt x="1582634" y="2179832"/>
                    </a:cubicBezTo>
                    <a:close/>
                    <a:moveTo>
                      <a:pt x="837062" y="2179832"/>
                    </a:moveTo>
                    <a:cubicBezTo>
                      <a:pt x="806139" y="2179832"/>
                      <a:pt x="781071" y="2204900"/>
                      <a:pt x="781071" y="2235823"/>
                    </a:cubicBezTo>
                    <a:lnTo>
                      <a:pt x="781071" y="2459781"/>
                    </a:lnTo>
                    <a:cubicBezTo>
                      <a:pt x="781071" y="2490704"/>
                      <a:pt x="806139" y="2515772"/>
                      <a:pt x="837062" y="2515772"/>
                    </a:cubicBezTo>
                    <a:lnTo>
                      <a:pt x="1061020" y="2515772"/>
                    </a:lnTo>
                    <a:cubicBezTo>
                      <a:pt x="1091943" y="2515772"/>
                      <a:pt x="1117011" y="2490704"/>
                      <a:pt x="1117011" y="2459781"/>
                    </a:cubicBezTo>
                    <a:lnTo>
                      <a:pt x="1117011" y="2235823"/>
                    </a:lnTo>
                    <a:cubicBezTo>
                      <a:pt x="1117011" y="2204900"/>
                      <a:pt x="1091943" y="2179832"/>
                      <a:pt x="1061020" y="2179832"/>
                    </a:cubicBezTo>
                    <a:close/>
                    <a:moveTo>
                      <a:pt x="315448" y="2179832"/>
                    </a:moveTo>
                    <a:cubicBezTo>
                      <a:pt x="284525" y="2179832"/>
                      <a:pt x="259457" y="2204900"/>
                      <a:pt x="259457" y="2235823"/>
                    </a:cubicBezTo>
                    <a:lnTo>
                      <a:pt x="259457" y="2459781"/>
                    </a:lnTo>
                    <a:cubicBezTo>
                      <a:pt x="259457" y="2490704"/>
                      <a:pt x="284525" y="2515772"/>
                      <a:pt x="315448" y="2515772"/>
                    </a:cubicBezTo>
                    <a:lnTo>
                      <a:pt x="539406" y="2515772"/>
                    </a:lnTo>
                    <a:cubicBezTo>
                      <a:pt x="570329" y="2515772"/>
                      <a:pt x="595397" y="2490704"/>
                      <a:pt x="595397" y="2459781"/>
                    </a:cubicBezTo>
                    <a:lnTo>
                      <a:pt x="595397" y="2235823"/>
                    </a:lnTo>
                    <a:cubicBezTo>
                      <a:pt x="595397" y="2204900"/>
                      <a:pt x="570329" y="2179832"/>
                      <a:pt x="539406" y="2179832"/>
                    </a:cubicBezTo>
                    <a:close/>
                    <a:moveTo>
                      <a:pt x="1880291" y="1683512"/>
                    </a:moveTo>
                    <a:cubicBezTo>
                      <a:pt x="1849368" y="1683512"/>
                      <a:pt x="1824300" y="1708580"/>
                      <a:pt x="1824300" y="1739503"/>
                    </a:cubicBezTo>
                    <a:lnTo>
                      <a:pt x="1824300" y="1963461"/>
                    </a:lnTo>
                    <a:cubicBezTo>
                      <a:pt x="1824300" y="1994384"/>
                      <a:pt x="1849368" y="2019452"/>
                      <a:pt x="1880291" y="2019452"/>
                    </a:cubicBezTo>
                    <a:lnTo>
                      <a:pt x="2104249" y="2019452"/>
                    </a:lnTo>
                    <a:cubicBezTo>
                      <a:pt x="2135172" y="2019452"/>
                      <a:pt x="2160240" y="1994384"/>
                      <a:pt x="2160240" y="1963461"/>
                    </a:cubicBezTo>
                    <a:lnTo>
                      <a:pt x="2160240" y="1739503"/>
                    </a:lnTo>
                    <a:cubicBezTo>
                      <a:pt x="2160240" y="1708580"/>
                      <a:pt x="2135172" y="1683512"/>
                      <a:pt x="2104249" y="1683512"/>
                    </a:cubicBezTo>
                    <a:close/>
                    <a:moveTo>
                      <a:pt x="1358676" y="1683512"/>
                    </a:moveTo>
                    <a:cubicBezTo>
                      <a:pt x="1327753" y="1683512"/>
                      <a:pt x="1302685" y="1708580"/>
                      <a:pt x="1302685" y="1739503"/>
                    </a:cubicBezTo>
                    <a:lnTo>
                      <a:pt x="1302685" y="1963461"/>
                    </a:lnTo>
                    <a:cubicBezTo>
                      <a:pt x="1302685" y="1994384"/>
                      <a:pt x="1327753" y="2019452"/>
                      <a:pt x="1358676" y="2019452"/>
                    </a:cubicBezTo>
                    <a:lnTo>
                      <a:pt x="1582634" y="2019452"/>
                    </a:lnTo>
                    <a:cubicBezTo>
                      <a:pt x="1613557" y="2019452"/>
                      <a:pt x="1638625" y="1994384"/>
                      <a:pt x="1638625" y="1963461"/>
                    </a:cubicBezTo>
                    <a:lnTo>
                      <a:pt x="1638625" y="1739503"/>
                    </a:lnTo>
                    <a:cubicBezTo>
                      <a:pt x="1638625" y="1708580"/>
                      <a:pt x="1613557" y="1683512"/>
                      <a:pt x="1582634" y="1683512"/>
                    </a:cubicBezTo>
                    <a:close/>
                    <a:moveTo>
                      <a:pt x="837062" y="1683512"/>
                    </a:moveTo>
                    <a:cubicBezTo>
                      <a:pt x="806139" y="1683512"/>
                      <a:pt x="781071" y="1708580"/>
                      <a:pt x="781071" y="1739503"/>
                    </a:cubicBezTo>
                    <a:lnTo>
                      <a:pt x="781071" y="1963461"/>
                    </a:lnTo>
                    <a:cubicBezTo>
                      <a:pt x="781071" y="1994384"/>
                      <a:pt x="806139" y="2019452"/>
                      <a:pt x="837062" y="2019452"/>
                    </a:cubicBezTo>
                    <a:lnTo>
                      <a:pt x="1061020" y="2019452"/>
                    </a:lnTo>
                    <a:cubicBezTo>
                      <a:pt x="1091943" y="2019452"/>
                      <a:pt x="1117011" y="1994384"/>
                      <a:pt x="1117011" y="1963461"/>
                    </a:cubicBezTo>
                    <a:lnTo>
                      <a:pt x="1117011" y="1739503"/>
                    </a:lnTo>
                    <a:cubicBezTo>
                      <a:pt x="1117011" y="1708580"/>
                      <a:pt x="1091943" y="1683512"/>
                      <a:pt x="1061020" y="1683512"/>
                    </a:cubicBezTo>
                    <a:close/>
                    <a:moveTo>
                      <a:pt x="315448" y="1683512"/>
                    </a:moveTo>
                    <a:cubicBezTo>
                      <a:pt x="284525" y="1683512"/>
                      <a:pt x="259457" y="1708580"/>
                      <a:pt x="259457" y="1739503"/>
                    </a:cubicBezTo>
                    <a:lnTo>
                      <a:pt x="259457" y="1963461"/>
                    </a:lnTo>
                    <a:cubicBezTo>
                      <a:pt x="259457" y="1994384"/>
                      <a:pt x="284525" y="2019452"/>
                      <a:pt x="315448" y="2019452"/>
                    </a:cubicBezTo>
                    <a:lnTo>
                      <a:pt x="539406" y="2019452"/>
                    </a:lnTo>
                    <a:cubicBezTo>
                      <a:pt x="570329" y="2019452"/>
                      <a:pt x="595397" y="1994384"/>
                      <a:pt x="595397" y="1963461"/>
                    </a:cubicBezTo>
                    <a:lnTo>
                      <a:pt x="595397" y="1739503"/>
                    </a:lnTo>
                    <a:cubicBezTo>
                      <a:pt x="595397" y="1708580"/>
                      <a:pt x="570329" y="1683512"/>
                      <a:pt x="539406" y="1683512"/>
                    </a:cubicBezTo>
                    <a:close/>
                    <a:moveTo>
                      <a:pt x="1880291" y="1187192"/>
                    </a:moveTo>
                    <a:cubicBezTo>
                      <a:pt x="1849368" y="1187192"/>
                      <a:pt x="1824300" y="1212260"/>
                      <a:pt x="1824300" y="1243183"/>
                    </a:cubicBezTo>
                    <a:lnTo>
                      <a:pt x="1824300" y="1467141"/>
                    </a:lnTo>
                    <a:cubicBezTo>
                      <a:pt x="1824300" y="1498064"/>
                      <a:pt x="1849368" y="1523132"/>
                      <a:pt x="1880291" y="1523132"/>
                    </a:cubicBezTo>
                    <a:lnTo>
                      <a:pt x="2104249" y="1523132"/>
                    </a:lnTo>
                    <a:cubicBezTo>
                      <a:pt x="2135172" y="1523132"/>
                      <a:pt x="2160240" y="1498064"/>
                      <a:pt x="2160240" y="1467141"/>
                    </a:cubicBezTo>
                    <a:lnTo>
                      <a:pt x="2160240" y="1243183"/>
                    </a:lnTo>
                    <a:cubicBezTo>
                      <a:pt x="2160240" y="1212260"/>
                      <a:pt x="2135172" y="1187192"/>
                      <a:pt x="2104249" y="1187192"/>
                    </a:cubicBezTo>
                    <a:close/>
                    <a:moveTo>
                      <a:pt x="1358676" y="1187192"/>
                    </a:moveTo>
                    <a:cubicBezTo>
                      <a:pt x="1327753" y="1187192"/>
                      <a:pt x="1302685" y="1212260"/>
                      <a:pt x="1302685" y="1243183"/>
                    </a:cubicBezTo>
                    <a:lnTo>
                      <a:pt x="1302685" y="1467141"/>
                    </a:lnTo>
                    <a:cubicBezTo>
                      <a:pt x="1302685" y="1498064"/>
                      <a:pt x="1327753" y="1523132"/>
                      <a:pt x="1358676" y="1523132"/>
                    </a:cubicBezTo>
                    <a:lnTo>
                      <a:pt x="1582634" y="1523132"/>
                    </a:lnTo>
                    <a:cubicBezTo>
                      <a:pt x="1613557" y="1523132"/>
                      <a:pt x="1638625" y="1498064"/>
                      <a:pt x="1638625" y="1467141"/>
                    </a:cubicBezTo>
                    <a:lnTo>
                      <a:pt x="1638625" y="1243183"/>
                    </a:lnTo>
                    <a:cubicBezTo>
                      <a:pt x="1638625" y="1212260"/>
                      <a:pt x="1613557" y="1187192"/>
                      <a:pt x="1582634" y="1187192"/>
                    </a:cubicBezTo>
                    <a:close/>
                    <a:moveTo>
                      <a:pt x="837062" y="1187192"/>
                    </a:moveTo>
                    <a:cubicBezTo>
                      <a:pt x="806139" y="1187192"/>
                      <a:pt x="781071" y="1212260"/>
                      <a:pt x="781071" y="1243183"/>
                    </a:cubicBezTo>
                    <a:lnTo>
                      <a:pt x="781071" y="1467141"/>
                    </a:lnTo>
                    <a:cubicBezTo>
                      <a:pt x="781071" y="1498064"/>
                      <a:pt x="806139" y="1523132"/>
                      <a:pt x="837062" y="1523132"/>
                    </a:cubicBezTo>
                    <a:lnTo>
                      <a:pt x="1061020" y="1523132"/>
                    </a:lnTo>
                    <a:cubicBezTo>
                      <a:pt x="1091943" y="1523132"/>
                      <a:pt x="1117011" y="1498064"/>
                      <a:pt x="1117011" y="1467141"/>
                    </a:cubicBezTo>
                    <a:lnTo>
                      <a:pt x="1117011" y="1243183"/>
                    </a:lnTo>
                    <a:cubicBezTo>
                      <a:pt x="1117011" y="1212260"/>
                      <a:pt x="1091943" y="1187192"/>
                      <a:pt x="1061020" y="1187192"/>
                    </a:cubicBezTo>
                    <a:close/>
                    <a:moveTo>
                      <a:pt x="315448" y="1187192"/>
                    </a:moveTo>
                    <a:cubicBezTo>
                      <a:pt x="284525" y="1187192"/>
                      <a:pt x="259457" y="1212260"/>
                      <a:pt x="259457" y="1243183"/>
                    </a:cubicBezTo>
                    <a:lnTo>
                      <a:pt x="259457" y="1467141"/>
                    </a:lnTo>
                    <a:cubicBezTo>
                      <a:pt x="259457" y="1498064"/>
                      <a:pt x="284525" y="1523132"/>
                      <a:pt x="315448" y="1523132"/>
                    </a:cubicBezTo>
                    <a:lnTo>
                      <a:pt x="539406" y="1523132"/>
                    </a:lnTo>
                    <a:cubicBezTo>
                      <a:pt x="570329" y="1523132"/>
                      <a:pt x="595397" y="1498064"/>
                      <a:pt x="595397" y="1467141"/>
                    </a:cubicBezTo>
                    <a:lnTo>
                      <a:pt x="595397" y="1243183"/>
                    </a:lnTo>
                    <a:cubicBezTo>
                      <a:pt x="595397" y="1212260"/>
                      <a:pt x="570329" y="1187192"/>
                      <a:pt x="539406" y="1187192"/>
                    </a:cubicBezTo>
                    <a:close/>
                    <a:moveTo>
                      <a:pt x="348041" y="163575"/>
                    </a:moveTo>
                    <a:cubicBezTo>
                      <a:pt x="275130" y="163575"/>
                      <a:pt x="216024" y="222681"/>
                      <a:pt x="216024" y="295592"/>
                    </a:cubicBezTo>
                    <a:lnTo>
                      <a:pt x="216024" y="823646"/>
                    </a:lnTo>
                    <a:cubicBezTo>
                      <a:pt x="216024" y="896557"/>
                      <a:pt x="275130" y="955663"/>
                      <a:pt x="348041" y="955663"/>
                    </a:cubicBezTo>
                    <a:lnTo>
                      <a:pt x="2100231" y="955663"/>
                    </a:lnTo>
                    <a:cubicBezTo>
                      <a:pt x="2173142" y="955663"/>
                      <a:pt x="2232248" y="896557"/>
                      <a:pt x="2232248" y="823646"/>
                    </a:cubicBezTo>
                    <a:lnTo>
                      <a:pt x="2232248" y="295592"/>
                    </a:lnTo>
                    <a:cubicBezTo>
                      <a:pt x="2232248" y="222681"/>
                      <a:pt x="2173142" y="163575"/>
                      <a:pt x="2100231" y="163575"/>
                    </a:cubicBezTo>
                    <a:close/>
                    <a:moveTo>
                      <a:pt x="265172" y="0"/>
                    </a:moveTo>
                    <a:lnTo>
                      <a:pt x="2183100" y="0"/>
                    </a:lnTo>
                    <a:cubicBezTo>
                      <a:pt x="2329550" y="0"/>
                      <a:pt x="2448272" y="118722"/>
                      <a:pt x="2448272" y="265172"/>
                    </a:cubicBezTo>
                    <a:lnTo>
                      <a:pt x="2448272" y="2974828"/>
                    </a:lnTo>
                    <a:cubicBezTo>
                      <a:pt x="2448272" y="3121278"/>
                      <a:pt x="2329550" y="3240000"/>
                      <a:pt x="2183100" y="3240000"/>
                    </a:cubicBezTo>
                    <a:lnTo>
                      <a:pt x="265172" y="3240000"/>
                    </a:lnTo>
                    <a:cubicBezTo>
                      <a:pt x="118722" y="3240000"/>
                      <a:pt x="0" y="3121278"/>
                      <a:pt x="0" y="2974828"/>
                    </a:cubicBezTo>
                    <a:lnTo>
                      <a:pt x="0" y="265172"/>
                    </a:lnTo>
                    <a:cubicBezTo>
                      <a:pt x="0" y="118722"/>
                      <a:pt x="118722" y="0"/>
                      <a:pt x="265172" y="0"/>
                    </a:cubicBezTo>
                    <a:close/>
                  </a:path>
                </a:pathLst>
              </a:custGeom>
              <a:solidFill>
                <a:srgbClr val="28608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48" name="Trapezoid 13">
                <a:extLst>
                  <a:ext uri="{FF2B5EF4-FFF2-40B4-BE49-F238E27FC236}">
                    <a16:creationId xmlns:a16="http://schemas.microsoft.com/office/drawing/2014/main" id="{85CA01E2-704C-4B39-BD1E-1DE302F0F461}"/>
                  </a:ext>
                </a:extLst>
              </p:cNvPr>
              <p:cNvSpPr/>
              <p:nvPr/>
            </p:nvSpPr>
            <p:spPr>
              <a:xfrm>
                <a:off x="9118801" y="2156906"/>
                <a:ext cx="341564" cy="288813"/>
              </a:xfrm>
              <a:custGeom>
                <a:avLst/>
                <a:gdLst/>
                <a:ahLst/>
                <a:cxnLst/>
                <a:rect l="l" t="t" r="r" b="b"/>
                <a:pathLst>
                  <a:path w="2736304" h="2313707">
                    <a:moveTo>
                      <a:pt x="1046195" y="1945901"/>
                    </a:moveTo>
                    <a:lnTo>
                      <a:pt x="998316" y="2093032"/>
                    </a:lnTo>
                    <a:lnTo>
                      <a:pt x="1737988" y="2093032"/>
                    </a:lnTo>
                    <a:lnTo>
                      <a:pt x="1690109" y="1945901"/>
                    </a:lnTo>
                    <a:close/>
                    <a:moveTo>
                      <a:pt x="396044" y="89541"/>
                    </a:moveTo>
                    <a:lnTo>
                      <a:pt x="396044" y="1241668"/>
                    </a:lnTo>
                    <a:lnTo>
                      <a:pt x="2340260" y="1241668"/>
                    </a:lnTo>
                    <a:lnTo>
                      <a:pt x="2340260" y="89541"/>
                    </a:lnTo>
                    <a:close/>
                    <a:moveTo>
                      <a:pt x="252028" y="0"/>
                    </a:moveTo>
                    <a:lnTo>
                      <a:pt x="2484276" y="0"/>
                    </a:lnTo>
                    <a:lnTo>
                      <a:pt x="2484276" y="1331208"/>
                    </a:lnTo>
                    <a:lnTo>
                      <a:pt x="2484679" y="1331208"/>
                    </a:lnTo>
                    <a:lnTo>
                      <a:pt x="2736304" y="2195304"/>
                    </a:lnTo>
                    <a:lnTo>
                      <a:pt x="2736304" y="2313707"/>
                    </a:lnTo>
                    <a:lnTo>
                      <a:pt x="0" y="2313707"/>
                    </a:lnTo>
                    <a:lnTo>
                      <a:pt x="0" y="2195304"/>
                    </a:lnTo>
                    <a:lnTo>
                      <a:pt x="251625" y="1331208"/>
                    </a:lnTo>
                    <a:lnTo>
                      <a:pt x="252028" y="1331208"/>
                    </a:lnTo>
                    <a:close/>
                  </a:path>
                </a:pathLst>
              </a:custGeom>
              <a:solidFill>
                <a:srgbClr val="28608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49" name="Rectangle 18">
                <a:extLst>
                  <a:ext uri="{FF2B5EF4-FFF2-40B4-BE49-F238E27FC236}">
                    <a16:creationId xmlns:a16="http://schemas.microsoft.com/office/drawing/2014/main" id="{A4C06303-3F52-4281-80BF-F613630C9D35}"/>
                  </a:ext>
                </a:extLst>
              </p:cNvPr>
              <p:cNvSpPr/>
              <p:nvPr/>
            </p:nvSpPr>
            <p:spPr>
              <a:xfrm>
                <a:off x="9828467" y="2970130"/>
                <a:ext cx="316558" cy="251512"/>
              </a:xfrm>
              <a:custGeom>
                <a:avLst/>
                <a:gdLst/>
                <a:ahLst/>
                <a:cxnLst/>
                <a:rect l="l" t="t" r="r" b="b"/>
                <a:pathLst>
                  <a:path w="3240000" h="2574247">
                    <a:moveTo>
                      <a:pt x="2393400" y="1814089"/>
                    </a:moveTo>
                    <a:cubicBezTo>
                      <a:pt x="2363577" y="1814089"/>
                      <a:pt x="2339400" y="1838266"/>
                      <a:pt x="2339400" y="1868089"/>
                    </a:cubicBezTo>
                    <a:cubicBezTo>
                      <a:pt x="2339400" y="1897912"/>
                      <a:pt x="2363577" y="1922089"/>
                      <a:pt x="2393400" y="1922089"/>
                    </a:cubicBezTo>
                    <a:lnTo>
                      <a:pt x="2573400" y="1922089"/>
                    </a:lnTo>
                    <a:cubicBezTo>
                      <a:pt x="2603223" y="1922089"/>
                      <a:pt x="2627400" y="1897912"/>
                      <a:pt x="2627400" y="1868089"/>
                    </a:cubicBezTo>
                    <a:cubicBezTo>
                      <a:pt x="2627400" y="1838266"/>
                      <a:pt x="2603223" y="1814089"/>
                      <a:pt x="2573400" y="1814089"/>
                    </a:cubicBezTo>
                    <a:close/>
                    <a:moveTo>
                      <a:pt x="173344" y="1814089"/>
                    </a:moveTo>
                    <a:cubicBezTo>
                      <a:pt x="143521" y="1814089"/>
                      <a:pt x="119344" y="1838266"/>
                      <a:pt x="119344" y="1868089"/>
                    </a:cubicBezTo>
                    <a:cubicBezTo>
                      <a:pt x="119344" y="1897912"/>
                      <a:pt x="143521" y="1922089"/>
                      <a:pt x="173344" y="1922089"/>
                    </a:cubicBezTo>
                    <a:lnTo>
                      <a:pt x="353344" y="1922089"/>
                    </a:lnTo>
                    <a:cubicBezTo>
                      <a:pt x="383167" y="1922089"/>
                      <a:pt x="407344" y="1897912"/>
                      <a:pt x="407344" y="1868089"/>
                    </a:cubicBezTo>
                    <a:cubicBezTo>
                      <a:pt x="407344" y="1838266"/>
                      <a:pt x="383167" y="1814089"/>
                      <a:pt x="353344" y="1814089"/>
                    </a:cubicBezTo>
                    <a:close/>
                    <a:moveTo>
                      <a:pt x="2933496" y="1796081"/>
                    </a:moveTo>
                    <a:cubicBezTo>
                      <a:pt x="2893727" y="1796081"/>
                      <a:pt x="2861488" y="1828320"/>
                      <a:pt x="2861488" y="1868089"/>
                    </a:cubicBezTo>
                    <a:cubicBezTo>
                      <a:pt x="2861488" y="1907858"/>
                      <a:pt x="2893727" y="1940097"/>
                      <a:pt x="2933496" y="1940097"/>
                    </a:cubicBezTo>
                    <a:cubicBezTo>
                      <a:pt x="2973265" y="1940097"/>
                      <a:pt x="3005504" y="1907858"/>
                      <a:pt x="3005504" y="1868089"/>
                    </a:cubicBezTo>
                    <a:cubicBezTo>
                      <a:pt x="3005504" y="1828320"/>
                      <a:pt x="2973265" y="1796081"/>
                      <a:pt x="2933496" y="1796081"/>
                    </a:cubicBezTo>
                    <a:close/>
                    <a:moveTo>
                      <a:pt x="119344" y="122856"/>
                    </a:moveTo>
                    <a:lnTo>
                      <a:pt x="119344" y="1728192"/>
                    </a:lnTo>
                    <a:lnTo>
                      <a:pt x="3120656" y="1728192"/>
                    </a:lnTo>
                    <a:lnTo>
                      <a:pt x="3120656" y="122856"/>
                    </a:lnTo>
                    <a:close/>
                    <a:moveTo>
                      <a:pt x="0" y="0"/>
                    </a:moveTo>
                    <a:lnTo>
                      <a:pt x="3240000" y="0"/>
                    </a:lnTo>
                    <a:lnTo>
                      <a:pt x="3240000" y="2016224"/>
                    </a:lnTo>
                    <a:lnTo>
                      <a:pt x="1812079" y="2016224"/>
                    </a:lnTo>
                    <a:lnTo>
                      <a:pt x="1857107" y="2320159"/>
                    </a:lnTo>
                    <a:lnTo>
                      <a:pt x="2357140" y="2320159"/>
                    </a:lnTo>
                    <a:cubicBezTo>
                      <a:pt x="2427304" y="2320159"/>
                      <a:pt x="2484184" y="2377039"/>
                      <a:pt x="2484184" y="2447203"/>
                    </a:cubicBezTo>
                    <a:lnTo>
                      <a:pt x="2484184" y="2574247"/>
                    </a:lnTo>
                    <a:lnTo>
                      <a:pt x="755992" y="2574247"/>
                    </a:lnTo>
                    <a:lnTo>
                      <a:pt x="755992" y="2447203"/>
                    </a:lnTo>
                    <a:cubicBezTo>
                      <a:pt x="755992" y="2377039"/>
                      <a:pt x="812872" y="2320159"/>
                      <a:pt x="883036" y="2320159"/>
                    </a:cubicBezTo>
                    <a:lnTo>
                      <a:pt x="1382894" y="2320159"/>
                    </a:lnTo>
                    <a:lnTo>
                      <a:pt x="1427922" y="2016224"/>
                    </a:lnTo>
                    <a:lnTo>
                      <a:pt x="0" y="2016224"/>
                    </a:lnTo>
                    <a:close/>
                  </a:path>
                </a:pathLst>
              </a:custGeom>
              <a:solidFill>
                <a:srgbClr val="28608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52" name="Rectangle 9">
                <a:extLst>
                  <a:ext uri="{FF2B5EF4-FFF2-40B4-BE49-F238E27FC236}">
                    <a16:creationId xmlns:a16="http://schemas.microsoft.com/office/drawing/2014/main" id="{5249428B-E686-4FCF-9E06-5C1562620506}"/>
                  </a:ext>
                </a:extLst>
              </p:cNvPr>
              <p:cNvSpPr/>
              <p:nvPr/>
            </p:nvSpPr>
            <p:spPr>
              <a:xfrm>
                <a:off x="8809277" y="4424036"/>
                <a:ext cx="339946" cy="318220"/>
              </a:xfrm>
              <a:custGeom>
                <a:avLst/>
                <a:gdLst>
                  <a:gd name="connsiteX0" fmla="*/ 833935 w 3239999"/>
                  <a:gd name="connsiteY0" fmla="*/ 22 h 3032924"/>
                  <a:gd name="connsiteX1" fmla="*/ 1576606 w 3239999"/>
                  <a:gd name="connsiteY1" fmla="*/ 402054 h 3032924"/>
                  <a:gd name="connsiteX2" fmla="*/ 1576606 w 3239999"/>
                  <a:gd name="connsiteY2" fmla="*/ 430441 h 3032924"/>
                  <a:gd name="connsiteX3" fmla="*/ 1576606 w 3239999"/>
                  <a:gd name="connsiteY3" fmla="*/ 526981 h 3032924"/>
                  <a:gd name="connsiteX4" fmla="*/ 1576606 w 3239999"/>
                  <a:gd name="connsiteY4" fmla="*/ 2765302 h 3032924"/>
                  <a:gd name="connsiteX5" fmla="*/ 378630 w 3239999"/>
                  <a:gd name="connsiteY5" fmla="*/ 2472117 h 3032924"/>
                  <a:gd name="connsiteX6" fmla="*/ 384918 w 3239999"/>
                  <a:gd name="connsiteY6" fmla="*/ 526981 h 3032924"/>
                  <a:gd name="connsiteX7" fmla="*/ 239143 w 3239999"/>
                  <a:gd name="connsiteY7" fmla="*/ 526981 h 3032924"/>
                  <a:gd name="connsiteX8" fmla="*/ 239143 w 3239999"/>
                  <a:gd name="connsiteY8" fmla="*/ 2776423 h 3032924"/>
                  <a:gd name="connsiteX9" fmla="*/ 1576606 w 3239999"/>
                  <a:gd name="connsiteY9" fmla="*/ 2776423 h 3032924"/>
                  <a:gd name="connsiteX10" fmla="*/ 1576606 w 3239999"/>
                  <a:gd name="connsiteY10" fmla="*/ 2778202 h 3032924"/>
                  <a:gd name="connsiteX11" fmla="*/ 1663394 w 3239999"/>
                  <a:gd name="connsiteY11" fmla="*/ 2778202 h 3032924"/>
                  <a:gd name="connsiteX12" fmla="*/ 1663394 w 3239999"/>
                  <a:gd name="connsiteY12" fmla="*/ 2776423 h 3032924"/>
                  <a:gd name="connsiteX13" fmla="*/ 3000856 w 3239999"/>
                  <a:gd name="connsiteY13" fmla="*/ 2776423 h 3032924"/>
                  <a:gd name="connsiteX14" fmla="*/ 3000856 w 3239999"/>
                  <a:gd name="connsiteY14" fmla="*/ 526981 h 3032924"/>
                  <a:gd name="connsiteX15" fmla="*/ 2855082 w 3239999"/>
                  <a:gd name="connsiteY15" fmla="*/ 526981 h 3032924"/>
                  <a:gd name="connsiteX16" fmla="*/ 2861369 w 3239999"/>
                  <a:gd name="connsiteY16" fmla="*/ 2472117 h 3032924"/>
                  <a:gd name="connsiteX17" fmla="*/ 1663394 w 3239999"/>
                  <a:gd name="connsiteY17" fmla="*/ 2765302 h 3032924"/>
                  <a:gd name="connsiteX18" fmla="*/ 1663394 w 3239999"/>
                  <a:gd name="connsiteY18" fmla="*/ 526981 h 3032924"/>
                  <a:gd name="connsiteX19" fmla="*/ 1663394 w 3239999"/>
                  <a:gd name="connsiteY19" fmla="*/ 430441 h 3032924"/>
                  <a:gd name="connsiteX20" fmla="*/ 1663394 w 3239999"/>
                  <a:gd name="connsiteY20" fmla="*/ 402054 h 3032924"/>
                  <a:gd name="connsiteX21" fmla="*/ 2406065 w 3239999"/>
                  <a:gd name="connsiteY21" fmla="*/ 22 h 3032924"/>
                  <a:gd name="connsiteX22" fmla="*/ 2853673 w 3239999"/>
                  <a:gd name="connsiteY22" fmla="*/ 91100 h 3032924"/>
                  <a:gd name="connsiteX23" fmla="*/ 2854770 w 3239999"/>
                  <a:gd name="connsiteY23" fmla="*/ 430441 h 3032924"/>
                  <a:gd name="connsiteX24" fmla="*/ 3120669 w 3239999"/>
                  <a:gd name="connsiteY24" fmla="*/ 428517 h 3032924"/>
                  <a:gd name="connsiteX25" fmla="*/ 3120669 w 3239999"/>
                  <a:gd name="connsiteY25" fmla="*/ 738345 h 3032924"/>
                  <a:gd name="connsiteX26" fmla="*/ 3239999 w 3239999"/>
                  <a:gd name="connsiteY26" fmla="*/ 738345 h 3032924"/>
                  <a:gd name="connsiteX27" fmla="*/ 3239999 w 3239999"/>
                  <a:gd name="connsiteY27" fmla="*/ 3032924 h 3032924"/>
                  <a:gd name="connsiteX28" fmla="*/ 0 w 3239999"/>
                  <a:gd name="connsiteY28" fmla="*/ 3032924 h 3032924"/>
                  <a:gd name="connsiteX29" fmla="*/ 0 w 3239999"/>
                  <a:gd name="connsiteY29" fmla="*/ 738345 h 3032924"/>
                  <a:gd name="connsiteX30" fmla="*/ 102477 w 3239999"/>
                  <a:gd name="connsiteY30" fmla="*/ 738345 h 3032924"/>
                  <a:gd name="connsiteX31" fmla="*/ 102477 w 3239999"/>
                  <a:gd name="connsiteY31" fmla="*/ 428517 h 3032924"/>
                  <a:gd name="connsiteX32" fmla="*/ 385229 w 3239999"/>
                  <a:gd name="connsiteY32" fmla="*/ 430441 h 3032924"/>
                  <a:gd name="connsiteX33" fmla="*/ 386326 w 3239999"/>
                  <a:gd name="connsiteY33" fmla="*/ 91100 h 3032924"/>
                  <a:gd name="connsiteX34" fmla="*/ 833935 w 3239999"/>
                  <a:gd name="connsiteY34" fmla="*/ 22 h 3032924"/>
                  <a:gd name="connsiteX0" fmla="*/ 833935 w 3239999"/>
                  <a:gd name="connsiteY0" fmla="*/ 22 h 3032924"/>
                  <a:gd name="connsiteX1" fmla="*/ 1576606 w 3239999"/>
                  <a:gd name="connsiteY1" fmla="*/ 402054 h 3032924"/>
                  <a:gd name="connsiteX2" fmla="*/ 1576606 w 3239999"/>
                  <a:gd name="connsiteY2" fmla="*/ 430441 h 3032924"/>
                  <a:gd name="connsiteX3" fmla="*/ 1576606 w 3239999"/>
                  <a:gd name="connsiteY3" fmla="*/ 526981 h 3032924"/>
                  <a:gd name="connsiteX4" fmla="*/ 1576606 w 3239999"/>
                  <a:gd name="connsiteY4" fmla="*/ 2765302 h 3032924"/>
                  <a:gd name="connsiteX5" fmla="*/ 378630 w 3239999"/>
                  <a:gd name="connsiteY5" fmla="*/ 2472117 h 3032924"/>
                  <a:gd name="connsiteX6" fmla="*/ 384918 w 3239999"/>
                  <a:gd name="connsiteY6" fmla="*/ 526981 h 3032924"/>
                  <a:gd name="connsiteX7" fmla="*/ 239143 w 3239999"/>
                  <a:gd name="connsiteY7" fmla="*/ 526981 h 3032924"/>
                  <a:gd name="connsiteX8" fmla="*/ 239143 w 3239999"/>
                  <a:gd name="connsiteY8" fmla="*/ 2776423 h 3032924"/>
                  <a:gd name="connsiteX9" fmla="*/ 1576606 w 3239999"/>
                  <a:gd name="connsiteY9" fmla="*/ 2776423 h 3032924"/>
                  <a:gd name="connsiteX10" fmla="*/ 1576606 w 3239999"/>
                  <a:gd name="connsiteY10" fmla="*/ 2778202 h 3032924"/>
                  <a:gd name="connsiteX11" fmla="*/ 1663394 w 3239999"/>
                  <a:gd name="connsiteY11" fmla="*/ 2778202 h 3032924"/>
                  <a:gd name="connsiteX12" fmla="*/ 1663394 w 3239999"/>
                  <a:gd name="connsiteY12" fmla="*/ 2776423 h 3032924"/>
                  <a:gd name="connsiteX13" fmla="*/ 3000856 w 3239999"/>
                  <a:gd name="connsiteY13" fmla="*/ 2776423 h 3032924"/>
                  <a:gd name="connsiteX14" fmla="*/ 3000856 w 3239999"/>
                  <a:gd name="connsiteY14" fmla="*/ 526981 h 3032924"/>
                  <a:gd name="connsiteX15" fmla="*/ 2855082 w 3239999"/>
                  <a:gd name="connsiteY15" fmla="*/ 526981 h 3032924"/>
                  <a:gd name="connsiteX16" fmla="*/ 2861369 w 3239999"/>
                  <a:gd name="connsiteY16" fmla="*/ 2472117 h 3032924"/>
                  <a:gd name="connsiteX17" fmla="*/ 1663394 w 3239999"/>
                  <a:gd name="connsiteY17" fmla="*/ 2765302 h 3032924"/>
                  <a:gd name="connsiteX18" fmla="*/ 1663394 w 3239999"/>
                  <a:gd name="connsiteY18" fmla="*/ 526981 h 3032924"/>
                  <a:gd name="connsiteX19" fmla="*/ 1663394 w 3239999"/>
                  <a:gd name="connsiteY19" fmla="*/ 430441 h 3032924"/>
                  <a:gd name="connsiteX20" fmla="*/ 1663394 w 3239999"/>
                  <a:gd name="connsiteY20" fmla="*/ 402054 h 3032924"/>
                  <a:gd name="connsiteX21" fmla="*/ 2406065 w 3239999"/>
                  <a:gd name="connsiteY21" fmla="*/ 22 h 3032924"/>
                  <a:gd name="connsiteX22" fmla="*/ 2853673 w 3239999"/>
                  <a:gd name="connsiteY22" fmla="*/ 91100 h 3032924"/>
                  <a:gd name="connsiteX23" fmla="*/ 2854770 w 3239999"/>
                  <a:gd name="connsiteY23" fmla="*/ 430441 h 3032924"/>
                  <a:gd name="connsiteX24" fmla="*/ 3120669 w 3239999"/>
                  <a:gd name="connsiteY24" fmla="*/ 428517 h 3032924"/>
                  <a:gd name="connsiteX25" fmla="*/ 3120669 w 3239999"/>
                  <a:gd name="connsiteY25" fmla="*/ 738345 h 3032924"/>
                  <a:gd name="connsiteX26" fmla="*/ 3239999 w 3239999"/>
                  <a:gd name="connsiteY26" fmla="*/ 738345 h 3032924"/>
                  <a:gd name="connsiteX27" fmla="*/ 3239999 w 3239999"/>
                  <a:gd name="connsiteY27" fmla="*/ 3032924 h 3032924"/>
                  <a:gd name="connsiteX28" fmla="*/ 0 w 3239999"/>
                  <a:gd name="connsiteY28" fmla="*/ 3032924 h 3032924"/>
                  <a:gd name="connsiteX29" fmla="*/ 0 w 3239999"/>
                  <a:gd name="connsiteY29" fmla="*/ 738345 h 3032924"/>
                  <a:gd name="connsiteX30" fmla="*/ 102477 w 3239999"/>
                  <a:gd name="connsiteY30" fmla="*/ 738345 h 3032924"/>
                  <a:gd name="connsiteX31" fmla="*/ 102477 w 3239999"/>
                  <a:gd name="connsiteY31" fmla="*/ 428517 h 3032924"/>
                  <a:gd name="connsiteX32" fmla="*/ 385229 w 3239999"/>
                  <a:gd name="connsiteY32" fmla="*/ 430441 h 3032924"/>
                  <a:gd name="connsiteX33" fmla="*/ 386326 w 3239999"/>
                  <a:gd name="connsiteY33" fmla="*/ 91100 h 3032924"/>
                  <a:gd name="connsiteX34" fmla="*/ 833935 w 3239999"/>
                  <a:gd name="connsiteY34" fmla="*/ 22 h 3032924"/>
                  <a:gd name="connsiteX0" fmla="*/ 833935 w 3239999"/>
                  <a:gd name="connsiteY0" fmla="*/ 22 h 3032924"/>
                  <a:gd name="connsiteX1" fmla="*/ 1576606 w 3239999"/>
                  <a:gd name="connsiteY1" fmla="*/ 402054 h 3032924"/>
                  <a:gd name="connsiteX2" fmla="*/ 1576606 w 3239999"/>
                  <a:gd name="connsiteY2" fmla="*/ 430441 h 3032924"/>
                  <a:gd name="connsiteX3" fmla="*/ 1576606 w 3239999"/>
                  <a:gd name="connsiteY3" fmla="*/ 526981 h 3032924"/>
                  <a:gd name="connsiteX4" fmla="*/ 1576606 w 3239999"/>
                  <a:gd name="connsiteY4" fmla="*/ 2765302 h 3032924"/>
                  <a:gd name="connsiteX5" fmla="*/ 378630 w 3239999"/>
                  <a:gd name="connsiteY5" fmla="*/ 2472117 h 3032924"/>
                  <a:gd name="connsiteX6" fmla="*/ 384918 w 3239999"/>
                  <a:gd name="connsiteY6" fmla="*/ 526981 h 3032924"/>
                  <a:gd name="connsiteX7" fmla="*/ 239143 w 3239999"/>
                  <a:gd name="connsiteY7" fmla="*/ 526981 h 3032924"/>
                  <a:gd name="connsiteX8" fmla="*/ 239143 w 3239999"/>
                  <a:gd name="connsiteY8" fmla="*/ 2776423 h 3032924"/>
                  <a:gd name="connsiteX9" fmla="*/ 1576606 w 3239999"/>
                  <a:gd name="connsiteY9" fmla="*/ 2776423 h 3032924"/>
                  <a:gd name="connsiteX10" fmla="*/ 1576606 w 3239999"/>
                  <a:gd name="connsiteY10" fmla="*/ 2778202 h 3032924"/>
                  <a:gd name="connsiteX11" fmla="*/ 1663394 w 3239999"/>
                  <a:gd name="connsiteY11" fmla="*/ 2778202 h 3032924"/>
                  <a:gd name="connsiteX12" fmla="*/ 1663394 w 3239999"/>
                  <a:gd name="connsiteY12" fmla="*/ 2776423 h 3032924"/>
                  <a:gd name="connsiteX13" fmla="*/ 3000856 w 3239999"/>
                  <a:gd name="connsiteY13" fmla="*/ 2776423 h 3032924"/>
                  <a:gd name="connsiteX14" fmla="*/ 3000856 w 3239999"/>
                  <a:gd name="connsiteY14" fmla="*/ 526981 h 3032924"/>
                  <a:gd name="connsiteX15" fmla="*/ 2855082 w 3239999"/>
                  <a:gd name="connsiteY15" fmla="*/ 526981 h 3032924"/>
                  <a:gd name="connsiteX16" fmla="*/ 2861369 w 3239999"/>
                  <a:gd name="connsiteY16" fmla="*/ 2472117 h 3032924"/>
                  <a:gd name="connsiteX17" fmla="*/ 1663394 w 3239999"/>
                  <a:gd name="connsiteY17" fmla="*/ 2765302 h 3032924"/>
                  <a:gd name="connsiteX18" fmla="*/ 1663394 w 3239999"/>
                  <a:gd name="connsiteY18" fmla="*/ 526981 h 3032924"/>
                  <a:gd name="connsiteX19" fmla="*/ 1663394 w 3239999"/>
                  <a:gd name="connsiteY19" fmla="*/ 430441 h 3032924"/>
                  <a:gd name="connsiteX20" fmla="*/ 1663394 w 3239999"/>
                  <a:gd name="connsiteY20" fmla="*/ 402054 h 3032924"/>
                  <a:gd name="connsiteX21" fmla="*/ 2406065 w 3239999"/>
                  <a:gd name="connsiteY21" fmla="*/ 22 h 3032924"/>
                  <a:gd name="connsiteX22" fmla="*/ 2853673 w 3239999"/>
                  <a:gd name="connsiteY22" fmla="*/ 91100 h 3032924"/>
                  <a:gd name="connsiteX23" fmla="*/ 2854770 w 3239999"/>
                  <a:gd name="connsiteY23" fmla="*/ 430441 h 3032924"/>
                  <a:gd name="connsiteX24" fmla="*/ 3120669 w 3239999"/>
                  <a:gd name="connsiteY24" fmla="*/ 428517 h 3032924"/>
                  <a:gd name="connsiteX25" fmla="*/ 3120669 w 3239999"/>
                  <a:gd name="connsiteY25" fmla="*/ 738345 h 3032924"/>
                  <a:gd name="connsiteX26" fmla="*/ 3239999 w 3239999"/>
                  <a:gd name="connsiteY26" fmla="*/ 738345 h 3032924"/>
                  <a:gd name="connsiteX27" fmla="*/ 3239999 w 3239999"/>
                  <a:gd name="connsiteY27" fmla="*/ 3032924 h 3032924"/>
                  <a:gd name="connsiteX28" fmla="*/ 0 w 3239999"/>
                  <a:gd name="connsiteY28" fmla="*/ 3032924 h 3032924"/>
                  <a:gd name="connsiteX29" fmla="*/ 0 w 3239999"/>
                  <a:gd name="connsiteY29" fmla="*/ 738345 h 3032924"/>
                  <a:gd name="connsiteX30" fmla="*/ 102477 w 3239999"/>
                  <a:gd name="connsiteY30" fmla="*/ 738345 h 3032924"/>
                  <a:gd name="connsiteX31" fmla="*/ 102477 w 3239999"/>
                  <a:gd name="connsiteY31" fmla="*/ 428517 h 3032924"/>
                  <a:gd name="connsiteX32" fmla="*/ 385229 w 3239999"/>
                  <a:gd name="connsiteY32" fmla="*/ 430441 h 3032924"/>
                  <a:gd name="connsiteX33" fmla="*/ 386326 w 3239999"/>
                  <a:gd name="connsiteY33" fmla="*/ 91100 h 3032924"/>
                  <a:gd name="connsiteX34" fmla="*/ 833935 w 3239999"/>
                  <a:gd name="connsiteY34" fmla="*/ 2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29618 w 3239999"/>
                  <a:gd name="connsiteY32" fmla="*/ 2690698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2991331 w 3239999"/>
                  <a:gd name="connsiteY3" fmla="*/ 2709748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29618 w 3239999"/>
                  <a:gd name="connsiteY32" fmla="*/ 2690698 h 3032924"/>
                  <a:gd name="connsiteX33" fmla="*/ 1576606 w 3239999"/>
                  <a:gd name="connsiteY33" fmla="*/ 2776423 h 3032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3239999" h="3032924">
                    <a:moveTo>
                      <a:pt x="1576606" y="2778202"/>
                    </a:moveTo>
                    <a:cubicBezTo>
                      <a:pt x="1576606" y="2778795"/>
                      <a:pt x="1663394" y="2792670"/>
                      <a:pt x="1663394" y="2778202"/>
                    </a:cubicBezTo>
                    <a:lnTo>
                      <a:pt x="1663394" y="2776423"/>
                    </a:lnTo>
                    <a:cubicBezTo>
                      <a:pt x="2185083" y="2605634"/>
                      <a:pt x="2444552" y="2500589"/>
                      <a:pt x="2991331" y="2709748"/>
                    </a:cubicBezTo>
                    <a:lnTo>
                      <a:pt x="3000856" y="526981"/>
                    </a:lnTo>
                    <a:lnTo>
                      <a:pt x="2855082" y="526981"/>
                    </a:lnTo>
                    <a:cubicBezTo>
                      <a:pt x="2857178" y="1175360"/>
                      <a:pt x="2859273" y="1823738"/>
                      <a:pt x="2861369" y="2472117"/>
                    </a:cubicBezTo>
                    <a:cubicBezTo>
                      <a:pt x="2483869" y="2318121"/>
                      <a:pt x="2052449" y="2439541"/>
                      <a:pt x="1663394" y="2765302"/>
                    </a:cubicBezTo>
                    <a:lnTo>
                      <a:pt x="1663394" y="526981"/>
                    </a:lnTo>
                    <a:lnTo>
                      <a:pt x="1663394" y="430441"/>
                    </a:lnTo>
                    <a:lnTo>
                      <a:pt x="1663394" y="402054"/>
                    </a:lnTo>
                    <a:cubicBezTo>
                      <a:pt x="1896442" y="149589"/>
                      <a:pt x="2115835" y="2106"/>
                      <a:pt x="2406065" y="22"/>
                    </a:cubicBezTo>
                    <a:cubicBezTo>
                      <a:pt x="2537987" y="-925"/>
                      <a:pt x="2684544" y="28169"/>
                      <a:pt x="2853673" y="91100"/>
                    </a:cubicBezTo>
                    <a:cubicBezTo>
                      <a:pt x="2854039" y="204214"/>
                      <a:pt x="2854404" y="317327"/>
                      <a:pt x="2854770" y="430441"/>
                    </a:cubicBezTo>
                    <a:lnTo>
                      <a:pt x="3120669" y="428517"/>
                    </a:lnTo>
                    <a:lnTo>
                      <a:pt x="3120669" y="738345"/>
                    </a:lnTo>
                    <a:lnTo>
                      <a:pt x="3239999" y="738345"/>
                    </a:lnTo>
                    <a:lnTo>
                      <a:pt x="3239999" y="3032924"/>
                    </a:lnTo>
                    <a:lnTo>
                      <a:pt x="0" y="3032924"/>
                    </a:lnTo>
                    <a:lnTo>
                      <a:pt x="0" y="738345"/>
                    </a:lnTo>
                    <a:lnTo>
                      <a:pt x="102477" y="738345"/>
                    </a:lnTo>
                    <a:lnTo>
                      <a:pt x="102477" y="428517"/>
                    </a:lnTo>
                    <a:lnTo>
                      <a:pt x="385229" y="430441"/>
                    </a:lnTo>
                    <a:cubicBezTo>
                      <a:pt x="385595" y="317327"/>
                      <a:pt x="385960" y="204214"/>
                      <a:pt x="386326" y="91100"/>
                    </a:cubicBezTo>
                    <a:cubicBezTo>
                      <a:pt x="555455" y="28169"/>
                      <a:pt x="702013" y="-925"/>
                      <a:pt x="833935" y="22"/>
                    </a:cubicBezTo>
                    <a:cubicBezTo>
                      <a:pt x="1124164" y="2106"/>
                      <a:pt x="1343558" y="149589"/>
                      <a:pt x="1576606" y="402054"/>
                    </a:cubicBezTo>
                    <a:lnTo>
                      <a:pt x="1576606" y="430441"/>
                    </a:lnTo>
                    <a:lnTo>
                      <a:pt x="1576606" y="526981"/>
                    </a:lnTo>
                    <a:lnTo>
                      <a:pt x="1576606" y="2765302"/>
                    </a:lnTo>
                    <a:cubicBezTo>
                      <a:pt x="1187550" y="2439541"/>
                      <a:pt x="756130" y="2318121"/>
                      <a:pt x="378630" y="2472117"/>
                    </a:cubicBezTo>
                    <a:lnTo>
                      <a:pt x="384918" y="526981"/>
                    </a:lnTo>
                    <a:lnTo>
                      <a:pt x="239143" y="526981"/>
                    </a:lnTo>
                    <a:lnTo>
                      <a:pt x="229618" y="2690698"/>
                    </a:lnTo>
                    <a:cubicBezTo>
                      <a:pt x="773243" y="2466244"/>
                      <a:pt x="1081748" y="2626096"/>
                      <a:pt x="1576606" y="2776423"/>
                    </a:cubicBezTo>
                  </a:path>
                </a:pathLst>
              </a:custGeom>
              <a:solidFill>
                <a:srgbClr val="26262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53" name="Rounded Rectangle 5">
                <a:extLst>
                  <a:ext uri="{FF2B5EF4-FFF2-40B4-BE49-F238E27FC236}">
                    <a16:creationId xmlns:a16="http://schemas.microsoft.com/office/drawing/2014/main" id="{E50EEBDF-1512-4733-887A-E5D7C68D5234}"/>
                  </a:ext>
                </a:extLst>
              </p:cNvPr>
              <p:cNvSpPr/>
              <p:nvPr/>
            </p:nvSpPr>
            <p:spPr>
              <a:xfrm flipH="1">
                <a:off x="7957327" y="2311538"/>
                <a:ext cx="325312" cy="268362"/>
              </a:xfrm>
              <a:custGeom>
                <a:avLst/>
                <a:gdLst>
                  <a:gd name="connsiteX0" fmla="*/ 1384251 w 3217557"/>
                  <a:gd name="connsiteY0" fmla="*/ 661544 h 2702049"/>
                  <a:gd name="connsiteX1" fmla="*/ 1574067 w 3217557"/>
                  <a:gd name="connsiteY1" fmla="*/ 851360 h 2702049"/>
                  <a:gd name="connsiteX2" fmla="*/ 1384251 w 3217557"/>
                  <a:gd name="connsiteY2" fmla="*/ 1041176 h 2702049"/>
                  <a:gd name="connsiteX3" fmla="*/ 1194435 w 3217557"/>
                  <a:gd name="connsiteY3" fmla="*/ 851360 h 2702049"/>
                  <a:gd name="connsiteX4" fmla="*/ 1384251 w 3217557"/>
                  <a:gd name="connsiteY4" fmla="*/ 661544 h 2702049"/>
                  <a:gd name="connsiteX5" fmla="*/ 1993421 w 3217557"/>
                  <a:gd name="connsiteY5" fmla="*/ 661544 h 2702049"/>
                  <a:gd name="connsiteX6" fmla="*/ 2183237 w 3217557"/>
                  <a:gd name="connsiteY6" fmla="*/ 851360 h 2702049"/>
                  <a:gd name="connsiteX7" fmla="*/ 1993421 w 3217557"/>
                  <a:gd name="connsiteY7" fmla="*/ 1041176 h 2702049"/>
                  <a:gd name="connsiteX8" fmla="*/ 1803605 w 3217557"/>
                  <a:gd name="connsiteY8" fmla="*/ 851360 h 2702049"/>
                  <a:gd name="connsiteX9" fmla="*/ 1993421 w 3217557"/>
                  <a:gd name="connsiteY9" fmla="*/ 661544 h 2702049"/>
                  <a:gd name="connsiteX10" fmla="*/ 2602591 w 3217557"/>
                  <a:gd name="connsiteY10" fmla="*/ 661544 h 2702049"/>
                  <a:gd name="connsiteX11" fmla="*/ 2792407 w 3217557"/>
                  <a:gd name="connsiteY11" fmla="*/ 851360 h 2702049"/>
                  <a:gd name="connsiteX12" fmla="*/ 2602591 w 3217557"/>
                  <a:gd name="connsiteY12" fmla="*/ 1041176 h 2702049"/>
                  <a:gd name="connsiteX13" fmla="*/ 2412775 w 3217557"/>
                  <a:gd name="connsiteY13" fmla="*/ 851360 h 2702049"/>
                  <a:gd name="connsiteX14" fmla="*/ 2602591 w 3217557"/>
                  <a:gd name="connsiteY14" fmla="*/ 661544 h 2702049"/>
                  <a:gd name="connsiteX15" fmla="*/ 677114 w 3217557"/>
                  <a:gd name="connsiteY15" fmla="*/ 569491 h 2702049"/>
                  <a:gd name="connsiteX16" fmla="*/ 330916 w 3217557"/>
                  <a:gd name="connsiteY16" fmla="*/ 569491 h 2702049"/>
                  <a:gd name="connsiteX17" fmla="*/ 0 w 3217557"/>
                  <a:gd name="connsiteY17" fmla="*/ 900407 h 2702049"/>
                  <a:gd name="connsiteX18" fmla="*/ 0 w 3217557"/>
                  <a:gd name="connsiteY18" fmla="*/ 1952009 h 2702049"/>
                  <a:gd name="connsiteX19" fmla="*/ 330916 w 3217557"/>
                  <a:gd name="connsiteY19" fmla="*/ 2282925 h 2702049"/>
                  <a:gd name="connsiteX20" fmla="*/ 711670 w 3217557"/>
                  <a:gd name="connsiteY20" fmla="*/ 2282925 h 2702049"/>
                  <a:gd name="connsiteX21" fmla="*/ 15770 w 3217557"/>
                  <a:gd name="connsiteY21" fmla="*/ 2702049 h 2702049"/>
                  <a:gd name="connsiteX22" fmla="*/ 1294529 w 3217557"/>
                  <a:gd name="connsiteY22" fmla="*/ 2282925 h 2702049"/>
                  <a:gd name="connsiteX23" fmla="*/ 2117356 w 3217557"/>
                  <a:gd name="connsiteY23" fmla="*/ 2282925 h 2702049"/>
                  <a:gd name="connsiteX24" fmla="*/ 2418395 w 3217557"/>
                  <a:gd name="connsiteY24" fmla="*/ 2087951 h 2702049"/>
                  <a:gd name="connsiteX25" fmla="*/ 1830857 w 3217557"/>
                  <a:gd name="connsiteY25" fmla="*/ 1799347 h 2702049"/>
                  <a:gd name="connsiteX26" fmla="*/ 1008030 w 3217557"/>
                  <a:gd name="connsiteY26" fmla="*/ 1799347 h 2702049"/>
                  <a:gd name="connsiteX27" fmla="*/ 677114 w 3217557"/>
                  <a:gd name="connsiteY27" fmla="*/ 1468431 h 2702049"/>
                  <a:gd name="connsiteX28" fmla="*/ 677114 w 3217557"/>
                  <a:gd name="connsiteY28" fmla="*/ 569491 h 2702049"/>
                  <a:gd name="connsiteX29" fmla="*/ 2886641 w 3217557"/>
                  <a:gd name="connsiteY29" fmla="*/ 0 h 2702049"/>
                  <a:gd name="connsiteX30" fmla="*/ 1100201 w 3217557"/>
                  <a:gd name="connsiteY30" fmla="*/ 0 h 2702049"/>
                  <a:gd name="connsiteX31" fmla="*/ 769285 w 3217557"/>
                  <a:gd name="connsiteY31" fmla="*/ 330916 h 2702049"/>
                  <a:gd name="connsiteX32" fmla="*/ 769285 w 3217557"/>
                  <a:gd name="connsiteY32" fmla="*/ 1382518 h 2702049"/>
                  <a:gd name="connsiteX33" fmla="*/ 1100201 w 3217557"/>
                  <a:gd name="connsiteY33" fmla="*/ 1713434 h 2702049"/>
                  <a:gd name="connsiteX34" fmla="*/ 1923028 w 3217557"/>
                  <a:gd name="connsiteY34" fmla="*/ 1713434 h 2702049"/>
                  <a:gd name="connsiteX35" fmla="*/ 3078958 w 3217557"/>
                  <a:gd name="connsiteY35" fmla="*/ 2077967 h 2702049"/>
                  <a:gd name="connsiteX36" fmla="*/ 2505887 w 3217557"/>
                  <a:gd name="connsiteY36" fmla="*/ 1713434 h 2702049"/>
                  <a:gd name="connsiteX37" fmla="*/ 2886641 w 3217557"/>
                  <a:gd name="connsiteY37" fmla="*/ 1713434 h 2702049"/>
                  <a:gd name="connsiteX38" fmla="*/ 3217557 w 3217557"/>
                  <a:gd name="connsiteY38" fmla="*/ 1382518 h 2702049"/>
                  <a:gd name="connsiteX39" fmla="*/ 3217557 w 3217557"/>
                  <a:gd name="connsiteY39" fmla="*/ 330916 h 2702049"/>
                  <a:gd name="connsiteX40" fmla="*/ 2886641 w 3217557"/>
                  <a:gd name="connsiteY40" fmla="*/ 0 h 2702049"/>
                  <a:gd name="connsiteX0" fmla="*/ 1384251 w 3217557"/>
                  <a:gd name="connsiteY0" fmla="*/ 661544 h 2702049"/>
                  <a:gd name="connsiteX1" fmla="*/ 1574067 w 3217557"/>
                  <a:gd name="connsiteY1" fmla="*/ 851360 h 2702049"/>
                  <a:gd name="connsiteX2" fmla="*/ 1384251 w 3217557"/>
                  <a:gd name="connsiteY2" fmla="*/ 1041176 h 2702049"/>
                  <a:gd name="connsiteX3" fmla="*/ 1194435 w 3217557"/>
                  <a:gd name="connsiteY3" fmla="*/ 851360 h 2702049"/>
                  <a:gd name="connsiteX4" fmla="*/ 1384251 w 3217557"/>
                  <a:gd name="connsiteY4" fmla="*/ 661544 h 2702049"/>
                  <a:gd name="connsiteX5" fmla="*/ 1993421 w 3217557"/>
                  <a:gd name="connsiteY5" fmla="*/ 661544 h 2702049"/>
                  <a:gd name="connsiteX6" fmla="*/ 2183237 w 3217557"/>
                  <a:gd name="connsiteY6" fmla="*/ 851360 h 2702049"/>
                  <a:gd name="connsiteX7" fmla="*/ 1993421 w 3217557"/>
                  <a:gd name="connsiteY7" fmla="*/ 1041176 h 2702049"/>
                  <a:gd name="connsiteX8" fmla="*/ 1803605 w 3217557"/>
                  <a:gd name="connsiteY8" fmla="*/ 851360 h 2702049"/>
                  <a:gd name="connsiteX9" fmla="*/ 1993421 w 3217557"/>
                  <a:gd name="connsiteY9" fmla="*/ 661544 h 2702049"/>
                  <a:gd name="connsiteX10" fmla="*/ 2602591 w 3217557"/>
                  <a:gd name="connsiteY10" fmla="*/ 661544 h 2702049"/>
                  <a:gd name="connsiteX11" fmla="*/ 2792407 w 3217557"/>
                  <a:gd name="connsiteY11" fmla="*/ 851360 h 2702049"/>
                  <a:gd name="connsiteX12" fmla="*/ 2602591 w 3217557"/>
                  <a:gd name="connsiteY12" fmla="*/ 1041176 h 2702049"/>
                  <a:gd name="connsiteX13" fmla="*/ 2412775 w 3217557"/>
                  <a:gd name="connsiteY13" fmla="*/ 851360 h 2702049"/>
                  <a:gd name="connsiteX14" fmla="*/ 2602591 w 3217557"/>
                  <a:gd name="connsiteY14" fmla="*/ 661544 h 2702049"/>
                  <a:gd name="connsiteX15" fmla="*/ 677114 w 3217557"/>
                  <a:gd name="connsiteY15" fmla="*/ 569491 h 2702049"/>
                  <a:gd name="connsiteX16" fmla="*/ 330916 w 3217557"/>
                  <a:gd name="connsiteY16" fmla="*/ 569491 h 2702049"/>
                  <a:gd name="connsiteX17" fmla="*/ 0 w 3217557"/>
                  <a:gd name="connsiteY17" fmla="*/ 900407 h 2702049"/>
                  <a:gd name="connsiteX18" fmla="*/ 0 w 3217557"/>
                  <a:gd name="connsiteY18" fmla="*/ 1952009 h 2702049"/>
                  <a:gd name="connsiteX19" fmla="*/ 330916 w 3217557"/>
                  <a:gd name="connsiteY19" fmla="*/ 2282925 h 2702049"/>
                  <a:gd name="connsiteX20" fmla="*/ 711670 w 3217557"/>
                  <a:gd name="connsiteY20" fmla="*/ 2282925 h 2702049"/>
                  <a:gd name="connsiteX21" fmla="*/ 15770 w 3217557"/>
                  <a:gd name="connsiteY21" fmla="*/ 2702049 h 2702049"/>
                  <a:gd name="connsiteX22" fmla="*/ 1294529 w 3217557"/>
                  <a:gd name="connsiteY22" fmla="*/ 2282925 h 2702049"/>
                  <a:gd name="connsiteX23" fmla="*/ 2117356 w 3217557"/>
                  <a:gd name="connsiteY23" fmla="*/ 2282925 h 2702049"/>
                  <a:gd name="connsiteX24" fmla="*/ 2418395 w 3217557"/>
                  <a:gd name="connsiteY24" fmla="*/ 2087951 h 2702049"/>
                  <a:gd name="connsiteX25" fmla="*/ 1830857 w 3217557"/>
                  <a:gd name="connsiteY25" fmla="*/ 1799347 h 2702049"/>
                  <a:gd name="connsiteX26" fmla="*/ 1008030 w 3217557"/>
                  <a:gd name="connsiteY26" fmla="*/ 1799347 h 2702049"/>
                  <a:gd name="connsiteX27" fmla="*/ 677114 w 3217557"/>
                  <a:gd name="connsiteY27" fmla="*/ 1468431 h 2702049"/>
                  <a:gd name="connsiteX28" fmla="*/ 677114 w 3217557"/>
                  <a:gd name="connsiteY28" fmla="*/ 569491 h 2702049"/>
                  <a:gd name="connsiteX29" fmla="*/ 2886641 w 3217557"/>
                  <a:gd name="connsiteY29" fmla="*/ 0 h 2702049"/>
                  <a:gd name="connsiteX30" fmla="*/ 1100201 w 3217557"/>
                  <a:gd name="connsiteY30" fmla="*/ 0 h 2702049"/>
                  <a:gd name="connsiteX31" fmla="*/ 769285 w 3217557"/>
                  <a:gd name="connsiteY31" fmla="*/ 330916 h 2702049"/>
                  <a:gd name="connsiteX32" fmla="*/ 769285 w 3217557"/>
                  <a:gd name="connsiteY32" fmla="*/ 1382518 h 2702049"/>
                  <a:gd name="connsiteX33" fmla="*/ 1100201 w 3217557"/>
                  <a:gd name="connsiteY33" fmla="*/ 1713434 h 2702049"/>
                  <a:gd name="connsiteX34" fmla="*/ 1923028 w 3217557"/>
                  <a:gd name="connsiteY34" fmla="*/ 1713434 h 2702049"/>
                  <a:gd name="connsiteX35" fmla="*/ 3078958 w 3217557"/>
                  <a:gd name="connsiteY35" fmla="*/ 2077967 h 2702049"/>
                  <a:gd name="connsiteX36" fmla="*/ 2505887 w 3217557"/>
                  <a:gd name="connsiteY36" fmla="*/ 1713434 h 2702049"/>
                  <a:gd name="connsiteX37" fmla="*/ 2886641 w 3217557"/>
                  <a:gd name="connsiteY37" fmla="*/ 1713434 h 2702049"/>
                  <a:gd name="connsiteX38" fmla="*/ 3217557 w 3217557"/>
                  <a:gd name="connsiteY38" fmla="*/ 1382518 h 2702049"/>
                  <a:gd name="connsiteX39" fmla="*/ 3217557 w 3217557"/>
                  <a:gd name="connsiteY39" fmla="*/ 330916 h 2702049"/>
                  <a:gd name="connsiteX40" fmla="*/ 2886641 w 3217557"/>
                  <a:gd name="connsiteY40" fmla="*/ 0 h 2702049"/>
                  <a:gd name="connsiteX0" fmla="*/ 1384251 w 3217557"/>
                  <a:gd name="connsiteY0" fmla="*/ 661544 h 2633810"/>
                  <a:gd name="connsiteX1" fmla="*/ 1574067 w 3217557"/>
                  <a:gd name="connsiteY1" fmla="*/ 851360 h 2633810"/>
                  <a:gd name="connsiteX2" fmla="*/ 1384251 w 3217557"/>
                  <a:gd name="connsiteY2" fmla="*/ 1041176 h 2633810"/>
                  <a:gd name="connsiteX3" fmla="*/ 1194435 w 3217557"/>
                  <a:gd name="connsiteY3" fmla="*/ 851360 h 2633810"/>
                  <a:gd name="connsiteX4" fmla="*/ 1384251 w 3217557"/>
                  <a:gd name="connsiteY4" fmla="*/ 661544 h 2633810"/>
                  <a:gd name="connsiteX5" fmla="*/ 1993421 w 3217557"/>
                  <a:gd name="connsiteY5" fmla="*/ 661544 h 2633810"/>
                  <a:gd name="connsiteX6" fmla="*/ 2183237 w 3217557"/>
                  <a:gd name="connsiteY6" fmla="*/ 851360 h 2633810"/>
                  <a:gd name="connsiteX7" fmla="*/ 1993421 w 3217557"/>
                  <a:gd name="connsiteY7" fmla="*/ 1041176 h 2633810"/>
                  <a:gd name="connsiteX8" fmla="*/ 1803605 w 3217557"/>
                  <a:gd name="connsiteY8" fmla="*/ 851360 h 2633810"/>
                  <a:gd name="connsiteX9" fmla="*/ 1993421 w 3217557"/>
                  <a:gd name="connsiteY9" fmla="*/ 661544 h 2633810"/>
                  <a:gd name="connsiteX10" fmla="*/ 2602591 w 3217557"/>
                  <a:gd name="connsiteY10" fmla="*/ 661544 h 2633810"/>
                  <a:gd name="connsiteX11" fmla="*/ 2792407 w 3217557"/>
                  <a:gd name="connsiteY11" fmla="*/ 851360 h 2633810"/>
                  <a:gd name="connsiteX12" fmla="*/ 2602591 w 3217557"/>
                  <a:gd name="connsiteY12" fmla="*/ 1041176 h 2633810"/>
                  <a:gd name="connsiteX13" fmla="*/ 2412775 w 3217557"/>
                  <a:gd name="connsiteY13" fmla="*/ 851360 h 2633810"/>
                  <a:gd name="connsiteX14" fmla="*/ 2602591 w 3217557"/>
                  <a:gd name="connsiteY14" fmla="*/ 661544 h 2633810"/>
                  <a:gd name="connsiteX15" fmla="*/ 677114 w 3217557"/>
                  <a:gd name="connsiteY15" fmla="*/ 569491 h 2633810"/>
                  <a:gd name="connsiteX16" fmla="*/ 330916 w 3217557"/>
                  <a:gd name="connsiteY16" fmla="*/ 569491 h 2633810"/>
                  <a:gd name="connsiteX17" fmla="*/ 0 w 3217557"/>
                  <a:gd name="connsiteY17" fmla="*/ 900407 h 2633810"/>
                  <a:gd name="connsiteX18" fmla="*/ 0 w 3217557"/>
                  <a:gd name="connsiteY18" fmla="*/ 1952009 h 2633810"/>
                  <a:gd name="connsiteX19" fmla="*/ 330916 w 3217557"/>
                  <a:gd name="connsiteY19" fmla="*/ 2282925 h 2633810"/>
                  <a:gd name="connsiteX20" fmla="*/ 711670 w 3217557"/>
                  <a:gd name="connsiteY20" fmla="*/ 2282925 h 2633810"/>
                  <a:gd name="connsiteX21" fmla="*/ 165895 w 3217557"/>
                  <a:gd name="connsiteY21" fmla="*/ 2633810 h 2633810"/>
                  <a:gd name="connsiteX22" fmla="*/ 1294529 w 3217557"/>
                  <a:gd name="connsiteY22" fmla="*/ 2282925 h 2633810"/>
                  <a:gd name="connsiteX23" fmla="*/ 2117356 w 3217557"/>
                  <a:gd name="connsiteY23" fmla="*/ 2282925 h 2633810"/>
                  <a:gd name="connsiteX24" fmla="*/ 2418395 w 3217557"/>
                  <a:gd name="connsiteY24" fmla="*/ 2087951 h 2633810"/>
                  <a:gd name="connsiteX25" fmla="*/ 1830857 w 3217557"/>
                  <a:gd name="connsiteY25" fmla="*/ 1799347 h 2633810"/>
                  <a:gd name="connsiteX26" fmla="*/ 1008030 w 3217557"/>
                  <a:gd name="connsiteY26" fmla="*/ 1799347 h 2633810"/>
                  <a:gd name="connsiteX27" fmla="*/ 677114 w 3217557"/>
                  <a:gd name="connsiteY27" fmla="*/ 1468431 h 2633810"/>
                  <a:gd name="connsiteX28" fmla="*/ 677114 w 3217557"/>
                  <a:gd name="connsiteY28" fmla="*/ 569491 h 2633810"/>
                  <a:gd name="connsiteX29" fmla="*/ 2886641 w 3217557"/>
                  <a:gd name="connsiteY29" fmla="*/ 0 h 2633810"/>
                  <a:gd name="connsiteX30" fmla="*/ 1100201 w 3217557"/>
                  <a:gd name="connsiteY30" fmla="*/ 0 h 2633810"/>
                  <a:gd name="connsiteX31" fmla="*/ 769285 w 3217557"/>
                  <a:gd name="connsiteY31" fmla="*/ 330916 h 2633810"/>
                  <a:gd name="connsiteX32" fmla="*/ 769285 w 3217557"/>
                  <a:gd name="connsiteY32" fmla="*/ 1382518 h 2633810"/>
                  <a:gd name="connsiteX33" fmla="*/ 1100201 w 3217557"/>
                  <a:gd name="connsiteY33" fmla="*/ 1713434 h 2633810"/>
                  <a:gd name="connsiteX34" fmla="*/ 1923028 w 3217557"/>
                  <a:gd name="connsiteY34" fmla="*/ 1713434 h 2633810"/>
                  <a:gd name="connsiteX35" fmla="*/ 3078958 w 3217557"/>
                  <a:gd name="connsiteY35" fmla="*/ 2077967 h 2633810"/>
                  <a:gd name="connsiteX36" fmla="*/ 2505887 w 3217557"/>
                  <a:gd name="connsiteY36" fmla="*/ 1713434 h 2633810"/>
                  <a:gd name="connsiteX37" fmla="*/ 2886641 w 3217557"/>
                  <a:gd name="connsiteY37" fmla="*/ 1713434 h 2633810"/>
                  <a:gd name="connsiteX38" fmla="*/ 3217557 w 3217557"/>
                  <a:gd name="connsiteY38" fmla="*/ 1382518 h 2633810"/>
                  <a:gd name="connsiteX39" fmla="*/ 3217557 w 3217557"/>
                  <a:gd name="connsiteY39" fmla="*/ 330916 h 2633810"/>
                  <a:gd name="connsiteX40" fmla="*/ 2886641 w 3217557"/>
                  <a:gd name="connsiteY40" fmla="*/ 0 h 2633810"/>
                  <a:gd name="connsiteX0" fmla="*/ 1384251 w 3217557"/>
                  <a:gd name="connsiteY0" fmla="*/ 661544 h 2633810"/>
                  <a:gd name="connsiteX1" fmla="*/ 1574067 w 3217557"/>
                  <a:gd name="connsiteY1" fmla="*/ 851360 h 2633810"/>
                  <a:gd name="connsiteX2" fmla="*/ 1384251 w 3217557"/>
                  <a:gd name="connsiteY2" fmla="*/ 1041176 h 2633810"/>
                  <a:gd name="connsiteX3" fmla="*/ 1194435 w 3217557"/>
                  <a:gd name="connsiteY3" fmla="*/ 851360 h 2633810"/>
                  <a:gd name="connsiteX4" fmla="*/ 1384251 w 3217557"/>
                  <a:gd name="connsiteY4" fmla="*/ 661544 h 2633810"/>
                  <a:gd name="connsiteX5" fmla="*/ 1993421 w 3217557"/>
                  <a:gd name="connsiteY5" fmla="*/ 661544 h 2633810"/>
                  <a:gd name="connsiteX6" fmla="*/ 2183237 w 3217557"/>
                  <a:gd name="connsiteY6" fmla="*/ 851360 h 2633810"/>
                  <a:gd name="connsiteX7" fmla="*/ 1993421 w 3217557"/>
                  <a:gd name="connsiteY7" fmla="*/ 1041176 h 2633810"/>
                  <a:gd name="connsiteX8" fmla="*/ 1803605 w 3217557"/>
                  <a:gd name="connsiteY8" fmla="*/ 851360 h 2633810"/>
                  <a:gd name="connsiteX9" fmla="*/ 1993421 w 3217557"/>
                  <a:gd name="connsiteY9" fmla="*/ 661544 h 2633810"/>
                  <a:gd name="connsiteX10" fmla="*/ 2602591 w 3217557"/>
                  <a:gd name="connsiteY10" fmla="*/ 661544 h 2633810"/>
                  <a:gd name="connsiteX11" fmla="*/ 2792407 w 3217557"/>
                  <a:gd name="connsiteY11" fmla="*/ 851360 h 2633810"/>
                  <a:gd name="connsiteX12" fmla="*/ 2602591 w 3217557"/>
                  <a:gd name="connsiteY12" fmla="*/ 1041176 h 2633810"/>
                  <a:gd name="connsiteX13" fmla="*/ 2412775 w 3217557"/>
                  <a:gd name="connsiteY13" fmla="*/ 851360 h 2633810"/>
                  <a:gd name="connsiteX14" fmla="*/ 2602591 w 3217557"/>
                  <a:gd name="connsiteY14" fmla="*/ 661544 h 2633810"/>
                  <a:gd name="connsiteX15" fmla="*/ 677114 w 3217557"/>
                  <a:gd name="connsiteY15" fmla="*/ 569491 h 2633810"/>
                  <a:gd name="connsiteX16" fmla="*/ 330916 w 3217557"/>
                  <a:gd name="connsiteY16" fmla="*/ 569491 h 2633810"/>
                  <a:gd name="connsiteX17" fmla="*/ 0 w 3217557"/>
                  <a:gd name="connsiteY17" fmla="*/ 900407 h 2633810"/>
                  <a:gd name="connsiteX18" fmla="*/ 0 w 3217557"/>
                  <a:gd name="connsiteY18" fmla="*/ 1952009 h 2633810"/>
                  <a:gd name="connsiteX19" fmla="*/ 330916 w 3217557"/>
                  <a:gd name="connsiteY19" fmla="*/ 2282925 h 2633810"/>
                  <a:gd name="connsiteX20" fmla="*/ 711670 w 3217557"/>
                  <a:gd name="connsiteY20" fmla="*/ 2282925 h 2633810"/>
                  <a:gd name="connsiteX21" fmla="*/ 165895 w 3217557"/>
                  <a:gd name="connsiteY21" fmla="*/ 2633810 h 2633810"/>
                  <a:gd name="connsiteX22" fmla="*/ 1294529 w 3217557"/>
                  <a:gd name="connsiteY22" fmla="*/ 2282925 h 2633810"/>
                  <a:gd name="connsiteX23" fmla="*/ 2117356 w 3217557"/>
                  <a:gd name="connsiteY23" fmla="*/ 2282925 h 2633810"/>
                  <a:gd name="connsiteX24" fmla="*/ 2418395 w 3217557"/>
                  <a:gd name="connsiteY24" fmla="*/ 2087951 h 2633810"/>
                  <a:gd name="connsiteX25" fmla="*/ 1830857 w 3217557"/>
                  <a:gd name="connsiteY25" fmla="*/ 1799347 h 2633810"/>
                  <a:gd name="connsiteX26" fmla="*/ 1008030 w 3217557"/>
                  <a:gd name="connsiteY26" fmla="*/ 1799347 h 2633810"/>
                  <a:gd name="connsiteX27" fmla="*/ 677114 w 3217557"/>
                  <a:gd name="connsiteY27" fmla="*/ 1468431 h 2633810"/>
                  <a:gd name="connsiteX28" fmla="*/ 677114 w 3217557"/>
                  <a:gd name="connsiteY28" fmla="*/ 569491 h 2633810"/>
                  <a:gd name="connsiteX29" fmla="*/ 2886641 w 3217557"/>
                  <a:gd name="connsiteY29" fmla="*/ 0 h 2633810"/>
                  <a:gd name="connsiteX30" fmla="*/ 1100201 w 3217557"/>
                  <a:gd name="connsiteY30" fmla="*/ 0 h 2633810"/>
                  <a:gd name="connsiteX31" fmla="*/ 769285 w 3217557"/>
                  <a:gd name="connsiteY31" fmla="*/ 330916 h 2633810"/>
                  <a:gd name="connsiteX32" fmla="*/ 769285 w 3217557"/>
                  <a:gd name="connsiteY32" fmla="*/ 1382518 h 2633810"/>
                  <a:gd name="connsiteX33" fmla="*/ 1100201 w 3217557"/>
                  <a:gd name="connsiteY33" fmla="*/ 1713434 h 2633810"/>
                  <a:gd name="connsiteX34" fmla="*/ 1923028 w 3217557"/>
                  <a:gd name="connsiteY34" fmla="*/ 1713434 h 2633810"/>
                  <a:gd name="connsiteX35" fmla="*/ 3078958 w 3217557"/>
                  <a:gd name="connsiteY35" fmla="*/ 2077967 h 2633810"/>
                  <a:gd name="connsiteX36" fmla="*/ 2505887 w 3217557"/>
                  <a:gd name="connsiteY36" fmla="*/ 1713434 h 2633810"/>
                  <a:gd name="connsiteX37" fmla="*/ 2886641 w 3217557"/>
                  <a:gd name="connsiteY37" fmla="*/ 1713434 h 2633810"/>
                  <a:gd name="connsiteX38" fmla="*/ 3217557 w 3217557"/>
                  <a:gd name="connsiteY38" fmla="*/ 1382518 h 2633810"/>
                  <a:gd name="connsiteX39" fmla="*/ 3217557 w 3217557"/>
                  <a:gd name="connsiteY39" fmla="*/ 330916 h 2633810"/>
                  <a:gd name="connsiteX40" fmla="*/ 2886641 w 3217557"/>
                  <a:gd name="connsiteY40" fmla="*/ 0 h 2633810"/>
                  <a:gd name="connsiteX0" fmla="*/ 1384251 w 3217557"/>
                  <a:gd name="connsiteY0" fmla="*/ 661544 h 2633810"/>
                  <a:gd name="connsiteX1" fmla="*/ 1574067 w 3217557"/>
                  <a:gd name="connsiteY1" fmla="*/ 851360 h 2633810"/>
                  <a:gd name="connsiteX2" fmla="*/ 1384251 w 3217557"/>
                  <a:gd name="connsiteY2" fmla="*/ 1041176 h 2633810"/>
                  <a:gd name="connsiteX3" fmla="*/ 1194435 w 3217557"/>
                  <a:gd name="connsiteY3" fmla="*/ 851360 h 2633810"/>
                  <a:gd name="connsiteX4" fmla="*/ 1384251 w 3217557"/>
                  <a:gd name="connsiteY4" fmla="*/ 661544 h 2633810"/>
                  <a:gd name="connsiteX5" fmla="*/ 1993421 w 3217557"/>
                  <a:gd name="connsiteY5" fmla="*/ 661544 h 2633810"/>
                  <a:gd name="connsiteX6" fmla="*/ 2183237 w 3217557"/>
                  <a:gd name="connsiteY6" fmla="*/ 851360 h 2633810"/>
                  <a:gd name="connsiteX7" fmla="*/ 1993421 w 3217557"/>
                  <a:gd name="connsiteY7" fmla="*/ 1041176 h 2633810"/>
                  <a:gd name="connsiteX8" fmla="*/ 1803605 w 3217557"/>
                  <a:gd name="connsiteY8" fmla="*/ 851360 h 2633810"/>
                  <a:gd name="connsiteX9" fmla="*/ 1993421 w 3217557"/>
                  <a:gd name="connsiteY9" fmla="*/ 661544 h 2633810"/>
                  <a:gd name="connsiteX10" fmla="*/ 2602591 w 3217557"/>
                  <a:gd name="connsiteY10" fmla="*/ 661544 h 2633810"/>
                  <a:gd name="connsiteX11" fmla="*/ 2792407 w 3217557"/>
                  <a:gd name="connsiteY11" fmla="*/ 851360 h 2633810"/>
                  <a:gd name="connsiteX12" fmla="*/ 2602591 w 3217557"/>
                  <a:gd name="connsiteY12" fmla="*/ 1041176 h 2633810"/>
                  <a:gd name="connsiteX13" fmla="*/ 2412775 w 3217557"/>
                  <a:gd name="connsiteY13" fmla="*/ 851360 h 2633810"/>
                  <a:gd name="connsiteX14" fmla="*/ 2602591 w 3217557"/>
                  <a:gd name="connsiteY14" fmla="*/ 661544 h 2633810"/>
                  <a:gd name="connsiteX15" fmla="*/ 677114 w 3217557"/>
                  <a:gd name="connsiteY15" fmla="*/ 569491 h 2633810"/>
                  <a:gd name="connsiteX16" fmla="*/ 330916 w 3217557"/>
                  <a:gd name="connsiteY16" fmla="*/ 569491 h 2633810"/>
                  <a:gd name="connsiteX17" fmla="*/ 0 w 3217557"/>
                  <a:gd name="connsiteY17" fmla="*/ 900407 h 2633810"/>
                  <a:gd name="connsiteX18" fmla="*/ 0 w 3217557"/>
                  <a:gd name="connsiteY18" fmla="*/ 1952009 h 2633810"/>
                  <a:gd name="connsiteX19" fmla="*/ 330916 w 3217557"/>
                  <a:gd name="connsiteY19" fmla="*/ 2282925 h 2633810"/>
                  <a:gd name="connsiteX20" fmla="*/ 711670 w 3217557"/>
                  <a:gd name="connsiteY20" fmla="*/ 2282925 h 2633810"/>
                  <a:gd name="connsiteX21" fmla="*/ 165895 w 3217557"/>
                  <a:gd name="connsiteY21" fmla="*/ 2633810 h 2633810"/>
                  <a:gd name="connsiteX22" fmla="*/ 1294529 w 3217557"/>
                  <a:gd name="connsiteY22" fmla="*/ 2282925 h 2633810"/>
                  <a:gd name="connsiteX23" fmla="*/ 2117356 w 3217557"/>
                  <a:gd name="connsiteY23" fmla="*/ 2282925 h 2633810"/>
                  <a:gd name="connsiteX24" fmla="*/ 2418395 w 3217557"/>
                  <a:gd name="connsiteY24" fmla="*/ 2087951 h 2633810"/>
                  <a:gd name="connsiteX25" fmla="*/ 1830857 w 3217557"/>
                  <a:gd name="connsiteY25" fmla="*/ 1799347 h 2633810"/>
                  <a:gd name="connsiteX26" fmla="*/ 1008030 w 3217557"/>
                  <a:gd name="connsiteY26" fmla="*/ 1799347 h 2633810"/>
                  <a:gd name="connsiteX27" fmla="*/ 677114 w 3217557"/>
                  <a:gd name="connsiteY27" fmla="*/ 1468431 h 2633810"/>
                  <a:gd name="connsiteX28" fmla="*/ 677114 w 3217557"/>
                  <a:gd name="connsiteY28" fmla="*/ 569491 h 2633810"/>
                  <a:gd name="connsiteX29" fmla="*/ 2886641 w 3217557"/>
                  <a:gd name="connsiteY29" fmla="*/ 0 h 2633810"/>
                  <a:gd name="connsiteX30" fmla="*/ 1100201 w 3217557"/>
                  <a:gd name="connsiteY30" fmla="*/ 0 h 2633810"/>
                  <a:gd name="connsiteX31" fmla="*/ 769285 w 3217557"/>
                  <a:gd name="connsiteY31" fmla="*/ 330916 h 2633810"/>
                  <a:gd name="connsiteX32" fmla="*/ 769285 w 3217557"/>
                  <a:gd name="connsiteY32" fmla="*/ 1382518 h 2633810"/>
                  <a:gd name="connsiteX33" fmla="*/ 1100201 w 3217557"/>
                  <a:gd name="connsiteY33" fmla="*/ 1713434 h 2633810"/>
                  <a:gd name="connsiteX34" fmla="*/ 1923028 w 3217557"/>
                  <a:gd name="connsiteY34" fmla="*/ 1713434 h 2633810"/>
                  <a:gd name="connsiteX35" fmla="*/ 3078958 w 3217557"/>
                  <a:gd name="connsiteY35" fmla="*/ 2077967 h 2633810"/>
                  <a:gd name="connsiteX36" fmla="*/ 2505887 w 3217557"/>
                  <a:gd name="connsiteY36" fmla="*/ 1713434 h 2633810"/>
                  <a:gd name="connsiteX37" fmla="*/ 2886641 w 3217557"/>
                  <a:gd name="connsiteY37" fmla="*/ 1713434 h 2633810"/>
                  <a:gd name="connsiteX38" fmla="*/ 3217557 w 3217557"/>
                  <a:gd name="connsiteY38" fmla="*/ 1382518 h 2633810"/>
                  <a:gd name="connsiteX39" fmla="*/ 3217557 w 3217557"/>
                  <a:gd name="connsiteY39" fmla="*/ 330916 h 2633810"/>
                  <a:gd name="connsiteX40" fmla="*/ 2886641 w 3217557"/>
                  <a:gd name="connsiteY40" fmla="*/ 0 h 2633810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217557" h="2654282">
                    <a:moveTo>
                      <a:pt x="1384251" y="661544"/>
                    </a:moveTo>
                    <a:cubicBezTo>
                      <a:pt x="1489083" y="661544"/>
                      <a:pt x="1574067" y="746528"/>
                      <a:pt x="1574067" y="851360"/>
                    </a:cubicBezTo>
                    <a:cubicBezTo>
                      <a:pt x="1574067" y="956192"/>
                      <a:pt x="1489083" y="1041176"/>
                      <a:pt x="1384251" y="1041176"/>
                    </a:cubicBezTo>
                    <a:cubicBezTo>
                      <a:pt x="1279419" y="1041176"/>
                      <a:pt x="1194435" y="956192"/>
                      <a:pt x="1194435" y="851360"/>
                    </a:cubicBezTo>
                    <a:cubicBezTo>
                      <a:pt x="1194435" y="746528"/>
                      <a:pt x="1279419" y="661544"/>
                      <a:pt x="1384251" y="661544"/>
                    </a:cubicBezTo>
                    <a:close/>
                    <a:moveTo>
                      <a:pt x="1993421" y="661544"/>
                    </a:moveTo>
                    <a:cubicBezTo>
                      <a:pt x="2098253" y="661544"/>
                      <a:pt x="2183237" y="746528"/>
                      <a:pt x="2183237" y="851360"/>
                    </a:cubicBezTo>
                    <a:cubicBezTo>
                      <a:pt x="2183237" y="956192"/>
                      <a:pt x="2098253" y="1041176"/>
                      <a:pt x="1993421" y="1041176"/>
                    </a:cubicBezTo>
                    <a:cubicBezTo>
                      <a:pt x="1888589" y="1041176"/>
                      <a:pt x="1803605" y="956192"/>
                      <a:pt x="1803605" y="851360"/>
                    </a:cubicBezTo>
                    <a:cubicBezTo>
                      <a:pt x="1803605" y="746528"/>
                      <a:pt x="1888589" y="661544"/>
                      <a:pt x="1993421" y="661544"/>
                    </a:cubicBezTo>
                    <a:close/>
                    <a:moveTo>
                      <a:pt x="2602591" y="661544"/>
                    </a:moveTo>
                    <a:cubicBezTo>
                      <a:pt x="2707423" y="661544"/>
                      <a:pt x="2792407" y="746528"/>
                      <a:pt x="2792407" y="851360"/>
                    </a:cubicBezTo>
                    <a:cubicBezTo>
                      <a:pt x="2792407" y="956192"/>
                      <a:pt x="2707423" y="1041176"/>
                      <a:pt x="2602591" y="1041176"/>
                    </a:cubicBezTo>
                    <a:cubicBezTo>
                      <a:pt x="2497759" y="1041176"/>
                      <a:pt x="2412775" y="956192"/>
                      <a:pt x="2412775" y="851360"/>
                    </a:cubicBezTo>
                    <a:cubicBezTo>
                      <a:pt x="2412775" y="746528"/>
                      <a:pt x="2497759" y="661544"/>
                      <a:pt x="2602591" y="661544"/>
                    </a:cubicBezTo>
                    <a:close/>
                    <a:moveTo>
                      <a:pt x="677114" y="569491"/>
                    </a:moveTo>
                    <a:lnTo>
                      <a:pt x="330916" y="569491"/>
                    </a:lnTo>
                    <a:cubicBezTo>
                      <a:pt x="148156" y="569491"/>
                      <a:pt x="0" y="717647"/>
                      <a:pt x="0" y="900407"/>
                    </a:cubicBezTo>
                    <a:lnTo>
                      <a:pt x="0" y="1952009"/>
                    </a:lnTo>
                    <a:cubicBezTo>
                      <a:pt x="0" y="2134769"/>
                      <a:pt x="148156" y="2282925"/>
                      <a:pt x="330916" y="2282925"/>
                    </a:cubicBezTo>
                    <a:lnTo>
                      <a:pt x="711670" y="2282925"/>
                    </a:lnTo>
                    <a:cubicBezTo>
                      <a:pt x="639726" y="2394386"/>
                      <a:pt x="647101" y="2475544"/>
                      <a:pt x="275077" y="2654282"/>
                    </a:cubicBezTo>
                    <a:cubicBezTo>
                      <a:pt x="900998" y="2583693"/>
                      <a:pt x="998412" y="2552618"/>
                      <a:pt x="1294529" y="2282925"/>
                    </a:cubicBezTo>
                    <a:lnTo>
                      <a:pt x="2117356" y="2282925"/>
                    </a:lnTo>
                    <a:cubicBezTo>
                      <a:pt x="2251554" y="2282925"/>
                      <a:pt x="2367095" y="2203043"/>
                      <a:pt x="2418395" y="2087951"/>
                    </a:cubicBezTo>
                    <a:cubicBezTo>
                      <a:pt x="2205538" y="2022975"/>
                      <a:pt x="2032941" y="1932583"/>
                      <a:pt x="1830857" y="1799347"/>
                    </a:cubicBezTo>
                    <a:lnTo>
                      <a:pt x="1008030" y="1799347"/>
                    </a:lnTo>
                    <a:cubicBezTo>
                      <a:pt x="825270" y="1799347"/>
                      <a:pt x="677114" y="1651191"/>
                      <a:pt x="677114" y="1468431"/>
                    </a:cubicBezTo>
                    <a:lnTo>
                      <a:pt x="677114" y="569491"/>
                    </a:lnTo>
                    <a:close/>
                    <a:moveTo>
                      <a:pt x="2886641" y="0"/>
                    </a:moveTo>
                    <a:lnTo>
                      <a:pt x="1100201" y="0"/>
                    </a:lnTo>
                    <a:cubicBezTo>
                      <a:pt x="917441" y="0"/>
                      <a:pt x="769285" y="148156"/>
                      <a:pt x="769285" y="330916"/>
                    </a:cubicBezTo>
                    <a:lnTo>
                      <a:pt x="769285" y="1382518"/>
                    </a:lnTo>
                    <a:cubicBezTo>
                      <a:pt x="769285" y="1565278"/>
                      <a:pt x="917441" y="1713434"/>
                      <a:pt x="1100201" y="1713434"/>
                    </a:cubicBezTo>
                    <a:lnTo>
                      <a:pt x="1923028" y="1713434"/>
                    </a:lnTo>
                    <a:cubicBezTo>
                      <a:pt x="2301032" y="1962656"/>
                      <a:pt x="2453037" y="2007378"/>
                      <a:pt x="3078958" y="2077967"/>
                    </a:cubicBezTo>
                    <a:cubicBezTo>
                      <a:pt x="2713759" y="1878758"/>
                      <a:pt x="2673367" y="1899957"/>
                      <a:pt x="2505887" y="1713434"/>
                    </a:cubicBezTo>
                    <a:lnTo>
                      <a:pt x="2886641" y="1713434"/>
                    </a:lnTo>
                    <a:cubicBezTo>
                      <a:pt x="3069401" y="1713434"/>
                      <a:pt x="3217557" y="1565278"/>
                      <a:pt x="3217557" y="1382518"/>
                    </a:cubicBezTo>
                    <a:lnTo>
                      <a:pt x="3217557" y="330916"/>
                    </a:lnTo>
                    <a:cubicBezTo>
                      <a:pt x="3217557" y="148156"/>
                      <a:pt x="3069401" y="0"/>
                      <a:pt x="2886641" y="0"/>
                    </a:cubicBezTo>
                    <a:close/>
                  </a:path>
                </a:pathLst>
              </a:custGeom>
              <a:solidFill>
                <a:srgbClr val="28608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54" name="Teardrop 1">
                <a:extLst>
                  <a:ext uri="{FF2B5EF4-FFF2-40B4-BE49-F238E27FC236}">
                    <a16:creationId xmlns:a16="http://schemas.microsoft.com/office/drawing/2014/main" id="{E37BEA02-A4E9-444B-8FDE-8C683989F2C6}"/>
                  </a:ext>
                </a:extLst>
              </p:cNvPr>
              <p:cNvSpPr/>
              <p:nvPr/>
            </p:nvSpPr>
            <p:spPr>
              <a:xfrm rot="18805991">
                <a:off x="7460552" y="2909421"/>
                <a:ext cx="376862" cy="372930"/>
              </a:xfrm>
              <a:custGeom>
                <a:avLst/>
                <a:gdLst/>
                <a:ahLst/>
                <a:cxnLst/>
                <a:rect l="l" t="t" r="r" b="b"/>
                <a:pathLst>
                  <a:path w="1807241" h="1788383">
                    <a:moveTo>
                      <a:pt x="712876" y="1117592"/>
                    </a:moveTo>
                    <a:cubicBezTo>
                      <a:pt x="771173" y="1181828"/>
                      <a:pt x="811089" y="1255910"/>
                      <a:pt x="847925" y="1348018"/>
                    </a:cubicBezTo>
                    <a:cubicBezTo>
                      <a:pt x="814544" y="1418896"/>
                      <a:pt x="753893" y="1474052"/>
                      <a:pt x="679064" y="1498332"/>
                    </a:cubicBezTo>
                    <a:lnTo>
                      <a:pt x="308226" y="1106637"/>
                    </a:lnTo>
                    <a:cubicBezTo>
                      <a:pt x="336560" y="1033247"/>
                      <a:pt x="394949" y="975701"/>
                      <a:pt x="467546" y="946245"/>
                    </a:cubicBezTo>
                    <a:cubicBezTo>
                      <a:pt x="577903" y="998968"/>
                      <a:pt x="654580" y="1053357"/>
                      <a:pt x="712876" y="1117592"/>
                    </a:cubicBezTo>
                    <a:close/>
                    <a:moveTo>
                      <a:pt x="1038527" y="398886"/>
                    </a:moveTo>
                    <a:lnTo>
                      <a:pt x="1405560" y="786562"/>
                    </a:lnTo>
                    <a:cubicBezTo>
                      <a:pt x="1374476" y="799049"/>
                      <a:pt x="1340402" y="804299"/>
                      <a:pt x="1305054" y="803332"/>
                    </a:cubicBezTo>
                    <a:lnTo>
                      <a:pt x="1008167" y="795212"/>
                    </a:lnTo>
                    <a:lnTo>
                      <a:pt x="1016288" y="498325"/>
                    </a:lnTo>
                    <a:cubicBezTo>
                      <a:pt x="1017255" y="462976"/>
                      <a:pt x="1024360" y="429240"/>
                      <a:pt x="1038527" y="398886"/>
                    </a:cubicBezTo>
                    <a:close/>
                    <a:moveTo>
                      <a:pt x="1097925" y="218888"/>
                    </a:moveTo>
                    <a:cubicBezTo>
                      <a:pt x="992582" y="279303"/>
                      <a:pt x="921871" y="392886"/>
                      <a:pt x="921053" y="523256"/>
                    </a:cubicBezTo>
                    <a:lnTo>
                      <a:pt x="919136" y="828763"/>
                    </a:lnTo>
                    <a:lnTo>
                      <a:pt x="830924" y="915875"/>
                    </a:lnTo>
                    <a:lnTo>
                      <a:pt x="525417" y="913958"/>
                    </a:lnTo>
                    <a:cubicBezTo>
                      <a:pt x="403891" y="913196"/>
                      <a:pt x="296188" y="973343"/>
                      <a:pt x="234366" y="1067831"/>
                    </a:cubicBezTo>
                    <a:lnTo>
                      <a:pt x="710285" y="1570519"/>
                    </a:lnTo>
                    <a:cubicBezTo>
                      <a:pt x="811872" y="1510375"/>
                      <a:pt x="878808" y="1399439"/>
                      <a:pt x="879603" y="1272618"/>
                    </a:cubicBezTo>
                    <a:lnTo>
                      <a:pt x="881520" y="967111"/>
                    </a:lnTo>
                    <a:lnTo>
                      <a:pt x="969732" y="879999"/>
                    </a:lnTo>
                    <a:lnTo>
                      <a:pt x="1275239" y="881916"/>
                    </a:lnTo>
                    <a:cubicBezTo>
                      <a:pt x="1400271" y="882701"/>
                      <a:pt x="1510670" y="819011"/>
                      <a:pt x="1573529" y="721242"/>
                    </a:cubicBezTo>
                    <a:close/>
                    <a:moveTo>
                      <a:pt x="1162945" y="27894"/>
                    </a:moveTo>
                    <a:lnTo>
                      <a:pt x="1782798" y="682611"/>
                    </a:lnTo>
                    <a:cubicBezTo>
                      <a:pt x="1816692" y="718411"/>
                      <a:pt x="1815147" y="774907"/>
                      <a:pt x="1779347" y="808801"/>
                    </a:cubicBezTo>
                    <a:cubicBezTo>
                      <a:pt x="1743547" y="842694"/>
                      <a:pt x="1687050" y="841149"/>
                      <a:pt x="1653157" y="805349"/>
                    </a:cubicBezTo>
                    <a:lnTo>
                      <a:pt x="1644015" y="795693"/>
                    </a:lnTo>
                    <a:cubicBezTo>
                      <a:pt x="1561789" y="910282"/>
                      <a:pt x="1426630" y="983636"/>
                      <a:pt x="1274606" y="982683"/>
                    </a:cubicBezTo>
                    <a:lnTo>
                      <a:pt x="980378" y="980836"/>
                    </a:lnTo>
                    <a:lnTo>
                      <a:pt x="980378" y="1270380"/>
                    </a:lnTo>
                    <a:cubicBezTo>
                      <a:pt x="980378" y="1427425"/>
                      <a:pt x="901198" y="1565976"/>
                      <a:pt x="779756" y="1647056"/>
                    </a:cubicBezTo>
                    <a:cubicBezTo>
                      <a:pt x="807405" y="1681913"/>
                      <a:pt x="803595" y="1732594"/>
                      <a:pt x="770486" y="1763941"/>
                    </a:cubicBezTo>
                    <a:cubicBezTo>
                      <a:pt x="734686" y="1797834"/>
                      <a:pt x="678189" y="1796289"/>
                      <a:pt x="644296" y="1760489"/>
                    </a:cubicBezTo>
                    <a:lnTo>
                      <a:pt x="24442" y="1105772"/>
                    </a:lnTo>
                    <a:cubicBezTo>
                      <a:pt x="-9451" y="1069973"/>
                      <a:pt x="-7906" y="1013476"/>
                      <a:pt x="27894" y="979583"/>
                    </a:cubicBezTo>
                    <a:cubicBezTo>
                      <a:pt x="63694" y="945689"/>
                      <a:pt x="120190" y="947235"/>
                      <a:pt x="154084" y="983034"/>
                    </a:cubicBezTo>
                    <a:lnTo>
                      <a:pt x="163237" y="992702"/>
                    </a:lnTo>
                    <a:cubicBezTo>
                      <a:pt x="244774" y="882877"/>
                      <a:pt x="375836" y="813180"/>
                      <a:pt x="523178" y="813180"/>
                    </a:cubicBezTo>
                    <a:lnTo>
                      <a:pt x="818460" y="813180"/>
                    </a:lnTo>
                    <a:lnTo>
                      <a:pt x="820284" y="522622"/>
                    </a:lnTo>
                    <a:cubicBezTo>
                      <a:pt x="821285" y="363119"/>
                      <a:pt x="903845" y="223207"/>
                      <a:pt x="1028952" y="143673"/>
                    </a:cubicBezTo>
                    <a:cubicBezTo>
                      <a:pt x="999689" y="108599"/>
                      <a:pt x="1002953" y="56445"/>
                      <a:pt x="1036755" y="24443"/>
                    </a:cubicBezTo>
                    <a:cubicBezTo>
                      <a:pt x="1072555" y="-9451"/>
                      <a:pt x="1129052" y="-7906"/>
                      <a:pt x="1162945" y="27894"/>
                    </a:cubicBezTo>
                    <a:close/>
                  </a:path>
                </a:pathLst>
              </a:custGeom>
              <a:solidFill>
                <a:srgbClr val="3282BE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  <p:grpSp>
          <p:nvGrpSpPr>
            <p:cNvPr id="455" name="그룹 8">
              <a:extLst>
                <a:ext uri="{FF2B5EF4-FFF2-40B4-BE49-F238E27FC236}">
                  <a16:creationId xmlns:a16="http://schemas.microsoft.com/office/drawing/2014/main" id="{9F95B310-05EC-480B-8208-D8B13529EEC5}"/>
                </a:ext>
              </a:extLst>
            </p:cNvPr>
            <p:cNvGrpSpPr/>
            <p:nvPr/>
          </p:nvGrpSpPr>
          <p:grpSpPr>
            <a:xfrm>
              <a:off x="43756" y="1682951"/>
              <a:ext cx="3900270" cy="3852987"/>
              <a:chOff x="6909012" y="1477406"/>
              <a:chExt cx="3900270" cy="3852987"/>
            </a:xfrm>
          </p:grpSpPr>
          <p:sp>
            <p:nvSpPr>
              <p:cNvPr id="456" name="Diamond 5">
                <a:extLst>
                  <a:ext uri="{FF2B5EF4-FFF2-40B4-BE49-F238E27FC236}">
                    <a16:creationId xmlns:a16="http://schemas.microsoft.com/office/drawing/2014/main" id="{890AF0D7-E6E6-421E-83E4-358ED2F62357}"/>
                  </a:ext>
                </a:extLst>
              </p:cNvPr>
              <p:cNvSpPr/>
              <p:nvPr/>
            </p:nvSpPr>
            <p:spPr>
              <a:xfrm>
                <a:off x="9500423" y="1610630"/>
                <a:ext cx="337247" cy="338244"/>
              </a:xfrm>
              <a:custGeom>
                <a:avLst/>
                <a:gdLst/>
                <a:ahLst/>
                <a:cxnLst/>
                <a:rect l="l" t="t" r="r" b="b"/>
                <a:pathLst>
                  <a:path w="3240001" h="3249575">
                    <a:moveTo>
                      <a:pt x="1275349" y="2002569"/>
                    </a:moveTo>
                    <a:lnTo>
                      <a:pt x="1625117" y="2233002"/>
                    </a:lnTo>
                    <a:lnTo>
                      <a:pt x="1968772" y="2006596"/>
                    </a:lnTo>
                    <a:lnTo>
                      <a:pt x="3240001" y="3249575"/>
                    </a:lnTo>
                    <a:lnTo>
                      <a:pt x="0" y="3249575"/>
                    </a:lnTo>
                    <a:close/>
                    <a:moveTo>
                      <a:pt x="1067116" y="1473605"/>
                    </a:moveTo>
                    <a:lnTo>
                      <a:pt x="1067116" y="1581605"/>
                    </a:lnTo>
                    <a:lnTo>
                      <a:pt x="2183116" y="1581605"/>
                    </a:lnTo>
                    <a:lnTo>
                      <a:pt x="2183116" y="1473605"/>
                    </a:lnTo>
                    <a:close/>
                    <a:moveTo>
                      <a:pt x="1067116" y="1267205"/>
                    </a:moveTo>
                    <a:lnTo>
                      <a:pt x="1067116" y="1375205"/>
                    </a:lnTo>
                    <a:lnTo>
                      <a:pt x="2183116" y="1375205"/>
                    </a:lnTo>
                    <a:lnTo>
                      <a:pt x="2183116" y="1267205"/>
                    </a:lnTo>
                    <a:close/>
                    <a:moveTo>
                      <a:pt x="3240001" y="1172196"/>
                    </a:moveTo>
                    <a:lnTo>
                      <a:pt x="3240001" y="3142550"/>
                    </a:lnTo>
                    <a:lnTo>
                      <a:pt x="2026252" y="1968728"/>
                    </a:lnTo>
                    <a:lnTo>
                      <a:pt x="3049854" y="1294362"/>
                    </a:lnTo>
                    <a:close/>
                    <a:moveTo>
                      <a:pt x="0" y="1172196"/>
                    </a:moveTo>
                    <a:lnTo>
                      <a:pt x="602850" y="1559516"/>
                    </a:lnTo>
                    <a:lnTo>
                      <a:pt x="1217896" y="1964719"/>
                    </a:lnTo>
                    <a:lnTo>
                      <a:pt x="0" y="3142550"/>
                    </a:lnTo>
                    <a:close/>
                    <a:moveTo>
                      <a:pt x="1067116" y="1060805"/>
                    </a:moveTo>
                    <a:lnTo>
                      <a:pt x="1067116" y="1168805"/>
                    </a:lnTo>
                    <a:lnTo>
                      <a:pt x="2183116" y="1168805"/>
                    </a:lnTo>
                    <a:lnTo>
                      <a:pt x="2183116" y="1060805"/>
                    </a:lnTo>
                    <a:close/>
                    <a:moveTo>
                      <a:pt x="869032" y="816137"/>
                    </a:moveTo>
                    <a:lnTo>
                      <a:pt x="2381200" y="816137"/>
                    </a:lnTo>
                    <a:lnTo>
                      <a:pt x="2381200" y="1623491"/>
                    </a:lnTo>
                    <a:lnTo>
                      <a:pt x="1668045" y="2093329"/>
                    </a:lnTo>
                    <a:lnTo>
                      <a:pt x="1625116" y="2121611"/>
                    </a:lnTo>
                    <a:lnTo>
                      <a:pt x="869032" y="1623491"/>
                    </a:lnTo>
                    <a:close/>
                    <a:moveTo>
                      <a:pt x="1625116" y="0"/>
                    </a:moveTo>
                    <a:lnTo>
                      <a:pt x="3235286" y="1060806"/>
                    </a:lnTo>
                    <a:lnTo>
                      <a:pt x="2489212" y="1552331"/>
                    </a:lnTo>
                    <a:lnTo>
                      <a:pt x="2489212" y="708008"/>
                    </a:lnTo>
                    <a:lnTo>
                      <a:pt x="761020" y="708008"/>
                    </a:lnTo>
                    <a:lnTo>
                      <a:pt x="761020" y="1552331"/>
                    </a:lnTo>
                    <a:lnTo>
                      <a:pt x="14946" y="1060806"/>
                    </a:lnTo>
                    <a:close/>
                  </a:path>
                </a:pathLst>
              </a:custGeom>
              <a:solidFill>
                <a:srgbClr val="3282BE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57" name="Isosceles Triangle 51">
                <a:extLst>
                  <a:ext uri="{FF2B5EF4-FFF2-40B4-BE49-F238E27FC236}">
                    <a16:creationId xmlns:a16="http://schemas.microsoft.com/office/drawing/2014/main" id="{1CDC7932-9B23-4FFF-B34C-C843386727CF}"/>
                  </a:ext>
                </a:extLst>
              </p:cNvPr>
              <p:cNvSpPr/>
              <p:nvPr/>
            </p:nvSpPr>
            <p:spPr>
              <a:xfrm>
                <a:off x="8333445" y="1549101"/>
                <a:ext cx="337246" cy="247304"/>
              </a:xfrm>
              <a:custGeom>
                <a:avLst/>
                <a:gdLst/>
                <a:ahLst/>
                <a:cxnLst/>
                <a:rect l="l" t="t" r="r" b="b"/>
                <a:pathLst>
                  <a:path w="3240001" h="2375905">
                    <a:moveTo>
                      <a:pt x="1974640" y="1379575"/>
                    </a:moveTo>
                    <a:lnTo>
                      <a:pt x="3240001" y="2375905"/>
                    </a:lnTo>
                    <a:lnTo>
                      <a:pt x="1" y="2375905"/>
                    </a:lnTo>
                    <a:lnTo>
                      <a:pt x="1269863" y="1399042"/>
                    </a:lnTo>
                    <a:lnTo>
                      <a:pt x="1610574" y="1745545"/>
                    </a:lnTo>
                    <a:close/>
                    <a:moveTo>
                      <a:pt x="3240001" y="126952"/>
                    </a:moveTo>
                    <a:lnTo>
                      <a:pt x="3240001" y="2258912"/>
                    </a:lnTo>
                    <a:lnTo>
                      <a:pt x="2032457" y="1334195"/>
                    </a:lnTo>
                    <a:close/>
                    <a:moveTo>
                      <a:pt x="0" y="117525"/>
                    </a:moveTo>
                    <a:lnTo>
                      <a:pt x="1207545" y="1324768"/>
                    </a:lnTo>
                    <a:lnTo>
                      <a:pt x="0" y="2249485"/>
                    </a:lnTo>
                    <a:close/>
                    <a:moveTo>
                      <a:pt x="0" y="0"/>
                    </a:moveTo>
                    <a:lnTo>
                      <a:pt x="3240000" y="0"/>
                    </a:lnTo>
                    <a:lnTo>
                      <a:pt x="1610572" y="1620513"/>
                    </a:lnTo>
                    <a:close/>
                  </a:path>
                </a:pathLst>
              </a:custGeom>
              <a:solidFill>
                <a:srgbClr val="3282BE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58" name="Rectangle 7">
                <a:extLst>
                  <a:ext uri="{FF2B5EF4-FFF2-40B4-BE49-F238E27FC236}">
                    <a16:creationId xmlns:a16="http://schemas.microsoft.com/office/drawing/2014/main" id="{52ED0535-381A-49F9-81BA-B8A3526096E6}"/>
                  </a:ext>
                </a:extLst>
              </p:cNvPr>
              <p:cNvSpPr/>
              <p:nvPr/>
            </p:nvSpPr>
            <p:spPr>
              <a:xfrm rot="18900000">
                <a:off x="7065308" y="2753323"/>
                <a:ext cx="145474" cy="324086"/>
              </a:xfrm>
              <a:custGeom>
                <a:avLst/>
                <a:gdLst/>
                <a:ahLst/>
                <a:cxnLst/>
                <a:rect l="l" t="t" r="r" b="b"/>
                <a:pathLst>
                  <a:path w="154109" h="343323">
                    <a:moveTo>
                      <a:pt x="102909" y="313772"/>
                    </a:moveTo>
                    <a:lnTo>
                      <a:pt x="102909" y="328547"/>
                    </a:lnTo>
                    <a:cubicBezTo>
                      <a:pt x="102909" y="336708"/>
                      <a:pt x="96294" y="343322"/>
                      <a:pt x="88133" y="343323"/>
                    </a:cubicBezTo>
                    <a:lnTo>
                      <a:pt x="65975" y="343322"/>
                    </a:lnTo>
                    <a:cubicBezTo>
                      <a:pt x="57814" y="343322"/>
                      <a:pt x="51199" y="336708"/>
                      <a:pt x="51199" y="328547"/>
                    </a:cubicBezTo>
                    <a:cubicBezTo>
                      <a:pt x="51199" y="323622"/>
                      <a:pt x="51200" y="318696"/>
                      <a:pt x="51200" y="313771"/>
                    </a:cubicBezTo>
                    <a:close/>
                    <a:moveTo>
                      <a:pt x="123327" y="15459"/>
                    </a:moveTo>
                    <a:cubicBezTo>
                      <a:pt x="141678" y="29245"/>
                      <a:pt x="152926" y="50497"/>
                      <a:pt x="154008" y="73425"/>
                    </a:cubicBezTo>
                    <a:cubicBezTo>
                      <a:pt x="155089" y="96353"/>
                      <a:pt x="145890" y="118568"/>
                      <a:pt x="128916" y="134021"/>
                    </a:cubicBezTo>
                    <a:lnTo>
                      <a:pt x="119294" y="123450"/>
                    </a:lnTo>
                    <a:cubicBezTo>
                      <a:pt x="133118" y="110865"/>
                      <a:pt x="140611" y="92772"/>
                      <a:pt x="139730" y="74098"/>
                    </a:cubicBezTo>
                    <a:cubicBezTo>
                      <a:pt x="138850" y="55424"/>
                      <a:pt x="129689" y="38115"/>
                      <a:pt x="114743" y="26887"/>
                    </a:cubicBezTo>
                    <a:close/>
                    <a:moveTo>
                      <a:pt x="136698" y="17411"/>
                    </a:moveTo>
                    <a:cubicBezTo>
                      <a:pt x="103758" y="-15529"/>
                      <a:pt x="50351" y="-15529"/>
                      <a:pt x="17412" y="17411"/>
                    </a:cubicBezTo>
                    <a:cubicBezTo>
                      <a:pt x="-15528" y="50351"/>
                      <a:pt x="-15528" y="103757"/>
                      <a:pt x="17412" y="136697"/>
                    </a:cubicBezTo>
                    <a:cubicBezTo>
                      <a:pt x="50351" y="169637"/>
                      <a:pt x="103758" y="169637"/>
                      <a:pt x="136698" y="136697"/>
                    </a:cubicBezTo>
                    <a:cubicBezTo>
                      <a:pt x="169637" y="103757"/>
                      <a:pt x="169637" y="50351"/>
                      <a:pt x="136698" y="17411"/>
                    </a:cubicBezTo>
                    <a:close/>
                    <a:moveTo>
                      <a:pt x="154109" y="0"/>
                    </a:moveTo>
                    <a:cubicBezTo>
                      <a:pt x="196665" y="42556"/>
                      <a:pt x="196665" y="111552"/>
                      <a:pt x="154109" y="154108"/>
                    </a:cubicBezTo>
                    <a:cubicBezTo>
                      <a:pt x="139576" y="168641"/>
                      <a:pt x="121959" y="178211"/>
                      <a:pt x="102912" y="180994"/>
                    </a:cubicBezTo>
                    <a:lnTo>
                      <a:pt x="102912" y="308310"/>
                    </a:lnTo>
                    <a:lnTo>
                      <a:pt x="51197" y="308310"/>
                    </a:lnTo>
                    <a:lnTo>
                      <a:pt x="51197" y="180994"/>
                    </a:lnTo>
                    <a:cubicBezTo>
                      <a:pt x="32150" y="178211"/>
                      <a:pt x="14534" y="168641"/>
                      <a:pt x="0" y="154108"/>
                    </a:cubicBezTo>
                    <a:cubicBezTo>
                      <a:pt x="-42555" y="111552"/>
                      <a:pt x="-42555" y="42556"/>
                      <a:pt x="0" y="0"/>
                    </a:cubicBezTo>
                    <a:cubicBezTo>
                      <a:pt x="42556" y="-42556"/>
                      <a:pt x="111553" y="-42556"/>
                      <a:pt x="154109" y="0"/>
                    </a:cubicBezTo>
                    <a:close/>
                  </a:path>
                </a:pathLst>
              </a:custGeom>
              <a:solidFill>
                <a:srgbClr val="262626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60" name="Rectangle 30">
                <a:extLst>
                  <a:ext uri="{FF2B5EF4-FFF2-40B4-BE49-F238E27FC236}">
                    <a16:creationId xmlns:a16="http://schemas.microsoft.com/office/drawing/2014/main" id="{17A0B2D8-6849-475C-B6FE-A8EA14BEC250}"/>
                  </a:ext>
                </a:extLst>
              </p:cNvPr>
              <p:cNvSpPr/>
              <p:nvPr/>
            </p:nvSpPr>
            <p:spPr>
              <a:xfrm>
                <a:off x="8165023" y="4979427"/>
                <a:ext cx="299435" cy="298560"/>
              </a:xfrm>
              <a:custGeom>
                <a:avLst/>
                <a:gdLst/>
                <a:ahLst/>
                <a:cxnLst/>
                <a:rect l="l" t="t" r="r" b="b"/>
                <a:pathLst>
                  <a:path w="3240000" h="3230531">
                    <a:moveTo>
                      <a:pt x="720000" y="2697973"/>
                    </a:moveTo>
                    <a:cubicBezTo>
                      <a:pt x="680235" y="2697973"/>
                      <a:pt x="648000" y="2730208"/>
                      <a:pt x="648000" y="2769973"/>
                    </a:cubicBezTo>
                    <a:cubicBezTo>
                      <a:pt x="648000" y="2809738"/>
                      <a:pt x="680235" y="2841973"/>
                      <a:pt x="720000" y="2841973"/>
                    </a:cubicBezTo>
                    <a:lnTo>
                      <a:pt x="2520000" y="2841973"/>
                    </a:lnTo>
                    <a:cubicBezTo>
                      <a:pt x="2559765" y="2841973"/>
                      <a:pt x="2592000" y="2809738"/>
                      <a:pt x="2592000" y="2769973"/>
                    </a:cubicBezTo>
                    <a:cubicBezTo>
                      <a:pt x="2592000" y="2730208"/>
                      <a:pt x="2559765" y="2697973"/>
                      <a:pt x="2520000" y="2697973"/>
                    </a:cubicBezTo>
                    <a:close/>
                    <a:moveTo>
                      <a:pt x="720000" y="2366733"/>
                    </a:moveTo>
                    <a:cubicBezTo>
                      <a:pt x="680235" y="2366733"/>
                      <a:pt x="648000" y="2398968"/>
                      <a:pt x="648000" y="2438733"/>
                    </a:cubicBezTo>
                    <a:cubicBezTo>
                      <a:pt x="648000" y="2478498"/>
                      <a:pt x="680235" y="2510733"/>
                      <a:pt x="720000" y="2510733"/>
                    </a:cubicBezTo>
                    <a:lnTo>
                      <a:pt x="2520000" y="2510733"/>
                    </a:lnTo>
                    <a:cubicBezTo>
                      <a:pt x="2559765" y="2510733"/>
                      <a:pt x="2592000" y="2478498"/>
                      <a:pt x="2592000" y="2438733"/>
                    </a:cubicBezTo>
                    <a:cubicBezTo>
                      <a:pt x="2592000" y="2398968"/>
                      <a:pt x="2559765" y="2366733"/>
                      <a:pt x="2520000" y="2366733"/>
                    </a:cubicBezTo>
                    <a:close/>
                    <a:moveTo>
                      <a:pt x="720000" y="2035493"/>
                    </a:moveTo>
                    <a:cubicBezTo>
                      <a:pt x="680235" y="2035493"/>
                      <a:pt x="648000" y="2067728"/>
                      <a:pt x="648000" y="2107493"/>
                    </a:cubicBezTo>
                    <a:cubicBezTo>
                      <a:pt x="648000" y="2147258"/>
                      <a:pt x="680235" y="2179493"/>
                      <a:pt x="720000" y="2179493"/>
                    </a:cubicBezTo>
                    <a:lnTo>
                      <a:pt x="2520000" y="2179493"/>
                    </a:lnTo>
                    <a:cubicBezTo>
                      <a:pt x="2559765" y="2179493"/>
                      <a:pt x="2592000" y="2147258"/>
                      <a:pt x="2592000" y="2107493"/>
                    </a:cubicBezTo>
                    <a:cubicBezTo>
                      <a:pt x="2592000" y="2067728"/>
                      <a:pt x="2559765" y="2035493"/>
                      <a:pt x="2520000" y="2035493"/>
                    </a:cubicBezTo>
                    <a:close/>
                    <a:moveTo>
                      <a:pt x="720000" y="1704253"/>
                    </a:moveTo>
                    <a:cubicBezTo>
                      <a:pt x="680235" y="1704253"/>
                      <a:pt x="648000" y="1736488"/>
                      <a:pt x="648000" y="1776253"/>
                    </a:cubicBezTo>
                    <a:cubicBezTo>
                      <a:pt x="648000" y="1816018"/>
                      <a:pt x="680235" y="1848253"/>
                      <a:pt x="720000" y="1848253"/>
                    </a:cubicBezTo>
                    <a:lnTo>
                      <a:pt x="2520000" y="1848253"/>
                    </a:lnTo>
                    <a:cubicBezTo>
                      <a:pt x="2559765" y="1848253"/>
                      <a:pt x="2592000" y="1816018"/>
                      <a:pt x="2592000" y="1776253"/>
                    </a:cubicBezTo>
                    <a:cubicBezTo>
                      <a:pt x="2592000" y="1736488"/>
                      <a:pt x="2559765" y="1704253"/>
                      <a:pt x="2520000" y="1704253"/>
                    </a:cubicBezTo>
                    <a:close/>
                    <a:moveTo>
                      <a:pt x="720000" y="1373013"/>
                    </a:moveTo>
                    <a:cubicBezTo>
                      <a:pt x="680235" y="1373013"/>
                      <a:pt x="648000" y="1405248"/>
                      <a:pt x="648000" y="1445013"/>
                    </a:cubicBezTo>
                    <a:cubicBezTo>
                      <a:pt x="648000" y="1484778"/>
                      <a:pt x="680235" y="1517013"/>
                      <a:pt x="720000" y="1517013"/>
                    </a:cubicBezTo>
                    <a:lnTo>
                      <a:pt x="2520000" y="1517013"/>
                    </a:lnTo>
                    <a:cubicBezTo>
                      <a:pt x="2559765" y="1517013"/>
                      <a:pt x="2592000" y="1484778"/>
                      <a:pt x="2592000" y="1445013"/>
                    </a:cubicBezTo>
                    <a:cubicBezTo>
                      <a:pt x="2592000" y="1405248"/>
                      <a:pt x="2559765" y="1373013"/>
                      <a:pt x="2520000" y="1373013"/>
                    </a:cubicBezTo>
                    <a:close/>
                    <a:moveTo>
                      <a:pt x="720000" y="1041773"/>
                    </a:moveTo>
                    <a:cubicBezTo>
                      <a:pt x="680235" y="1041773"/>
                      <a:pt x="648000" y="1074008"/>
                      <a:pt x="648000" y="1113773"/>
                    </a:cubicBezTo>
                    <a:cubicBezTo>
                      <a:pt x="648000" y="1153538"/>
                      <a:pt x="680235" y="1185773"/>
                      <a:pt x="720000" y="1185773"/>
                    </a:cubicBezTo>
                    <a:lnTo>
                      <a:pt x="2520000" y="1185773"/>
                    </a:lnTo>
                    <a:cubicBezTo>
                      <a:pt x="2559765" y="1185773"/>
                      <a:pt x="2592000" y="1153538"/>
                      <a:pt x="2592000" y="1113773"/>
                    </a:cubicBezTo>
                    <a:cubicBezTo>
                      <a:pt x="2592000" y="1074008"/>
                      <a:pt x="2559765" y="1041773"/>
                      <a:pt x="2520000" y="1041773"/>
                    </a:cubicBezTo>
                    <a:close/>
                    <a:moveTo>
                      <a:pt x="0" y="305988"/>
                    </a:moveTo>
                    <a:lnTo>
                      <a:pt x="181957" y="305988"/>
                    </a:lnTo>
                    <a:lnTo>
                      <a:pt x="181957" y="470032"/>
                    </a:lnTo>
                    <a:cubicBezTo>
                      <a:pt x="181957" y="599267"/>
                      <a:pt x="286722" y="704032"/>
                      <a:pt x="415957" y="704032"/>
                    </a:cubicBezTo>
                    <a:cubicBezTo>
                      <a:pt x="545192" y="704032"/>
                      <a:pt x="649957" y="599267"/>
                      <a:pt x="649957" y="470032"/>
                    </a:cubicBezTo>
                    <a:lnTo>
                      <a:pt x="649957" y="305988"/>
                    </a:lnTo>
                    <a:lnTo>
                      <a:pt x="802357" y="305988"/>
                    </a:lnTo>
                    <a:lnTo>
                      <a:pt x="802357" y="470031"/>
                    </a:lnTo>
                    <a:cubicBezTo>
                      <a:pt x="802357" y="599266"/>
                      <a:pt x="907122" y="704031"/>
                      <a:pt x="1036357" y="704031"/>
                    </a:cubicBezTo>
                    <a:cubicBezTo>
                      <a:pt x="1165592" y="704031"/>
                      <a:pt x="1270357" y="599266"/>
                      <a:pt x="1270357" y="470031"/>
                    </a:cubicBezTo>
                    <a:lnTo>
                      <a:pt x="1270357" y="305988"/>
                    </a:lnTo>
                    <a:lnTo>
                      <a:pt x="1422757" y="305988"/>
                    </a:lnTo>
                    <a:lnTo>
                      <a:pt x="1422757" y="470030"/>
                    </a:lnTo>
                    <a:cubicBezTo>
                      <a:pt x="1422757" y="599265"/>
                      <a:pt x="1527522" y="704030"/>
                      <a:pt x="1656757" y="704030"/>
                    </a:cubicBezTo>
                    <a:cubicBezTo>
                      <a:pt x="1785992" y="704030"/>
                      <a:pt x="1890757" y="599265"/>
                      <a:pt x="1890757" y="470030"/>
                    </a:cubicBezTo>
                    <a:lnTo>
                      <a:pt x="1890757" y="305988"/>
                    </a:lnTo>
                    <a:lnTo>
                      <a:pt x="2043157" y="305988"/>
                    </a:lnTo>
                    <a:lnTo>
                      <a:pt x="2043157" y="470029"/>
                    </a:lnTo>
                    <a:cubicBezTo>
                      <a:pt x="2043157" y="599264"/>
                      <a:pt x="2147922" y="704029"/>
                      <a:pt x="2277157" y="704029"/>
                    </a:cubicBezTo>
                    <a:cubicBezTo>
                      <a:pt x="2406392" y="704029"/>
                      <a:pt x="2511157" y="599264"/>
                      <a:pt x="2511157" y="470029"/>
                    </a:cubicBezTo>
                    <a:lnTo>
                      <a:pt x="2511157" y="305988"/>
                    </a:lnTo>
                    <a:lnTo>
                      <a:pt x="2663557" y="305988"/>
                    </a:lnTo>
                    <a:lnTo>
                      <a:pt x="2663557" y="470028"/>
                    </a:lnTo>
                    <a:cubicBezTo>
                      <a:pt x="2663557" y="599263"/>
                      <a:pt x="2768322" y="704028"/>
                      <a:pt x="2897557" y="704028"/>
                    </a:cubicBezTo>
                    <a:cubicBezTo>
                      <a:pt x="3026792" y="704028"/>
                      <a:pt x="3131557" y="599263"/>
                      <a:pt x="3131557" y="470028"/>
                    </a:cubicBezTo>
                    <a:lnTo>
                      <a:pt x="3131557" y="305988"/>
                    </a:lnTo>
                    <a:lnTo>
                      <a:pt x="3240000" y="305988"/>
                    </a:lnTo>
                    <a:lnTo>
                      <a:pt x="3240000" y="3230531"/>
                    </a:lnTo>
                    <a:lnTo>
                      <a:pt x="0" y="3230531"/>
                    </a:lnTo>
                    <a:close/>
                    <a:moveTo>
                      <a:pt x="415957" y="4"/>
                    </a:moveTo>
                    <a:cubicBezTo>
                      <a:pt x="485545" y="4"/>
                      <a:pt x="541957" y="56416"/>
                      <a:pt x="541957" y="126004"/>
                    </a:cubicBezTo>
                    <a:lnTo>
                      <a:pt x="541957" y="485972"/>
                    </a:lnTo>
                    <a:cubicBezTo>
                      <a:pt x="541957" y="555560"/>
                      <a:pt x="485545" y="611972"/>
                      <a:pt x="415957" y="611972"/>
                    </a:cubicBezTo>
                    <a:cubicBezTo>
                      <a:pt x="346369" y="611972"/>
                      <a:pt x="289957" y="555560"/>
                      <a:pt x="289957" y="485972"/>
                    </a:cubicBezTo>
                    <a:lnTo>
                      <a:pt x="289957" y="126004"/>
                    </a:lnTo>
                    <a:cubicBezTo>
                      <a:pt x="289957" y="56416"/>
                      <a:pt x="346369" y="4"/>
                      <a:pt x="415957" y="4"/>
                    </a:cubicBezTo>
                    <a:close/>
                    <a:moveTo>
                      <a:pt x="1036357" y="3"/>
                    </a:moveTo>
                    <a:cubicBezTo>
                      <a:pt x="1105945" y="3"/>
                      <a:pt x="1162357" y="56415"/>
                      <a:pt x="1162357" y="126003"/>
                    </a:cubicBezTo>
                    <a:lnTo>
                      <a:pt x="1162357" y="485971"/>
                    </a:lnTo>
                    <a:cubicBezTo>
                      <a:pt x="1162357" y="555559"/>
                      <a:pt x="1105945" y="611971"/>
                      <a:pt x="1036357" y="611971"/>
                    </a:cubicBezTo>
                    <a:cubicBezTo>
                      <a:pt x="966769" y="611971"/>
                      <a:pt x="910357" y="555559"/>
                      <a:pt x="910357" y="485971"/>
                    </a:cubicBezTo>
                    <a:lnTo>
                      <a:pt x="910357" y="126003"/>
                    </a:lnTo>
                    <a:cubicBezTo>
                      <a:pt x="910357" y="56415"/>
                      <a:pt x="966769" y="3"/>
                      <a:pt x="1036357" y="3"/>
                    </a:cubicBezTo>
                    <a:close/>
                    <a:moveTo>
                      <a:pt x="1656757" y="2"/>
                    </a:moveTo>
                    <a:cubicBezTo>
                      <a:pt x="1726345" y="2"/>
                      <a:pt x="1782757" y="56414"/>
                      <a:pt x="1782757" y="126002"/>
                    </a:cubicBezTo>
                    <a:lnTo>
                      <a:pt x="1782757" y="485970"/>
                    </a:lnTo>
                    <a:cubicBezTo>
                      <a:pt x="1782757" y="555558"/>
                      <a:pt x="1726345" y="611970"/>
                      <a:pt x="1656757" y="611970"/>
                    </a:cubicBezTo>
                    <a:cubicBezTo>
                      <a:pt x="1587169" y="611970"/>
                      <a:pt x="1530757" y="555558"/>
                      <a:pt x="1530757" y="485970"/>
                    </a:cubicBezTo>
                    <a:lnTo>
                      <a:pt x="1530757" y="126002"/>
                    </a:lnTo>
                    <a:cubicBezTo>
                      <a:pt x="1530757" y="56414"/>
                      <a:pt x="1587169" y="2"/>
                      <a:pt x="1656757" y="2"/>
                    </a:cubicBezTo>
                    <a:close/>
                    <a:moveTo>
                      <a:pt x="2277157" y="1"/>
                    </a:moveTo>
                    <a:cubicBezTo>
                      <a:pt x="2346745" y="1"/>
                      <a:pt x="2403157" y="56413"/>
                      <a:pt x="2403157" y="126001"/>
                    </a:cubicBezTo>
                    <a:lnTo>
                      <a:pt x="2403157" y="485969"/>
                    </a:lnTo>
                    <a:cubicBezTo>
                      <a:pt x="2403157" y="555557"/>
                      <a:pt x="2346745" y="611969"/>
                      <a:pt x="2277157" y="611969"/>
                    </a:cubicBezTo>
                    <a:cubicBezTo>
                      <a:pt x="2207569" y="611969"/>
                      <a:pt x="2151157" y="555557"/>
                      <a:pt x="2151157" y="485969"/>
                    </a:cubicBezTo>
                    <a:lnTo>
                      <a:pt x="2151157" y="126001"/>
                    </a:lnTo>
                    <a:cubicBezTo>
                      <a:pt x="2151157" y="56413"/>
                      <a:pt x="2207569" y="1"/>
                      <a:pt x="2277157" y="1"/>
                    </a:cubicBezTo>
                    <a:close/>
                    <a:moveTo>
                      <a:pt x="2897557" y="0"/>
                    </a:moveTo>
                    <a:cubicBezTo>
                      <a:pt x="2967145" y="0"/>
                      <a:pt x="3023557" y="56412"/>
                      <a:pt x="3023557" y="126000"/>
                    </a:cubicBezTo>
                    <a:lnTo>
                      <a:pt x="3023557" y="485968"/>
                    </a:lnTo>
                    <a:cubicBezTo>
                      <a:pt x="3023557" y="555556"/>
                      <a:pt x="2967145" y="611968"/>
                      <a:pt x="2897557" y="611968"/>
                    </a:cubicBezTo>
                    <a:cubicBezTo>
                      <a:pt x="2827969" y="611968"/>
                      <a:pt x="2771557" y="555556"/>
                      <a:pt x="2771557" y="485968"/>
                    </a:cubicBezTo>
                    <a:lnTo>
                      <a:pt x="2771557" y="126000"/>
                    </a:lnTo>
                    <a:cubicBezTo>
                      <a:pt x="2771557" y="56412"/>
                      <a:pt x="2827969" y="0"/>
                      <a:pt x="2897557" y="0"/>
                    </a:cubicBezTo>
                    <a:close/>
                  </a:path>
                </a:pathLst>
              </a:custGeom>
              <a:solidFill>
                <a:srgbClr val="262626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61" name="Rectangle 7">
                <a:extLst>
                  <a:ext uri="{FF2B5EF4-FFF2-40B4-BE49-F238E27FC236}">
                    <a16:creationId xmlns:a16="http://schemas.microsoft.com/office/drawing/2014/main" id="{E48061CC-389B-4A69-B29A-9708FCB92486}"/>
                  </a:ext>
                </a:extLst>
              </p:cNvPr>
              <p:cNvSpPr/>
              <p:nvPr/>
            </p:nvSpPr>
            <p:spPr>
              <a:xfrm>
                <a:off x="8938584" y="5002802"/>
                <a:ext cx="303995" cy="303995"/>
              </a:xfrm>
              <a:custGeom>
                <a:avLst/>
                <a:gdLst/>
                <a:ahLst/>
                <a:cxnLst/>
                <a:rect l="l" t="t" r="r" b="b"/>
                <a:pathLst>
                  <a:path w="3240000" h="3240000">
                    <a:moveTo>
                      <a:pt x="401869" y="2055482"/>
                    </a:moveTo>
                    <a:lnTo>
                      <a:pt x="869869" y="2055482"/>
                    </a:lnTo>
                    <a:lnTo>
                      <a:pt x="869869" y="2919482"/>
                    </a:lnTo>
                    <a:lnTo>
                      <a:pt x="401869" y="2919482"/>
                    </a:lnTo>
                    <a:close/>
                    <a:moveTo>
                      <a:pt x="1121949" y="1695482"/>
                    </a:moveTo>
                    <a:lnTo>
                      <a:pt x="1589949" y="1695482"/>
                    </a:lnTo>
                    <a:lnTo>
                      <a:pt x="1589949" y="2919482"/>
                    </a:lnTo>
                    <a:lnTo>
                      <a:pt x="1121949" y="2919482"/>
                    </a:lnTo>
                    <a:close/>
                    <a:moveTo>
                      <a:pt x="1842029" y="1335482"/>
                    </a:moveTo>
                    <a:lnTo>
                      <a:pt x="2310029" y="1335482"/>
                    </a:lnTo>
                    <a:lnTo>
                      <a:pt x="2310029" y="2919482"/>
                    </a:lnTo>
                    <a:lnTo>
                      <a:pt x="1842029" y="2919482"/>
                    </a:lnTo>
                    <a:close/>
                    <a:moveTo>
                      <a:pt x="2562109" y="975482"/>
                    </a:moveTo>
                    <a:lnTo>
                      <a:pt x="3030109" y="975482"/>
                    </a:lnTo>
                    <a:lnTo>
                      <a:pt x="3030109" y="2919482"/>
                    </a:lnTo>
                    <a:lnTo>
                      <a:pt x="2562109" y="2919482"/>
                    </a:lnTo>
                    <a:close/>
                    <a:moveTo>
                      <a:pt x="2321888" y="224805"/>
                    </a:moveTo>
                    <a:lnTo>
                      <a:pt x="2880631" y="247420"/>
                    </a:lnTo>
                    <a:lnTo>
                      <a:pt x="2620844" y="742612"/>
                    </a:lnTo>
                    <a:lnTo>
                      <a:pt x="2546105" y="613161"/>
                    </a:lnTo>
                    <a:lnTo>
                      <a:pt x="541555" y="1770488"/>
                    </a:lnTo>
                    <a:lnTo>
                      <a:pt x="392077" y="1511585"/>
                    </a:lnTo>
                    <a:lnTo>
                      <a:pt x="2396627" y="354257"/>
                    </a:lnTo>
                    <a:close/>
                    <a:moveTo>
                      <a:pt x="0" y="0"/>
                    </a:moveTo>
                    <a:lnTo>
                      <a:pt x="180000" y="0"/>
                    </a:lnTo>
                    <a:lnTo>
                      <a:pt x="180000" y="3059999"/>
                    </a:lnTo>
                    <a:lnTo>
                      <a:pt x="3240000" y="3059999"/>
                    </a:lnTo>
                    <a:lnTo>
                      <a:pt x="3240000" y="3239999"/>
                    </a:lnTo>
                    <a:lnTo>
                      <a:pt x="180000" y="3239999"/>
                    </a:lnTo>
                    <a:lnTo>
                      <a:pt x="180000" y="3240000"/>
                    </a:lnTo>
                    <a:lnTo>
                      <a:pt x="0" y="3240000"/>
                    </a:lnTo>
                    <a:lnTo>
                      <a:pt x="0" y="3239999"/>
                    </a:lnTo>
                    <a:lnTo>
                      <a:pt x="0" y="3059999"/>
                    </a:lnTo>
                    <a:close/>
                  </a:path>
                </a:pathLst>
              </a:custGeom>
              <a:solidFill>
                <a:srgbClr val="3282BE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62" name="Rectangle 15">
                <a:extLst>
                  <a:ext uri="{FF2B5EF4-FFF2-40B4-BE49-F238E27FC236}">
                    <a16:creationId xmlns:a16="http://schemas.microsoft.com/office/drawing/2014/main" id="{AF5F0825-07AE-4297-BD91-0C94C67A203C}"/>
                  </a:ext>
                </a:extLst>
              </p:cNvPr>
              <p:cNvSpPr/>
              <p:nvPr/>
            </p:nvSpPr>
            <p:spPr>
              <a:xfrm rot="5400000">
                <a:off x="7546142" y="4554149"/>
                <a:ext cx="304400" cy="303996"/>
              </a:xfrm>
              <a:custGeom>
                <a:avLst/>
                <a:gdLst/>
                <a:ahLst/>
                <a:cxnLst/>
                <a:rect l="l" t="t" r="r" b="b"/>
                <a:pathLst>
                  <a:path w="3244313" h="3240000">
                    <a:moveTo>
                      <a:pt x="2055482" y="677891"/>
                    </a:moveTo>
                    <a:lnTo>
                      <a:pt x="2055482" y="209891"/>
                    </a:lnTo>
                    <a:lnTo>
                      <a:pt x="2919482" y="209891"/>
                    </a:lnTo>
                    <a:lnTo>
                      <a:pt x="2919482" y="677891"/>
                    </a:lnTo>
                    <a:close/>
                    <a:moveTo>
                      <a:pt x="1695482" y="1397971"/>
                    </a:moveTo>
                    <a:lnTo>
                      <a:pt x="1695482" y="929971"/>
                    </a:lnTo>
                    <a:lnTo>
                      <a:pt x="2919482" y="929971"/>
                    </a:lnTo>
                    <a:lnTo>
                      <a:pt x="2919482" y="1397971"/>
                    </a:lnTo>
                    <a:close/>
                    <a:moveTo>
                      <a:pt x="1335482" y="2118051"/>
                    </a:moveTo>
                    <a:lnTo>
                      <a:pt x="1335482" y="1650051"/>
                    </a:lnTo>
                    <a:lnTo>
                      <a:pt x="2919482" y="1650051"/>
                    </a:lnTo>
                    <a:lnTo>
                      <a:pt x="2919482" y="2118051"/>
                    </a:lnTo>
                    <a:close/>
                    <a:moveTo>
                      <a:pt x="975482" y="2838131"/>
                    </a:moveTo>
                    <a:lnTo>
                      <a:pt x="975482" y="2370131"/>
                    </a:lnTo>
                    <a:lnTo>
                      <a:pt x="2919482" y="2370131"/>
                    </a:lnTo>
                    <a:lnTo>
                      <a:pt x="2919482" y="2838131"/>
                    </a:lnTo>
                    <a:close/>
                    <a:moveTo>
                      <a:pt x="10788" y="2651034"/>
                    </a:moveTo>
                    <a:lnTo>
                      <a:pt x="1168116" y="646484"/>
                    </a:lnTo>
                    <a:lnTo>
                      <a:pt x="1038664" y="571745"/>
                    </a:lnTo>
                    <a:lnTo>
                      <a:pt x="1533856" y="311959"/>
                    </a:lnTo>
                    <a:lnTo>
                      <a:pt x="1556471" y="870701"/>
                    </a:lnTo>
                    <a:lnTo>
                      <a:pt x="1427019" y="795962"/>
                    </a:lnTo>
                    <a:lnTo>
                      <a:pt x="269691" y="2800512"/>
                    </a:lnTo>
                    <a:close/>
                    <a:moveTo>
                      <a:pt x="0" y="3240000"/>
                    </a:moveTo>
                    <a:lnTo>
                      <a:pt x="0" y="3060000"/>
                    </a:lnTo>
                    <a:lnTo>
                      <a:pt x="3064313" y="3060000"/>
                    </a:lnTo>
                    <a:lnTo>
                      <a:pt x="3064313" y="0"/>
                    </a:lnTo>
                    <a:lnTo>
                      <a:pt x="3244313" y="0"/>
                    </a:lnTo>
                    <a:lnTo>
                      <a:pt x="3244313" y="3240000"/>
                    </a:lnTo>
                    <a:lnTo>
                      <a:pt x="3240000" y="3240000"/>
                    </a:lnTo>
                    <a:lnTo>
                      <a:pt x="3064313" y="3240000"/>
                    </a:lnTo>
                    <a:close/>
                  </a:path>
                </a:pathLst>
              </a:custGeom>
              <a:solidFill>
                <a:srgbClr val="3282BE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63" name="Parallelogram 30">
                <a:extLst>
                  <a:ext uri="{FF2B5EF4-FFF2-40B4-BE49-F238E27FC236}">
                    <a16:creationId xmlns:a16="http://schemas.microsoft.com/office/drawing/2014/main" id="{34364400-D681-4F47-90D1-F42CAC0EE49C}"/>
                  </a:ext>
                </a:extLst>
              </p:cNvPr>
              <p:cNvSpPr/>
              <p:nvPr/>
            </p:nvSpPr>
            <p:spPr>
              <a:xfrm flipH="1">
                <a:off x="10344895" y="4061811"/>
                <a:ext cx="331980" cy="332801"/>
              </a:xfrm>
              <a:custGeom>
                <a:avLst/>
                <a:gdLst/>
                <a:ahLst/>
                <a:cxnLst/>
                <a:rect l="l" t="t" r="r" b="b"/>
                <a:pathLst>
                  <a:path w="3240000" h="3248012">
                    <a:moveTo>
                      <a:pt x="712553" y="858820"/>
                    </a:moveTo>
                    <a:cubicBezTo>
                      <a:pt x="727950" y="858820"/>
                      <a:pt x="743348" y="864694"/>
                      <a:pt x="755096" y="876443"/>
                    </a:cubicBezTo>
                    <a:lnTo>
                      <a:pt x="1193671" y="1315016"/>
                    </a:lnTo>
                    <a:lnTo>
                      <a:pt x="1509169" y="999517"/>
                    </a:lnTo>
                    <a:cubicBezTo>
                      <a:pt x="1509517" y="999169"/>
                      <a:pt x="1509868" y="998827"/>
                      <a:pt x="1510414" y="998691"/>
                    </a:cubicBezTo>
                    <a:lnTo>
                      <a:pt x="1518932" y="988592"/>
                    </a:lnTo>
                    <a:cubicBezTo>
                      <a:pt x="1531945" y="978263"/>
                      <a:pt x="1547912" y="974188"/>
                      <a:pt x="1563209" y="975946"/>
                    </a:cubicBezTo>
                    <a:cubicBezTo>
                      <a:pt x="1578505" y="977705"/>
                      <a:pt x="1593131" y="985299"/>
                      <a:pt x="1603459" y="998313"/>
                    </a:cubicBezTo>
                    <a:lnTo>
                      <a:pt x="1892346" y="1362277"/>
                    </a:lnTo>
                    <a:lnTo>
                      <a:pt x="2149759" y="1177067"/>
                    </a:lnTo>
                    <a:lnTo>
                      <a:pt x="2151621" y="1174867"/>
                    </a:lnTo>
                    <a:cubicBezTo>
                      <a:pt x="2159033" y="1169006"/>
                      <a:pt x="2167397" y="1165168"/>
                      <a:pt x="2176160" y="1163802"/>
                    </a:cubicBezTo>
                    <a:cubicBezTo>
                      <a:pt x="2177188" y="1163485"/>
                      <a:pt x="2178237" y="1163269"/>
                      <a:pt x="2179375" y="1163558"/>
                    </a:cubicBezTo>
                    <a:cubicBezTo>
                      <a:pt x="2184768" y="1161771"/>
                      <a:pt x="2190389" y="1161654"/>
                      <a:pt x="2195921" y="1162300"/>
                    </a:cubicBezTo>
                    <a:cubicBezTo>
                      <a:pt x="2196662" y="1162386"/>
                      <a:pt x="2197402" y="1162487"/>
                      <a:pt x="2198081" y="1162987"/>
                    </a:cubicBezTo>
                    <a:cubicBezTo>
                      <a:pt x="2202197" y="1163290"/>
                      <a:pt x="2206218" y="1164270"/>
                      <a:pt x="2209739" y="1166702"/>
                    </a:cubicBezTo>
                    <a:cubicBezTo>
                      <a:pt x="2213116" y="1166857"/>
                      <a:pt x="2216051" y="1168231"/>
                      <a:pt x="2218766" y="1170038"/>
                    </a:cubicBezTo>
                    <a:cubicBezTo>
                      <a:pt x="2225342" y="1173160"/>
                      <a:pt x="2231151" y="1177875"/>
                      <a:pt x="2235489" y="1184194"/>
                    </a:cubicBezTo>
                    <a:lnTo>
                      <a:pt x="2236132" y="1184737"/>
                    </a:lnTo>
                    <a:lnTo>
                      <a:pt x="2236287" y="1184934"/>
                    </a:lnTo>
                    <a:lnTo>
                      <a:pt x="2238712" y="1187183"/>
                    </a:lnTo>
                    <a:cubicBezTo>
                      <a:pt x="2239115" y="1187744"/>
                      <a:pt x="2239507" y="1188310"/>
                      <a:pt x="2239574" y="1189090"/>
                    </a:cubicBezTo>
                    <a:lnTo>
                      <a:pt x="2540580" y="1569705"/>
                    </a:lnTo>
                    <a:cubicBezTo>
                      <a:pt x="2561191" y="1595768"/>
                      <a:pt x="2556772" y="1633604"/>
                      <a:pt x="2530710" y="1654215"/>
                    </a:cubicBezTo>
                    <a:cubicBezTo>
                      <a:pt x="2504647" y="1674827"/>
                      <a:pt x="2466811" y="1670408"/>
                      <a:pt x="2446199" y="1644345"/>
                    </a:cubicBezTo>
                    <a:lnTo>
                      <a:pt x="2177884" y="1305067"/>
                    </a:lnTo>
                    <a:lnTo>
                      <a:pt x="1934804" y="1479967"/>
                    </a:lnTo>
                    <a:cubicBezTo>
                      <a:pt x="1927367" y="1485317"/>
                      <a:pt x="1919123" y="1488726"/>
                      <a:pt x="1910598" y="1489881"/>
                    </a:cubicBezTo>
                    <a:cubicBezTo>
                      <a:pt x="1885257" y="1507791"/>
                      <a:pt x="1850121" y="1502627"/>
                      <a:pt x="1830495" y="1477903"/>
                    </a:cubicBezTo>
                    <a:lnTo>
                      <a:pt x="1551924" y="1126933"/>
                    </a:lnTo>
                    <a:lnTo>
                      <a:pt x="1239041" y="1439816"/>
                    </a:lnTo>
                    <a:cubicBezTo>
                      <a:pt x="1226569" y="1452288"/>
                      <a:pt x="1209983" y="1458139"/>
                      <a:pt x="1193674" y="1456888"/>
                    </a:cubicBezTo>
                    <a:cubicBezTo>
                      <a:pt x="1177363" y="1458142"/>
                      <a:pt x="1160774" y="1452290"/>
                      <a:pt x="1148301" y="1439816"/>
                    </a:cubicBezTo>
                    <a:lnTo>
                      <a:pt x="670011" y="961527"/>
                    </a:lnTo>
                    <a:cubicBezTo>
                      <a:pt x="646515" y="938031"/>
                      <a:pt x="646515" y="899938"/>
                      <a:pt x="670011" y="876442"/>
                    </a:cubicBezTo>
                    <a:cubicBezTo>
                      <a:pt x="681760" y="864694"/>
                      <a:pt x="697157" y="858820"/>
                      <a:pt x="712553" y="858820"/>
                    </a:cubicBezTo>
                    <a:close/>
                    <a:moveTo>
                      <a:pt x="2790000" y="699581"/>
                    </a:moveTo>
                    <a:lnTo>
                      <a:pt x="450000" y="699581"/>
                    </a:lnTo>
                    <a:lnTo>
                      <a:pt x="450000" y="1851581"/>
                    </a:lnTo>
                    <a:lnTo>
                      <a:pt x="2790000" y="1851581"/>
                    </a:lnTo>
                    <a:close/>
                    <a:moveTo>
                      <a:pt x="2987972" y="519497"/>
                    </a:moveTo>
                    <a:lnTo>
                      <a:pt x="2987972" y="2031665"/>
                    </a:lnTo>
                    <a:lnTo>
                      <a:pt x="252028" y="2031665"/>
                    </a:lnTo>
                    <a:lnTo>
                      <a:pt x="252028" y="519497"/>
                    </a:lnTo>
                    <a:close/>
                    <a:moveTo>
                      <a:pt x="1620000" y="0"/>
                    </a:moveTo>
                    <a:cubicBezTo>
                      <a:pt x="1540462" y="0"/>
                      <a:pt x="1475984" y="64478"/>
                      <a:pt x="1475984" y="144016"/>
                    </a:cubicBezTo>
                    <a:lnTo>
                      <a:pt x="1475984" y="267469"/>
                    </a:lnTo>
                    <a:lnTo>
                      <a:pt x="0" y="267469"/>
                    </a:lnTo>
                    <a:lnTo>
                      <a:pt x="0" y="2283693"/>
                    </a:lnTo>
                    <a:lnTo>
                      <a:pt x="852101" y="2283693"/>
                    </a:lnTo>
                    <a:lnTo>
                      <a:pt x="323771" y="3248012"/>
                    </a:lnTo>
                    <a:lnTo>
                      <a:pt x="621526" y="3248012"/>
                    </a:lnTo>
                    <a:lnTo>
                      <a:pt x="1149856" y="2283693"/>
                    </a:lnTo>
                    <a:lnTo>
                      <a:pt x="2090146" y="2283693"/>
                    </a:lnTo>
                    <a:lnTo>
                      <a:pt x="2618476" y="3248012"/>
                    </a:lnTo>
                    <a:lnTo>
                      <a:pt x="2916231" y="3248012"/>
                    </a:lnTo>
                    <a:lnTo>
                      <a:pt x="2387901" y="2283693"/>
                    </a:lnTo>
                    <a:lnTo>
                      <a:pt x="3240000" y="2283693"/>
                    </a:lnTo>
                    <a:lnTo>
                      <a:pt x="3240000" y="267469"/>
                    </a:lnTo>
                    <a:lnTo>
                      <a:pt x="1764016" y="267469"/>
                    </a:lnTo>
                    <a:lnTo>
                      <a:pt x="1764016" y="144016"/>
                    </a:lnTo>
                    <a:cubicBezTo>
                      <a:pt x="1764016" y="64478"/>
                      <a:pt x="1699538" y="0"/>
                      <a:pt x="1620000" y="0"/>
                    </a:cubicBez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64" name="Block Arc 14">
                <a:extLst>
                  <a:ext uri="{FF2B5EF4-FFF2-40B4-BE49-F238E27FC236}">
                    <a16:creationId xmlns:a16="http://schemas.microsoft.com/office/drawing/2014/main" id="{CF808C36-B1CE-4D81-A519-35D9315F3207}"/>
                  </a:ext>
                </a:extLst>
              </p:cNvPr>
              <p:cNvSpPr/>
              <p:nvPr/>
            </p:nvSpPr>
            <p:spPr>
              <a:xfrm rot="16200000">
                <a:off x="7269861" y="2143680"/>
                <a:ext cx="339474" cy="339698"/>
              </a:xfrm>
              <a:custGeom>
                <a:avLst/>
                <a:gdLst/>
                <a:ahLst/>
                <a:cxnLst/>
                <a:rect l="l" t="t" r="r" b="b"/>
                <a:pathLst>
                  <a:path w="3185463" h="3187558">
                    <a:moveTo>
                      <a:pt x="764000" y="2343999"/>
                    </a:moveTo>
                    <a:cubicBezTo>
                      <a:pt x="566798" y="2256389"/>
                      <a:pt x="385374" y="2134753"/>
                      <a:pt x="230072" y="1981662"/>
                    </a:cubicBezTo>
                    <a:cubicBezTo>
                      <a:pt x="297001" y="2223876"/>
                      <a:pt x="428049" y="2439341"/>
                      <a:pt x="603989" y="2608945"/>
                    </a:cubicBezTo>
                    <a:cubicBezTo>
                      <a:pt x="667739" y="2525681"/>
                      <a:pt x="720588" y="2436567"/>
                      <a:pt x="764000" y="2343999"/>
                    </a:cubicBezTo>
                    <a:close/>
                    <a:moveTo>
                      <a:pt x="783530" y="862903"/>
                    </a:moveTo>
                    <a:cubicBezTo>
                      <a:pt x="737619" y="760936"/>
                      <a:pt x="681240" y="662513"/>
                      <a:pt x="611676" y="571152"/>
                    </a:cubicBezTo>
                    <a:cubicBezTo>
                      <a:pt x="419218" y="754019"/>
                      <a:pt x="279227" y="991173"/>
                      <a:pt x="215545" y="1258034"/>
                    </a:cubicBezTo>
                    <a:cubicBezTo>
                      <a:pt x="378729" y="1090139"/>
                      <a:pt x="571934" y="956907"/>
                      <a:pt x="783530" y="862903"/>
                    </a:cubicBezTo>
                    <a:close/>
                    <a:moveTo>
                      <a:pt x="935657" y="1673146"/>
                    </a:moveTo>
                    <a:lnTo>
                      <a:pt x="227023" y="1673146"/>
                    </a:lnTo>
                    <a:cubicBezTo>
                      <a:pt x="393068" y="1882941"/>
                      <a:pt x="605618" y="2045968"/>
                      <a:pt x="844267" y="2153109"/>
                    </a:cubicBezTo>
                    <a:cubicBezTo>
                      <a:pt x="897907" y="1997390"/>
                      <a:pt x="928862" y="1835739"/>
                      <a:pt x="935657" y="1673146"/>
                    </a:cubicBezTo>
                    <a:close/>
                    <a:moveTo>
                      <a:pt x="935928" y="1493146"/>
                    </a:moveTo>
                    <a:cubicBezTo>
                      <a:pt x="928922" y="1345638"/>
                      <a:pt x="902278" y="1198995"/>
                      <a:pt x="856775" y="1056956"/>
                    </a:cubicBezTo>
                    <a:cubicBezTo>
                      <a:pt x="636768" y="1156959"/>
                      <a:pt x="439487" y="1304654"/>
                      <a:pt x="281464" y="1493146"/>
                    </a:cubicBezTo>
                    <a:close/>
                    <a:moveTo>
                      <a:pt x="1469785" y="2515107"/>
                    </a:moveTo>
                    <a:cubicBezTo>
                      <a:pt x="1283000" y="2508124"/>
                      <a:pt x="1100523" y="2472287"/>
                      <a:pt x="927628" y="2411229"/>
                    </a:cubicBezTo>
                    <a:cubicBezTo>
                      <a:pt x="876831" y="2520843"/>
                      <a:pt x="814172" y="2626182"/>
                      <a:pt x="738220" y="2724387"/>
                    </a:cubicBezTo>
                    <a:cubicBezTo>
                      <a:pt x="944637" y="2881665"/>
                      <a:pt x="1196120" y="2982471"/>
                      <a:pt x="1469785" y="3005418"/>
                    </a:cubicBezTo>
                    <a:close/>
                    <a:moveTo>
                      <a:pt x="1469785" y="1673146"/>
                    </a:moveTo>
                    <a:lnTo>
                      <a:pt x="1112275" y="1673146"/>
                    </a:lnTo>
                    <a:cubicBezTo>
                      <a:pt x="1105327" y="1858153"/>
                      <a:pt x="1070032" y="2042144"/>
                      <a:pt x="1008001" y="2219039"/>
                    </a:cubicBezTo>
                    <a:cubicBezTo>
                      <a:pt x="1155519" y="2270408"/>
                      <a:pt x="1310845" y="2300826"/>
                      <a:pt x="1469785" y="2307834"/>
                    </a:cubicBezTo>
                    <a:close/>
                    <a:moveTo>
                      <a:pt x="1469785" y="898989"/>
                    </a:moveTo>
                    <a:cubicBezTo>
                      <a:pt x="1315103" y="907762"/>
                      <a:pt x="1164166" y="938783"/>
                      <a:pt x="1020939" y="990066"/>
                    </a:cubicBezTo>
                    <a:cubicBezTo>
                      <a:pt x="1074574" y="1153655"/>
                      <a:pt x="1105461" y="1322925"/>
                      <a:pt x="1112368" y="1493146"/>
                    </a:cubicBezTo>
                    <a:lnTo>
                      <a:pt x="1469785" y="1493146"/>
                    </a:lnTo>
                    <a:close/>
                    <a:moveTo>
                      <a:pt x="1469785" y="182141"/>
                    </a:moveTo>
                    <a:cubicBezTo>
                      <a:pt x="1199839" y="204777"/>
                      <a:pt x="951477" y="303168"/>
                      <a:pt x="746615" y="456764"/>
                    </a:cubicBezTo>
                    <a:cubicBezTo>
                      <a:pt x="828296" y="562801"/>
                      <a:pt x="894225" y="677310"/>
                      <a:pt x="947434" y="796072"/>
                    </a:cubicBezTo>
                    <a:cubicBezTo>
                      <a:pt x="1113886" y="736067"/>
                      <a:pt x="1289644" y="700323"/>
                      <a:pt x="1469785" y="691530"/>
                    </a:cubicBezTo>
                    <a:close/>
                    <a:moveTo>
                      <a:pt x="2150063" y="992171"/>
                    </a:moveTo>
                    <a:cubicBezTo>
                      <a:pt x="1990712" y="935501"/>
                      <a:pt x="1822242" y="902595"/>
                      <a:pt x="1649785" y="897224"/>
                    </a:cubicBezTo>
                    <a:lnTo>
                      <a:pt x="1649785" y="1493146"/>
                    </a:lnTo>
                    <a:lnTo>
                      <a:pt x="2063712" y="1493146"/>
                    </a:lnTo>
                    <a:cubicBezTo>
                      <a:pt x="2069089" y="1323887"/>
                      <a:pt x="2098366" y="1155330"/>
                      <a:pt x="2150063" y="992171"/>
                    </a:cubicBezTo>
                    <a:close/>
                    <a:moveTo>
                      <a:pt x="2168848" y="2199110"/>
                    </a:moveTo>
                    <a:cubicBezTo>
                      <a:pt x="2108555" y="2028681"/>
                      <a:pt x="2073581" y="1851532"/>
                      <a:pt x="2065295" y="1673146"/>
                    </a:cubicBezTo>
                    <a:lnTo>
                      <a:pt x="1649785" y="1673146"/>
                    </a:lnTo>
                    <a:lnTo>
                      <a:pt x="1649785" y="2307299"/>
                    </a:lnTo>
                    <a:cubicBezTo>
                      <a:pt x="1829404" y="2299517"/>
                      <a:pt x="2004315" y="2261965"/>
                      <a:pt x="2168848" y="2199110"/>
                    </a:cubicBezTo>
                    <a:close/>
                    <a:moveTo>
                      <a:pt x="2422394" y="446879"/>
                    </a:moveTo>
                    <a:cubicBezTo>
                      <a:pt x="2204309" y="287209"/>
                      <a:pt x="1938140" y="189883"/>
                      <a:pt x="1649785" y="178919"/>
                    </a:cubicBezTo>
                    <a:lnTo>
                      <a:pt x="1649785" y="689876"/>
                    </a:lnTo>
                    <a:cubicBezTo>
                      <a:pt x="1846998" y="695154"/>
                      <a:pt x="2039668" y="732502"/>
                      <a:pt x="2221721" y="797410"/>
                    </a:cubicBezTo>
                    <a:cubicBezTo>
                      <a:pt x="2275056" y="675360"/>
                      <a:pt x="2341760" y="557662"/>
                      <a:pt x="2422394" y="446879"/>
                    </a:cubicBezTo>
                    <a:close/>
                    <a:moveTo>
                      <a:pt x="2447278" y="2722123"/>
                    </a:moveTo>
                    <a:cubicBezTo>
                      <a:pt x="2366121" y="2618714"/>
                      <a:pt x="2299534" y="2507403"/>
                      <a:pt x="2246145" y="2391362"/>
                    </a:cubicBezTo>
                    <a:cubicBezTo>
                      <a:pt x="2057375" y="2464119"/>
                      <a:pt x="1856285" y="2506958"/>
                      <a:pt x="1649785" y="2514779"/>
                    </a:cubicBezTo>
                    <a:lnTo>
                      <a:pt x="1649785" y="3008639"/>
                    </a:lnTo>
                    <a:cubicBezTo>
                      <a:pt x="1949198" y="2997255"/>
                      <a:pt x="2224691" y="2892757"/>
                      <a:pt x="2447278" y="2722123"/>
                    </a:cubicBezTo>
                    <a:close/>
                    <a:moveTo>
                      <a:pt x="2878934" y="1493146"/>
                    </a:moveTo>
                    <a:cubicBezTo>
                      <a:pt x="2723190" y="1307255"/>
                      <a:pt x="2529440" y="1161128"/>
                      <a:pt x="2313862" y="1060620"/>
                    </a:cubicBezTo>
                    <a:cubicBezTo>
                      <a:pt x="2270535" y="1201714"/>
                      <a:pt x="2245604" y="1347104"/>
                      <a:pt x="2240109" y="1493146"/>
                    </a:cubicBezTo>
                    <a:close/>
                    <a:moveTo>
                      <a:pt x="2890636" y="1673146"/>
                    </a:moveTo>
                    <a:lnTo>
                      <a:pt x="2241814" y="1673146"/>
                    </a:lnTo>
                    <a:cubicBezTo>
                      <a:pt x="2249736" y="1827102"/>
                      <a:pt x="2279520" y="1979973"/>
                      <a:pt x="2329964" y="2127513"/>
                    </a:cubicBezTo>
                    <a:cubicBezTo>
                      <a:pt x="2545677" y="2019923"/>
                      <a:pt x="2738160" y="1866413"/>
                      <a:pt x="2890636" y="1673146"/>
                    </a:cubicBezTo>
                    <a:close/>
                    <a:moveTo>
                      <a:pt x="2973035" y="1284386"/>
                    </a:moveTo>
                    <a:cubicBezTo>
                      <a:pt x="2912066" y="1001840"/>
                      <a:pt x="2765308" y="751379"/>
                      <a:pt x="2561381" y="561108"/>
                    </a:cubicBezTo>
                    <a:cubicBezTo>
                      <a:pt x="2489321" y="656437"/>
                      <a:pt x="2431363" y="759225"/>
                      <a:pt x="2384553" y="865647"/>
                    </a:cubicBezTo>
                    <a:cubicBezTo>
                      <a:pt x="2604520" y="964977"/>
                      <a:pt x="2804622" y="1106677"/>
                      <a:pt x="2973035" y="1284386"/>
                    </a:cubicBezTo>
                    <a:close/>
                    <a:moveTo>
                      <a:pt x="2974277" y="1897328"/>
                    </a:moveTo>
                    <a:cubicBezTo>
                      <a:pt x="2812488" y="2073933"/>
                      <a:pt x="2619878" y="2216690"/>
                      <a:pt x="2407486" y="2319665"/>
                    </a:cubicBezTo>
                    <a:cubicBezTo>
                      <a:pt x="2454169" y="2420503"/>
                      <a:pt x="2511856" y="2517376"/>
                      <a:pt x="2582047" y="2607468"/>
                    </a:cubicBezTo>
                    <a:cubicBezTo>
                      <a:pt x="2776399" y="2417974"/>
                      <a:pt x="2916061" y="2172750"/>
                      <a:pt x="2974277" y="1897328"/>
                    </a:cubicBezTo>
                    <a:close/>
                    <a:moveTo>
                      <a:pt x="3185463" y="1593779"/>
                    </a:moveTo>
                    <a:cubicBezTo>
                      <a:pt x="3185463" y="2473999"/>
                      <a:pt x="2471904" y="3187558"/>
                      <a:pt x="1591684" y="3187558"/>
                    </a:cubicBezTo>
                    <a:cubicBezTo>
                      <a:pt x="738111" y="3187558"/>
                      <a:pt x="41261" y="2516549"/>
                      <a:pt x="1913" y="1673146"/>
                    </a:cubicBezTo>
                    <a:lnTo>
                      <a:pt x="0" y="1673146"/>
                    </a:lnTo>
                    <a:lnTo>
                      <a:pt x="0" y="1493146"/>
                    </a:lnTo>
                    <a:lnTo>
                      <a:pt x="2750" y="1493146"/>
                    </a:lnTo>
                    <a:cubicBezTo>
                      <a:pt x="50490" y="700174"/>
                      <a:pt x="679654" y="64473"/>
                      <a:pt x="1469785" y="6156"/>
                    </a:cubicBezTo>
                    <a:lnTo>
                      <a:pt x="1469785" y="0"/>
                    </a:lnTo>
                    <a:lnTo>
                      <a:pt x="1591684" y="0"/>
                    </a:lnTo>
                    <a:lnTo>
                      <a:pt x="1649785" y="0"/>
                    </a:lnTo>
                    <a:lnTo>
                      <a:pt x="1649785" y="2934"/>
                    </a:lnTo>
                    <a:cubicBezTo>
                      <a:pt x="2503127" y="31654"/>
                      <a:pt x="3185463" y="733032"/>
                      <a:pt x="3185463" y="1593779"/>
                    </a:cubicBezTo>
                    <a:close/>
                  </a:path>
                </a:pathLst>
              </a:custGeom>
              <a:solidFill>
                <a:srgbClr val="3282BE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66" name="Round Same Side Corner Rectangle 21">
                <a:extLst>
                  <a:ext uri="{FF2B5EF4-FFF2-40B4-BE49-F238E27FC236}">
                    <a16:creationId xmlns:a16="http://schemas.microsoft.com/office/drawing/2014/main" id="{D9598E6C-02B0-4360-A1AF-33C6C13EAADC}"/>
                  </a:ext>
                </a:extLst>
              </p:cNvPr>
              <p:cNvSpPr/>
              <p:nvPr/>
            </p:nvSpPr>
            <p:spPr>
              <a:xfrm rot="10800000">
                <a:off x="9325150" y="4934469"/>
                <a:ext cx="249263" cy="281479"/>
              </a:xfrm>
              <a:custGeom>
                <a:avLst/>
                <a:gdLst/>
                <a:ahLst/>
                <a:cxnLst/>
                <a:rect l="l" t="t" r="r" b="b"/>
                <a:pathLst>
                  <a:path w="2880320" h="3252576">
                    <a:moveTo>
                      <a:pt x="612726" y="2220771"/>
                    </a:moveTo>
                    <a:cubicBezTo>
                      <a:pt x="662432" y="2220771"/>
                      <a:pt x="702726" y="2180477"/>
                      <a:pt x="702726" y="2130771"/>
                    </a:cubicBezTo>
                    <a:lnTo>
                      <a:pt x="702726" y="438771"/>
                    </a:lnTo>
                    <a:cubicBezTo>
                      <a:pt x="702726" y="389065"/>
                      <a:pt x="662432" y="348771"/>
                      <a:pt x="612726" y="348771"/>
                    </a:cubicBezTo>
                    <a:cubicBezTo>
                      <a:pt x="563020" y="348771"/>
                      <a:pt x="522726" y="389065"/>
                      <a:pt x="522726" y="438771"/>
                    </a:cubicBezTo>
                    <a:lnTo>
                      <a:pt x="522726" y="2130771"/>
                    </a:lnTo>
                    <a:cubicBezTo>
                      <a:pt x="522726" y="2180477"/>
                      <a:pt x="563020" y="2220771"/>
                      <a:pt x="612726" y="2220771"/>
                    </a:cubicBezTo>
                    <a:close/>
                    <a:moveTo>
                      <a:pt x="1188790" y="2220771"/>
                    </a:moveTo>
                    <a:cubicBezTo>
                      <a:pt x="1238496" y="2220771"/>
                      <a:pt x="1278790" y="2180477"/>
                      <a:pt x="1278790" y="2130771"/>
                    </a:cubicBezTo>
                    <a:lnTo>
                      <a:pt x="1278790" y="438771"/>
                    </a:lnTo>
                    <a:cubicBezTo>
                      <a:pt x="1278790" y="389065"/>
                      <a:pt x="1238496" y="348771"/>
                      <a:pt x="1188790" y="348771"/>
                    </a:cubicBezTo>
                    <a:cubicBezTo>
                      <a:pt x="1139084" y="348771"/>
                      <a:pt x="1098790" y="389065"/>
                      <a:pt x="1098790" y="438771"/>
                    </a:cubicBezTo>
                    <a:lnTo>
                      <a:pt x="1098790" y="2130771"/>
                    </a:lnTo>
                    <a:cubicBezTo>
                      <a:pt x="1098790" y="2180477"/>
                      <a:pt x="1139084" y="2220771"/>
                      <a:pt x="1188790" y="2220771"/>
                    </a:cubicBezTo>
                    <a:close/>
                    <a:moveTo>
                      <a:pt x="1764854" y="2220771"/>
                    </a:moveTo>
                    <a:cubicBezTo>
                      <a:pt x="1814560" y="2220771"/>
                      <a:pt x="1854854" y="2180477"/>
                      <a:pt x="1854854" y="2130771"/>
                    </a:cubicBezTo>
                    <a:lnTo>
                      <a:pt x="1854854" y="438771"/>
                    </a:lnTo>
                    <a:cubicBezTo>
                      <a:pt x="1854854" y="389065"/>
                      <a:pt x="1814560" y="348771"/>
                      <a:pt x="1764854" y="348771"/>
                    </a:cubicBezTo>
                    <a:cubicBezTo>
                      <a:pt x="1715148" y="348771"/>
                      <a:pt x="1674854" y="389065"/>
                      <a:pt x="1674854" y="438771"/>
                    </a:cubicBezTo>
                    <a:lnTo>
                      <a:pt x="1674854" y="2130771"/>
                    </a:lnTo>
                    <a:cubicBezTo>
                      <a:pt x="1674854" y="2180477"/>
                      <a:pt x="1715148" y="2220771"/>
                      <a:pt x="1764854" y="2220771"/>
                    </a:cubicBezTo>
                    <a:close/>
                    <a:moveTo>
                      <a:pt x="2340918" y="2220771"/>
                    </a:moveTo>
                    <a:cubicBezTo>
                      <a:pt x="2390624" y="2220771"/>
                      <a:pt x="2430918" y="2180477"/>
                      <a:pt x="2430918" y="2130771"/>
                    </a:cubicBezTo>
                    <a:lnTo>
                      <a:pt x="2430918" y="438771"/>
                    </a:lnTo>
                    <a:cubicBezTo>
                      <a:pt x="2430918" y="389065"/>
                      <a:pt x="2390624" y="348771"/>
                      <a:pt x="2340918" y="348771"/>
                    </a:cubicBezTo>
                    <a:cubicBezTo>
                      <a:pt x="2291212" y="348771"/>
                      <a:pt x="2250918" y="389065"/>
                      <a:pt x="2250918" y="438771"/>
                    </a:cubicBezTo>
                    <a:lnTo>
                      <a:pt x="2250918" y="2130771"/>
                    </a:lnTo>
                    <a:cubicBezTo>
                      <a:pt x="2250918" y="2180477"/>
                      <a:pt x="2291212" y="2220771"/>
                      <a:pt x="2340918" y="2220771"/>
                    </a:cubicBezTo>
                    <a:close/>
                    <a:moveTo>
                      <a:pt x="2784182" y="2519920"/>
                    </a:moveTo>
                    <a:lnTo>
                      <a:pt x="96136" y="2519920"/>
                    </a:lnTo>
                    <a:lnTo>
                      <a:pt x="96136" y="419995"/>
                    </a:lnTo>
                    <a:cubicBezTo>
                      <a:pt x="96136" y="188038"/>
                      <a:pt x="284174" y="0"/>
                      <a:pt x="516131" y="0"/>
                    </a:cubicBezTo>
                    <a:lnTo>
                      <a:pt x="2364187" y="0"/>
                    </a:lnTo>
                    <a:cubicBezTo>
                      <a:pt x="2596144" y="0"/>
                      <a:pt x="2784182" y="188038"/>
                      <a:pt x="2784182" y="419995"/>
                    </a:cubicBezTo>
                    <a:close/>
                    <a:moveTo>
                      <a:pt x="1687966" y="3252576"/>
                    </a:moveTo>
                    <a:lnTo>
                      <a:pt x="1192350" y="3252576"/>
                    </a:lnTo>
                    <a:cubicBezTo>
                      <a:pt x="1129224" y="3252576"/>
                      <a:pt x="1078050" y="3201402"/>
                      <a:pt x="1078050" y="3138276"/>
                    </a:cubicBezTo>
                    <a:lnTo>
                      <a:pt x="1078050" y="3023976"/>
                    </a:lnTo>
                    <a:lnTo>
                      <a:pt x="60008" y="3023976"/>
                    </a:lnTo>
                    <a:cubicBezTo>
                      <a:pt x="26866" y="3023976"/>
                      <a:pt x="0" y="2997110"/>
                      <a:pt x="0" y="2963968"/>
                    </a:cubicBezTo>
                    <a:lnTo>
                      <a:pt x="0" y="2723944"/>
                    </a:lnTo>
                    <a:cubicBezTo>
                      <a:pt x="0" y="2690802"/>
                      <a:pt x="26866" y="2663936"/>
                      <a:pt x="60008" y="2663936"/>
                    </a:cubicBezTo>
                    <a:lnTo>
                      <a:pt x="2820312" y="2663936"/>
                    </a:lnTo>
                    <a:cubicBezTo>
                      <a:pt x="2853454" y="2663936"/>
                      <a:pt x="2880320" y="2690802"/>
                      <a:pt x="2880320" y="2723944"/>
                    </a:cubicBezTo>
                    <a:lnTo>
                      <a:pt x="2880320" y="2963968"/>
                    </a:lnTo>
                    <a:cubicBezTo>
                      <a:pt x="2880320" y="2997110"/>
                      <a:pt x="2853454" y="3023976"/>
                      <a:pt x="2820312" y="3023976"/>
                    </a:cubicBezTo>
                    <a:lnTo>
                      <a:pt x="1802266" y="3023976"/>
                    </a:lnTo>
                    <a:lnTo>
                      <a:pt x="1802266" y="3138276"/>
                    </a:lnTo>
                    <a:cubicBezTo>
                      <a:pt x="1802266" y="3201402"/>
                      <a:pt x="1751092" y="3252576"/>
                      <a:pt x="1687966" y="3252576"/>
                    </a:cubicBez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68" name="Freeform 32">
                <a:extLst>
                  <a:ext uri="{FF2B5EF4-FFF2-40B4-BE49-F238E27FC236}">
                    <a16:creationId xmlns:a16="http://schemas.microsoft.com/office/drawing/2014/main" id="{B27E2664-1299-4A04-8710-796CBC7C8A52}"/>
                  </a:ext>
                </a:extLst>
              </p:cNvPr>
              <p:cNvSpPr/>
              <p:nvPr/>
            </p:nvSpPr>
            <p:spPr>
              <a:xfrm>
                <a:off x="6931930" y="2979449"/>
                <a:ext cx="327961" cy="300401"/>
              </a:xfrm>
              <a:custGeom>
                <a:avLst/>
                <a:gdLst/>
                <a:ahLst/>
                <a:cxnLst/>
                <a:rect l="l" t="t" r="r" b="b"/>
                <a:pathLst>
                  <a:path w="3210745" h="2940925">
                    <a:moveTo>
                      <a:pt x="340528" y="2526682"/>
                    </a:moveTo>
                    <a:cubicBezTo>
                      <a:pt x="280875" y="2526682"/>
                      <a:pt x="232516" y="2575041"/>
                      <a:pt x="232516" y="2634694"/>
                    </a:cubicBezTo>
                    <a:cubicBezTo>
                      <a:pt x="232516" y="2694347"/>
                      <a:pt x="280875" y="2742706"/>
                      <a:pt x="340528" y="2742706"/>
                    </a:cubicBezTo>
                    <a:cubicBezTo>
                      <a:pt x="400181" y="2742706"/>
                      <a:pt x="448540" y="2694347"/>
                      <a:pt x="448540" y="2634694"/>
                    </a:cubicBezTo>
                    <a:cubicBezTo>
                      <a:pt x="448540" y="2575041"/>
                      <a:pt x="400181" y="2526682"/>
                      <a:pt x="340528" y="2526682"/>
                    </a:cubicBezTo>
                    <a:close/>
                    <a:moveTo>
                      <a:pt x="1821636" y="152"/>
                    </a:moveTo>
                    <a:cubicBezTo>
                      <a:pt x="1920275" y="-4956"/>
                      <a:pt x="2051571" y="119306"/>
                      <a:pt x="2102482" y="278737"/>
                    </a:cubicBezTo>
                    <a:cubicBezTo>
                      <a:pt x="2192513" y="649582"/>
                      <a:pt x="1575154" y="1213351"/>
                      <a:pt x="2006019" y="1236931"/>
                    </a:cubicBezTo>
                    <a:cubicBezTo>
                      <a:pt x="2310412" y="1206920"/>
                      <a:pt x="2473326" y="1176910"/>
                      <a:pt x="2803442" y="1166192"/>
                    </a:cubicBezTo>
                    <a:cubicBezTo>
                      <a:pt x="3103547" y="1170479"/>
                      <a:pt x="3152850" y="1361260"/>
                      <a:pt x="3002798" y="1564903"/>
                    </a:cubicBezTo>
                    <a:cubicBezTo>
                      <a:pt x="3191435" y="1575621"/>
                      <a:pt x="3347919" y="1869296"/>
                      <a:pt x="3022090" y="1989338"/>
                    </a:cubicBezTo>
                    <a:cubicBezTo>
                      <a:pt x="3332913" y="2182262"/>
                      <a:pt x="3154994" y="2426634"/>
                      <a:pt x="2977074" y="2471650"/>
                    </a:cubicBezTo>
                    <a:cubicBezTo>
                      <a:pt x="3127127" y="2606697"/>
                      <a:pt x="3109978" y="2709590"/>
                      <a:pt x="2957782" y="2793191"/>
                    </a:cubicBezTo>
                    <a:cubicBezTo>
                      <a:pt x="2620164" y="2932526"/>
                      <a:pt x="1747715" y="3028988"/>
                      <a:pt x="1253613" y="2818914"/>
                    </a:cubicBezTo>
                    <a:cubicBezTo>
                      <a:pt x="1018944" y="2738561"/>
                      <a:pt x="869067" y="2654318"/>
                      <a:pt x="700568" y="2648441"/>
                    </a:cubicBezTo>
                    <a:lnTo>
                      <a:pt x="700568" y="2796242"/>
                    </a:lnTo>
                    <a:cubicBezTo>
                      <a:pt x="700568" y="2860729"/>
                      <a:pt x="648291" y="2913006"/>
                      <a:pt x="583804" y="2913006"/>
                    </a:cubicBezTo>
                    <a:lnTo>
                      <a:pt x="0" y="2913006"/>
                    </a:lnTo>
                    <a:lnTo>
                      <a:pt x="0" y="1400838"/>
                    </a:lnTo>
                    <a:lnTo>
                      <a:pt x="583804" y="1400838"/>
                    </a:lnTo>
                    <a:cubicBezTo>
                      <a:pt x="648291" y="1400838"/>
                      <a:pt x="700568" y="1453115"/>
                      <a:pt x="700568" y="1517602"/>
                    </a:cubicBezTo>
                    <a:lnTo>
                      <a:pt x="700568" y="1571674"/>
                    </a:lnTo>
                    <a:cubicBezTo>
                      <a:pt x="721537" y="1568378"/>
                      <a:pt x="746526" y="1559634"/>
                      <a:pt x="784162" y="1539180"/>
                    </a:cubicBezTo>
                    <a:cubicBezTo>
                      <a:pt x="831321" y="1421281"/>
                      <a:pt x="890271" y="1323747"/>
                      <a:pt x="1034964" y="1191915"/>
                    </a:cubicBezTo>
                    <a:cubicBezTo>
                      <a:pt x="1257900" y="851081"/>
                      <a:pt x="1628744" y="677449"/>
                      <a:pt x="1703770" y="169413"/>
                    </a:cubicBezTo>
                    <a:cubicBezTo>
                      <a:pt x="1715024" y="52855"/>
                      <a:pt x="1762452" y="3217"/>
                      <a:pt x="1821636" y="152"/>
                    </a:cubicBezTo>
                    <a:close/>
                  </a:path>
                </a:pathLst>
              </a:custGeom>
              <a:solidFill>
                <a:srgbClr val="3282BE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69" name="Rounded Rectangle 10">
                <a:extLst>
                  <a:ext uri="{FF2B5EF4-FFF2-40B4-BE49-F238E27FC236}">
                    <a16:creationId xmlns:a16="http://schemas.microsoft.com/office/drawing/2014/main" id="{918DCFD8-84AE-4853-8D20-834BE5AF3B1D}"/>
                  </a:ext>
                </a:extLst>
              </p:cNvPr>
              <p:cNvSpPr/>
              <p:nvPr/>
            </p:nvSpPr>
            <p:spPr>
              <a:xfrm>
                <a:off x="8756997" y="1477406"/>
                <a:ext cx="239919" cy="317505"/>
              </a:xfrm>
              <a:custGeom>
                <a:avLst/>
                <a:gdLst/>
                <a:ahLst/>
                <a:cxnLst/>
                <a:rect l="l" t="t" r="r" b="b"/>
                <a:pathLst>
                  <a:path w="2448272" h="3240000">
                    <a:moveTo>
                      <a:pt x="1358676" y="2676152"/>
                    </a:moveTo>
                    <a:cubicBezTo>
                      <a:pt x="1327753" y="2676152"/>
                      <a:pt x="1302685" y="2701220"/>
                      <a:pt x="1302685" y="2732143"/>
                    </a:cubicBezTo>
                    <a:lnTo>
                      <a:pt x="1302685" y="2956101"/>
                    </a:lnTo>
                    <a:cubicBezTo>
                      <a:pt x="1302685" y="2987024"/>
                      <a:pt x="1327753" y="3012092"/>
                      <a:pt x="1358676" y="3012092"/>
                    </a:cubicBezTo>
                    <a:lnTo>
                      <a:pt x="1582634" y="3012092"/>
                    </a:lnTo>
                    <a:cubicBezTo>
                      <a:pt x="1613557" y="3012092"/>
                      <a:pt x="1638625" y="2987024"/>
                      <a:pt x="1638625" y="2956101"/>
                    </a:cubicBezTo>
                    <a:lnTo>
                      <a:pt x="1638625" y="2732143"/>
                    </a:lnTo>
                    <a:cubicBezTo>
                      <a:pt x="1638625" y="2701220"/>
                      <a:pt x="1613557" y="2676152"/>
                      <a:pt x="1582634" y="2676152"/>
                    </a:cubicBezTo>
                    <a:close/>
                    <a:moveTo>
                      <a:pt x="837062" y="2676152"/>
                    </a:moveTo>
                    <a:cubicBezTo>
                      <a:pt x="806139" y="2676152"/>
                      <a:pt x="781071" y="2701220"/>
                      <a:pt x="781071" y="2732143"/>
                    </a:cubicBezTo>
                    <a:lnTo>
                      <a:pt x="781071" y="2956101"/>
                    </a:lnTo>
                    <a:cubicBezTo>
                      <a:pt x="781071" y="2987024"/>
                      <a:pt x="806139" y="3012092"/>
                      <a:pt x="837062" y="3012092"/>
                    </a:cubicBezTo>
                    <a:lnTo>
                      <a:pt x="1061020" y="3012092"/>
                    </a:lnTo>
                    <a:cubicBezTo>
                      <a:pt x="1091943" y="3012092"/>
                      <a:pt x="1117011" y="2987024"/>
                      <a:pt x="1117011" y="2956101"/>
                    </a:cubicBezTo>
                    <a:lnTo>
                      <a:pt x="1117011" y="2732143"/>
                    </a:lnTo>
                    <a:cubicBezTo>
                      <a:pt x="1117011" y="2701220"/>
                      <a:pt x="1091943" y="2676152"/>
                      <a:pt x="1061020" y="2676152"/>
                    </a:cubicBezTo>
                    <a:close/>
                    <a:moveTo>
                      <a:pt x="315448" y="2676152"/>
                    </a:moveTo>
                    <a:cubicBezTo>
                      <a:pt x="284525" y="2676152"/>
                      <a:pt x="259457" y="2701220"/>
                      <a:pt x="259457" y="2732143"/>
                    </a:cubicBezTo>
                    <a:lnTo>
                      <a:pt x="259457" y="2956101"/>
                    </a:lnTo>
                    <a:cubicBezTo>
                      <a:pt x="259457" y="2987024"/>
                      <a:pt x="284525" y="3012092"/>
                      <a:pt x="315448" y="3012092"/>
                    </a:cubicBezTo>
                    <a:lnTo>
                      <a:pt x="539406" y="3012092"/>
                    </a:lnTo>
                    <a:cubicBezTo>
                      <a:pt x="570329" y="3012092"/>
                      <a:pt x="595397" y="2987024"/>
                      <a:pt x="595397" y="2956101"/>
                    </a:cubicBezTo>
                    <a:lnTo>
                      <a:pt x="595397" y="2732143"/>
                    </a:lnTo>
                    <a:cubicBezTo>
                      <a:pt x="595397" y="2701220"/>
                      <a:pt x="570329" y="2676152"/>
                      <a:pt x="539406" y="2676152"/>
                    </a:cubicBezTo>
                    <a:close/>
                    <a:moveTo>
                      <a:pt x="1880291" y="2179832"/>
                    </a:moveTo>
                    <a:cubicBezTo>
                      <a:pt x="1849368" y="2179832"/>
                      <a:pt x="1824300" y="2204900"/>
                      <a:pt x="1824300" y="2235823"/>
                    </a:cubicBezTo>
                    <a:lnTo>
                      <a:pt x="1824300" y="2956101"/>
                    </a:lnTo>
                    <a:cubicBezTo>
                      <a:pt x="1824300" y="2987024"/>
                      <a:pt x="1849368" y="3012092"/>
                      <a:pt x="1880291" y="3012092"/>
                    </a:cubicBezTo>
                    <a:lnTo>
                      <a:pt x="2104249" y="3012092"/>
                    </a:lnTo>
                    <a:cubicBezTo>
                      <a:pt x="2135172" y="3012092"/>
                      <a:pt x="2160240" y="2987024"/>
                      <a:pt x="2160240" y="2956101"/>
                    </a:cubicBezTo>
                    <a:lnTo>
                      <a:pt x="2160240" y="2235823"/>
                    </a:lnTo>
                    <a:cubicBezTo>
                      <a:pt x="2160240" y="2204900"/>
                      <a:pt x="2135172" y="2179832"/>
                      <a:pt x="2104249" y="2179832"/>
                    </a:cubicBezTo>
                    <a:close/>
                    <a:moveTo>
                      <a:pt x="1358676" y="2179832"/>
                    </a:moveTo>
                    <a:cubicBezTo>
                      <a:pt x="1327753" y="2179832"/>
                      <a:pt x="1302685" y="2204900"/>
                      <a:pt x="1302685" y="2235823"/>
                    </a:cubicBezTo>
                    <a:lnTo>
                      <a:pt x="1302685" y="2459781"/>
                    </a:lnTo>
                    <a:cubicBezTo>
                      <a:pt x="1302685" y="2490704"/>
                      <a:pt x="1327753" y="2515772"/>
                      <a:pt x="1358676" y="2515772"/>
                    </a:cubicBezTo>
                    <a:lnTo>
                      <a:pt x="1582634" y="2515772"/>
                    </a:lnTo>
                    <a:cubicBezTo>
                      <a:pt x="1613557" y="2515772"/>
                      <a:pt x="1638625" y="2490704"/>
                      <a:pt x="1638625" y="2459781"/>
                    </a:cubicBezTo>
                    <a:lnTo>
                      <a:pt x="1638625" y="2235823"/>
                    </a:lnTo>
                    <a:cubicBezTo>
                      <a:pt x="1638625" y="2204900"/>
                      <a:pt x="1613557" y="2179832"/>
                      <a:pt x="1582634" y="2179832"/>
                    </a:cubicBezTo>
                    <a:close/>
                    <a:moveTo>
                      <a:pt x="837062" y="2179832"/>
                    </a:moveTo>
                    <a:cubicBezTo>
                      <a:pt x="806139" y="2179832"/>
                      <a:pt x="781071" y="2204900"/>
                      <a:pt x="781071" y="2235823"/>
                    </a:cubicBezTo>
                    <a:lnTo>
                      <a:pt x="781071" y="2459781"/>
                    </a:lnTo>
                    <a:cubicBezTo>
                      <a:pt x="781071" y="2490704"/>
                      <a:pt x="806139" y="2515772"/>
                      <a:pt x="837062" y="2515772"/>
                    </a:cubicBezTo>
                    <a:lnTo>
                      <a:pt x="1061020" y="2515772"/>
                    </a:lnTo>
                    <a:cubicBezTo>
                      <a:pt x="1091943" y="2515772"/>
                      <a:pt x="1117011" y="2490704"/>
                      <a:pt x="1117011" y="2459781"/>
                    </a:cubicBezTo>
                    <a:lnTo>
                      <a:pt x="1117011" y="2235823"/>
                    </a:lnTo>
                    <a:cubicBezTo>
                      <a:pt x="1117011" y="2204900"/>
                      <a:pt x="1091943" y="2179832"/>
                      <a:pt x="1061020" y="2179832"/>
                    </a:cubicBezTo>
                    <a:close/>
                    <a:moveTo>
                      <a:pt x="315448" y="2179832"/>
                    </a:moveTo>
                    <a:cubicBezTo>
                      <a:pt x="284525" y="2179832"/>
                      <a:pt x="259457" y="2204900"/>
                      <a:pt x="259457" y="2235823"/>
                    </a:cubicBezTo>
                    <a:lnTo>
                      <a:pt x="259457" y="2459781"/>
                    </a:lnTo>
                    <a:cubicBezTo>
                      <a:pt x="259457" y="2490704"/>
                      <a:pt x="284525" y="2515772"/>
                      <a:pt x="315448" y="2515772"/>
                    </a:cubicBezTo>
                    <a:lnTo>
                      <a:pt x="539406" y="2515772"/>
                    </a:lnTo>
                    <a:cubicBezTo>
                      <a:pt x="570329" y="2515772"/>
                      <a:pt x="595397" y="2490704"/>
                      <a:pt x="595397" y="2459781"/>
                    </a:cubicBezTo>
                    <a:lnTo>
                      <a:pt x="595397" y="2235823"/>
                    </a:lnTo>
                    <a:cubicBezTo>
                      <a:pt x="595397" y="2204900"/>
                      <a:pt x="570329" y="2179832"/>
                      <a:pt x="539406" y="2179832"/>
                    </a:cubicBezTo>
                    <a:close/>
                    <a:moveTo>
                      <a:pt x="1880291" y="1683512"/>
                    </a:moveTo>
                    <a:cubicBezTo>
                      <a:pt x="1849368" y="1683512"/>
                      <a:pt x="1824300" y="1708580"/>
                      <a:pt x="1824300" y="1739503"/>
                    </a:cubicBezTo>
                    <a:lnTo>
                      <a:pt x="1824300" y="1963461"/>
                    </a:lnTo>
                    <a:cubicBezTo>
                      <a:pt x="1824300" y="1994384"/>
                      <a:pt x="1849368" y="2019452"/>
                      <a:pt x="1880291" y="2019452"/>
                    </a:cubicBezTo>
                    <a:lnTo>
                      <a:pt x="2104249" y="2019452"/>
                    </a:lnTo>
                    <a:cubicBezTo>
                      <a:pt x="2135172" y="2019452"/>
                      <a:pt x="2160240" y="1994384"/>
                      <a:pt x="2160240" y="1963461"/>
                    </a:cubicBezTo>
                    <a:lnTo>
                      <a:pt x="2160240" y="1739503"/>
                    </a:lnTo>
                    <a:cubicBezTo>
                      <a:pt x="2160240" y="1708580"/>
                      <a:pt x="2135172" y="1683512"/>
                      <a:pt x="2104249" y="1683512"/>
                    </a:cubicBezTo>
                    <a:close/>
                    <a:moveTo>
                      <a:pt x="1358676" y="1683512"/>
                    </a:moveTo>
                    <a:cubicBezTo>
                      <a:pt x="1327753" y="1683512"/>
                      <a:pt x="1302685" y="1708580"/>
                      <a:pt x="1302685" y="1739503"/>
                    </a:cubicBezTo>
                    <a:lnTo>
                      <a:pt x="1302685" y="1963461"/>
                    </a:lnTo>
                    <a:cubicBezTo>
                      <a:pt x="1302685" y="1994384"/>
                      <a:pt x="1327753" y="2019452"/>
                      <a:pt x="1358676" y="2019452"/>
                    </a:cubicBezTo>
                    <a:lnTo>
                      <a:pt x="1582634" y="2019452"/>
                    </a:lnTo>
                    <a:cubicBezTo>
                      <a:pt x="1613557" y="2019452"/>
                      <a:pt x="1638625" y="1994384"/>
                      <a:pt x="1638625" y="1963461"/>
                    </a:cubicBezTo>
                    <a:lnTo>
                      <a:pt x="1638625" y="1739503"/>
                    </a:lnTo>
                    <a:cubicBezTo>
                      <a:pt x="1638625" y="1708580"/>
                      <a:pt x="1613557" y="1683512"/>
                      <a:pt x="1582634" y="1683512"/>
                    </a:cubicBezTo>
                    <a:close/>
                    <a:moveTo>
                      <a:pt x="837062" y="1683512"/>
                    </a:moveTo>
                    <a:cubicBezTo>
                      <a:pt x="806139" y="1683512"/>
                      <a:pt x="781071" y="1708580"/>
                      <a:pt x="781071" y="1739503"/>
                    </a:cubicBezTo>
                    <a:lnTo>
                      <a:pt x="781071" y="1963461"/>
                    </a:lnTo>
                    <a:cubicBezTo>
                      <a:pt x="781071" y="1994384"/>
                      <a:pt x="806139" y="2019452"/>
                      <a:pt x="837062" y="2019452"/>
                    </a:cubicBezTo>
                    <a:lnTo>
                      <a:pt x="1061020" y="2019452"/>
                    </a:lnTo>
                    <a:cubicBezTo>
                      <a:pt x="1091943" y="2019452"/>
                      <a:pt x="1117011" y="1994384"/>
                      <a:pt x="1117011" y="1963461"/>
                    </a:cubicBezTo>
                    <a:lnTo>
                      <a:pt x="1117011" y="1739503"/>
                    </a:lnTo>
                    <a:cubicBezTo>
                      <a:pt x="1117011" y="1708580"/>
                      <a:pt x="1091943" y="1683512"/>
                      <a:pt x="1061020" y="1683512"/>
                    </a:cubicBezTo>
                    <a:close/>
                    <a:moveTo>
                      <a:pt x="315448" y="1683512"/>
                    </a:moveTo>
                    <a:cubicBezTo>
                      <a:pt x="284525" y="1683512"/>
                      <a:pt x="259457" y="1708580"/>
                      <a:pt x="259457" y="1739503"/>
                    </a:cubicBezTo>
                    <a:lnTo>
                      <a:pt x="259457" y="1963461"/>
                    </a:lnTo>
                    <a:cubicBezTo>
                      <a:pt x="259457" y="1994384"/>
                      <a:pt x="284525" y="2019452"/>
                      <a:pt x="315448" y="2019452"/>
                    </a:cubicBezTo>
                    <a:lnTo>
                      <a:pt x="539406" y="2019452"/>
                    </a:lnTo>
                    <a:cubicBezTo>
                      <a:pt x="570329" y="2019452"/>
                      <a:pt x="595397" y="1994384"/>
                      <a:pt x="595397" y="1963461"/>
                    </a:cubicBezTo>
                    <a:lnTo>
                      <a:pt x="595397" y="1739503"/>
                    </a:lnTo>
                    <a:cubicBezTo>
                      <a:pt x="595397" y="1708580"/>
                      <a:pt x="570329" y="1683512"/>
                      <a:pt x="539406" y="1683512"/>
                    </a:cubicBezTo>
                    <a:close/>
                    <a:moveTo>
                      <a:pt x="1880291" y="1187192"/>
                    </a:moveTo>
                    <a:cubicBezTo>
                      <a:pt x="1849368" y="1187192"/>
                      <a:pt x="1824300" y="1212260"/>
                      <a:pt x="1824300" y="1243183"/>
                    </a:cubicBezTo>
                    <a:lnTo>
                      <a:pt x="1824300" y="1467141"/>
                    </a:lnTo>
                    <a:cubicBezTo>
                      <a:pt x="1824300" y="1498064"/>
                      <a:pt x="1849368" y="1523132"/>
                      <a:pt x="1880291" y="1523132"/>
                    </a:cubicBezTo>
                    <a:lnTo>
                      <a:pt x="2104249" y="1523132"/>
                    </a:lnTo>
                    <a:cubicBezTo>
                      <a:pt x="2135172" y="1523132"/>
                      <a:pt x="2160240" y="1498064"/>
                      <a:pt x="2160240" y="1467141"/>
                    </a:cubicBezTo>
                    <a:lnTo>
                      <a:pt x="2160240" y="1243183"/>
                    </a:lnTo>
                    <a:cubicBezTo>
                      <a:pt x="2160240" y="1212260"/>
                      <a:pt x="2135172" y="1187192"/>
                      <a:pt x="2104249" y="1187192"/>
                    </a:cubicBezTo>
                    <a:close/>
                    <a:moveTo>
                      <a:pt x="1358676" y="1187192"/>
                    </a:moveTo>
                    <a:cubicBezTo>
                      <a:pt x="1327753" y="1187192"/>
                      <a:pt x="1302685" y="1212260"/>
                      <a:pt x="1302685" y="1243183"/>
                    </a:cubicBezTo>
                    <a:lnTo>
                      <a:pt x="1302685" y="1467141"/>
                    </a:lnTo>
                    <a:cubicBezTo>
                      <a:pt x="1302685" y="1498064"/>
                      <a:pt x="1327753" y="1523132"/>
                      <a:pt x="1358676" y="1523132"/>
                    </a:cubicBezTo>
                    <a:lnTo>
                      <a:pt x="1582634" y="1523132"/>
                    </a:lnTo>
                    <a:cubicBezTo>
                      <a:pt x="1613557" y="1523132"/>
                      <a:pt x="1638625" y="1498064"/>
                      <a:pt x="1638625" y="1467141"/>
                    </a:cubicBezTo>
                    <a:lnTo>
                      <a:pt x="1638625" y="1243183"/>
                    </a:lnTo>
                    <a:cubicBezTo>
                      <a:pt x="1638625" y="1212260"/>
                      <a:pt x="1613557" y="1187192"/>
                      <a:pt x="1582634" y="1187192"/>
                    </a:cubicBezTo>
                    <a:close/>
                    <a:moveTo>
                      <a:pt x="837062" y="1187192"/>
                    </a:moveTo>
                    <a:cubicBezTo>
                      <a:pt x="806139" y="1187192"/>
                      <a:pt x="781071" y="1212260"/>
                      <a:pt x="781071" y="1243183"/>
                    </a:cubicBezTo>
                    <a:lnTo>
                      <a:pt x="781071" y="1467141"/>
                    </a:lnTo>
                    <a:cubicBezTo>
                      <a:pt x="781071" y="1498064"/>
                      <a:pt x="806139" y="1523132"/>
                      <a:pt x="837062" y="1523132"/>
                    </a:cubicBezTo>
                    <a:lnTo>
                      <a:pt x="1061020" y="1523132"/>
                    </a:lnTo>
                    <a:cubicBezTo>
                      <a:pt x="1091943" y="1523132"/>
                      <a:pt x="1117011" y="1498064"/>
                      <a:pt x="1117011" y="1467141"/>
                    </a:cubicBezTo>
                    <a:lnTo>
                      <a:pt x="1117011" y="1243183"/>
                    </a:lnTo>
                    <a:cubicBezTo>
                      <a:pt x="1117011" y="1212260"/>
                      <a:pt x="1091943" y="1187192"/>
                      <a:pt x="1061020" y="1187192"/>
                    </a:cubicBezTo>
                    <a:close/>
                    <a:moveTo>
                      <a:pt x="315448" y="1187192"/>
                    </a:moveTo>
                    <a:cubicBezTo>
                      <a:pt x="284525" y="1187192"/>
                      <a:pt x="259457" y="1212260"/>
                      <a:pt x="259457" y="1243183"/>
                    </a:cubicBezTo>
                    <a:lnTo>
                      <a:pt x="259457" y="1467141"/>
                    </a:lnTo>
                    <a:cubicBezTo>
                      <a:pt x="259457" y="1498064"/>
                      <a:pt x="284525" y="1523132"/>
                      <a:pt x="315448" y="1523132"/>
                    </a:cubicBezTo>
                    <a:lnTo>
                      <a:pt x="539406" y="1523132"/>
                    </a:lnTo>
                    <a:cubicBezTo>
                      <a:pt x="570329" y="1523132"/>
                      <a:pt x="595397" y="1498064"/>
                      <a:pt x="595397" y="1467141"/>
                    </a:cubicBezTo>
                    <a:lnTo>
                      <a:pt x="595397" y="1243183"/>
                    </a:lnTo>
                    <a:cubicBezTo>
                      <a:pt x="595397" y="1212260"/>
                      <a:pt x="570329" y="1187192"/>
                      <a:pt x="539406" y="1187192"/>
                    </a:cubicBezTo>
                    <a:close/>
                    <a:moveTo>
                      <a:pt x="348041" y="163575"/>
                    </a:moveTo>
                    <a:cubicBezTo>
                      <a:pt x="275130" y="163575"/>
                      <a:pt x="216024" y="222681"/>
                      <a:pt x="216024" y="295592"/>
                    </a:cubicBezTo>
                    <a:lnTo>
                      <a:pt x="216024" y="823646"/>
                    </a:lnTo>
                    <a:cubicBezTo>
                      <a:pt x="216024" y="896557"/>
                      <a:pt x="275130" y="955663"/>
                      <a:pt x="348041" y="955663"/>
                    </a:cubicBezTo>
                    <a:lnTo>
                      <a:pt x="2100231" y="955663"/>
                    </a:lnTo>
                    <a:cubicBezTo>
                      <a:pt x="2173142" y="955663"/>
                      <a:pt x="2232248" y="896557"/>
                      <a:pt x="2232248" y="823646"/>
                    </a:cubicBezTo>
                    <a:lnTo>
                      <a:pt x="2232248" y="295592"/>
                    </a:lnTo>
                    <a:cubicBezTo>
                      <a:pt x="2232248" y="222681"/>
                      <a:pt x="2173142" y="163575"/>
                      <a:pt x="2100231" y="163575"/>
                    </a:cubicBezTo>
                    <a:close/>
                    <a:moveTo>
                      <a:pt x="265172" y="0"/>
                    </a:moveTo>
                    <a:lnTo>
                      <a:pt x="2183100" y="0"/>
                    </a:lnTo>
                    <a:cubicBezTo>
                      <a:pt x="2329550" y="0"/>
                      <a:pt x="2448272" y="118722"/>
                      <a:pt x="2448272" y="265172"/>
                    </a:cubicBezTo>
                    <a:lnTo>
                      <a:pt x="2448272" y="2974828"/>
                    </a:lnTo>
                    <a:cubicBezTo>
                      <a:pt x="2448272" y="3121278"/>
                      <a:pt x="2329550" y="3240000"/>
                      <a:pt x="2183100" y="3240000"/>
                    </a:cubicBezTo>
                    <a:lnTo>
                      <a:pt x="265172" y="3240000"/>
                    </a:lnTo>
                    <a:cubicBezTo>
                      <a:pt x="118722" y="3240000"/>
                      <a:pt x="0" y="3121278"/>
                      <a:pt x="0" y="2974828"/>
                    </a:cubicBezTo>
                    <a:lnTo>
                      <a:pt x="0" y="265172"/>
                    </a:lnTo>
                    <a:cubicBezTo>
                      <a:pt x="0" y="118722"/>
                      <a:pt x="118722" y="0"/>
                      <a:pt x="265172" y="0"/>
                    </a:cubicBez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70" name="Rounded Rectangle 32">
                <a:extLst>
                  <a:ext uri="{FF2B5EF4-FFF2-40B4-BE49-F238E27FC236}">
                    <a16:creationId xmlns:a16="http://schemas.microsoft.com/office/drawing/2014/main" id="{9DF151A3-0F6E-4D6D-BDC8-890EA219F053}"/>
                  </a:ext>
                </a:extLst>
              </p:cNvPr>
              <p:cNvSpPr/>
              <p:nvPr/>
            </p:nvSpPr>
            <p:spPr>
              <a:xfrm>
                <a:off x="10492442" y="2937466"/>
                <a:ext cx="316840" cy="316840"/>
              </a:xfrm>
              <a:custGeom>
                <a:avLst/>
                <a:gdLst/>
                <a:ahLst/>
                <a:cxnLst/>
                <a:rect l="l" t="t" r="r" b="b"/>
                <a:pathLst>
                  <a:path w="3240000" h="3240000">
                    <a:moveTo>
                      <a:pt x="2019696" y="2510955"/>
                    </a:moveTo>
                    <a:lnTo>
                      <a:pt x="2019696" y="2797359"/>
                    </a:lnTo>
                    <a:lnTo>
                      <a:pt x="2914589" y="2797359"/>
                    </a:lnTo>
                    <a:lnTo>
                      <a:pt x="2914589" y="2510955"/>
                    </a:lnTo>
                    <a:close/>
                    <a:moveTo>
                      <a:pt x="2019696" y="2081348"/>
                    </a:moveTo>
                    <a:lnTo>
                      <a:pt x="2019696" y="2367752"/>
                    </a:lnTo>
                    <a:lnTo>
                      <a:pt x="2914589" y="2367752"/>
                    </a:lnTo>
                    <a:lnTo>
                      <a:pt x="2914589" y="2081348"/>
                    </a:lnTo>
                    <a:close/>
                    <a:moveTo>
                      <a:pt x="580710" y="2021703"/>
                    </a:moveTo>
                    <a:lnTo>
                      <a:pt x="378191" y="2224222"/>
                    </a:lnTo>
                    <a:lnTo>
                      <a:pt x="593323" y="2439354"/>
                    </a:lnTo>
                    <a:lnTo>
                      <a:pt x="378191" y="2654485"/>
                    </a:lnTo>
                    <a:lnTo>
                      <a:pt x="580710" y="2857004"/>
                    </a:lnTo>
                    <a:lnTo>
                      <a:pt x="795842" y="2641872"/>
                    </a:lnTo>
                    <a:lnTo>
                      <a:pt x="1010973" y="2857004"/>
                    </a:lnTo>
                    <a:lnTo>
                      <a:pt x="1213492" y="2654485"/>
                    </a:lnTo>
                    <a:lnTo>
                      <a:pt x="998360" y="2439354"/>
                    </a:lnTo>
                    <a:lnTo>
                      <a:pt x="1213492" y="2224222"/>
                    </a:lnTo>
                    <a:lnTo>
                      <a:pt x="1010973" y="2021703"/>
                    </a:lnTo>
                    <a:lnTo>
                      <a:pt x="795842" y="2236835"/>
                    </a:lnTo>
                    <a:close/>
                    <a:moveTo>
                      <a:pt x="1656000" y="1656001"/>
                    </a:moveTo>
                    <a:lnTo>
                      <a:pt x="3240000" y="1656001"/>
                    </a:lnTo>
                    <a:lnTo>
                      <a:pt x="3240000" y="2699989"/>
                    </a:lnTo>
                    <a:cubicBezTo>
                      <a:pt x="3240000" y="2998229"/>
                      <a:pt x="2998229" y="3240000"/>
                      <a:pt x="2699989" y="3240000"/>
                    </a:cubicBezTo>
                    <a:lnTo>
                      <a:pt x="1656000" y="3240000"/>
                    </a:lnTo>
                    <a:close/>
                    <a:moveTo>
                      <a:pt x="0" y="1656001"/>
                    </a:moveTo>
                    <a:lnTo>
                      <a:pt x="1584000" y="1656001"/>
                    </a:lnTo>
                    <a:lnTo>
                      <a:pt x="1584000" y="3240000"/>
                    </a:lnTo>
                    <a:lnTo>
                      <a:pt x="540011" y="3240000"/>
                    </a:lnTo>
                    <a:cubicBezTo>
                      <a:pt x="241771" y="3240000"/>
                      <a:pt x="0" y="2998229"/>
                      <a:pt x="0" y="2699989"/>
                    </a:cubicBezTo>
                    <a:close/>
                    <a:moveTo>
                      <a:pt x="2467143" y="957859"/>
                    </a:moveTo>
                    <a:cubicBezTo>
                      <a:pt x="2388055" y="957859"/>
                      <a:pt x="2323941" y="1021973"/>
                      <a:pt x="2323941" y="1101061"/>
                    </a:cubicBezTo>
                    <a:cubicBezTo>
                      <a:pt x="2323941" y="1180149"/>
                      <a:pt x="2388055" y="1244263"/>
                      <a:pt x="2467143" y="1244263"/>
                    </a:cubicBezTo>
                    <a:cubicBezTo>
                      <a:pt x="2546231" y="1244263"/>
                      <a:pt x="2610345" y="1180149"/>
                      <a:pt x="2610345" y="1101061"/>
                    </a:cubicBezTo>
                    <a:cubicBezTo>
                      <a:pt x="2610345" y="1021973"/>
                      <a:pt x="2546231" y="957859"/>
                      <a:pt x="2467143" y="957859"/>
                    </a:cubicBezTo>
                    <a:close/>
                    <a:moveTo>
                      <a:pt x="2019696" y="635775"/>
                    </a:moveTo>
                    <a:lnTo>
                      <a:pt x="2019696" y="922180"/>
                    </a:lnTo>
                    <a:lnTo>
                      <a:pt x="2914589" y="922180"/>
                    </a:lnTo>
                    <a:lnTo>
                      <a:pt x="2914589" y="635775"/>
                    </a:lnTo>
                    <a:close/>
                    <a:moveTo>
                      <a:pt x="652639" y="331531"/>
                    </a:moveTo>
                    <a:lnTo>
                      <a:pt x="652639" y="635775"/>
                    </a:lnTo>
                    <a:lnTo>
                      <a:pt x="348395" y="635775"/>
                    </a:lnTo>
                    <a:lnTo>
                      <a:pt x="348395" y="922180"/>
                    </a:lnTo>
                    <a:lnTo>
                      <a:pt x="652639" y="922180"/>
                    </a:lnTo>
                    <a:lnTo>
                      <a:pt x="652639" y="1226424"/>
                    </a:lnTo>
                    <a:lnTo>
                      <a:pt x="939044" y="1226424"/>
                    </a:lnTo>
                    <a:lnTo>
                      <a:pt x="939044" y="922180"/>
                    </a:lnTo>
                    <a:lnTo>
                      <a:pt x="1243288" y="922180"/>
                    </a:lnTo>
                    <a:lnTo>
                      <a:pt x="1243288" y="635775"/>
                    </a:lnTo>
                    <a:lnTo>
                      <a:pt x="939044" y="635775"/>
                    </a:lnTo>
                    <a:lnTo>
                      <a:pt x="939044" y="331531"/>
                    </a:lnTo>
                    <a:close/>
                    <a:moveTo>
                      <a:pt x="2467143" y="313692"/>
                    </a:moveTo>
                    <a:cubicBezTo>
                      <a:pt x="2388055" y="313692"/>
                      <a:pt x="2323941" y="377806"/>
                      <a:pt x="2323941" y="456894"/>
                    </a:cubicBezTo>
                    <a:cubicBezTo>
                      <a:pt x="2323941" y="535982"/>
                      <a:pt x="2388055" y="600096"/>
                      <a:pt x="2467143" y="600096"/>
                    </a:cubicBezTo>
                    <a:cubicBezTo>
                      <a:pt x="2546231" y="600096"/>
                      <a:pt x="2610345" y="535982"/>
                      <a:pt x="2610345" y="456894"/>
                    </a:cubicBezTo>
                    <a:cubicBezTo>
                      <a:pt x="2610345" y="377806"/>
                      <a:pt x="2546231" y="313692"/>
                      <a:pt x="2467143" y="313692"/>
                    </a:cubicBezTo>
                    <a:close/>
                    <a:moveTo>
                      <a:pt x="540011" y="0"/>
                    </a:moveTo>
                    <a:lnTo>
                      <a:pt x="2699989" y="0"/>
                    </a:lnTo>
                    <a:cubicBezTo>
                      <a:pt x="2998229" y="0"/>
                      <a:pt x="3240000" y="241771"/>
                      <a:pt x="3240000" y="540011"/>
                    </a:cubicBezTo>
                    <a:lnTo>
                      <a:pt x="3240000" y="1584001"/>
                    </a:lnTo>
                    <a:lnTo>
                      <a:pt x="1656000" y="1584001"/>
                    </a:lnTo>
                    <a:lnTo>
                      <a:pt x="1656000" y="1"/>
                    </a:lnTo>
                    <a:lnTo>
                      <a:pt x="1584000" y="1"/>
                    </a:lnTo>
                    <a:lnTo>
                      <a:pt x="1584000" y="1584001"/>
                    </a:lnTo>
                    <a:lnTo>
                      <a:pt x="0" y="1584001"/>
                    </a:lnTo>
                    <a:lnTo>
                      <a:pt x="0" y="540011"/>
                    </a:lnTo>
                    <a:cubicBezTo>
                      <a:pt x="0" y="241771"/>
                      <a:pt x="241771" y="0"/>
                      <a:pt x="540011" y="0"/>
                    </a:cubicBezTo>
                    <a:close/>
                  </a:path>
                </a:pathLst>
              </a:custGeom>
              <a:solidFill>
                <a:srgbClr val="262626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71" name="Trapezoid 13">
                <a:extLst>
                  <a:ext uri="{FF2B5EF4-FFF2-40B4-BE49-F238E27FC236}">
                    <a16:creationId xmlns:a16="http://schemas.microsoft.com/office/drawing/2014/main" id="{B7C3D46A-3003-489A-8936-C74FA60BEA37}"/>
                  </a:ext>
                </a:extLst>
              </p:cNvPr>
              <p:cNvSpPr/>
              <p:nvPr/>
            </p:nvSpPr>
            <p:spPr>
              <a:xfrm>
                <a:off x="10379254" y="2561466"/>
                <a:ext cx="341564" cy="288813"/>
              </a:xfrm>
              <a:custGeom>
                <a:avLst/>
                <a:gdLst/>
                <a:ahLst/>
                <a:cxnLst/>
                <a:rect l="l" t="t" r="r" b="b"/>
                <a:pathLst>
                  <a:path w="2736304" h="2313707">
                    <a:moveTo>
                      <a:pt x="1046195" y="1945901"/>
                    </a:moveTo>
                    <a:lnTo>
                      <a:pt x="998316" y="2093032"/>
                    </a:lnTo>
                    <a:lnTo>
                      <a:pt x="1737988" y="2093032"/>
                    </a:lnTo>
                    <a:lnTo>
                      <a:pt x="1690109" y="1945901"/>
                    </a:lnTo>
                    <a:close/>
                    <a:moveTo>
                      <a:pt x="396044" y="89541"/>
                    </a:moveTo>
                    <a:lnTo>
                      <a:pt x="396044" y="1241668"/>
                    </a:lnTo>
                    <a:lnTo>
                      <a:pt x="2340260" y="1241668"/>
                    </a:lnTo>
                    <a:lnTo>
                      <a:pt x="2340260" y="89541"/>
                    </a:lnTo>
                    <a:close/>
                    <a:moveTo>
                      <a:pt x="252028" y="0"/>
                    </a:moveTo>
                    <a:lnTo>
                      <a:pt x="2484276" y="0"/>
                    </a:lnTo>
                    <a:lnTo>
                      <a:pt x="2484276" y="1331208"/>
                    </a:lnTo>
                    <a:lnTo>
                      <a:pt x="2484679" y="1331208"/>
                    </a:lnTo>
                    <a:lnTo>
                      <a:pt x="2736304" y="2195304"/>
                    </a:lnTo>
                    <a:lnTo>
                      <a:pt x="2736304" y="2313707"/>
                    </a:lnTo>
                    <a:lnTo>
                      <a:pt x="0" y="2313707"/>
                    </a:lnTo>
                    <a:lnTo>
                      <a:pt x="0" y="2195304"/>
                    </a:lnTo>
                    <a:lnTo>
                      <a:pt x="251625" y="1331208"/>
                    </a:lnTo>
                    <a:lnTo>
                      <a:pt x="252028" y="1331208"/>
                    </a:ln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72" name="Rectangle 18">
                <a:extLst>
                  <a:ext uri="{FF2B5EF4-FFF2-40B4-BE49-F238E27FC236}">
                    <a16:creationId xmlns:a16="http://schemas.microsoft.com/office/drawing/2014/main" id="{93054044-68B3-4E3D-96F4-FCB4D5BF0068}"/>
                  </a:ext>
                </a:extLst>
              </p:cNvPr>
              <p:cNvSpPr/>
              <p:nvPr/>
            </p:nvSpPr>
            <p:spPr>
              <a:xfrm>
                <a:off x="8547559" y="5078881"/>
                <a:ext cx="316558" cy="251512"/>
              </a:xfrm>
              <a:custGeom>
                <a:avLst/>
                <a:gdLst/>
                <a:ahLst/>
                <a:cxnLst/>
                <a:rect l="l" t="t" r="r" b="b"/>
                <a:pathLst>
                  <a:path w="3240000" h="2574247">
                    <a:moveTo>
                      <a:pt x="2393400" y="1814089"/>
                    </a:moveTo>
                    <a:cubicBezTo>
                      <a:pt x="2363577" y="1814089"/>
                      <a:pt x="2339400" y="1838266"/>
                      <a:pt x="2339400" y="1868089"/>
                    </a:cubicBezTo>
                    <a:cubicBezTo>
                      <a:pt x="2339400" y="1897912"/>
                      <a:pt x="2363577" y="1922089"/>
                      <a:pt x="2393400" y="1922089"/>
                    </a:cubicBezTo>
                    <a:lnTo>
                      <a:pt x="2573400" y="1922089"/>
                    </a:lnTo>
                    <a:cubicBezTo>
                      <a:pt x="2603223" y="1922089"/>
                      <a:pt x="2627400" y="1897912"/>
                      <a:pt x="2627400" y="1868089"/>
                    </a:cubicBezTo>
                    <a:cubicBezTo>
                      <a:pt x="2627400" y="1838266"/>
                      <a:pt x="2603223" y="1814089"/>
                      <a:pt x="2573400" y="1814089"/>
                    </a:cubicBezTo>
                    <a:close/>
                    <a:moveTo>
                      <a:pt x="173344" y="1814089"/>
                    </a:moveTo>
                    <a:cubicBezTo>
                      <a:pt x="143521" y="1814089"/>
                      <a:pt x="119344" y="1838266"/>
                      <a:pt x="119344" y="1868089"/>
                    </a:cubicBezTo>
                    <a:cubicBezTo>
                      <a:pt x="119344" y="1897912"/>
                      <a:pt x="143521" y="1922089"/>
                      <a:pt x="173344" y="1922089"/>
                    </a:cubicBezTo>
                    <a:lnTo>
                      <a:pt x="353344" y="1922089"/>
                    </a:lnTo>
                    <a:cubicBezTo>
                      <a:pt x="383167" y="1922089"/>
                      <a:pt x="407344" y="1897912"/>
                      <a:pt x="407344" y="1868089"/>
                    </a:cubicBezTo>
                    <a:cubicBezTo>
                      <a:pt x="407344" y="1838266"/>
                      <a:pt x="383167" y="1814089"/>
                      <a:pt x="353344" y="1814089"/>
                    </a:cubicBezTo>
                    <a:close/>
                    <a:moveTo>
                      <a:pt x="2933496" y="1796081"/>
                    </a:moveTo>
                    <a:cubicBezTo>
                      <a:pt x="2893727" y="1796081"/>
                      <a:pt x="2861488" y="1828320"/>
                      <a:pt x="2861488" y="1868089"/>
                    </a:cubicBezTo>
                    <a:cubicBezTo>
                      <a:pt x="2861488" y="1907858"/>
                      <a:pt x="2893727" y="1940097"/>
                      <a:pt x="2933496" y="1940097"/>
                    </a:cubicBezTo>
                    <a:cubicBezTo>
                      <a:pt x="2973265" y="1940097"/>
                      <a:pt x="3005504" y="1907858"/>
                      <a:pt x="3005504" y="1868089"/>
                    </a:cubicBezTo>
                    <a:cubicBezTo>
                      <a:pt x="3005504" y="1828320"/>
                      <a:pt x="2973265" y="1796081"/>
                      <a:pt x="2933496" y="1796081"/>
                    </a:cubicBezTo>
                    <a:close/>
                    <a:moveTo>
                      <a:pt x="119344" y="122856"/>
                    </a:moveTo>
                    <a:lnTo>
                      <a:pt x="119344" y="1728192"/>
                    </a:lnTo>
                    <a:lnTo>
                      <a:pt x="3120656" y="1728192"/>
                    </a:lnTo>
                    <a:lnTo>
                      <a:pt x="3120656" y="122856"/>
                    </a:lnTo>
                    <a:close/>
                    <a:moveTo>
                      <a:pt x="0" y="0"/>
                    </a:moveTo>
                    <a:lnTo>
                      <a:pt x="3240000" y="0"/>
                    </a:lnTo>
                    <a:lnTo>
                      <a:pt x="3240000" y="2016224"/>
                    </a:lnTo>
                    <a:lnTo>
                      <a:pt x="1812079" y="2016224"/>
                    </a:lnTo>
                    <a:lnTo>
                      <a:pt x="1857107" y="2320159"/>
                    </a:lnTo>
                    <a:lnTo>
                      <a:pt x="2357140" y="2320159"/>
                    </a:lnTo>
                    <a:cubicBezTo>
                      <a:pt x="2427304" y="2320159"/>
                      <a:pt x="2484184" y="2377039"/>
                      <a:pt x="2484184" y="2447203"/>
                    </a:cubicBezTo>
                    <a:lnTo>
                      <a:pt x="2484184" y="2574247"/>
                    </a:lnTo>
                    <a:lnTo>
                      <a:pt x="755992" y="2574247"/>
                    </a:lnTo>
                    <a:lnTo>
                      <a:pt x="755992" y="2447203"/>
                    </a:lnTo>
                    <a:cubicBezTo>
                      <a:pt x="755992" y="2377039"/>
                      <a:pt x="812872" y="2320159"/>
                      <a:pt x="883036" y="2320159"/>
                    </a:cubicBezTo>
                    <a:lnTo>
                      <a:pt x="1382894" y="2320159"/>
                    </a:lnTo>
                    <a:lnTo>
                      <a:pt x="1427922" y="2016224"/>
                    </a:lnTo>
                    <a:lnTo>
                      <a:pt x="0" y="2016224"/>
                    </a:ln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73" name="Rounded Rectangle 25">
                <a:extLst>
                  <a:ext uri="{FF2B5EF4-FFF2-40B4-BE49-F238E27FC236}">
                    <a16:creationId xmlns:a16="http://schemas.microsoft.com/office/drawing/2014/main" id="{10C64C10-2259-46EF-A0D3-672AB5655891}"/>
                  </a:ext>
                </a:extLst>
              </p:cNvPr>
              <p:cNvSpPr/>
              <p:nvPr/>
            </p:nvSpPr>
            <p:spPr>
              <a:xfrm>
                <a:off x="7140325" y="2485274"/>
                <a:ext cx="192767" cy="271047"/>
              </a:xfrm>
              <a:custGeom>
                <a:avLst/>
                <a:gdLst/>
                <a:ahLst/>
                <a:cxnLst/>
                <a:rect l="l" t="t" r="r" b="b"/>
                <a:pathLst>
                  <a:path w="2304256" h="3240000">
                    <a:moveTo>
                      <a:pt x="954128" y="3024336"/>
                    </a:moveTo>
                    <a:cubicBezTo>
                      <a:pt x="924305" y="3024336"/>
                      <a:pt x="900128" y="3048513"/>
                      <a:pt x="900128" y="3078336"/>
                    </a:cubicBezTo>
                    <a:cubicBezTo>
                      <a:pt x="900128" y="3108159"/>
                      <a:pt x="924305" y="3132336"/>
                      <a:pt x="954128" y="3132336"/>
                    </a:cubicBezTo>
                    <a:lnTo>
                      <a:pt x="1350128" y="3132336"/>
                    </a:lnTo>
                    <a:cubicBezTo>
                      <a:pt x="1379951" y="3132336"/>
                      <a:pt x="1404128" y="3108159"/>
                      <a:pt x="1404128" y="3078336"/>
                    </a:cubicBezTo>
                    <a:cubicBezTo>
                      <a:pt x="1404128" y="3048513"/>
                      <a:pt x="1379951" y="3024336"/>
                      <a:pt x="1350128" y="3024336"/>
                    </a:cubicBezTo>
                    <a:close/>
                    <a:moveTo>
                      <a:pt x="131531" y="224650"/>
                    </a:moveTo>
                    <a:lnTo>
                      <a:pt x="131531" y="2888946"/>
                    </a:lnTo>
                    <a:lnTo>
                      <a:pt x="2172725" y="2888946"/>
                    </a:lnTo>
                    <a:lnTo>
                      <a:pt x="2172725" y="224650"/>
                    </a:lnTo>
                    <a:close/>
                    <a:moveTo>
                      <a:pt x="936128" y="73520"/>
                    </a:moveTo>
                    <a:cubicBezTo>
                      <a:pt x="916246" y="73520"/>
                      <a:pt x="900128" y="89638"/>
                      <a:pt x="900128" y="109520"/>
                    </a:cubicBezTo>
                    <a:cubicBezTo>
                      <a:pt x="900128" y="129402"/>
                      <a:pt x="916246" y="145520"/>
                      <a:pt x="936128" y="145520"/>
                    </a:cubicBezTo>
                    <a:lnTo>
                      <a:pt x="1368128" y="145520"/>
                    </a:lnTo>
                    <a:cubicBezTo>
                      <a:pt x="1388010" y="145520"/>
                      <a:pt x="1404128" y="129402"/>
                      <a:pt x="1404128" y="109520"/>
                    </a:cubicBezTo>
                    <a:cubicBezTo>
                      <a:pt x="1404128" y="89638"/>
                      <a:pt x="1388010" y="73520"/>
                      <a:pt x="1368128" y="73520"/>
                    </a:cubicBezTo>
                    <a:close/>
                    <a:moveTo>
                      <a:pt x="155330" y="0"/>
                    </a:moveTo>
                    <a:lnTo>
                      <a:pt x="2148926" y="0"/>
                    </a:lnTo>
                    <a:cubicBezTo>
                      <a:pt x="2234712" y="0"/>
                      <a:pt x="2304256" y="69544"/>
                      <a:pt x="2304256" y="155330"/>
                    </a:cubicBezTo>
                    <a:lnTo>
                      <a:pt x="2304256" y="3084670"/>
                    </a:lnTo>
                    <a:cubicBezTo>
                      <a:pt x="2304256" y="3170456"/>
                      <a:pt x="2234712" y="3240000"/>
                      <a:pt x="2148926" y="3240000"/>
                    </a:cubicBezTo>
                    <a:lnTo>
                      <a:pt x="155330" y="3240000"/>
                    </a:lnTo>
                    <a:cubicBezTo>
                      <a:pt x="69544" y="3240000"/>
                      <a:pt x="0" y="3170456"/>
                      <a:pt x="0" y="3084670"/>
                    </a:cubicBezTo>
                    <a:lnTo>
                      <a:pt x="0" y="155330"/>
                    </a:lnTo>
                    <a:cubicBezTo>
                      <a:pt x="0" y="69544"/>
                      <a:pt x="69544" y="0"/>
                      <a:pt x="155330" y="0"/>
                    </a:cubicBez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75" name="Oval 66">
                <a:extLst>
                  <a:ext uri="{FF2B5EF4-FFF2-40B4-BE49-F238E27FC236}">
                    <a16:creationId xmlns:a16="http://schemas.microsoft.com/office/drawing/2014/main" id="{2360FD2C-5C3C-46DB-A7AE-E61A6991519F}"/>
                  </a:ext>
                </a:extLst>
              </p:cNvPr>
              <p:cNvSpPr/>
              <p:nvPr/>
            </p:nvSpPr>
            <p:spPr>
              <a:xfrm rot="20700000">
                <a:off x="10351190" y="3717706"/>
                <a:ext cx="353707" cy="302978"/>
              </a:xfrm>
              <a:custGeom>
                <a:avLst/>
                <a:gdLst/>
                <a:ahLst/>
                <a:cxnLst/>
                <a:rect l="l" t="t" r="r" b="b"/>
                <a:pathLst>
                  <a:path w="2901316" h="2485205">
                    <a:moveTo>
                      <a:pt x="2901316" y="8833"/>
                    </a:moveTo>
                    <a:lnTo>
                      <a:pt x="2885407" y="69738"/>
                    </a:lnTo>
                    <a:lnTo>
                      <a:pt x="2890344" y="71061"/>
                    </a:lnTo>
                    <a:lnTo>
                      <a:pt x="2331295" y="2157461"/>
                    </a:lnTo>
                    <a:lnTo>
                      <a:pt x="2322295" y="2155049"/>
                    </a:lnTo>
                    <a:cubicBezTo>
                      <a:pt x="2311779" y="2339141"/>
                      <a:pt x="2127696" y="2485205"/>
                      <a:pt x="1902404" y="2485205"/>
                    </a:cubicBezTo>
                    <a:cubicBezTo>
                      <a:pt x="1669201" y="2485205"/>
                      <a:pt x="1480151" y="2328701"/>
                      <a:pt x="1480150" y="2135644"/>
                    </a:cubicBezTo>
                    <a:cubicBezTo>
                      <a:pt x="1480150" y="1942587"/>
                      <a:pt x="1669200" y="1786083"/>
                      <a:pt x="1902404" y="1786083"/>
                    </a:cubicBezTo>
                    <a:cubicBezTo>
                      <a:pt x="2026046" y="1786083"/>
                      <a:pt x="2137276" y="1830075"/>
                      <a:pt x="2213623" y="1901150"/>
                    </a:cubicBezTo>
                    <a:lnTo>
                      <a:pt x="2586815" y="508378"/>
                    </a:lnTo>
                    <a:lnTo>
                      <a:pt x="1283297" y="508378"/>
                    </a:lnTo>
                    <a:lnTo>
                      <a:pt x="847984" y="2132988"/>
                    </a:lnTo>
                    <a:lnTo>
                      <a:pt x="841776" y="2131324"/>
                    </a:lnTo>
                    <a:cubicBezTo>
                      <a:pt x="829584" y="2314002"/>
                      <a:pt x="646295" y="2458448"/>
                      <a:pt x="422254" y="2458448"/>
                    </a:cubicBezTo>
                    <a:cubicBezTo>
                      <a:pt x="189051" y="2458448"/>
                      <a:pt x="1" y="2301944"/>
                      <a:pt x="0" y="2108887"/>
                    </a:cubicBezTo>
                    <a:cubicBezTo>
                      <a:pt x="0" y="1915830"/>
                      <a:pt x="189051" y="1759326"/>
                      <a:pt x="422255" y="1759326"/>
                    </a:cubicBezTo>
                    <a:cubicBezTo>
                      <a:pt x="544771" y="1759326"/>
                      <a:pt x="655100" y="1802522"/>
                      <a:pt x="731465" y="1872378"/>
                    </a:cubicBezTo>
                    <a:lnTo>
                      <a:pt x="1233167" y="0"/>
                    </a:lnTo>
                    <a:lnTo>
                      <a:pt x="1266129" y="8833"/>
                    </a:lnTo>
                    <a:close/>
                  </a:path>
                </a:pathLst>
              </a:custGeom>
              <a:solidFill>
                <a:srgbClr val="262626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76" name="Rectangle 16">
                <a:extLst>
                  <a:ext uri="{FF2B5EF4-FFF2-40B4-BE49-F238E27FC236}">
                    <a16:creationId xmlns:a16="http://schemas.microsoft.com/office/drawing/2014/main" id="{FBEDF4EB-7129-4963-8994-4B1182931FD0}"/>
                  </a:ext>
                </a:extLst>
              </p:cNvPr>
              <p:cNvSpPr/>
              <p:nvPr/>
            </p:nvSpPr>
            <p:spPr>
              <a:xfrm rot="2700000">
                <a:off x="9175484" y="1449461"/>
                <a:ext cx="251020" cy="450032"/>
              </a:xfrm>
              <a:custGeom>
                <a:avLst/>
                <a:gdLst/>
                <a:ahLst/>
                <a:cxnLst/>
                <a:rect l="l" t="t" r="r" b="b"/>
                <a:pathLst>
                  <a:path w="2232248" h="4001999">
                    <a:moveTo>
                      <a:pt x="1116887" y="0"/>
                    </a:moveTo>
                    <a:cubicBezTo>
                      <a:pt x="1270748" y="4762"/>
                      <a:pt x="1433283" y="120651"/>
                      <a:pt x="1447291" y="308459"/>
                    </a:cubicBezTo>
                    <a:cubicBezTo>
                      <a:pt x="1483174" y="544979"/>
                      <a:pt x="1283237" y="603082"/>
                      <a:pt x="1339988" y="887363"/>
                    </a:cubicBezTo>
                    <a:lnTo>
                      <a:pt x="2232248" y="887363"/>
                    </a:lnTo>
                    <a:lnTo>
                      <a:pt x="2232248" y="1778237"/>
                    </a:lnTo>
                    <a:cubicBezTo>
                      <a:pt x="1956566" y="1829261"/>
                      <a:pt x="1897086" y="1634366"/>
                      <a:pt x="1663321" y="1669832"/>
                    </a:cubicBezTo>
                    <a:cubicBezTo>
                      <a:pt x="1475513" y="1683840"/>
                      <a:pt x="1359624" y="1846375"/>
                      <a:pt x="1354862" y="2000236"/>
                    </a:cubicBezTo>
                    <a:cubicBezTo>
                      <a:pt x="1358037" y="2135389"/>
                      <a:pt x="1477787" y="2334920"/>
                      <a:pt x="1701420" y="2336507"/>
                    </a:cubicBezTo>
                    <a:cubicBezTo>
                      <a:pt x="1972077" y="2308709"/>
                      <a:pt x="1932339" y="2176007"/>
                      <a:pt x="2232248" y="2187989"/>
                    </a:cubicBezTo>
                    <a:lnTo>
                      <a:pt x="2232248" y="3119611"/>
                    </a:lnTo>
                    <a:lnTo>
                      <a:pt x="1303259" y="3119611"/>
                    </a:lnTo>
                    <a:cubicBezTo>
                      <a:pt x="1289664" y="3424971"/>
                      <a:pt x="1423682" y="3383289"/>
                      <a:pt x="1451633" y="3655441"/>
                    </a:cubicBezTo>
                    <a:cubicBezTo>
                      <a:pt x="1450046" y="3879074"/>
                      <a:pt x="1250515" y="3998824"/>
                      <a:pt x="1115362" y="4001999"/>
                    </a:cubicBezTo>
                    <a:cubicBezTo>
                      <a:pt x="961501" y="3997237"/>
                      <a:pt x="798966" y="3881348"/>
                      <a:pt x="784958" y="3693540"/>
                    </a:cubicBezTo>
                    <a:cubicBezTo>
                      <a:pt x="749282" y="3458385"/>
                      <a:pt x="946712" y="3399594"/>
                      <a:pt x="892811" y="3119611"/>
                    </a:cubicBezTo>
                    <a:lnTo>
                      <a:pt x="0" y="3119611"/>
                    </a:lnTo>
                    <a:lnTo>
                      <a:pt x="0" y="2203607"/>
                    </a:lnTo>
                    <a:cubicBezTo>
                      <a:pt x="285884" y="2145799"/>
                      <a:pt x="343730" y="2346665"/>
                      <a:pt x="580754" y="2310706"/>
                    </a:cubicBezTo>
                    <a:cubicBezTo>
                      <a:pt x="768562" y="2296698"/>
                      <a:pt x="884451" y="2134163"/>
                      <a:pt x="889213" y="1980302"/>
                    </a:cubicBezTo>
                    <a:cubicBezTo>
                      <a:pt x="886038" y="1845149"/>
                      <a:pt x="766288" y="1645618"/>
                      <a:pt x="542655" y="1644031"/>
                    </a:cubicBezTo>
                    <a:cubicBezTo>
                      <a:pt x="268493" y="1672188"/>
                      <a:pt x="312817" y="1807984"/>
                      <a:pt x="0" y="1792208"/>
                    </a:cubicBezTo>
                    <a:lnTo>
                      <a:pt x="0" y="887363"/>
                    </a:lnTo>
                    <a:lnTo>
                      <a:pt x="928847" y="887363"/>
                    </a:lnTo>
                    <a:cubicBezTo>
                      <a:pt x="944034" y="576570"/>
                      <a:pt x="808718" y="620178"/>
                      <a:pt x="780616" y="346558"/>
                    </a:cubicBezTo>
                    <a:cubicBezTo>
                      <a:pt x="782203" y="122925"/>
                      <a:pt x="981734" y="3175"/>
                      <a:pt x="1116887" y="0"/>
                    </a:cubicBezTo>
                    <a:close/>
                  </a:path>
                </a:pathLst>
              </a:custGeom>
              <a:solidFill>
                <a:srgbClr val="262626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77" name="Rectangle 9">
                <a:extLst>
                  <a:ext uri="{FF2B5EF4-FFF2-40B4-BE49-F238E27FC236}">
                    <a16:creationId xmlns:a16="http://schemas.microsoft.com/office/drawing/2014/main" id="{21654B39-2655-4FF2-8CAA-1635A4811239}"/>
                  </a:ext>
                </a:extLst>
              </p:cNvPr>
              <p:cNvSpPr/>
              <p:nvPr/>
            </p:nvSpPr>
            <p:spPr>
              <a:xfrm>
                <a:off x="10176222" y="2171222"/>
                <a:ext cx="339946" cy="318220"/>
              </a:xfrm>
              <a:custGeom>
                <a:avLst/>
                <a:gdLst>
                  <a:gd name="connsiteX0" fmla="*/ 833935 w 3239999"/>
                  <a:gd name="connsiteY0" fmla="*/ 22 h 3032924"/>
                  <a:gd name="connsiteX1" fmla="*/ 1576606 w 3239999"/>
                  <a:gd name="connsiteY1" fmla="*/ 402054 h 3032924"/>
                  <a:gd name="connsiteX2" fmla="*/ 1576606 w 3239999"/>
                  <a:gd name="connsiteY2" fmla="*/ 430441 h 3032924"/>
                  <a:gd name="connsiteX3" fmla="*/ 1576606 w 3239999"/>
                  <a:gd name="connsiteY3" fmla="*/ 526981 h 3032924"/>
                  <a:gd name="connsiteX4" fmla="*/ 1576606 w 3239999"/>
                  <a:gd name="connsiteY4" fmla="*/ 2765302 h 3032924"/>
                  <a:gd name="connsiteX5" fmla="*/ 378630 w 3239999"/>
                  <a:gd name="connsiteY5" fmla="*/ 2472117 h 3032924"/>
                  <a:gd name="connsiteX6" fmla="*/ 384918 w 3239999"/>
                  <a:gd name="connsiteY6" fmla="*/ 526981 h 3032924"/>
                  <a:gd name="connsiteX7" fmla="*/ 239143 w 3239999"/>
                  <a:gd name="connsiteY7" fmla="*/ 526981 h 3032924"/>
                  <a:gd name="connsiteX8" fmla="*/ 239143 w 3239999"/>
                  <a:gd name="connsiteY8" fmla="*/ 2776423 h 3032924"/>
                  <a:gd name="connsiteX9" fmla="*/ 1576606 w 3239999"/>
                  <a:gd name="connsiteY9" fmla="*/ 2776423 h 3032924"/>
                  <a:gd name="connsiteX10" fmla="*/ 1576606 w 3239999"/>
                  <a:gd name="connsiteY10" fmla="*/ 2778202 h 3032924"/>
                  <a:gd name="connsiteX11" fmla="*/ 1663394 w 3239999"/>
                  <a:gd name="connsiteY11" fmla="*/ 2778202 h 3032924"/>
                  <a:gd name="connsiteX12" fmla="*/ 1663394 w 3239999"/>
                  <a:gd name="connsiteY12" fmla="*/ 2776423 h 3032924"/>
                  <a:gd name="connsiteX13" fmla="*/ 3000856 w 3239999"/>
                  <a:gd name="connsiteY13" fmla="*/ 2776423 h 3032924"/>
                  <a:gd name="connsiteX14" fmla="*/ 3000856 w 3239999"/>
                  <a:gd name="connsiteY14" fmla="*/ 526981 h 3032924"/>
                  <a:gd name="connsiteX15" fmla="*/ 2855082 w 3239999"/>
                  <a:gd name="connsiteY15" fmla="*/ 526981 h 3032924"/>
                  <a:gd name="connsiteX16" fmla="*/ 2861369 w 3239999"/>
                  <a:gd name="connsiteY16" fmla="*/ 2472117 h 3032924"/>
                  <a:gd name="connsiteX17" fmla="*/ 1663394 w 3239999"/>
                  <a:gd name="connsiteY17" fmla="*/ 2765302 h 3032924"/>
                  <a:gd name="connsiteX18" fmla="*/ 1663394 w 3239999"/>
                  <a:gd name="connsiteY18" fmla="*/ 526981 h 3032924"/>
                  <a:gd name="connsiteX19" fmla="*/ 1663394 w 3239999"/>
                  <a:gd name="connsiteY19" fmla="*/ 430441 h 3032924"/>
                  <a:gd name="connsiteX20" fmla="*/ 1663394 w 3239999"/>
                  <a:gd name="connsiteY20" fmla="*/ 402054 h 3032924"/>
                  <a:gd name="connsiteX21" fmla="*/ 2406065 w 3239999"/>
                  <a:gd name="connsiteY21" fmla="*/ 22 h 3032924"/>
                  <a:gd name="connsiteX22" fmla="*/ 2853673 w 3239999"/>
                  <a:gd name="connsiteY22" fmla="*/ 91100 h 3032924"/>
                  <a:gd name="connsiteX23" fmla="*/ 2854770 w 3239999"/>
                  <a:gd name="connsiteY23" fmla="*/ 430441 h 3032924"/>
                  <a:gd name="connsiteX24" fmla="*/ 3120669 w 3239999"/>
                  <a:gd name="connsiteY24" fmla="*/ 428517 h 3032924"/>
                  <a:gd name="connsiteX25" fmla="*/ 3120669 w 3239999"/>
                  <a:gd name="connsiteY25" fmla="*/ 738345 h 3032924"/>
                  <a:gd name="connsiteX26" fmla="*/ 3239999 w 3239999"/>
                  <a:gd name="connsiteY26" fmla="*/ 738345 h 3032924"/>
                  <a:gd name="connsiteX27" fmla="*/ 3239999 w 3239999"/>
                  <a:gd name="connsiteY27" fmla="*/ 3032924 h 3032924"/>
                  <a:gd name="connsiteX28" fmla="*/ 0 w 3239999"/>
                  <a:gd name="connsiteY28" fmla="*/ 3032924 h 3032924"/>
                  <a:gd name="connsiteX29" fmla="*/ 0 w 3239999"/>
                  <a:gd name="connsiteY29" fmla="*/ 738345 h 3032924"/>
                  <a:gd name="connsiteX30" fmla="*/ 102477 w 3239999"/>
                  <a:gd name="connsiteY30" fmla="*/ 738345 h 3032924"/>
                  <a:gd name="connsiteX31" fmla="*/ 102477 w 3239999"/>
                  <a:gd name="connsiteY31" fmla="*/ 428517 h 3032924"/>
                  <a:gd name="connsiteX32" fmla="*/ 385229 w 3239999"/>
                  <a:gd name="connsiteY32" fmla="*/ 430441 h 3032924"/>
                  <a:gd name="connsiteX33" fmla="*/ 386326 w 3239999"/>
                  <a:gd name="connsiteY33" fmla="*/ 91100 h 3032924"/>
                  <a:gd name="connsiteX34" fmla="*/ 833935 w 3239999"/>
                  <a:gd name="connsiteY34" fmla="*/ 22 h 3032924"/>
                  <a:gd name="connsiteX0" fmla="*/ 833935 w 3239999"/>
                  <a:gd name="connsiteY0" fmla="*/ 22 h 3032924"/>
                  <a:gd name="connsiteX1" fmla="*/ 1576606 w 3239999"/>
                  <a:gd name="connsiteY1" fmla="*/ 402054 h 3032924"/>
                  <a:gd name="connsiteX2" fmla="*/ 1576606 w 3239999"/>
                  <a:gd name="connsiteY2" fmla="*/ 430441 h 3032924"/>
                  <a:gd name="connsiteX3" fmla="*/ 1576606 w 3239999"/>
                  <a:gd name="connsiteY3" fmla="*/ 526981 h 3032924"/>
                  <a:gd name="connsiteX4" fmla="*/ 1576606 w 3239999"/>
                  <a:gd name="connsiteY4" fmla="*/ 2765302 h 3032924"/>
                  <a:gd name="connsiteX5" fmla="*/ 378630 w 3239999"/>
                  <a:gd name="connsiteY5" fmla="*/ 2472117 h 3032924"/>
                  <a:gd name="connsiteX6" fmla="*/ 384918 w 3239999"/>
                  <a:gd name="connsiteY6" fmla="*/ 526981 h 3032924"/>
                  <a:gd name="connsiteX7" fmla="*/ 239143 w 3239999"/>
                  <a:gd name="connsiteY7" fmla="*/ 526981 h 3032924"/>
                  <a:gd name="connsiteX8" fmla="*/ 239143 w 3239999"/>
                  <a:gd name="connsiteY8" fmla="*/ 2776423 h 3032924"/>
                  <a:gd name="connsiteX9" fmla="*/ 1576606 w 3239999"/>
                  <a:gd name="connsiteY9" fmla="*/ 2776423 h 3032924"/>
                  <a:gd name="connsiteX10" fmla="*/ 1576606 w 3239999"/>
                  <a:gd name="connsiteY10" fmla="*/ 2778202 h 3032924"/>
                  <a:gd name="connsiteX11" fmla="*/ 1663394 w 3239999"/>
                  <a:gd name="connsiteY11" fmla="*/ 2778202 h 3032924"/>
                  <a:gd name="connsiteX12" fmla="*/ 1663394 w 3239999"/>
                  <a:gd name="connsiteY12" fmla="*/ 2776423 h 3032924"/>
                  <a:gd name="connsiteX13" fmla="*/ 3000856 w 3239999"/>
                  <a:gd name="connsiteY13" fmla="*/ 2776423 h 3032924"/>
                  <a:gd name="connsiteX14" fmla="*/ 3000856 w 3239999"/>
                  <a:gd name="connsiteY14" fmla="*/ 526981 h 3032924"/>
                  <a:gd name="connsiteX15" fmla="*/ 2855082 w 3239999"/>
                  <a:gd name="connsiteY15" fmla="*/ 526981 h 3032924"/>
                  <a:gd name="connsiteX16" fmla="*/ 2861369 w 3239999"/>
                  <a:gd name="connsiteY16" fmla="*/ 2472117 h 3032924"/>
                  <a:gd name="connsiteX17" fmla="*/ 1663394 w 3239999"/>
                  <a:gd name="connsiteY17" fmla="*/ 2765302 h 3032924"/>
                  <a:gd name="connsiteX18" fmla="*/ 1663394 w 3239999"/>
                  <a:gd name="connsiteY18" fmla="*/ 526981 h 3032924"/>
                  <a:gd name="connsiteX19" fmla="*/ 1663394 w 3239999"/>
                  <a:gd name="connsiteY19" fmla="*/ 430441 h 3032924"/>
                  <a:gd name="connsiteX20" fmla="*/ 1663394 w 3239999"/>
                  <a:gd name="connsiteY20" fmla="*/ 402054 h 3032924"/>
                  <a:gd name="connsiteX21" fmla="*/ 2406065 w 3239999"/>
                  <a:gd name="connsiteY21" fmla="*/ 22 h 3032924"/>
                  <a:gd name="connsiteX22" fmla="*/ 2853673 w 3239999"/>
                  <a:gd name="connsiteY22" fmla="*/ 91100 h 3032924"/>
                  <a:gd name="connsiteX23" fmla="*/ 2854770 w 3239999"/>
                  <a:gd name="connsiteY23" fmla="*/ 430441 h 3032924"/>
                  <a:gd name="connsiteX24" fmla="*/ 3120669 w 3239999"/>
                  <a:gd name="connsiteY24" fmla="*/ 428517 h 3032924"/>
                  <a:gd name="connsiteX25" fmla="*/ 3120669 w 3239999"/>
                  <a:gd name="connsiteY25" fmla="*/ 738345 h 3032924"/>
                  <a:gd name="connsiteX26" fmla="*/ 3239999 w 3239999"/>
                  <a:gd name="connsiteY26" fmla="*/ 738345 h 3032924"/>
                  <a:gd name="connsiteX27" fmla="*/ 3239999 w 3239999"/>
                  <a:gd name="connsiteY27" fmla="*/ 3032924 h 3032924"/>
                  <a:gd name="connsiteX28" fmla="*/ 0 w 3239999"/>
                  <a:gd name="connsiteY28" fmla="*/ 3032924 h 3032924"/>
                  <a:gd name="connsiteX29" fmla="*/ 0 w 3239999"/>
                  <a:gd name="connsiteY29" fmla="*/ 738345 h 3032924"/>
                  <a:gd name="connsiteX30" fmla="*/ 102477 w 3239999"/>
                  <a:gd name="connsiteY30" fmla="*/ 738345 h 3032924"/>
                  <a:gd name="connsiteX31" fmla="*/ 102477 w 3239999"/>
                  <a:gd name="connsiteY31" fmla="*/ 428517 h 3032924"/>
                  <a:gd name="connsiteX32" fmla="*/ 385229 w 3239999"/>
                  <a:gd name="connsiteY32" fmla="*/ 430441 h 3032924"/>
                  <a:gd name="connsiteX33" fmla="*/ 386326 w 3239999"/>
                  <a:gd name="connsiteY33" fmla="*/ 91100 h 3032924"/>
                  <a:gd name="connsiteX34" fmla="*/ 833935 w 3239999"/>
                  <a:gd name="connsiteY34" fmla="*/ 22 h 3032924"/>
                  <a:gd name="connsiteX0" fmla="*/ 833935 w 3239999"/>
                  <a:gd name="connsiteY0" fmla="*/ 22 h 3032924"/>
                  <a:gd name="connsiteX1" fmla="*/ 1576606 w 3239999"/>
                  <a:gd name="connsiteY1" fmla="*/ 402054 h 3032924"/>
                  <a:gd name="connsiteX2" fmla="*/ 1576606 w 3239999"/>
                  <a:gd name="connsiteY2" fmla="*/ 430441 h 3032924"/>
                  <a:gd name="connsiteX3" fmla="*/ 1576606 w 3239999"/>
                  <a:gd name="connsiteY3" fmla="*/ 526981 h 3032924"/>
                  <a:gd name="connsiteX4" fmla="*/ 1576606 w 3239999"/>
                  <a:gd name="connsiteY4" fmla="*/ 2765302 h 3032924"/>
                  <a:gd name="connsiteX5" fmla="*/ 378630 w 3239999"/>
                  <a:gd name="connsiteY5" fmla="*/ 2472117 h 3032924"/>
                  <a:gd name="connsiteX6" fmla="*/ 384918 w 3239999"/>
                  <a:gd name="connsiteY6" fmla="*/ 526981 h 3032924"/>
                  <a:gd name="connsiteX7" fmla="*/ 239143 w 3239999"/>
                  <a:gd name="connsiteY7" fmla="*/ 526981 h 3032924"/>
                  <a:gd name="connsiteX8" fmla="*/ 239143 w 3239999"/>
                  <a:gd name="connsiteY8" fmla="*/ 2776423 h 3032924"/>
                  <a:gd name="connsiteX9" fmla="*/ 1576606 w 3239999"/>
                  <a:gd name="connsiteY9" fmla="*/ 2776423 h 3032924"/>
                  <a:gd name="connsiteX10" fmla="*/ 1576606 w 3239999"/>
                  <a:gd name="connsiteY10" fmla="*/ 2778202 h 3032924"/>
                  <a:gd name="connsiteX11" fmla="*/ 1663394 w 3239999"/>
                  <a:gd name="connsiteY11" fmla="*/ 2778202 h 3032924"/>
                  <a:gd name="connsiteX12" fmla="*/ 1663394 w 3239999"/>
                  <a:gd name="connsiteY12" fmla="*/ 2776423 h 3032924"/>
                  <a:gd name="connsiteX13" fmla="*/ 3000856 w 3239999"/>
                  <a:gd name="connsiteY13" fmla="*/ 2776423 h 3032924"/>
                  <a:gd name="connsiteX14" fmla="*/ 3000856 w 3239999"/>
                  <a:gd name="connsiteY14" fmla="*/ 526981 h 3032924"/>
                  <a:gd name="connsiteX15" fmla="*/ 2855082 w 3239999"/>
                  <a:gd name="connsiteY15" fmla="*/ 526981 h 3032924"/>
                  <a:gd name="connsiteX16" fmla="*/ 2861369 w 3239999"/>
                  <a:gd name="connsiteY16" fmla="*/ 2472117 h 3032924"/>
                  <a:gd name="connsiteX17" fmla="*/ 1663394 w 3239999"/>
                  <a:gd name="connsiteY17" fmla="*/ 2765302 h 3032924"/>
                  <a:gd name="connsiteX18" fmla="*/ 1663394 w 3239999"/>
                  <a:gd name="connsiteY18" fmla="*/ 526981 h 3032924"/>
                  <a:gd name="connsiteX19" fmla="*/ 1663394 w 3239999"/>
                  <a:gd name="connsiteY19" fmla="*/ 430441 h 3032924"/>
                  <a:gd name="connsiteX20" fmla="*/ 1663394 w 3239999"/>
                  <a:gd name="connsiteY20" fmla="*/ 402054 h 3032924"/>
                  <a:gd name="connsiteX21" fmla="*/ 2406065 w 3239999"/>
                  <a:gd name="connsiteY21" fmla="*/ 22 h 3032924"/>
                  <a:gd name="connsiteX22" fmla="*/ 2853673 w 3239999"/>
                  <a:gd name="connsiteY22" fmla="*/ 91100 h 3032924"/>
                  <a:gd name="connsiteX23" fmla="*/ 2854770 w 3239999"/>
                  <a:gd name="connsiteY23" fmla="*/ 430441 h 3032924"/>
                  <a:gd name="connsiteX24" fmla="*/ 3120669 w 3239999"/>
                  <a:gd name="connsiteY24" fmla="*/ 428517 h 3032924"/>
                  <a:gd name="connsiteX25" fmla="*/ 3120669 w 3239999"/>
                  <a:gd name="connsiteY25" fmla="*/ 738345 h 3032924"/>
                  <a:gd name="connsiteX26" fmla="*/ 3239999 w 3239999"/>
                  <a:gd name="connsiteY26" fmla="*/ 738345 h 3032924"/>
                  <a:gd name="connsiteX27" fmla="*/ 3239999 w 3239999"/>
                  <a:gd name="connsiteY27" fmla="*/ 3032924 h 3032924"/>
                  <a:gd name="connsiteX28" fmla="*/ 0 w 3239999"/>
                  <a:gd name="connsiteY28" fmla="*/ 3032924 h 3032924"/>
                  <a:gd name="connsiteX29" fmla="*/ 0 w 3239999"/>
                  <a:gd name="connsiteY29" fmla="*/ 738345 h 3032924"/>
                  <a:gd name="connsiteX30" fmla="*/ 102477 w 3239999"/>
                  <a:gd name="connsiteY30" fmla="*/ 738345 h 3032924"/>
                  <a:gd name="connsiteX31" fmla="*/ 102477 w 3239999"/>
                  <a:gd name="connsiteY31" fmla="*/ 428517 h 3032924"/>
                  <a:gd name="connsiteX32" fmla="*/ 385229 w 3239999"/>
                  <a:gd name="connsiteY32" fmla="*/ 430441 h 3032924"/>
                  <a:gd name="connsiteX33" fmla="*/ 386326 w 3239999"/>
                  <a:gd name="connsiteY33" fmla="*/ 91100 h 3032924"/>
                  <a:gd name="connsiteX34" fmla="*/ 833935 w 3239999"/>
                  <a:gd name="connsiteY34" fmla="*/ 2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29618 w 3239999"/>
                  <a:gd name="connsiteY32" fmla="*/ 2690698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2991331 w 3239999"/>
                  <a:gd name="connsiteY3" fmla="*/ 2709748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29618 w 3239999"/>
                  <a:gd name="connsiteY32" fmla="*/ 2690698 h 3032924"/>
                  <a:gd name="connsiteX33" fmla="*/ 1576606 w 3239999"/>
                  <a:gd name="connsiteY33" fmla="*/ 2776423 h 3032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3239999" h="3032924">
                    <a:moveTo>
                      <a:pt x="1576606" y="2778202"/>
                    </a:moveTo>
                    <a:cubicBezTo>
                      <a:pt x="1576606" y="2778795"/>
                      <a:pt x="1663394" y="2792670"/>
                      <a:pt x="1663394" y="2778202"/>
                    </a:cubicBezTo>
                    <a:lnTo>
                      <a:pt x="1663394" y="2776423"/>
                    </a:lnTo>
                    <a:cubicBezTo>
                      <a:pt x="2185083" y="2605634"/>
                      <a:pt x="2444552" y="2500589"/>
                      <a:pt x="2991331" y="2709748"/>
                    </a:cubicBezTo>
                    <a:lnTo>
                      <a:pt x="3000856" y="526981"/>
                    </a:lnTo>
                    <a:lnTo>
                      <a:pt x="2855082" y="526981"/>
                    </a:lnTo>
                    <a:cubicBezTo>
                      <a:pt x="2857178" y="1175360"/>
                      <a:pt x="2859273" y="1823738"/>
                      <a:pt x="2861369" y="2472117"/>
                    </a:cubicBezTo>
                    <a:cubicBezTo>
                      <a:pt x="2483869" y="2318121"/>
                      <a:pt x="2052449" y="2439541"/>
                      <a:pt x="1663394" y="2765302"/>
                    </a:cubicBezTo>
                    <a:lnTo>
                      <a:pt x="1663394" y="526981"/>
                    </a:lnTo>
                    <a:lnTo>
                      <a:pt x="1663394" y="430441"/>
                    </a:lnTo>
                    <a:lnTo>
                      <a:pt x="1663394" y="402054"/>
                    </a:lnTo>
                    <a:cubicBezTo>
                      <a:pt x="1896442" y="149589"/>
                      <a:pt x="2115835" y="2106"/>
                      <a:pt x="2406065" y="22"/>
                    </a:cubicBezTo>
                    <a:cubicBezTo>
                      <a:pt x="2537987" y="-925"/>
                      <a:pt x="2684544" y="28169"/>
                      <a:pt x="2853673" y="91100"/>
                    </a:cubicBezTo>
                    <a:cubicBezTo>
                      <a:pt x="2854039" y="204214"/>
                      <a:pt x="2854404" y="317327"/>
                      <a:pt x="2854770" y="430441"/>
                    </a:cubicBezTo>
                    <a:lnTo>
                      <a:pt x="3120669" y="428517"/>
                    </a:lnTo>
                    <a:lnTo>
                      <a:pt x="3120669" y="738345"/>
                    </a:lnTo>
                    <a:lnTo>
                      <a:pt x="3239999" y="738345"/>
                    </a:lnTo>
                    <a:lnTo>
                      <a:pt x="3239999" y="3032924"/>
                    </a:lnTo>
                    <a:lnTo>
                      <a:pt x="0" y="3032924"/>
                    </a:lnTo>
                    <a:lnTo>
                      <a:pt x="0" y="738345"/>
                    </a:lnTo>
                    <a:lnTo>
                      <a:pt x="102477" y="738345"/>
                    </a:lnTo>
                    <a:lnTo>
                      <a:pt x="102477" y="428517"/>
                    </a:lnTo>
                    <a:lnTo>
                      <a:pt x="385229" y="430441"/>
                    </a:lnTo>
                    <a:cubicBezTo>
                      <a:pt x="385595" y="317327"/>
                      <a:pt x="385960" y="204214"/>
                      <a:pt x="386326" y="91100"/>
                    </a:cubicBezTo>
                    <a:cubicBezTo>
                      <a:pt x="555455" y="28169"/>
                      <a:pt x="702013" y="-925"/>
                      <a:pt x="833935" y="22"/>
                    </a:cubicBezTo>
                    <a:cubicBezTo>
                      <a:pt x="1124164" y="2106"/>
                      <a:pt x="1343558" y="149589"/>
                      <a:pt x="1576606" y="402054"/>
                    </a:cubicBezTo>
                    <a:lnTo>
                      <a:pt x="1576606" y="430441"/>
                    </a:lnTo>
                    <a:lnTo>
                      <a:pt x="1576606" y="526981"/>
                    </a:lnTo>
                    <a:lnTo>
                      <a:pt x="1576606" y="2765302"/>
                    </a:lnTo>
                    <a:cubicBezTo>
                      <a:pt x="1187550" y="2439541"/>
                      <a:pt x="756130" y="2318121"/>
                      <a:pt x="378630" y="2472117"/>
                    </a:cubicBezTo>
                    <a:lnTo>
                      <a:pt x="384918" y="526981"/>
                    </a:lnTo>
                    <a:lnTo>
                      <a:pt x="239143" y="526981"/>
                    </a:lnTo>
                    <a:lnTo>
                      <a:pt x="229618" y="2690698"/>
                    </a:lnTo>
                    <a:cubicBezTo>
                      <a:pt x="773243" y="2466244"/>
                      <a:pt x="1081748" y="2626096"/>
                      <a:pt x="1576606" y="2776423"/>
                    </a:cubicBezTo>
                  </a:path>
                </a:pathLst>
              </a:custGeom>
              <a:solidFill>
                <a:srgbClr val="262626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78" name="Rounded Rectangle 5">
                <a:extLst>
                  <a:ext uri="{FF2B5EF4-FFF2-40B4-BE49-F238E27FC236}">
                    <a16:creationId xmlns:a16="http://schemas.microsoft.com/office/drawing/2014/main" id="{7FF94F90-F0BC-4344-BD90-D7C7D4F56EAB}"/>
                  </a:ext>
                </a:extLst>
              </p:cNvPr>
              <p:cNvSpPr/>
              <p:nvPr/>
            </p:nvSpPr>
            <p:spPr>
              <a:xfrm flipH="1">
                <a:off x="9866717" y="1914495"/>
                <a:ext cx="325312" cy="268362"/>
              </a:xfrm>
              <a:custGeom>
                <a:avLst/>
                <a:gdLst>
                  <a:gd name="connsiteX0" fmla="*/ 1384251 w 3217557"/>
                  <a:gd name="connsiteY0" fmla="*/ 661544 h 2702049"/>
                  <a:gd name="connsiteX1" fmla="*/ 1574067 w 3217557"/>
                  <a:gd name="connsiteY1" fmla="*/ 851360 h 2702049"/>
                  <a:gd name="connsiteX2" fmla="*/ 1384251 w 3217557"/>
                  <a:gd name="connsiteY2" fmla="*/ 1041176 h 2702049"/>
                  <a:gd name="connsiteX3" fmla="*/ 1194435 w 3217557"/>
                  <a:gd name="connsiteY3" fmla="*/ 851360 h 2702049"/>
                  <a:gd name="connsiteX4" fmla="*/ 1384251 w 3217557"/>
                  <a:gd name="connsiteY4" fmla="*/ 661544 h 2702049"/>
                  <a:gd name="connsiteX5" fmla="*/ 1993421 w 3217557"/>
                  <a:gd name="connsiteY5" fmla="*/ 661544 h 2702049"/>
                  <a:gd name="connsiteX6" fmla="*/ 2183237 w 3217557"/>
                  <a:gd name="connsiteY6" fmla="*/ 851360 h 2702049"/>
                  <a:gd name="connsiteX7" fmla="*/ 1993421 w 3217557"/>
                  <a:gd name="connsiteY7" fmla="*/ 1041176 h 2702049"/>
                  <a:gd name="connsiteX8" fmla="*/ 1803605 w 3217557"/>
                  <a:gd name="connsiteY8" fmla="*/ 851360 h 2702049"/>
                  <a:gd name="connsiteX9" fmla="*/ 1993421 w 3217557"/>
                  <a:gd name="connsiteY9" fmla="*/ 661544 h 2702049"/>
                  <a:gd name="connsiteX10" fmla="*/ 2602591 w 3217557"/>
                  <a:gd name="connsiteY10" fmla="*/ 661544 h 2702049"/>
                  <a:gd name="connsiteX11" fmla="*/ 2792407 w 3217557"/>
                  <a:gd name="connsiteY11" fmla="*/ 851360 h 2702049"/>
                  <a:gd name="connsiteX12" fmla="*/ 2602591 w 3217557"/>
                  <a:gd name="connsiteY12" fmla="*/ 1041176 h 2702049"/>
                  <a:gd name="connsiteX13" fmla="*/ 2412775 w 3217557"/>
                  <a:gd name="connsiteY13" fmla="*/ 851360 h 2702049"/>
                  <a:gd name="connsiteX14" fmla="*/ 2602591 w 3217557"/>
                  <a:gd name="connsiteY14" fmla="*/ 661544 h 2702049"/>
                  <a:gd name="connsiteX15" fmla="*/ 677114 w 3217557"/>
                  <a:gd name="connsiteY15" fmla="*/ 569491 h 2702049"/>
                  <a:gd name="connsiteX16" fmla="*/ 330916 w 3217557"/>
                  <a:gd name="connsiteY16" fmla="*/ 569491 h 2702049"/>
                  <a:gd name="connsiteX17" fmla="*/ 0 w 3217557"/>
                  <a:gd name="connsiteY17" fmla="*/ 900407 h 2702049"/>
                  <a:gd name="connsiteX18" fmla="*/ 0 w 3217557"/>
                  <a:gd name="connsiteY18" fmla="*/ 1952009 h 2702049"/>
                  <a:gd name="connsiteX19" fmla="*/ 330916 w 3217557"/>
                  <a:gd name="connsiteY19" fmla="*/ 2282925 h 2702049"/>
                  <a:gd name="connsiteX20" fmla="*/ 711670 w 3217557"/>
                  <a:gd name="connsiteY20" fmla="*/ 2282925 h 2702049"/>
                  <a:gd name="connsiteX21" fmla="*/ 15770 w 3217557"/>
                  <a:gd name="connsiteY21" fmla="*/ 2702049 h 2702049"/>
                  <a:gd name="connsiteX22" fmla="*/ 1294529 w 3217557"/>
                  <a:gd name="connsiteY22" fmla="*/ 2282925 h 2702049"/>
                  <a:gd name="connsiteX23" fmla="*/ 2117356 w 3217557"/>
                  <a:gd name="connsiteY23" fmla="*/ 2282925 h 2702049"/>
                  <a:gd name="connsiteX24" fmla="*/ 2418395 w 3217557"/>
                  <a:gd name="connsiteY24" fmla="*/ 2087951 h 2702049"/>
                  <a:gd name="connsiteX25" fmla="*/ 1830857 w 3217557"/>
                  <a:gd name="connsiteY25" fmla="*/ 1799347 h 2702049"/>
                  <a:gd name="connsiteX26" fmla="*/ 1008030 w 3217557"/>
                  <a:gd name="connsiteY26" fmla="*/ 1799347 h 2702049"/>
                  <a:gd name="connsiteX27" fmla="*/ 677114 w 3217557"/>
                  <a:gd name="connsiteY27" fmla="*/ 1468431 h 2702049"/>
                  <a:gd name="connsiteX28" fmla="*/ 677114 w 3217557"/>
                  <a:gd name="connsiteY28" fmla="*/ 569491 h 2702049"/>
                  <a:gd name="connsiteX29" fmla="*/ 2886641 w 3217557"/>
                  <a:gd name="connsiteY29" fmla="*/ 0 h 2702049"/>
                  <a:gd name="connsiteX30" fmla="*/ 1100201 w 3217557"/>
                  <a:gd name="connsiteY30" fmla="*/ 0 h 2702049"/>
                  <a:gd name="connsiteX31" fmla="*/ 769285 w 3217557"/>
                  <a:gd name="connsiteY31" fmla="*/ 330916 h 2702049"/>
                  <a:gd name="connsiteX32" fmla="*/ 769285 w 3217557"/>
                  <a:gd name="connsiteY32" fmla="*/ 1382518 h 2702049"/>
                  <a:gd name="connsiteX33" fmla="*/ 1100201 w 3217557"/>
                  <a:gd name="connsiteY33" fmla="*/ 1713434 h 2702049"/>
                  <a:gd name="connsiteX34" fmla="*/ 1923028 w 3217557"/>
                  <a:gd name="connsiteY34" fmla="*/ 1713434 h 2702049"/>
                  <a:gd name="connsiteX35" fmla="*/ 3078958 w 3217557"/>
                  <a:gd name="connsiteY35" fmla="*/ 2077967 h 2702049"/>
                  <a:gd name="connsiteX36" fmla="*/ 2505887 w 3217557"/>
                  <a:gd name="connsiteY36" fmla="*/ 1713434 h 2702049"/>
                  <a:gd name="connsiteX37" fmla="*/ 2886641 w 3217557"/>
                  <a:gd name="connsiteY37" fmla="*/ 1713434 h 2702049"/>
                  <a:gd name="connsiteX38" fmla="*/ 3217557 w 3217557"/>
                  <a:gd name="connsiteY38" fmla="*/ 1382518 h 2702049"/>
                  <a:gd name="connsiteX39" fmla="*/ 3217557 w 3217557"/>
                  <a:gd name="connsiteY39" fmla="*/ 330916 h 2702049"/>
                  <a:gd name="connsiteX40" fmla="*/ 2886641 w 3217557"/>
                  <a:gd name="connsiteY40" fmla="*/ 0 h 2702049"/>
                  <a:gd name="connsiteX0" fmla="*/ 1384251 w 3217557"/>
                  <a:gd name="connsiteY0" fmla="*/ 661544 h 2702049"/>
                  <a:gd name="connsiteX1" fmla="*/ 1574067 w 3217557"/>
                  <a:gd name="connsiteY1" fmla="*/ 851360 h 2702049"/>
                  <a:gd name="connsiteX2" fmla="*/ 1384251 w 3217557"/>
                  <a:gd name="connsiteY2" fmla="*/ 1041176 h 2702049"/>
                  <a:gd name="connsiteX3" fmla="*/ 1194435 w 3217557"/>
                  <a:gd name="connsiteY3" fmla="*/ 851360 h 2702049"/>
                  <a:gd name="connsiteX4" fmla="*/ 1384251 w 3217557"/>
                  <a:gd name="connsiteY4" fmla="*/ 661544 h 2702049"/>
                  <a:gd name="connsiteX5" fmla="*/ 1993421 w 3217557"/>
                  <a:gd name="connsiteY5" fmla="*/ 661544 h 2702049"/>
                  <a:gd name="connsiteX6" fmla="*/ 2183237 w 3217557"/>
                  <a:gd name="connsiteY6" fmla="*/ 851360 h 2702049"/>
                  <a:gd name="connsiteX7" fmla="*/ 1993421 w 3217557"/>
                  <a:gd name="connsiteY7" fmla="*/ 1041176 h 2702049"/>
                  <a:gd name="connsiteX8" fmla="*/ 1803605 w 3217557"/>
                  <a:gd name="connsiteY8" fmla="*/ 851360 h 2702049"/>
                  <a:gd name="connsiteX9" fmla="*/ 1993421 w 3217557"/>
                  <a:gd name="connsiteY9" fmla="*/ 661544 h 2702049"/>
                  <a:gd name="connsiteX10" fmla="*/ 2602591 w 3217557"/>
                  <a:gd name="connsiteY10" fmla="*/ 661544 h 2702049"/>
                  <a:gd name="connsiteX11" fmla="*/ 2792407 w 3217557"/>
                  <a:gd name="connsiteY11" fmla="*/ 851360 h 2702049"/>
                  <a:gd name="connsiteX12" fmla="*/ 2602591 w 3217557"/>
                  <a:gd name="connsiteY12" fmla="*/ 1041176 h 2702049"/>
                  <a:gd name="connsiteX13" fmla="*/ 2412775 w 3217557"/>
                  <a:gd name="connsiteY13" fmla="*/ 851360 h 2702049"/>
                  <a:gd name="connsiteX14" fmla="*/ 2602591 w 3217557"/>
                  <a:gd name="connsiteY14" fmla="*/ 661544 h 2702049"/>
                  <a:gd name="connsiteX15" fmla="*/ 677114 w 3217557"/>
                  <a:gd name="connsiteY15" fmla="*/ 569491 h 2702049"/>
                  <a:gd name="connsiteX16" fmla="*/ 330916 w 3217557"/>
                  <a:gd name="connsiteY16" fmla="*/ 569491 h 2702049"/>
                  <a:gd name="connsiteX17" fmla="*/ 0 w 3217557"/>
                  <a:gd name="connsiteY17" fmla="*/ 900407 h 2702049"/>
                  <a:gd name="connsiteX18" fmla="*/ 0 w 3217557"/>
                  <a:gd name="connsiteY18" fmla="*/ 1952009 h 2702049"/>
                  <a:gd name="connsiteX19" fmla="*/ 330916 w 3217557"/>
                  <a:gd name="connsiteY19" fmla="*/ 2282925 h 2702049"/>
                  <a:gd name="connsiteX20" fmla="*/ 711670 w 3217557"/>
                  <a:gd name="connsiteY20" fmla="*/ 2282925 h 2702049"/>
                  <a:gd name="connsiteX21" fmla="*/ 15770 w 3217557"/>
                  <a:gd name="connsiteY21" fmla="*/ 2702049 h 2702049"/>
                  <a:gd name="connsiteX22" fmla="*/ 1294529 w 3217557"/>
                  <a:gd name="connsiteY22" fmla="*/ 2282925 h 2702049"/>
                  <a:gd name="connsiteX23" fmla="*/ 2117356 w 3217557"/>
                  <a:gd name="connsiteY23" fmla="*/ 2282925 h 2702049"/>
                  <a:gd name="connsiteX24" fmla="*/ 2418395 w 3217557"/>
                  <a:gd name="connsiteY24" fmla="*/ 2087951 h 2702049"/>
                  <a:gd name="connsiteX25" fmla="*/ 1830857 w 3217557"/>
                  <a:gd name="connsiteY25" fmla="*/ 1799347 h 2702049"/>
                  <a:gd name="connsiteX26" fmla="*/ 1008030 w 3217557"/>
                  <a:gd name="connsiteY26" fmla="*/ 1799347 h 2702049"/>
                  <a:gd name="connsiteX27" fmla="*/ 677114 w 3217557"/>
                  <a:gd name="connsiteY27" fmla="*/ 1468431 h 2702049"/>
                  <a:gd name="connsiteX28" fmla="*/ 677114 w 3217557"/>
                  <a:gd name="connsiteY28" fmla="*/ 569491 h 2702049"/>
                  <a:gd name="connsiteX29" fmla="*/ 2886641 w 3217557"/>
                  <a:gd name="connsiteY29" fmla="*/ 0 h 2702049"/>
                  <a:gd name="connsiteX30" fmla="*/ 1100201 w 3217557"/>
                  <a:gd name="connsiteY30" fmla="*/ 0 h 2702049"/>
                  <a:gd name="connsiteX31" fmla="*/ 769285 w 3217557"/>
                  <a:gd name="connsiteY31" fmla="*/ 330916 h 2702049"/>
                  <a:gd name="connsiteX32" fmla="*/ 769285 w 3217557"/>
                  <a:gd name="connsiteY32" fmla="*/ 1382518 h 2702049"/>
                  <a:gd name="connsiteX33" fmla="*/ 1100201 w 3217557"/>
                  <a:gd name="connsiteY33" fmla="*/ 1713434 h 2702049"/>
                  <a:gd name="connsiteX34" fmla="*/ 1923028 w 3217557"/>
                  <a:gd name="connsiteY34" fmla="*/ 1713434 h 2702049"/>
                  <a:gd name="connsiteX35" fmla="*/ 3078958 w 3217557"/>
                  <a:gd name="connsiteY35" fmla="*/ 2077967 h 2702049"/>
                  <a:gd name="connsiteX36" fmla="*/ 2505887 w 3217557"/>
                  <a:gd name="connsiteY36" fmla="*/ 1713434 h 2702049"/>
                  <a:gd name="connsiteX37" fmla="*/ 2886641 w 3217557"/>
                  <a:gd name="connsiteY37" fmla="*/ 1713434 h 2702049"/>
                  <a:gd name="connsiteX38" fmla="*/ 3217557 w 3217557"/>
                  <a:gd name="connsiteY38" fmla="*/ 1382518 h 2702049"/>
                  <a:gd name="connsiteX39" fmla="*/ 3217557 w 3217557"/>
                  <a:gd name="connsiteY39" fmla="*/ 330916 h 2702049"/>
                  <a:gd name="connsiteX40" fmla="*/ 2886641 w 3217557"/>
                  <a:gd name="connsiteY40" fmla="*/ 0 h 2702049"/>
                  <a:gd name="connsiteX0" fmla="*/ 1384251 w 3217557"/>
                  <a:gd name="connsiteY0" fmla="*/ 661544 h 2633810"/>
                  <a:gd name="connsiteX1" fmla="*/ 1574067 w 3217557"/>
                  <a:gd name="connsiteY1" fmla="*/ 851360 h 2633810"/>
                  <a:gd name="connsiteX2" fmla="*/ 1384251 w 3217557"/>
                  <a:gd name="connsiteY2" fmla="*/ 1041176 h 2633810"/>
                  <a:gd name="connsiteX3" fmla="*/ 1194435 w 3217557"/>
                  <a:gd name="connsiteY3" fmla="*/ 851360 h 2633810"/>
                  <a:gd name="connsiteX4" fmla="*/ 1384251 w 3217557"/>
                  <a:gd name="connsiteY4" fmla="*/ 661544 h 2633810"/>
                  <a:gd name="connsiteX5" fmla="*/ 1993421 w 3217557"/>
                  <a:gd name="connsiteY5" fmla="*/ 661544 h 2633810"/>
                  <a:gd name="connsiteX6" fmla="*/ 2183237 w 3217557"/>
                  <a:gd name="connsiteY6" fmla="*/ 851360 h 2633810"/>
                  <a:gd name="connsiteX7" fmla="*/ 1993421 w 3217557"/>
                  <a:gd name="connsiteY7" fmla="*/ 1041176 h 2633810"/>
                  <a:gd name="connsiteX8" fmla="*/ 1803605 w 3217557"/>
                  <a:gd name="connsiteY8" fmla="*/ 851360 h 2633810"/>
                  <a:gd name="connsiteX9" fmla="*/ 1993421 w 3217557"/>
                  <a:gd name="connsiteY9" fmla="*/ 661544 h 2633810"/>
                  <a:gd name="connsiteX10" fmla="*/ 2602591 w 3217557"/>
                  <a:gd name="connsiteY10" fmla="*/ 661544 h 2633810"/>
                  <a:gd name="connsiteX11" fmla="*/ 2792407 w 3217557"/>
                  <a:gd name="connsiteY11" fmla="*/ 851360 h 2633810"/>
                  <a:gd name="connsiteX12" fmla="*/ 2602591 w 3217557"/>
                  <a:gd name="connsiteY12" fmla="*/ 1041176 h 2633810"/>
                  <a:gd name="connsiteX13" fmla="*/ 2412775 w 3217557"/>
                  <a:gd name="connsiteY13" fmla="*/ 851360 h 2633810"/>
                  <a:gd name="connsiteX14" fmla="*/ 2602591 w 3217557"/>
                  <a:gd name="connsiteY14" fmla="*/ 661544 h 2633810"/>
                  <a:gd name="connsiteX15" fmla="*/ 677114 w 3217557"/>
                  <a:gd name="connsiteY15" fmla="*/ 569491 h 2633810"/>
                  <a:gd name="connsiteX16" fmla="*/ 330916 w 3217557"/>
                  <a:gd name="connsiteY16" fmla="*/ 569491 h 2633810"/>
                  <a:gd name="connsiteX17" fmla="*/ 0 w 3217557"/>
                  <a:gd name="connsiteY17" fmla="*/ 900407 h 2633810"/>
                  <a:gd name="connsiteX18" fmla="*/ 0 w 3217557"/>
                  <a:gd name="connsiteY18" fmla="*/ 1952009 h 2633810"/>
                  <a:gd name="connsiteX19" fmla="*/ 330916 w 3217557"/>
                  <a:gd name="connsiteY19" fmla="*/ 2282925 h 2633810"/>
                  <a:gd name="connsiteX20" fmla="*/ 711670 w 3217557"/>
                  <a:gd name="connsiteY20" fmla="*/ 2282925 h 2633810"/>
                  <a:gd name="connsiteX21" fmla="*/ 165895 w 3217557"/>
                  <a:gd name="connsiteY21" fmla="*/ 2633810 h 2633810"/>
                  <a:gd name="connsiteX22" fmla="*/ 1294529 w 3217557"/>
                  <a:gd name="connsiteY22" fmla="*/ 2282925 h 2633810"/>
                  <a:gd name="connsiteX23" fmla="*/ 2117356 w 3217557"/>
                  <a:gd name="connsiteY23" fmla="*/ 2282925 h 2633810"/>
                  <a:gd name="connsiteX24" fmla="*/ 2418395 w 3217557"/>
                  <a:gd name="connsiteY24" fmla="*/ 2087951 h 2633810"/>
                  <a:gd name="connsiteX25" fmla="*/ 1830857 w 3217557"/>
                  <a:gd name="connsiteY25" fmla="*/ 1799347 h 2633810"/>
                  <a:gd name="connsiteX26" fmla="*/ 1008030 w 3217557"/>
                  <a:gd name="connsiteY26" fmla="*/ 1799347 h 2633810"/>
                  <a:gd name="connsiteX27" fmla="*/ 677114 w 3217557"/>
                  <a:gd name="connsiteY27" fmla="*/ 1468431 h 2633810"/>
                  <a:gd name="connsiteX28" fmla="*/ 677114 w 3217557"/>
                  <a:gd name="connsiteY28" fmla="*/ 569491 h 2633810"/>
                  <a:gd name="connsiteX29" fmla="*/ 2886641 w 3217557"/>
                  <a:gd name="connsiteY29" fmla="*/ 0 h 2633810"/>
                  <a:gd name="connsiteX30" fmla="*/ 1100201 w 3217557"/>
                  <a:gd name="connsiteY30" fmla="*/ 0 h 2633810"/>
                  <a:gd name="connsiteX31" fmla="*/ 769285 w 3217557"/>
                  <a:gd name="connsiteY31" fmla="*/ 330916 h 2633810"/>
                  <a:gd name="connsiteX32" fmla="*/ 769285 w 3217557"/>
                  <a:gd name="connsiteY32" fmla="*/ 1382518 h 2633810"/>
                  <a:gd name="connsiteX33" fmla="*/ 1100201 w 3217557"/>
                  <a:gd name="connsiteY33" fmla="*/ 1713434 h 2633810"/>
                  <a:gd name="connsiteX34" fmla="*/ 1923028 w 3217557"/>
                  <a:gd name="connsiteY34" fmla="*/ 1713434 h 2633810"/>
                  <a:gd name="connsiteX35" fmla="*/ 3078958 w 3217557"/>
                  <a:gd name="connsiteY35" fmla="*/ 2077967 h 2633810"/>
                  <a:gd name="connsiteX36" fmla="*/ 2505887 w 3217557"/>
                  <a:gd name="connsiteY36" fmla="*/ 1713434 h 2633810"/>
                  <a:gd name="connsiteX37" fmla="*/ 2886641 w 3217557"/>
                  <a:gd name="connsiteY37" fmla="*/ 1713434 h 2633810"/>
                  <a:gd name="connsiteX38" fmla="*/ 3217557 w 3217557"/>
                  <a:gd name="connsiteY38" fmla="*/ 1382518 h 2633810"/>
                  <a:gd name="connsiteX39" fmla="*/ 3217557 w 3217557"/>
                  <a:gd name="connsiteY39" fmla="*/ 330916 h 2633810"/>
                  <a:gd name="connsiteX40" fmla="*/ 2886641 w 3217557"/>
                  <a:gd name="connsiteY40" fmla="*/ 0 h 2633810"/>
                  <a:gd name="connsiteX0" fmla="*/ 1384251 w 3217557"/>
                  <a:gd name="connsiteY0" fmla="*/ 661544 h 2633810"/>
                  <a:gd name="connsiteX1" fmla="*/ 1574067 w 3217557"/>
                  <a:gd name="connsiteY1" fmla="*/ 851360 h 2633810"/>
                  <a:gd name="connsiteX2" fmla="*/ 1384251 w 3217557"/>
                  <a:gd name="connsiteY2" fmla="*/ 1041176 h 2633810"/>
                  <a:gd name="connsiteX3" fmla="*/ 1194435 w 3217557"/>
                  <a:gd name="connsiteY3" fmla="*/ 851360 h 2633810"/>
                  <a:gd name="connsiteX4" fmla="*/ 1384251 w 3217557"/>
                  <a:gd name="connsiteY4" fmla="*/ 661544 h 2633810"/>
                  <a:gd name="connsiteX5" fmla="*/ 1993421 w 3217557"/>
                  <a:gd name="connsiteY5" fmla="*/ 661544 h 2633810"/>
                  <a:gd name="connsiteX6" fmla="*/ 2183237 w 3217557"/>
                  <a:gd name="connsiteY6" fmla="*/ 851360 h 2633810"/>
                  <a:gd name="connsiteX7" fmla="*/ 1993421 w 3217557"/>
                  <a:gd name="connsiteY7" fmla="*/ 1041176 h 2633810"/>
                  <a:gd name="connsiteX8" fmla="*/ 1803605 w 3217557"/>
                  <a:gd name="connsiteY8" fmla="*/ 851360 h 2633810"/>
                  <a:gd name="connsiteX9" fmla="*/ 1993421 w 3217557"/>
                  <a:gd name="connsiteY9" fmla="*/ 661544 h 2633810"/>
                  <a:gd name="connsiteX10" fmla="*/ 2602591 w 3217557"/>
                  <a:gd name="connsiteY10" fmla="*/ 661544 h 2633810"/>
                  <a:gd name="connsiteX11" fmla="*/ 2792407 w 3217557"/>
                  <a:gd name="connsiteY11" fmla="*/ 851360 h 2633810"/>
                  <a:gd name="connsiteX12" fmla="*/ 2602591 w 3217557"/>
                  <a:gd name="connsiteY12" fmla="*/ 1041176 h 2633810"/>
                  <a:gd name="connsiteX13" fmla="*/ 2412775 w 3217557"/>
                  <a:gd name="connsiteY13" fmla="*/ 851360 h 2633810"/>
                  <a:gd name="connsiteX14" fmla="*/ 2602591 w 3217557"/>
                  <a:gd name="connsiteY14" fmla="*/ 661544 h 2633810"/>
                  <a:gd name="connsiteX15" fmla="*/ 677114 w 3217557"/>
                  <a:gd name="connsiteY15" fmla="*/ 569491 h 2633810"/>
                  <a:gd name="connsiteX16" fmla="*/ 330916 w 3217557"/>
                  <a:gd name="connsiteY16" fmla="*/ 569491 h 2633810"/>
                  <a:gd name="connsiteX17" fmla="*/ 0 w 3217557"/>
                  <a:gd name="connsiteY17" fmla="*/ 900407 h 2633810"/>
                  <a:gd name="connsiteX18" fmla="*/ 0 w 3217557"/>
                  <a:gd name="connsiteY18" fmla="*/ 1952009 h 2633810"/>
                  <a:gd name="connsiteX19" fmla="*/ 330916 w 3217557"/>
                  <a:gd name="connsiteY19" fmla="*/ 2282925 h 2633810"/>
                  <a:gd name="connsiteX20" fmla="*/ 711670 w 3217557"/>
                  <a:gd name="connsiteY20" fmla="*/ 2282925 h 2633810"/>
                  <a:gd name="connsiteX21" fmla="*/ 165895 w 3217557"/>
                  <a:gd name="connsiteY21" fmla="*/ 2633810 h 2633810"/>
                  <a:gd name="connsiteX22" fmla="*/ 1294529 w 3217557"/>
                  <a:gd name="connsiteY22" fmla="*/ 2282925 h 2633810"/>
                  <a:gd name="connsiteX23" fmla="*/ 2117356 w 3217557"/>
                  <a:gd name="connsiteY23" fmla="*/ 2282925 h 2633810"/>
                  <a:gd name="connsiteX24" fmla="*/ 2418395 w 3217557"/>
                  <a:gd name="connsiteY24" fmla="*/ 2087951 h 2633810"/>
                  <a:gd name="connsiteX25" fmla="*/ 1830857 w 3217557"/>
                  <a:gd name="connsiteY25" fmla="*/ 1799347 h 2633810"/>
                  <a:gd name="connsiteX26" fmla="*/ 1008030 w 3217557"/>
                  <a:gd name="connsiteY26" fmla="*/ 1799347 h 2633810"/>
                  <a:gd name="connsiteX27" fmla="*/ 677114 w 3217557"/>
                  <a:gd name="connsiteY27" fmla="*/ 1468431 h 2633810"/>
                  <a:gd name="connsiteX28" fmla="*/ 677114 w 3217557"/>
                  <a:gd name="connsiteY28" fmla="*/ 569491 h 2633810"/>
                  <a:gd name="connsiteX29" fmla="*/ 2886641 w 3217557"/>
                  <a:gd name="connsiteY29" fmla="*/ 0 h 2633810"/>
                  <a:gd name="connsiteX30" fmla="*/ 1100201 w 3217557"/>
                  <a:gd name="connsiteY30" fmla="*/ 0 h 2633810"/>
                  <a:gd name="connsiteX31" fmla="*/ 769285 w 3217557"/>
                  <a:gd name="connsiteY31" fmla="*/ 330916 h 2633810"/>
                  <a:gd name="connsiteX32" fmla="*/ 769285 w 3217557"/>
                  <a:gd name="connsiteY32" fmla="*/ 1382518 h 2633810"/>
                  <a:gd name="connsiteX33" fmla="*/ 1100201 w 3217557"/>
                  <a:gd name="connsiteY33" fmla="*/ 1713434 h 2633810"/>
                  <a:gd name="connsiteX34" fmla="*/ 1923028 w 3217557"/>
                  <a:gd name="connsiteY34" fmla="*/ 1713434 h 2633810"/>
                  <a:gd name="connsiteX35" fmla="*/ 3078958 w 3217557"/>
                  <a:gd name="connsiteY35" fmla="*/ 2077967 h 2633810"/>
                  <a:gd name="connsiteX36" fmla="*/ 2505887 w 3217557"/>
                  <a:gd name="connsiteY36" fmla="*/ 1713434 h 2633810"/>
                  <a:gd name="connsiteX37" fmla="*/ 2886641 w 3217557"/>
                  <a:gd name="connsiteY37" fmla="*/ 1713434 h 2633810"/>
                  <a:gd name="connsiteX38" fmla="*/ 3217557 w 3217557"/>
                  <a:gd name="connsiteY38" fmla="*/ 1382518 h 2633810"/>
                  <a:gd name="connsiteX39" fmla="*/ 3217557 w 3217557"/>
                  <a:gd name="connsiteY39" fmla="*/ 330916 h 2633810"/>
                  <a:gd name="connsiteX40" fmla="*/ 2886641 w 3217557"/>
                  <a:gd name="connsiteY40" fmla="*/ 0 h 2633810"/>
                  <a:gd name="connsiteX0" fmla="*/ 1384251 w 3217557"/>
                  <a:gd name="connsiteY0" fmla="*/ 661544 h 2633810"/>
                  <a:gd name="connsiteX1" fmla="*/ 1574067 w 3217557"/>
                  <a:gd name="connsiteY1" fmla="*/ 851360 h 2633810"/>
                  <a:gd name="connsiteX2" fmla="*/ 1384251 w 3217557"/>
                  <a:gd name="connsiteY2" fmla="*/ 1041176 h 2633810"/>
                  <a:gd name="connsiteX3" fmla="*/ 1194435 w 3217557"/>
                  <a:gd name="connsiteY3" fmla="*/ 851360 h 2633810"/>
                  <a:gd name="connsiteX4" fmla="*/ 1384251 w 3217557"/>
                  <a:gd name="connsiteY4" fmla="*/ 661544 h 2633810"/>
                  <a:gd name="connsiteX5" fmla="*/ 1993421 w 3217557"/>
                  <a:gd name="connsiteY5" fmla="*/ 661544 h 2633810"/>
                  <a:gd name="connsiteX6" fmla="*/ 2183237 w 3217557"/>
                  <a:gd name="connsiteY6" fmla="*/ 851360 h 2633810"/>
                  <a:gd name="connsiteX7" fmla="*/ 1993421 w 3217557"/>
                  <a:gd name="connsiteY7" fmla="*/ 1041176 h 2633810"/>
                  <a:gd name="connsiteX8" fmla="*/ 1803605 w 3217557"/>
                  <a:gd name="connsiteY8" fmla="*/ 851360 h 2633810"/>
                  <a:gd name="connsiteX9" fmla="*/ 1993421 w 3217557"/>
                  <a:gd name="connsiteY9" fmla="*/ 661544 h 2633810"/>
                  <a:gd name="connsiteX10" fmla="*/ 2602591 w 3217557"/>
                  <a:gd name="connsiteY10" fmla="*/ 661544 h 2633810"/>
                  <a:gd name="connsiteX11" fmla="*/ 2792407 w 3217557"/>
                  <a:gd name="connsiteY11" fmla="*/ 851360 h 2633810"/>
                  <a:gd name="connsiteX12" fmla="*/ 2602591 w 3217557"/>
                  <a:gd name="connsiteY12" fmla="*/ 1041176 h 2633810"/>
                  <a:gd name="connsiteX13" fmla="*/ 2412775 w 3217557"/>
                  <a:gd name="connsiteY13" fmla="*/ 851360 h 2633810"/>
                  <a:gd name="connsiteX14" fmla="*/ 2602591 w 3217557"/>
                  <a:gd name="connsiteY14" fmla="*/ 661544 h 2633810"/>
                  <a:gd name="connsiteX15" fmla="*/ 677114 w 3217557"/>
                  <a:gd name="connsiteY15" fmla="*/ 569491 h 2633810"/>
                  <a:gd name="connsiteX16" fmla="*/ 330916 w 3217557"/>
                  <a:gd name="connsiteY16" fmla="*/ 569491 h 2633810"/>
                  <a:gd name="connsiteX17" fmla="*/ 0 w 3217557"/>
                  <a:gd name="connsiteY17" fmla="*/ 900407 h 2633810"/>
                  <a:gd name="connsiteX18" fmla="*/ 0 w 3217557"/>
                  <a:gd name="connsiteY18" fmla="*/ 1952009 h 2633810"/>
                  <a:gd name="connsiteX19" fmla="*/ 330916 w 3217557"/>
                  <a:gd name="connsiteY19" fmla="*/ 2282925 h 2633810"/>
                  <a:gd name="connsiteX20" fmla="*/ 711670 w 3217557"/>
                  <a:gd name="connsiteY20" fmla="*/ 2282925 h 2633810"/>
                  <a:gd name="connsiteX21" fmla="*/ 165895 w 3217557"/>
                  <a:gd name="connsiteY21" fmla="*/ 2633810 h 2633810"/>
                  <a:gd name="connsiteX22" fmla="*/ 1294529 w 3217557"/>
                  <a:gd name="connsiteY22" fmla="*/ 2282925 h 2633810"/>
                  <a:gd name="connsiteX23" fmla="*/ 2117356 w 3217557"/>
                  <a:gd name="connsiteY23" fmla="*/ 2282925 h 2633810"/>
                  <a:gd name="connsiteX24" fmla="*/ 2418395 w 3217557"/>
                  <a:gd name="connsiteY24" fmla="*/ 2087951 h 2633810"/>
                  <a:gd name="connsiteX25" fmla="*/ 1830857 w 3217557"/>
                  <a:gd name="connsiteY25" fmla="*/ 1799347 h 2633810"/>
                  <a:gd name="connsiteX26" fmla="*/ 1008030 w 3217557"/>
                  <a:gd name="connsiteY26" fmla="*/ 1799347 h 2633810"/>
                  <a:gd name="connsiteX27" fmla="*/ 677114 w 3217557"/>
                  <a:gd name="connsiteY27" fmla="*/ 1468431 h 2633810"/>
                  <a:gd name="connsiteX28" fmla="*/ 677114 w 3217557"/>
                  <a:gd name="connsiteY28" fmla="*/ 569491 h 2633810"/>
                  <a:gd name="connsiteX29" fmla="*/ 2886641 w 3217557"/>
                  <a:gd name="connsiteY29" fmla="*/ 0 h 2633810"/>
                  <a:gd name="connsiteX30" fmla="*/ 1100201 w 3217557"/>
                  <a:gd name="connsiteY30" fmla="*/ 0 h 2633810"/>
                  <a:gd name="connsiteX31" fmla="*/ 769285 w 3217557"/>
                  <a:gd name="connsiteY31" fmla="*/ 330916 h 2633810"/>
                  <a:gd name="connsiteX32" fmla="*/ 769285 w 3217557"/>
                  <a:gd name="connsiteY32" fmla="*/ 1382518 h 2633810"/>
                  <a:gd name="connsiteX33" fmla="*/ 1100201 w 3217557"/>
                  <a:gd name="connsiteY33" fmla="*/ 1713434 h 2633810"/>
                  <a:gd name="connsiteX34" fmla="*/ 1923028 w 3217557"/>
                  <a:gd name="connsiteY34" fmla="*/ 1713434 h 2633810"/>
                  <a:gd name="connsiteX35" fmla="*/ 3078958 w 3217557"/>
                  <a:gd name="connsiteY35" fmla="*/ 2077967 h 2633810"/>
                  <a:gd name="connsiteX36" fmla="*/ 2505887 w 3217557"/>
                  <a:gd name="connsiteY36" fmla="*/ 1713434 h 2633810"/>
                  <a:gd name="connsiteX37" fmla="*/ 2886641 w 3217557"/>
                  <a:gd name="connsiteY37" fmla="*/ 1713434 h 2633810"/>
                  <a:gd name="connsiteX38" fmla="*/ 3217557 w 3217557"/>
                  <a:gd name="connsiteY38" fmla="*/ 1382518 h 2633810"/>
                  <a:gd name="connsiteX39" fmla="*/ 3217557 w 3217557"/>
                  <a:gd name="connsiteY39" fmla="*/ 330916 h 2633810"/>
                  <a:gd name="connsiteX40" fmla="*/ 2886641 w 3217557"/>
                  <a:gd name="connsiteY40" fmla="*/ 0 h 2633810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217557" h="2654282">
                    <a:moveTo>
                      <a:pt x="1384251" y="661544"/>
                    </a:moveTo>
                    <a:cubicBezTo>
                      <a:pt x="1489083" y="661544"/>
                      <a:pt x="1574067" y="746528"/>
                      <a:pt x="1574067" y="851360"/>
                    </a:cubicBezTo>
                    <a:cubicBezTo>
                      <a:pt x="1574067" y="956192"/>
                      <a:pt x="1489083" y="1041176"/>
                      <a:pt x="1384251" y="1041176"/>
                    </a:cubicBezTo>
                    <a:cubicBezTo>
                      <a:pt x="1279419" y="1041176"/>
                      <a:pt x="1194435" y="956192"/>
                      <a:pt x="1194435" y="851360"/>
                    </a:cubicBezTo>
                    <a:cubicBezTo>
                      <a:pt x="1194435" y="746528"/>
                      <a:pt x="1279419" y="661544"/>
                      <a:pt x="1384251" y="661544"/>
                    </a:cubicBezTo>
                    <a:close/>
                    <a:moveTo>
                      <a:pt x="1993421" y="661544"/>
                    </a:moveTo>
                    <a:cubicBezTo>
                      <a:pt x="2098253" y="661544"/>
                      <a:pt x="2183237" y="746528"/>
                      <a:pt x="2183237" y="851360"/>
                    </a:cubicBezTo>
                    <a:cubicBezTo>
                      <a:pt x="2183237" y="956192"/>
                      <a:pt x="2098253" y="1041176"/>
                      <a:pt x="1993421" y="1041176"/>
                    </a:cubicBezTo>
                    <a:cubicBezTo>
                      <a:pt x="1888589" y="1041176"/>
                      <a:pt x="1803605" y="956192"/>
                      <a:pt x="1803605" y="851360"/>
                    </a:cubicBezTo>
                    <a:cubicBezTo>
                      <a:pt x="1803605" y="746528"/>
                      <a:pt x="1888589" y="661544"/>
                      <a:pt x="1993421" y="661544"/>
                    </a:cubicBezTo>
                    <a:close/>
                    <a:moveTo>
                      <a:pt x="2602591" y="661544"/>
                    </a:moveTo>
                    <a:cubicBezTo>
                      <a:pt x="2707423" y="661544"/>
                      <a:pt x="2792407" y="746528"/>
                      <a:pt x="2792407" y="851360"/>
                    </a:cubicBezTo>
                    <a:cubicBezTo>
                      <a:pt x="2792407" y="956192"/>
                      <a:pt x="2707423" y="1041176"/>
                      <a:pt x="2602591" y="1041176"/>
                    </a:cubicBezTo>
                    <a:cubicBezTo>
                      <a:pt x="2497759" y="1041176"/>
                      <a:pt x="2412775" y="956192"/>
                      <a:pt x="2412775" y="851360"/>
                    </a:cubicBezTo>
                    <a:cubicBezTo>
                      <a:pt x="2412775" y="746528"/>
                      <a:pt x="2497759" y="661544"/>
                      <a:pt x="2602591" y="661544"/>
                    </a:cubicBezTo>
                    <a:close/>
                    <a:moveTo>
                      <a:pt x="677114" y="569491"/>
                    </a:moveTo>
                    <a:lnTo>
                      <a:pt x="330916" y="569491"/>
                    </a:lnTo>
                    <a:cubicBezTo>
                      <a:pt x="148156" y="569491"/>
                      <a:pt x="0" y="717647"/>
                      <a:pt x="0" y="900407"/>
                    </a:cubicBezTo>
                    <a:lnTo>
                      <a:pt x="0" y="1952009"/>
                    </a:lnTo>
                    <a:cubicBezTo>
                      <a:pt x="0" y="2134769"/>
                      <a:pt x="148156" y="2282925"/>
                      <a:pt x="330916" y="2282925"/>
                    </a:cubicBezTo>
                    <a:lnTo>
                      <a:pt x="711670" y="2282925"/>
                    </a:lnTo>
                    <a:cubicBezTo>
                      <a:pt x="639726" y="2394386"/>
                      <a:pt x="647101" y="2475544"/>
                      <a:pt x="275077" y="2654282"/>
                    </a:cubicBezTo>
                    <a:cubicBezTo>
                      <a:pt x="900998" y="2583693"/>
                      <a:pt x="998412" y="2552618"/>
                      <a:pt x="1294529" y="2282925"/>
                    </a:cubicBezTo>
                    <a:lnTo>
                      <a:pt x="2117356" y="2282925"/>
                    </a:lnTo>
                    <a:cubicBezTo>
                      <a:pt x="2251554" y="2282925"/>
                      <a:pt x="2367095" y="2203043"/>
                      <a:pt x="2418395" y="2087951"/>
                    </a:cubicBezTo>
                    <a:cubicBezTo>
                      <a:pt x="2205538" y="2022975"/>
                      <a:pt x="2032941" y="1932583"/>
                      <a:pt x="1830857" y="1799347"/>
                    </a:cubicBezTo>
                    <a:lnTo>
                      <a:pt x="1008030" y="1799347"/>
                    </a:lnTo>
                    <a:cubicBezTo>
                      <a:pt x="825270" y="1799347"/>
                      <a:pt x="677114" y="1651191"/>
                      <a:pt x="677114" y="1468431"/>
                    </a:cubicBezTo>
                    <a:lnTo>
                      <a:pt x="677114" y="569491"/>
                    </a:lnTo>
                    <a:close/>
                    <a:moveTo>
                      <a:pt x="2886641" y="0"/>
                    </a:moveTo>
                    <a:lnTo>
                      <a:pt x="1100201" y="0"/>
                    </a:lnTo>
                    <a:cubicBezTo>
                      <a:pt x="917441" y="0"/>
                      <a:pt x="769285" y="148156"/>
                      <a:pt x="769285" y="330916"/>
                    </a:cubicBezTo>
                    <a:lnTo>
                      <a:pt x="769285" y="1382518"/>
                    </a:lnTo>
                    <a:cubicBezTo>
                      <a:pt x="769285" y="1565278"/>
                      <a:pt x="917441" y="1713434"/>
                      <a:pt x="1100201" y="1713434"/>
                    </a:cubicBezTo>
                    <a:lnTo>
                      <a:pt x="1923028" y="1713434"/>
                    </a:lnTo>
                    <a:cubicBezTo>
                      <a:pt x="2301032" y="1962656"/>
                      <a:pt x="2453037" y="2007378"/>
                      <a:pt x="3078958" y="2077967"/>
                    </a:cubicBezTo>
                    <a:cubicBezTo>
                      <a:pt x="2713759" y="1878758"/>
                      <a:pt x="2673367" y="1899957"/>
                      <a:pt x="2505887" y="1713434"/>
                    </a:cubicBezTo>
                    <a:lnTo>
                      <a:pt x="2886641" y="1713434"/>
                    </a:lnTo>
                    <a:cubicBezTo>
                      <a:pt x="3069401" y="1713434"/>
                      <a:pt x="3217557" y="1565278"/>
                      <a:pt x="3217557" y="1382518"/>
                    </a:cubicBezTo>
                    <a:lnTo>
                      <a:pt x="3217557" y="330916"/>
                    </a:lnTo>
                    <a:cubicBezTo>
                      <a:pt x="3217557" y="148156"/>
                      <a:pt x="3069401" y="0"/>
                      <a:pt x="2886641" y="0"/>
                    </a:cubicBez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79" name="Rectangle 130">
                <a:extLst>
                  <a:ext uri="{FF2B5EF4-FFF2-40B4-BE49-F238E27FC236}">
                    <a16:creationId xmlns:a16="http://schemas.microsoft.com/office/drawing/2014/main" id="{83BBB088-6B6C-4084-A482-0AAC0AED2C4D}"/>
                  </a:ext>
                </a:extLst>
              </p:cNvPr>
              <p:cNvSpPr/>
              <p:nvPr/>
            </p:nvSpPr>
            <p:spPr>
              <a:xfrm>
                <a:off x="10413717" y="3301403"/>
                <a:ext cx="351062" cy="352655"/>
              </a:xfrm>
              <a:custGeom>
                <a:avLst/>
                <a:gdLst/>
                <a:ahLst/>
                <a:cxnLst/>
                <a:rect l="l" t="t" r="r" b="b"/>
                <a:pathLst>
                  <a:path w="371900" h="373588">
                    <a:moveTo>
                      <a:pt x="297080" y="129105"/>
                    </a:moveTo>
                    <a:lnTo>
                      <a:pt x="284273" y="219737"/>
                    </a:lnTo>
                    <a:lnTo>
                      <a:pt x="305496" y="219737"/>
                    </a:lnTo>
                    <a:lnTo>
                      <a:pt x="333001" y="129105"/>
                    </a:lnTo>
                    <a:close/>
                    <a:moveTo>
                      <a:pt x="228265" y="129105"/>
                    </a:moveTo>
                    <a:lnTo>
                      <a:pt x="228265" y="219737"/>
                    </a:lnTo>
                    <a:lnTo>
                      <a:pt x="250807" y="219737"/>
                    </a:lnTo>
                    <a:lnTo>
                      <a:pt x="263614" y="129105"/>
                    </a:lnTo>
                    <a:close/>
                    <a:moveTo>
                      <a:pt x="157021" y="129105"/>
                    </a:moveTo>
                    <a:lnTo>
                      <a:pt x="175826" y="219737"/>
                    </a:lnTo>
                    <a:lnTo>
                      <a:pt x="195129" y="219737"/>
                    </a:lnTo>
                    <a:lnTo>
                      <a:pt x="195129" y="129105"/>
                    </a:lnTo>
                    <a:close/>
                    <a:moveTo>
                      <a:pt x="93087" y="129105"/>
                    </a:moveTo>
                    <a:lnTo>
                      <a:pt x="117372" y="219737"/>
                    </a:lnTo>
                    <a:lnTo>
                      <a:pt x="141984" y="219737"/>
                    </a:lnTo>
                    <a:lnTo>
                      <a:pt x="123179" y="129105"/>
                    </a:lnTo>
                    <a:close/>
                    <a:moveTo>
                      <a:pt x="58494" y="0"/>
                    </a:moveTo>
                    <a:lnTo>
                      <a:pt x="84208" y="95969"/>
                    </a:lnTo>
                    <a:lnTo>
                      <a:pt x="354346" y="95969"/>
                    </a:lnTo>
                    <a:lnTo>
                      <a:pt x="354346" y="97437"/>
                    </a:lnTo>
                    <a:cubicBezTo>
                      <a:pt x="356087" y="96136"/>
                      <a:pt x="357928" y="96353"/>
                      <a:pt x="359747" y="96905"/>
                    </a:cubicBezTo>
                    <a:lnTo>
                      <a:pt x="360371" y="97095"/>
                    </a:lnTo>
                    <a:cubicBezTo>
                      <a:pt x="368954" y="99700"/>
                      <a:pt x="373801" y="108770"/>
                      <a:pt x="371196" y="117354"/>
                    </a:cubicBezTo>
                    <a:lnTo>
                      <a:pt x="333339" y="242097"/>
                    </a:lnTo>
                    <a:cubicBezTo>
                      <a:pt x="331591" y="247858"/>
                      <a:pt x="326929" y="251935"/>
                      <a:pt x="321206" y="252122"/>
                    </a:cubicBezTo>
                    <a:lnTo>
                      <a:pt x="321206" y="252873"/>
                    </a:lnTo>
                    <a:lnTo>
                      <a:pt x="313576" y="252873"/>
                    </a:lnTo>
                    <a:cubicBezTo>
                      <a:pt x="313378" y="253010"/>
                      <a:pt x="313229" y="252967"/>
                      <a:pt x="313080" y="252922"/>
                    </a:cubicBezTo>
                    <a:lnTo>
                      <a:pt x="312919" y="252873"/>
                    </a:lnTo>
                    <a:lnTo>
                      <a:pt x="126251" y="252873"/>
                    </a:lnTo>
                    <a:lnTo>
                      <a:pt x="133971" y="281687"/>
                    </a:lnTo>
                    <a:lnTo>
                      <a:pt x="321075" y="281687"/>
                    </a:lnTo>
                    <a:lnTo>
                      <a:pt x="321075" y="314823"/>
                    </a:lnTo>
                    <a:lnTo>
                      <a:pt x="318480" y="314823"/>
                    </a:lnTo>
                    <a:cubicBezTo>
                      <a:pt x="329614" y="318311"/>
                      <a:pt x="336414" y="328969"/>
                      <a:pt x="336414" y="341215"/>
                    </a:cubicBezTo>
                    <a:cubicBezTo>
                      <a:pt x="336414" y="359094"/>
                      <a:pt x="321920" y="373588"/>
                      <a:pt x="304041" y="373588"/>
                    </a:cubicBezTo>
                    <a:cubicBezTo>
                      <a:pt x="286162" y="373588"/>
                      <a:pt x="271668" y="359094"/>
                      <a:pt x="271668" y="341215"/>
                    </a:cubicBezTo>
                    <a:cubicBezTo>
                      <a:pt x="271668" y="328969"/>
                      <a:pt x="278468" y="318311"/>
                      <a:pt x="289602" y="314823"/>
                    </a:cubicBezTo>
                    <a:lnTo>
                      <a:pt x="142850" y="314823"/>
                    </a:lnTo>
                    <a:lnTo>
                      <a:pt x="143397" y="316865"/>
                    </a:lnTo>
                    <a:cubicBezTo>
                      <a:pt x="151629" y="321811"/>
                      <a:pt x="156401" y="330956"/>
                      <a:pt x="156401" y="341215"/>
                    </a:cubicBezTo>
                    <a:cubicBezTo>
                      <a:pt x="156401" y="359094"/>
                      <a:pt x="141907" y="373588"/>
                      <a:pt x="124028" y="373588"/>
                    </a:cubicBezTo>
                    <a:cubicBezTo>
                      <a:pt x="106149" y="373588"/>
                      <a:pt x="91655" y="359094"/>
                      <a:pt x="91655" y="341215"/>
                    </a:cubicBezTo>
                    <a:cubicBezTo>
                      <a:pt x="91655" y="329356"/>
                      <a:pt x="98032" y="318986"/>
                      <a:pt x="108649" y="315212"/>
                    </a:cubicBezTo>
                    <a:lnTo>
                      <a:pt x="33542" y="34909"/>
                    </a:lnTo>
                    <a:lnTo>
                      <a:pt x="0" y="34909"/>
                    </a:lnTo>
                    <a:lnTo>
                      <a:pt x="0" y="1773"/>
                    </a:lnTo>
                    <a:lnTo>
                      <a:pt x="51879" y="1773"/>
                    </a:lnTo>
                    <a:close/>
                  </a:path>
                </a:pathLst>
              </a:custGeom>
              <a:solidFill>
                <a:srgbClr val="3282BE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80" name="Trapezoid 13">
                <a:extLst>
                  <a:ext uri="{FF2B5EF4-FFF2-40B4-BE49-F238E27FC236}">
                    <a16:creationId xmlns:a16="http://schemas.microsoft.com/office/drawing/2014/main" id="{3C99E865-A0FD-4225-B823-DBB149666C8B}"/>
                  </a:ext>
                </a:extLst>
              </p:cNvPr>
              <p:cNvSpPr/>
              <p:nvPr/>
            </p:nvSpPr>
            <p:spPr>
              <a:xfrm>
                <a:off x="6909012" y="3334708"/>
                <a:ext cx="341564" cy="288813"/>
              </a:xfrm>
              <a:custGeom>
                <a:avLst/>
                <a:gdLst/>
                <a:ahLst/>
                <a:cxnLst/>
                <a:rect l="l" t="t" r="r" b="b"/>
                <a:pathLst>
                  <a:path w="2736304" h="2313707">
                    <a:moveTo>
                      <a:pt x="1046195" y="1945901"/>
                    </a:moveTo>
                    <a:lnTo>
                      <a:pt x="998316" y="2093032"/>
                    </a:lnTo>
                    <a:lnTo>
                      <a:pt x="1737988" y="2093032"/>
                    </a:lnTo>
                    <a:lnTo>
                      <a:pt x="1690109" y="1945901"/>
                    </a:lnTo>
                    <a:close/>
                    <a:moveTo>
                      <a:pt x="396044" y="89541"/>
                    </a:moveTo>
                    <a:lnTo>
                      <a:pt x="396044" y="1241668"/>
                    </a:lnTo>
                    <a:lnTo>
                      <a:pt x="2340260" y="1241668"/>
                    </a:lnTo>
                    <a:lnTo>
                      <a:pt x="2340260" y="89541"/>
                    </a:lnTo>
                    <a:close/>
                    <a:moveTo>
                      <a:pt x="252028" y="0"/>
                    </a:moveTo>
                    <a:lnTo>
                      <a:pt x="2484276" y="0"/>
                    </a:lnTo>
                    <a:lnTo>
                      <a:pt x="2484276" y="1331208"/>
                    </a:lnTo>
                    <a:lnTo>
                      <a:pt x="2484679" y="1331208"/>
                    </a:lnTo>
                    <a:lnTo>
                      <a:pt x="2736304" y="2195304"/>
                    </a:lnTo>
                    <a:lnTo>
                      <a:pt x="2736304" y="2313707"/>
                    </a:lnTo>
                    <a:lnTo>
                      <a:pt x="0" y="2313707"/>
                    </a:lnTo>
                    <a:lnTo>
                      <a:pt x="0" y="2195304"/>
                    </a:lnTo>
                    <a:lnTo>
                      <a:pt x="251625" y="1331208"/>
                    </a:lnTo>
                    <a:lnTo>
                      <a:pt x="252028" y="1331208"/>
                    </a:ln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81" name="Rounded Rectangle 5">
                <a:extLst>
                  <a:ext uri="{FF2B5EF4-FFF2-40B4-BE49-F238E27FC236}">
                    <a16:creationId xmlns:a16="http://schemas.microsoft.com/office/drawing/2014/main" id="{A1EA6BA8-2D1E-413A-A252-55AC1360C3FE}"/>
                  </a:ext>
                </a:extLst>
              </p:cNvPr>
              <p:cNvSpPr/>
              <p:nvPr/>
            </p:nvSpPr>
            <p:spPr>
              <a:xfrm flipH="1">
                <a:off x="7796426" y="4910799"/>
                <a:ext cx="325312" cy="268362"/>
              </a:xfrm>
              <a:custGeom>
                <a:avLst/>
                <a:gdLst>
                  <a:gd name="connsiteX0" fmla="*/ 1384251 w 3217557"/>
                  <a:gd name="connsiteY0" fmla="*/ 661544 h 2702049"/>
                  <a:gd name="connsiteX1" fmla="*/ 1574067 w 3217557"/>
                  <a:gd name="connsiteY1" fmla="*/ 851360 h 2702049"/>
                  <a:gd name="connsiteX2" fmla="*/ 1384251 w 3217557"/>
                  <a:gd name="connsiteY2" fmla="*/ 1041176 h 2702049"/>
                  <a:gd name="connsiteX3" fmla="*/ 1194435 w 3217557"/>
                  <a:gd name="connsiteY3" fmla="*/ 851360 h 2702049"/>
                  <a:gd name="connsiteX4" fmla="*/ 1384251 w 3217557"/>
                  <a:gd name="connsiteY4" fmla="*/ 661544 h 2702049"/>
                  <a:gd name="connsiteX5" fmla="*/ 1993421 w 3217557"/>
                  <a:gd name="connsiteY5" fmla="*/ 661544 h 2702049"/>
                  <a:gd name="connsiteX6" fmla="*/ 2183237 w 3217557"/>
                  <a:gd name="connsiteY6" fmla="*/ 851360 h 2702049"/>
                  <a:gd name="connsiteX7" fmla="*/ 1993421 w 3217557"/>
                  <a:gd name="connsiteY7" fmla="*/ 1041176 h 2702049"/>
                  <a:gd name="connsiteX8" fmla="*/ 1803605 w 3217557"/>
                  <a:gd name="connsiteY8" fmla="*/ 851360 h 2702049"/>
                  <a:gd name="connsiteX9" fmla="*/ 1993421 w 3217557"/>
                  <a:gd name="connsiteY9" fmla="*/ 661544 h 2702049"/>
                  <a:gd name="connsiteX10" fmla="*/ 2602591 w 3217557"/>
                  <a:gd name="connsiteY10" fmla="*/ 661544 h 2702049"/>
                  <a:gd name="connsiteX11" fmla="*/ 2792407 w 3217557"/>
                  <a:gd name="connsiteY11" fmla="*/ 851360 h 2702049"/>
                  <a:gd name="connsiteX12" fmla="*/ 2602591 w 3217557"/>
                  <a:gd name="connsiteY12" fmla="*/ 1041176 h 2702049"/>
                  <a:gd name="connsiteX13" fmla="*/ 2412775 w 3217557"/>
                  <a:gd name="connsiteY13" fmla="*/ 851360 h 2702049"/>
                  <a:gd name="connsiteX14" fmla="*/ 2602591 w 3217557"/>
                  <a:gd name="connsiteY14" fmla="*/ 661544 h 2702049"/>
                  <a:gd name="connsiteX15" fmla="*/ 677114 w 3217557"/>
                  <a:gd name="connsiteY15" fmla="*/ 569491 h 2702049"/>
                  <a:gd name="connsiteX16" fmla="*/ 330916 w 3217557"/>
                  <a:gd name="connsiteY16" fmla="*/ 569491 h 2702049"/>
                  <a:gd name="connsiteX17" fmla="*/ 0 w 3217557"/>
                  <a:gd name="connsiteY17" fmla="*/ 900407 h 2702049"/>
                  <a:gd name="connsiteX18" fmla="*/ 0 w 3217557"/>
                  <a:gd name="connsiteY18" fmla="*/ 1952009 h 2702049"/>
                  <a:gd name="connsiteX19" fmla="*/ 330916 w 3217557"/>
                  <a:gd name="connsiteY19" fmla="*/ 2282925 h 2702049"/>
                  <a:gd name="connsiteX20" fmla="*/ 711670 w 3217557"/>
                  <a:gd name="connsiteY20" fmla="*/ 2282925 h 2702049"/>
                  <a:gd name="connsiteX21" fmla="*/ 15770 w 3217557"/>
                  <a:gd name="connsiteY21" fmla="*/ 2702049 h 2702049"/>
                  <a:gd name="connsiteX22" fmla="*/ 1294529 w 3217557"/>
                  <a:gd name="connsiteY22" fmla="*/ 2282925 h 2702049"/>
                  <a:gd name="connsiteX23" fmla="*/ 2117356 w 3217557"/>
                  <a:gd name="connsiteY23" fmla="*/ 2282925 h 2702049"/>
                  <a:gd name="connsiteX24" fmla="*/ 2418395 w 3217557"/>
                  <a:gd name="connsiteY24" fmla="*/ 2087951 h 2702049"/>
                  <a:gd name="connsiteX25" fmla="*/ 1830857 w 3217557"/>
                  <a:gd name="connsiteY25" fmla="*/ 1799347 h 2702049"/>
                  <a:gd name="connsiteX26" fmla="*/ 1008030 w 3217557"/>
                  <a:gd name="connsiteY26" fmla="*/ 1799347 h 2702049"/>
                  <a:gd name="connsiteX27" fmla="*/ 677114 w 3217557"/>
                  <a:gd name="connsiteY27" fmla="*/ 1468431 h 2702049"/>
                  <a:gd name="connsiteX28" fmla="*/ 677114 w 3217557"/>
                  <a:gd name="connsiteY28" fmla="*/ 569491 h 2702049"/>
                  <a:gd name="connsiteX29" fmla="*/ 2886641 w 3217557"/>
                  <a:gd name="connsiteY29" fmla="*/ 0 h 2702049"/>
                  <a:gd name="connsiteX30" fmla="*/ 1100201 w 3217557"/>
                  <a:gd name="connsiteY30" fmla="*/ 0 h 2702049"/>
                  <a:gd name="connsiteX31" fmla="*/ 769285 w 3217557"/>
                  <a:gd name="connsiteY31" fmla="*/ 330916 h 2702049"/>
                  <a:gd name="connsiteX32" fmla="*/ 769285 w 3217557"/>
                  <a:gd name="connsiteY32" fmla="*/ 1382518 h 2702049"/>
                  <a:gd name="connsiteX33" fmla="*/ 1100201 w 3217557"/>
                  <a:gd name="connsiteY33" fmla="*/ 1713434 h 2702049"/>
                  <a:gd name="connsiteX34" fmla="*/ 1923028 w 3217557"/>
                  <a:gd name="connsiteY34" fmla="*/ 1713434 h 2702049"/>
                  <a:gd name="connsiteX35" fmla="*/ 3078958 w 3217557"/>
                  <a:gd name="connsiteY35" fmla="*/ 2077967 h 2702049"/>
                  <a:gd name="connsiteX36" fmla="*/ 2505887 w 3217557"/>
                  <a:gd name="connsiteY36" fmla="*/ 1713434 h 2702049"/>
                  <a:gd name="connsiteX37" fmla="*/ 2886641 w 3217557"/>
                  <a:gd name="connsiteY37" fmla="*/ 1713434 h 2702049"/>
                  <a:gd name="connsiteX38" fmla="*/ 3217557 w 3217557"/>
                  <a:gd name="connsiteY38" fmla="*/ 1382518 h 2702049"/>
                  <a:gd name="connsiteX39" fmla="*/ 3217557 w 3217557"/>
                  <a:gd name="connsiteY39" fmla="*/ 330916 h 2702049"/>
                  <a:gd name="connsiteX40" fmla="*/ 2886641 w 3217557"/>
                  <a:gd name="connsiteY40" fmla="*/ 0 h 2702049"/>
                  <a:gd name="connsiteX0" fmla="*/ 1384251 w 3217557"/>
                  <a:gd name="connsiteY0" fmla="*/ 661544 h 2702049"/>
                  <a:gd name="connsiteX1" fmla="*/ 1574067 w 3217557"/>
                  <a:gd name="connsiteY1" fmla="*/ 851360 h 2702049"/>
                  <a:gd name="connsiteX2" fmla="*/ 1384251 w 3217557"/>
                  <a:gd name="connsiteY2" fmla="*/ 1041176 h 2702049"/>
                  <a:gd name="connsiteX3" fmla="*/ 1194435 w 3217557"/>
                  <a:gd name="connsiteY3" fmla="*/ 851360 h 2702049"/>
                  <a:gd name="connsiteX4" fmla="*/ 1384251 w 3217557"/>
                  <a:gd name="connsiteY4" fmla="*/ 661544 h 2702049"/>
                  <a:gd name="connsiteX5" fmla="*/ 1993421 w 3217557"/>
                  <a:gd name="connsiteY5" fmla="*/ 661544 h 2702049"/>
                  <a:gd name="connsiteX6" fmla="*/ 2183237 w 3217557"/>
                  <a:gd name="connsiteY6" fmla="*/ 851360 h 2702049"/>
                  <a:gd name="connsiteX7" fmla="*/ 1993421 w 3217557"/>
                  <a:gd name="connsiteY7" fmla="*/ 1041176 h 2702049"/>
                  <a:gd name="connsiteX8" fmla="*/ 1803605 w 3217557"/>
                  <a:gd name="connsiteY8" fmla="*/ 851360 h 2702049"/>
                  <a:gd name="connsiteX9" fmla="*/ 1993421 w 3217557"/>
                  <a:gd name="connsiteY9" fmla="*/ 661544 h 2702049"/>
                  <a:gd name="connsiteX10" fmla="*/ 2602591 w 3217557"/>
                  <a:gd name="connsiteY10" fmla="*/ 661544 h 2702049"/>
                  <a:gd name="connsiteX11" fmla="*/ 2792407 w 3217557"/>
                  <a:gd name="connsiteY11" fmla="*/ 851360 h 2702049"/>
                  <a:gd name="connsiteX12" fmla="*/ 2602591 w 3217557"/>
                  <a:gd name="connsiteY12" fmla="*/ 1041176 h 2702049"/>
                  <a:gd name="connsiteX13" fmla="*/ 2412775 w 3217557"/>
                  <a:gd name="connsiteY13" fmla="*/ 851360 h 2702049"/>
                  <a:gd name="connsiteX14" fmla="*/ 2602591 w 3217557"/>
                  <a:gd name="connsiteY14" fmla="*/ 661544 h 2702049"/>
                  <a:gd name="connsiteX15" fmla="*/ 677114 w 3217557"/>
                  <a:gd name="connsiteY15" fmla="*/ 569491 h 2702049"/>
                  <a:gd name="connsiteX16" fmla="*/ 330916 w 3217557"/>
                  <a:gd name="connsiteY16" fmla="*/ 569491 h 2702049"/>
                  <a:gd name="connsiteX17" fmla="*/ 0 w 3217557"/>
                  <a:gd name="connsiteY17" fmla="*/ 900407 h 2702049"/>
                  <a:gd name="connsiteX18" fmla="*/ 0 w 3217557"/>
                  <a:gd name="connsiteY18" fmla="*/ 1952009 h 2702049"/>
                  <a:gd name="connsiteX19" fmla="*/ 330916 w 3217557"/>
                  <a:gd name="connsiteY19" fmla="*/ 2282925 h 2702049"/>
                  <a:gd name="connsiteX20" fmla="*/ 711670 w 3217557"/>
                  <a:gd name="connsiteY20" fmla="*/ 2282925 h 2702049"/>
                  <a:gd name="connsiteX21" fmla="*/ 15770 w 3217557"/>
                  <a:gd name="connsiteY21" fmla="*/ 2702049 h 2702049"/>
                  <a:gd name="connsiteX22" fmla="*/ 1294529 w 3217557"/>
                  <a:gd name="connsiteY22" fmla="*/ 2282925 h 2702049"/>
                  <a:gd name="connsiteX23" fmla="*/ 2117356 w 3217557"/>
                  <a:gd name="connsiteY23" fmla="*/ 2282925 h 2702049"/>
                  <a:gd name="connsiteX24" fmla="*/ 2418395 w 3217557"/>
                  <a:gd name="connsiteY24" fmla="*/ 2087951 h 2702049"/>
                  <a:gd name="connsiteX25" fmla="*/ 1830857 w 3217557"/>
                  <a:gd name="connsiteY25" fmla="*/ 1799347 h 2702049"/>
                  <a:gd name="connsiteX26" fmla="*/ 1008030 w 3217557"/>
                  <a:gd name="connsiteY26" fmla="*/ 1799347 h 2702049"/>
                  <a:gd name="connsiteX27" fmla="*/ 677114 w 3217557"/>
                  <a:gd name="connsiteY27" fmla="*/ 1468431 h 2702049"/>
                  <a:gd name="connsiteX28" fmla="*/ 677114 w 3217557"/>
                  <a:gd name="connsiteY28" fmla="*/ 569491 h 2702049"/>
                  <a:gd name="connsiteX29" fmla="*/ 2886641 w 3217557"/>
                  <a:gd name="connsiteY29" fmla="*/ 0 h 2702049"/>
                  <a:gd name="connsiteX30" fmla="*/ 1100201 w 3217557"/>
                  <a:gd name="connsiteY30" fmla="*/ 0 h 2702049"/>
                  <a:gd name="connsiteX31" fmla="*/ 769285 w 3217557"/>
                  <a:gd name="connsiteY31" fmla="*/ 330916 h 2702049"/>
                  <a:gd name="connsiteX32" fmla="*/ 769285 w 3217557"/>
                  <a:gd name="connsiteY32" fmla="*/ 1382518 h 2702049"/>
                  <a:gd name="connsiteX33" fmla="*/ 1100201 w 3217557"/>
                  <a:gd name="connsiteY33" fmla="*/ 1713434 h 2702049"/>
                  <a:gd name="connsiteX34" fmla="*/ 1923028 w 3217557"/>
                  <a:gd name="connsiteY34" fmla="*/ 1713434 h 2702049"/>
                  <a:gd name="connsiteX35" fmla="*/ 3078958 w 3217557"/>
                  <a:gd name="connsiteY35" fmla="*/ 2077967 h 2702049"/>
                  <a:gd name="connsiteX36" fmla="*/ 2505887 w 3217557"/>
                  <a:gd name="connsiteY36" fmla="*/ 1713434 h 2702049"/>
                  <a:gd name="connsiteX37" fmla="*/ 2886641 w 3217557"/>
                  <a:gd name="connsiteY37" fmla="*/ 1713434 h 2702049"/>
                  <a:gd name="connsiteX38" fmla="*/ 3217557 w 3217557"/>
                  <a:gd name="connsiteY38" fmla="*/ 1382518 h 2702049"/>
                  <a:gd name="connsiteX39" fmla="*/ 3217557 w 3217557"/>
                  <a:gd name="connsiteY39" fmla="*/ 330916 h 2702049"/>
                  <a:gd name="connsiteX40" fmla="*/ 2886641 w 3217557"/>
                  <a:gd name="connsiteY40" fmla="*/ 0 h 2702049"/>
                  <a:gd name="connsiteX0" fmla="*/ 1384251 w 3217557"/>
                  <a:gd name="connsiteY0" fmla="*/ 661544 h 2633810"/>
                  <a:gd name="connsiteX1" fmla="*/ 1574067 w 3217557"/>
                  <a:gd name="connsiteY1" fmla="*/ 851360 h 2633810"/>
                  <a:gd name="connsiteX2" fmla="*/ 1384251 w 3217557"/>
                  <a:gd name="connsiteY2" fmla="*/ 1041176 h 2633810"/>
                  <a:gd name="connsiteX3" fmla="*/ 1194435 w 3217557"/>
                  <a:gd name="connsiteY3" fmla="*/ 851360 h 2633810"/>
                  <a:gd name="connsiteX4" fmla="*/ 1384251 w 3217557"/>
                  <a:gd name="connsiteY4" fmla="*/ 661544 h 2633810"/>
                  <a:gd name="connsiteX5" fmla="*/ 1993421 w 3217557"/>
                  <a:gd name="connsiteY5" fmla="*/ 661544 h 2633810"/>
                  <a:gd name="connsiteX6" fmla="*/ 2183237 w 3217557"/>
                  <a:gd name="connsiteY6" fmla="*/ 851360 h 2633810"/>
                  <a:gd name="connsiteX7" fmla="*/ 1993421 w 3217557"/>
                  <a:gd name="connsiteY7" fmla="*/ 1041176 h 2633810"/>
                  <a:gd name="connsiteX8" fmla="*/ 1803605 w 3217557"/>
                  <a:gd name="connsiteY8" fmla="*/ 851360 h 2633810"/>
                  <a:gd name="connsiteX9" fmla="*/ 1993421 w 3217557"/>
                  <a:gd name="connsiteY9" fmla="*/ 661544 h 2633810"/>
                  <a:gd name="connsiteX10" fmla="*/ 2602591 w 3217557"/>
                  <a:gd name="connsiteY10" fmla="*/ 661544 h 2633810"/>
                  <a:gd name="connsiteX11" fmla="*/ 2792407 w 3217557"/>
                  <a:gd name="connsiteY11" fmla="*/ 851360 h 2633810"/>
                  <a:gd name="connsiteX12" fmla="*/ 2602591 w 3217557"/>
                  <a:gd name="connsiteY12" fmla="*/ 1041176 h 2633810"/>
                  <a:gd name="connsiteX13" fmla="*/ 2412775 w 3217557"/>
                  <a:gd name="connsiteY13" fmla="*/ 851360 h 2633810"/>
                  <a:gd name="connsiteX14" fmla="*/ 2602591 w 3217557"/>
                  <a:gd name="connsiteY14" fmla="*/ 661544 h 2633810"/>
                  <a:gd name="connsiteX15" fmla="*/ 677114 w 3217557"/>
                  <a:gd name="connsiteY15" fmla="*/ 569491 h 2633810"/>
                  <a:gd name="connsiteX16" fmla="*/ 330916 w 3217557"/>
                  <a:gd name="connsiteY16" fmla="*/ 569491 h 2633810"/>
                  <a:gd name="connsiteX17" fmla="*/ 0 w 3217557"/>
                  <a:gd name="connsiteY17" fmla="*/ 900407 h 2633810"/>
                  <a:gd name="connsiteX18" fmla="*/ 0 w 3217557"/>
                  <a:gd name="connsiteY18" fmla="*/ 1952009 h 2633810"/>
                  <a:gd name="connsiteX19" fmla="*/ 330916 w 3217557"/>
                  <a:gd name="connsiteY19" fmla="*/ 2282925 h 2633810"/>
                  <a:gd name="connsiteX20" fmla="*/ 711670 w 3217557"/>
                  <a:gd name="connsiteY20" fmla="*/ 2282925 h 2633810"/>
                  <a:gd name="connsiteX21" fmla="*/ 165895 w 3217557"/>
                  <a:gd name="connsiteY21" fmla="*/ 2633810 h 2633810"/>
                  <a:gd name="connsiteX22" fmla="*/ 1294529 w 3217557"/>
                  <a:gd name="connsiteY22" fmla="*/ 2282925 h 2633810"/>
                  <a:gd name="connsiteX23" fmla="*/ 2117356 w 3217557"/>
                  <a:gd name="connsiteY23" fmla="*/ 2282925 h 2633810"/>
                  <a:gd name="connsiteX24" fmla="*/ 2418395 w 3217557"/>
                  <a:gd name="connsiteY24" fmla="*/ 2087951 h 2633810"/>
                  <a:gd name="connsiteX25" fmla="*/ 1830857 w 3217557"/>
                  <a:gd name="connsiteY25" fmla="*/ 1799347 h 2633810"/>
                  <a:gd name="connsiteX26" fmla="*/ 1008030 w 3217557"/>
                  <a:gd name="connsiteY26" fmla="*/ 1799347 h 2633810"/>
                  <a:gd name="connsiteX27" fmla="*/ 677114 w 3217557"/>
                  <a:gd name="connsiteY27" fmla="*/ 1468431 h 2633810"/>
                  <a:gd name="connsiteX28" fmla="*/ 677114 w 3217557"/>
                  <a:gd name="connsiteY28" fmla="*/ 569491 h 2633810"/>
                  <a:gd name="connsiteX29" fmla="*/ 2886641 w 3217557"/>
                  <a:gd name="connsiteY29" fmla="*/ 0 h 2633810"/>
                  <a:gd name="connsiteX30" fmla="*/ 1100201 w 3217557"/>
                  <a:gd name="connsiteY30" fmla="*/ 0 h 2633810"/>
                  <a:gd name="connsiteX31" fmla="*/ 769285 w 3217557"/>
                  <a:gd name="connsiteY31" fmla="*/ 330916 h 2633810"/>
                  <a:gd name="connsiteX32" fmla="*/ 769285 w 3217557"/>
                  <a:gd name="connsiteY32" fmla="*/ 1382518 h 2633810"/>
                  <a:gd name="connsiteX33" fmla="*/ 1100201 w 3217557"/>
                  <a:gd name="connsiteY33" fmla="*/ 1713434 h 2633810"/>
                  <a:gd name="connsiteX34" fmla="*/ 1923028 w 3217557"/>
                  <a:gd name="connsiteY34" fmla="*/ 1713434 h 2633810"/>
                  <a:gd name="connsiteX35" fmla="*/ 3078958 w 3217557"/>
                  <a:gd name="connsiteY35" fmla="*/ 2077967 h 2633810"/>
                  <a:gd name="connsiteX36" fmla="*/ 2505887 w 3217557"/>
                  <a:gd name="connsiteY36" fmla="*/ 1713434 h 2633810"/>
                  <a:gd name="connsiteX37" fmla="*/ 2886641 w 3217557"/>
                  <a:gd name="connsiteY37" fmla="*/ 1713434 h 2633810"/>
                  <a:gd name="connsiteX38" fmla="*/ 3217557 w 3217557"/>
                  <a:gd name="connsiteY38" fmla="*/ 1382518 h 2633810"/>
                  <a:gd name="connsiteX39" fmla="*/ 3217557 w 3217557"/>
                  <a:gd name="connsiteY39" fmla="*/ 330916 h 2633810"/>
                  <a:gd name="connsiteX40" fmla="*/ 2886641 w 3217557"/>
                  <a:gd name="connsiteY40" fmla="*/ 0 h 2633810"/>
                  <a:gd name="connsiteX0" fmla="*/ 1384251 w 3217557"/>
                  <a:gd name="connsiteY0" fmla="*/ 661544 h 2633810"/>
                  <a:gd name="connsiteX1" fmla="*/ 1574067 w 3217557"/>
                  <a:gd name="connsiteY1" fmla="*/ 851360 h 2633810"/>
                  <a:gd name="connsiteX2" fmla="*/ 1384251 w 3217557"/>
                  <a:gd name="connsiteY2" fmla="*/ 1041176 h 2633810"/>
                  <a:gd name="connsiteX3" fmla="*/ 1194435 w 3217557"/>
                  <a:gd name="connsiteY3" fmla="*/ 851360 h 2633810"/>
                  <a:gd name="connsiteX4" fmla="*/ 1384251 w 3217557"/>
                  <a:gd name="connsiteY4" fmla="*/ 661544 h 2633810"/>
                  <a:gd name="connsiteX5" fmla="*/ 1993421 w 3217557"/>
                  <a:gd name="connsiteY5" fmla="*/ 661544 h 2633810"/>
                  <a:gd name="connsiteX6" fmla="*/ 2183237 w 3217557"/>
                  <a:gd name="connsiteY6" fmla="*/ 851360 h 2633810"/>
                  <a:gd name="connsiteX7" fmla="*/ 1993421 w 3217557"/>
                  <a:gd name="connsiteY7" fmla="*/ 1041176 h 2633810"/>
                  <a:gd name="connsiteX8" fmla="*/ 1803605 w 3217557"/>
                  <a:gd name="connsiteY8" fmla="*/ 851360 h 2633810"/>
                  <a:gd name="connsiteX9" fmla="*/ 1993421 w 3217557"/>
                  <a:gd name="connsiteY9" fmla="*/ 661544 h 2633810"/>
                  <a:gd name="connsiteX10" fmla="*/ 2602591 w 3217557"/>
                  <a:gd name="connsiteY10" fmla="*/ 661544 h 2633810"/>
                  <a:gd name="connsiteX11" fmla="*/ 2792407 w 3217557"/>
                  <a:gd name="connsiteY11" fmla="*/ 851360 h 2633810"/>
                  <a:gd name="connsiteX12" fmla="*/ 2602591 w 3217557"/>
                  <a:gd name="connsiteY12" fmla="*/ 1041176 h 2633810"/>
                  <a:gd name="connsiteX13" fmla="*/ 2412775 w 3217557"/>
                  <a:gd name="connsiteY13" fmla="*/ 851360 h 2633810"/>
                  <a:gd name="connsiteX14" fmla="*/ 2602591 w 3217557"/>
                  <a:gd name="connsiteY14" fmla="*/ 661544 h 2633810"/>
                  <a:gd name="connsiteX15" fmla="*/ 677114 w 3217557"/>
                  <a:gd name="connsiteY15" fmla="*/ 569491 h 2633810"/>
                  <a:gd name="connsiteX16" fmla="*/ 330916 w 3217557"/>
                  <a:gd name="connsiteY16" fmla="*/ 569491 h 2633810"/>
                  <a:gd name="connsiteX17" fmla="*/ 0 w 3217557"/>
                  <a:gd name="connsiteY17" fmla="*/ 900407 h 2633810"/>
                  <a:gd name="connsiteX18" fmla="*/ 0 w 3217557"/>
                  <a:gd name="connsiteY18" fmla="*/ 1952009 h 2633810"/>
                  <a:gd name="connsiteX19" fmla="*/ 330916 w 3217557"/>
                  <a:gd name="connsiteY19" fmla="*/ 2282925 h 2633810"/>
                  <a:gd name="connsiteX20" fmla="*/ 711670 w 3217557"/>
                  <a:gd name="connsiteY20" fmla="*/ 2282925 h 2633810"/>
                  <a:gd name="connsiteX21" fmla="*/ 165895 w 3217557"/>
                  <a:gd name="connsiteY21" fmla="*/ 2633810 h 2633810"/>
                  <a:gd name="connsiteX22" fmla="*/ 1294529 w 3217557"/>
                  <a:gd name="connsiteY22" fmla="*/ 2282925 h 2633810"/>
                  <a:gd name="connsiteX23" fmla="*/ 2117356 w 3217557"/>
                  <a:gd name="connsiteY23" fmla="*/ 2282925 h 2633810"/>
                  <a:gd name="connsiteX24" fmla="*/ 2418395 w 3217557"/>
                  <a:gd name="connsiteY24" fmla="*/ 2087951 h 2633810"/>
                  <a:gd name="connsiteX25" fmla="*/ 1830857 w 3217557"/>
                  <a:gd name="connsiteY25" fmla="*/ 1799347 h 2633810"/>
                  <a:gd name="connsiteX26" fmla="*/ 1008030 w 3217557"/>
                  <a:gd name="connsiteY26" fmla="*/ 1799347 h 2633810"/>
                  <a:gd name="connsiteX27" fmla="*/ 677114 w 3217557"/>
                  <a:gd name="connsiteY27" fmla="*/ 1468431 h 2633810"/>
                  <a:gd name="connsiteX28" fmla="*/ 677114 w 3217557"/>
                  <a:gd name="connsiteY28" fmla="*/ 569491 h 2633810"/>
                  <a:gd name="connsiteX29" fmla="*/ 2886641 w 3217557"/>
                  <a:gd name="connsiteY29" fmla="*/ 0 h 2633810"/>
                  <a:gd name="connsiteX30" fmla="*/ 1100201 w 3217557"/>
                  <a:gd name="connsiteY30" fmla="*/ 0 h 2633810"/>
                  <a:gd name="connsiteX31" fmla="*/ 769285 w 3217557"/>
                  <a:gd name="connsiteY31" fmla="*/ 330916 h 2633810"/>
                  <a:gd name="connsiteX32" fmla="*/ 769285 w 3217557"/>
                  <a:gd name="connsiteY32" fmla="*/ 1382518 h 2633810"/>
                  <a:gd name="connsiteX33" fmla="*/ 1100201 w 3217557"/>
                  <a:gd name="connsiteY33" fmla="*/ 1713434 h 2633810"/>
                  <a:gd name="connsiteX34" fmla="*/ 1923028 w 3217557"/>
                  <a:gd name="connsiteY34" fmla="*/ 1713434 h 2633810"/>
                  <a:gd name="connsiteX35" fmla="*/ 3078958 w 3217557"/>
                  <a:gd name="connsiteY35" fmla="*/ 2077967 h 2633810"/>
                  <a:gd name="connsiteX36" fmla="*/ 2505887 w 3217557"/>
                  <a:gd name="connsiteY36" fmla="*/ 1713434 h 2633810"/>
                  <a:gd name="connsiteX37" fmla="*/ 2886641 w 3217557"/>
                  <a:gd name="connsiteY37" fmla="*/ 1713434 h 2633810"/>
                  <a:gd name="connsiteX38" fmla="*/ 3217557 w 3217557"/>
                  <a:gd name="connsiteY38" fmla="*/ 1382518 h 2633810"/>
                  <a:gd name="connsiteX39" fmla="*/ 3217557 w 3217557"/>
                  <a:gd name="connsiteY39" fmla="*/ 330916 h 2633810"/>
                  <a:gd name="connsiteX40" fmla="*/ 2886641 w 3217557"/>
                  <a:gd name="connsiteY40" fmla="*/ 0 h 2633810"/>
                  <a:gd name="connsiteX0" fmla="*/ 1384251 w 3217557"/>
                  <a:gd name="connsiteY0" fmla="*/ 661544 h 2633810"/>
                  <a:gd name="connsiteX1" fmla="*/ 1574067 w 3217557"/>
                  <a:gd name="connsiteY1" fmla="*/ 851360 h 2633810"/>
                  <a:gd name="connsiteX2" fmla="*/ 1384251 w 3217557"/>
                  <a:gd name="connsiteY2" fmla="*/ 1041176 h 2633810"/>
                  <a:gd name="connsiteX3" fmla="*/ 1194435 w 3217557"/>
                  <a:gd name="connsiteY3" fmla="*/ 851360 h 2633810"/>
                  <a:gd name="connsiteX4" fmla="*/ 1384251 w 3217557"/>
                  <a:gd name="connsiteY4" fmla="*/ 661544 h 2633810"/>
                  <a:gd name="connsiteX5" fmla="*/ 1993421 w 3217557"/>
                  <a:gd name="connsiteY5" fmla="*/ 661544 h 2633810"/>
                  <a:gd name="connsiteX6" fmla="*/ 2183237 w 3217557"/>
                  <a:gd name="connsiteY6" fmla="*/ 851360 h 2633810"/>
                  <a:gd name="connsiteX7" fmla="*/ 1993421 w 3217557"/>
                  <a:gd name="connsiteY7" fmla="*/ 1041176 h 2633810"/>
                  <a:gd name="connsiteX8" fmla="*/ 1803605 w 3217557"/>
                  <a:gd name="connsiteY8" fmla="*/ 851360 h 2633810"/>
                  <a:gd name="connsiteX9" fmla="*/ 1993421 w 3217557"/>
                  <a:gd name="connsiteY9" fmla="*/ 661544 h 2633810"/>
                  <a:gd name="connsiteX10" fmla="*/ 2602591 w 3217557"/>
                  <a:gd name="connsiteY10" fmla="*/ 661544 h 2633810"/>
                  <a:gd name="connsiteX11" fmla="*/ 2792407 w 3217557"/>
                  <a:gd name="connsiteY11" fmla="*/ 851360 h 2633810"/>
                  <a:gd name="connsiteX12" fmla="*/ 2602591 w 3217557"/>
                  <a:gd name="connsiteY12" fmla="*/ 1041176 h 2633810"/>
                  <a:gd name="connsiteX13" fmla="*/ 2412775 w 3217557"/>
                  <a:gd name="connsiteY13" fmla="*/ 851360 h 2633810"/>
                  <a:gd name="connsiteX14" fmla="*/ 2602591 w 3217557"/>
                  <a:gd name="connsiteY14" fmla="*/ 661544 h 2633810"/>
                  <a:gd name="connsiteX15" fmla="*/ 677114 w 3217557"/>
                  <a:gd name="connsiteY15" fmla="*/ 569491 h 2633810"/>
                  <a:gd name="connsiteX16" fmla="*/ 330916 w 3217557"/>
                  <a:gd name="connsiteY16" fmla="*/ 569491 h 2633810"/>
                  <a:gd name="connsiteX17" fmla="*/ 0 w 3217557"/>
                  <a:gd name="connsiteY17" fmla="*/ 900407 h 2633810"/>
                  <a:gd name="connsiteX18" fmla="*/ 0 w 3217557"/>
                  <a:gd name="connsiteY18" fmla="*/ 1952009 h 2633810"/>
                  <a:gd name="connsiteX19" fmla="*/ 330916 w 3217557"/>
                  <a:gd name="connsiteY19" fmla="*/ 2282925 h 2633810"/>
                  <a:gd name="connsiteX20" fmla="*/ 711670 w 3217557"/>
                  <a:gd name="connsiteY20" fmla="*/ 2282925 h 2633810"/>
                  <a:gd name="connsiteX21" fmla="*/ 165895 w 3217557"/>
                  <a:gd name="connsiteY21" fmla="*/ 2633810 h 2633810"/>
                  <a:gd name="connsiteX22" fmla="*/ 1294529 w 3217557"/>
                  <a:gd name="connsiteY22" fmla="*/ 2282925 h 2633810"/>
                  <a:gd name="connsiteX23" fmla="*/ 2117356 w 3217557"/>
                  <a:gd name="connsiteY23" fmla="*/ 2282925 h 2633810"/>
                  <a:gd name="connsiteX24" fmla="*/ 2418395 w 3217557"/>
                  <a:gd name="connsiteY24" fmla="*/ 2087951 h 2633810"/>
                  <a:gd name="connsiteX25" fmla="*/ 1830857 w 3217557"/>
                  <a:gd name="connsiteY25" fmla="*/ 1799347 h 2633810"/>
                  <a:gd name="connsiteX26" fmla="*/ 1008030 w 3217557"/>
                  <a:gd name="connsiteY26" fmla="*/ 1799347 h 2633810"/>
                  <a:gd name="connsiteX27" fmla="*/ 677114 w 3217557"/>
                  <a:gd name="connsiteY27" fmla="*/ 1468431 h 2633810"/>
                  <a:gd name="connsiteX28" fmla="*/ 677114 w 3217557"/>
                  <a:gd name="connsiteY28" fmla="*/ 569491 h 2633810"/>
                  <a:gd name="connsiteX29" fmla="*/ 2886641 w 3217557"/>
                  <a:gd name="connsiteY29" fmla="*/ 0 h 2633810"/>
                  <a:gd name="connsiteX30" fmla="*/ 1100201 w 3217557"/>
                  <a:gd name="connsiteY30" fmla="*/ 0 h 2633810"/>
                  <a:gd name="connsiteX31" fmla="*/ 769285 w 3217557"/>
                  <a:gd name="connsiteY31" fmla="*/ 330916 h 2633810"/>
                  <a:gd name="connsiteX32" fmla="*/ 769285 w 3217557"/>
                  <a:gd name="connsiteY32" fmla="*/ 1382518 h 2633810"/>
                  <a:gd name="connsiteX33" fmla="*/ 1100201 w 3217557"/>
                  <a:gd name="connsiteY33" fmla="*/ 1713434 h 2633810"/>
                  <a:gd name="connsiteX34" fmla="*/ 1923028 w 3217557"/>
                  <a:gd name="connsiteY34" fmla="*/ 1713434 h 2633810"/>
                  <a:gd name="connsiteX35" fmla="*/ 3078958 w 3217557"/>
                  <a:gd name="connsiteY35" fmla="*/ 2077967 h 2633810"/>
                  <a:gd name="connsiteX36" fmla="*/ 2505887 w 3217557"/>
                  <a:gd name="connsiteY36" fmla="*/ 1713434 h 2633810"/>
                  <a:gd name="connsiteX37" fmla="*/ 2886641 w 3217557"/>
                  <a:gd name="connsiteY37" fmla="*/ 1713434 h 2633810"/>
                  <a:gd name="connsiteX38" fmla="*/ 3217557 w 3217557"/>
                  <a:gd name="connsiteY38" fmla="*/ 1382518 h 2633810"/>
                  <a:gd name="connsiteX39" fmla="*/ 3217557 w 3217557"/>
                  <a:gd name="connsiteY39" fmla="*/ 330916 h 2633810"/>
                  <a:gd name="connsiteX40" fmla="*/ 2886641 w 3217557"/>
                  <a:gd name="connsiteY40" fmla="*/ 0 h 2633810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  <a:gd name="connsiteX0" fmla="*/ 1384251 w 3217557"/>
                  <a:gd name="connsiteY0" fmla="*/ 661544 h 2654282"/>
                  <a:gd name="connsiteX1" fmla="*/ 1574067 w 3217557"/>
                  <a:gd name="connsiteY1" fmla="*/ 851360 h 2654282"/>
                  <a:gd name="connsiteX2" fmla="*/ 1384251 w 3217557"/>
                  <a:gd name="connsiteY2" fmla="*/ 1041176 h 2654282"/>
                  <a:gd name="connsiteX3" fmla="*/ 1194435 w 3217557"/>
                  <a:gd name="connsiteY3" fmla="*/ 851360 h 2654282"/>
                  <a:gd name="connsiteX4" fmla="*/ 1384251 w 3217557"/>
                  <a:gd name="connsiteY4" fmla="*/ 661544 h 2654282"/>
                  <a:gd name="connsiteX5" fmla="*/ 1993421 w 3217557"/>
                  <a:gd name="connsiteY5" fmla="*/ 661544 h 2654282"/>
                  <a:gd name="connsiteX6" fmla="*/ 2183237 w 3217557"/>
                  <a:gd name="connsiteY6" fmla="*/ 851360 h 2654282"/>
                  <a:gd name="connsiteX7" fmla="*/ 1993421 w 3217557"/>
                  <a:gd name="connsiteY7" fmla="*/ 1041176 h 2654282"/>
                  <a:gd name="connsiteX8" fmla="*/ 1803605 w 3217557"/>
                  <a:gd name="connsiteY8" fmla="*/ 851360 h 2654282"/>
                  <a:gd name="connsiteX9" fmla="*/ 1993421 w 3217557"/>
                  <a:gd name="connsiteY9" fmla="*/ 661544 h 2654282"/>
                  <a:gd name="connsiteX10" fmla="*/ 2602591 w 3217557"/>
                  <a:gd name="connsiteY10" fmla="*/ 661544 h 2654282"/>
                  <a:gd name="connsiteX11" fmla="*/ 2792407 w 3217557"/>
                  <a:gd name="connsiteY11" fmla="*/ 851360 h 2654282"/>
                  <a:gd name="connsiteX12" fmla="*/ 2602591 w 3217557"/>
                  <a:gd name="connsiteY12" fmla="*/ 1041176 h 2654282"/>
                  <a:gd name="connsiteX13" fmla="*/ 2412775 w 3217557"/>
                  <a:gd name="connsiteY13" fmla="*/ 851360 h 2654282"/>
                  <a:gd name="connsiteX14" fmla="*/ 2602591 w 3217557"/>
                  <a:gd name="connsiteY14" fmla="*/ 661544 h 2654282"/>
                  <a:gd name="connsiteX15" fmla="*/ 677114 w 3217557"/>
                  <a:gd name="connsiteY15" fmla="*/ 569491 h 2654282"/>
                  <a:gd name="connsiteX16" fmla="*/ 330916 w 3217557"/>
                  <a:gd name="connsiteY16" fmla="*/ 569491 h 2654282"/>
                  <a:gd name="connsiteX17" fmla="*/ 0 w 3217557"/>
                  <a:gd name="connsiteY17" fmla="*/ 900407 h 2654282"/>
                  <a:gd name="connsiteX18" fmla="*/ 0 w 3217557"/>
                  <a:gd name="connsiteY18" fmla="*/ 1952009 h 2654282"/>
                  <a:gd name="connsiteX19" fmla="*/ 330916 w 3217557"/>
                  <a:gd name="connsiteY19" fmla="*/ 2282925 h 2654282"/>
                  <a:gd name="connsiteX20" fmla="*/ 711670 w 3217557"/>
                  <a:gd name="connsiteY20" fmla="*/ 2282925 h 2654282"/>
                  <a:gd name="connsiteX21" fmla="*/ 275077 w 3217557"/>
                  <a:gd name="connsiteY21" fmla="*/ 2654282 h 2654282"/>
                  <a:gd name="connsiteX22" fmla="*/ 1294529 w 3217557"/>
                  <a:gd name="connsiteY22" fmla="*/ 2282925 h 2654282"/>
                  <a:gd name="connsiteX23" fmla="*/ 2117356 w 3217557"/>
                  <a:gd name="connsiteY23" fmla="*/ 2282925 h 2654282"/>
                  <a:gd name="connsiteX24" fmla="*/ 2418395 w 3217557"/>
                  <a:gd name="connsiteY24" fmla="*/ 2087951 h 2654282"/>
                  <a:gd name="connsiteX25" fmla="*/ 1830857 w 3217557"/>
                  <a:gd name="connsiteY25" fmla="*/ 1799347 h 2654282"/>
                  <a:gd name="connsiteX26" fmla="*/ 1008030 w 3217557"/>
                  <a:gd name="connsiteY26" fmla="*/ 1799347 h 2654282"/>
                  <a:gd name="connsiteX27" fmla="*/ 677114 w 3217557"/>
                  <a:gd name="connsiteY27" fmla="*/ 1468431 h 2654282"/>
                  <a:gd name="connsiteX28" fmla="*/ 677114 w 3217557"/>
                  <a:gd name="connsiteY28" fmla="*/ 569491 h 2654282"/>
                  <a:gd name="connsiteX29" fmla="*/ 2886641 w 3217557"/>
                  <a:gd name="connsiteY29" fmla="*/ 0 h 2654282"/>
                  <a:gd name="connsiteX30" fmla="*/ 1100201 w 3217557"/>
                  <a:gd name="connsiteY30" fmla="*/ 0 h 2654282"/>
                  <a:gd name="connsiteX31" fmla="*/ 769285 w 3217557"/>
                  <a:gd name="connsiteY31" fmla="*/ 330916 h 2654282"/>
                  <a:gd name="connsiteX32" fmla="*/ 769285 w 3217557"/>
                  <a:gd name="connsiteY32" fmla="*/ 1382518 h 2654282"/>
                  <a:gd name="connsiteX33" fmla="*/ 1100201 w 3217557"/>
                  <a:gd name="connsiteY33" fmla="*/ 1713434 h 2654282"/>
                  <a:gd name="connsiteX34" fmla="*/ 1923028 w 3217557"/>
                  <a:gd name="connsiteY34" fmla="*/ 1713434 h 2654282"/>
                  <a:gd name="connsiteX35" fmla="*/ 3078958 w 3217557"/>
                  <a:gd name="connsiteY35" fmla="*/ 2077967 h 2654282"/>
                  <a:gd name="connsiteX36" fmla="*/ 2505887 w 3217557"/>
                  <a:gd name="connsiteY36" fmla="*/ 1713434 h 2654282"/>
                  <a:gd name="connsiteX37" fmla="*/ 2886641 w 3217557"/>
                  <a:gd name="connsiteY37" fmla="*/ 1713434 h 2654282"/>
                  <a:gd name="connsiteX38" fmla="*/ 3217557 w 3217557"/>
                  <a:gd name="connsiteY38" fmla="*/ 1382518 h 2654282"/>
                  <a:gd name="connsiteX39" fmla="*/ 3217557 w 3217557"/>
                  <a:gd name="connsiteY39" fmla="*/ 330916 h 2654282"/>
                  <a:gd name="connsiteX40" fmla="*/ 2886641 w 3217557"/>
                  <a:gd name="connsiteY40" fmla="*/ 0 h 2654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3217557" h="2654282">
                    <a:moveTo>
                      <a:pt x="1384251" y="661544"/>
                    </a:moveTo>
                    <a:cubicBezTo>
                      <a:pt x="1489083" y="661544"/>
                      <a:pt x="1574067" y="746528"/>
                      <a:pt x="1574067" y="851360"/>
                    </a:cubicBezTo>
                    <a:cubicBezTo>
                      <a:pt x="1574067" y="956192"/>
                      <a:pt x="1489083" y="1041176"/>
                      <a:pt x="1384251" y="1041176"/>
                    </a:cubicBezTo>
                    <a:cubicBezTo>
                      <a:pt x="1279419" y="1041176"/>
                      <a:pt x="1194435" y="956192"/>
                      <a:pt x="1194435" y="851360"/>
                    </a:cubicBezTo>
                    <a:cubicBezTo>
                      <a:pt x="1194435" y="746528"/>
                      <a:pt x="1279419" y="661544"/>
                      <a:pt x="1384251" y="661544"/>
                    </a:cubicBezTo>
                    <a:close/>
                    <a:moveTo>
                      <a:pt x="1993421" y="661544"/>
                    </a:moveTo>
                    <a:cubicBezTo>
                      <a:pt x="2098253" y="661544"/>
                      <a:pt x="2183237" y="746528"/>
                      <a:pt x="2183237" y="851360"/>
                    </a:cubicBezTo>
                    <a:cubicBezTo>
                      <a:pt x="2183237" y="956192"/>
                      <a:pt x="2098253" y="1041176"/>
                      <a:pt x="1993421" y="1041176"/>
                    </a:cubicBezTo>
                    <a:cubicBezTo>
                      <a:pt x="1888589" y="1041176"/>
                      <a:pt x="1803605" y="956192"/>
                      <a:pt x="1803605" y="851360"/>
                    </a:cubicBezTo>
                    <a:cubicBezTo>
                      <a:pt x="1803605" y="746528"/>
                      <a:pt x="1888589" y="661544"/>
                      <a:pt x="1993421" y="661544"/>
                    </a:cubicBezTo>
                    <a:close/>
                    <a:moveTo>
                      <a:pt x="2602591" y="661544"/>
                    </a:moveTo>
                    <a:cubicBezTo>
                      <a:pt x="2707423" y="661544"/>
                      <a:pt x="2792407" y="746528"/>
                      <a:pt x="2792407" y="851360"/>
                    </a:cubicBezTo>
                    <a:cubicBezTo>
                      <a:pt x="2792407" y="956192"/>
                      <a:pt x="2707423" y="1041176"/>
                      <a:pt x="2602591" y="1041176"/>
                    </a:cubicBezTo>
                    <a:cubicBezTo>
                      <a:pt x="2497759" y="1041176"/>
                      <a:pt x="2412775" y="956192"/>
                      <a:pt x="2412775" y="851360"/>
                    </a:cubicBezTo>
                    <a:cubicBezTo>
                      <a:pt x="2412775" y="746528"/>
                      <a:pt x="2497759" y="661544"/>
                      <a:pt x="2602591" y="661544"/>
                    </a:cubicBezTo>
                    <a:close/>
                    <a:moveTo>
                      <a:pt x="677114" y="569491"/>
                    </a:moveTo>
                    <a:lnTo>
                      <a:pt x="330916" y="569491"/>
                    </a:lnTo>
                    <a:cubicBezTo>
                      <a:pt x="148156" y="569491"/>
                      <a:pt x="0" y="717647"/>
                      <a:pt x="0" y="900407"/>
                    </a:cubicBezTo>
                    <a:lnTo>
                      <a:pt x="0" y="1952009"/>
                    </a:lnTo>
                    <a:cubicBezTo>
                      <a:pt x="0" y="2134769"/>
                      <a:pt x="148156" y="2282925"/>
                      <a:pt x="330916" y="2282925"/>
                    </a:cubicBezTo>
                    <a:lnTo>
                      <a:pt x="711670" y="2282925"/>
                    </a:lnTo>
                    <a:cubicBezTo>
                      <a:pt x="639726" y="2394386"/>
                      <a:pt x="647101" y="2475544"/>
                      <a:pt x="275077" y="2654282"/>
                    </a:cubicBezTo>
                    <a:cubicBezTo>
                      <a:pt x="900998" y="2583693"/>
                      <a:pt x="998412" y="2552618"/>
                      <a:pt x="1294529" y="2282925"/>
                    </a:cubicBezTo>
                    <a:lnTo>
                      <a:pt x="2117356" y="2282925"/>
                    </a:lnTo>
                    <a:cubicBezTo>
                      <a:pt x="2251554" y="2282925"/>
                      <a:pt x="2367095" y="2203043"/>
                      <a:pt x="2418395" y="2087951"/>
                    </a:cubicBezTo>
                    <a:cubicBezTo>
                      <a:pt x="2205538" y="2022975"/>
                      <a:pt x="2032941" y="1932583"/>
                      <a:pt x="1830857" y="1799347"/>
                    </a:cubicBezTo>
                    <a:lnTo>
                      <a:pt x="1008030" y="1799347"/>
                    </a:lnTo>
                    <a:cubicBezTo>
                      <a:pt x="825270" y="1799347"/>
                      <a:pt x="677114" y="1651191"/>
                      <a:pt x="677114" y="1468431"/>
                    </a:cubicBezTo>
                    <a:lnTo>
                      <a:pt x="677114" y="569491"/>
                    </a:lnTo>
                    <a:close/>
                    <a:moveTo>
                      <a:pt x="2886641" y="0"/>
                    </a:moveTo>
                    <a:lnTo>
                      <a:pt x="1100201" y="0"/>
                    </a:lnTo>
                    <a:cubicBezTo>
                      <a:pt x="917441" y="0"/>
                      <a:pt x="769285" y="148156"/>
                      <a:pt x="769285" y="330916"/>
                    </a:cubicBezTo>
                    <a:lnTo>
                      <a:pt x="769285" y="1382518"/>
                    </a:lnTo>
                    <a:cubicBezTo>
                      <a:pt x="769285" y="1565278"/>
                      <a:pt x="917441" y="1713434"/>
                      <a:pt x="1100201" y="1713434"/>
                    </a:cubicBezTo>
                    <a:lnTo>
                      <a:pt x="1923028" y="1713434"/>
                    </a:lnTo>
                    <a:cubicBezTo>
                      <a:pt x="2301032" y="1962656"/>
                      <a:pt x="2453037" y="2007378"/>
                      <a:pt x="3078958" y="2077967"/>
                    </a:cubicBezTo>
                    <a:cubicBezTo>
                      <a:pt x="2713759" y="1878758"/>
                      <a:pt x="2673367" y="1899957"/>
                      <a:pt x="2505887" y="1713434"/>
                    </a:cubicBezTo>
                    <a:lnTo>
                      <a:pt x="2886641" y="1713434"/>
                    </a:lnTo>
                    <a:cubicBezTo>
                      <a:pt x="3069401" y="1713434"/>
                      <a:pt x="3217557" y="1565278"/>
                      <a:pt x="3217557" y="1382518"/>
                    </a:cubicBezTo>
                    <a:lnTo>
                      <a:pt x="3217557" y="330916"/>
                    </a:lnTo>
                    <a:cubicBezTo>
                      <a:pt x="3217557" y="148156"/>
                      <a:pt x="3069401" y="0"/>
                      <a:pt x="2886641" y="0"/>
                    </a:cubicBez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82" name="Rectangle 9">
                <a:extLst>
                  <a:ext uri="{FF2B5EF4-FFF2-40B4-BE49-F238E27FC236}">
                    <a16:creationId xmlns:a16="http://schemas.microsoft.com/office/drawing/2014/main" id="{5202BCF8-03D5-4484-8283-683B1C57CDE6}"/>
                  </a:ext>
                </a:extLst>
              </p:cNvPr>
              <p:cNvSpPr/>
              <p:nvPr/>
            </p:nvSpPr>
            <p:spPr>
              <a:xfrm>
                <a:off x="6945502" y="3704545"/>
                <a:ext cx="339946" cy="318220"/>
              </a:xfrm>
              <a:custGeom>
                <a:avLst/>
                <a:gdLst>
                  <a:gd name="connsiteX0" fmla="*/ 833935 w 3239999"/>
                  <a:gd name="connsiteY0" fmla="*/ 22 h 3032924"/>
                  <a:gd name="connsiteX1" fmla="*/ 1576606 w 3239999"/>
                  <a:gd name="connsiteY1" fmla="*/ 402054 h 3032924"/>
                  <a:gd name="connsiteX2" fmla="*/ 1576606 w 3239999"/>
                  <a:gd name="connsiteY2" fmla="*/ 430441 h 3032924"/>
                  <a:gd name="connsiteX3" fmla="*/ 1576606 w 3239999"/>
                  <a:gd name="connsiteY3" fmla="*/ 526981 h 3032924"/>
                  <a:gd name="connsiteX4" fmla="*/ 1576606 w 3239999"/>
                  <a:gd name="connsiteY4" fmla="*/ 2765302 h 3032924"/>
                  <a:gd name="connsiteX5" fmla="*/ 378630 w 3239999"/>
                  <a:gd name="connsiteY5" fmla="*/ 2472117 h 3032924"/>
                  <a:gd name="connsiteX6" fmla="*/ 384918 w 3239999"/>
                  <a:gd name="connsiteY6" fmla="*/ 526981 h 3032924"/>
                  <a:gd name="connsiteX7" fmla="*/ 239143 w 3239999"/>
                  <a:gd name="connsiteY7" fmla="*/ 526981 h 3032924"/>
                  <a:gd name="connsiteX8" fmla="*/ 239143 w 3239999"/>
                  <a:gd name="connsiteY8" fmla="*/ 2776423 h 3032924"/>
                  <a:gd name="connsiteX9" fmla="*/ 1576606 w 3239999"/>
                  <a:gd name="connsiteY9" fmla="*/ 2776423 h 3032924"/>
                  <a:gd name="connsiteX10" fmla="*/ 1576606 w 3239999"/>
                  <a:gd name="connsiteY10" fmla="*/ 2778202 h 3032924"/>
                  <a:gd name="connsiteX11" fmla="*/ 1663394 w 3239999"/>
                  <a:gd name="connsiteY11" fmla="*/ 2778202 h 3032924"/>
                  <a:gd name="connsiteX12" fmla="*/ 1663394 w 3239999"/>
                  <a:gd name="connsiteY12" fmla="*/ 2776423 h 3032924"/>
                  <a:gd name="connsiteX13" fmla="*/ 3000856 w 3239999"/>
                  <a:gd name="connsiteY13" fmla="*/ 2776423 h 3032924"/>
                  <a:gd name="connsiteX14" fmla="*/ 3000856 w 3239999"/>
                  <a:gd name="connsiteY14" fmla="*/ 526981 h 3032924"/>
                  <a:gd name="connsiteX15" fmla="*/ 2855082 w 3239999"/>
                  <a:gd name="connsiteY15" fmla="*/ 526981 h 3032924"/>
                  <a:gd name="connsiteX16" fmla="*/ 2861369 w 3239999"/>
                  <a:gd name="connsiteY16" fmla="*/ 2472117 h 3032924"/>
                  <a:gd name="connsiteX17" fmla="*/ 1663394 w 3239999"/>
                  <a:gd name="connsiteY17" fmla="*/ 2765302 h 3032924"/>
                  <a:gd name="connsiteX18" fmla="*/ 1663394 w 3239999"/>
                  <a:gd name="connsiteY18" fmla="*/ 526981 h 3032924"/>
                  <a:gd name="connsiteX19" fmla="*/ 1663394 w 3239999"/>
                  <a:gd name="connsiteY19" fmla="*/ 430441 h 3032924"/>
                  <a:gd name="connsiteX20" fmla="*/ 1663394 w 3239999"/>
                  <a:gd name="connsiteY20" fmla="*/ 402054 h 3032924"/>
                  <a:gd name="connsiteX21" fmla="*/ 2406065 w 3239999"/>
                  <a:gd name="connsiteY21" fmla="*/ 22 h 3032924"/>
                  <a:gd name="connsiteX22" fmla="*/ 2853673 w 3239999"/>
                  <a:gd name="connsiteY22" fmla="*/ 91100 h 3032924"/>
                  <a:gd name="connsiteX23" fmla="*/ 2854770 w 3239999"/>
                  <a:gd name="connsiteY23" fmla="*/ 430441 h 3032924"/>
                  <a:gd name="connsiteX24" fmla="*/ 3120669 w 3239999"/>
                  <a:gd name="connsiteY24" fmla="*/ 428517 h 3032924"/>
                  <a:gd name="connsiteX25" fmla="*/ 3120669 w 3239999"/>
                  <a:gd name="connsiteY25" fmla="*/ 738345 h 3032924"/>
                  <a:gd name="connsiteX26" fmla="*/ 3239999 w 3239999"/>
                  <a:gd name="connsiteY26" fmla="*/ 738345 h 3032924"/>
                  <a:gd name="connsiteX27" fmla="*/ 3239999 w 3239999"/>
                  <a:gd name="connsiteY27" fmla="*/ 3032924 h 3032924"/>
                  <a:gd name="connsiteX28" fmla="*/ 0 w 3239999"/>
                  <a:gd name="connsiteY28" fmla="*/ 3032924 h 3032924"/>
                  <a:gd name="connsiteX29" fmla="*/ 0 w 3239999"/>
                  <a:gd name="connsiteY29" fmla="*/ 738345 h 3032924"/>
                  <a:gd name="connsiteX30" fmla="*/ 102477 w 3239999"/>
                  <a:gd name="connsiteY30" fmla="*/ 738345 h 3032924"/>
                  <a:gd name="connsiteX31" fmla="*/ 102477 w 3239999"/>
                  <a:gd name="connsiteY31" fmla="*/ 428517 h 3032924"/>
                  <a:gd name="connsiteX32" fmla="*/ 385229 w 3239999"/>
                  <a:gd name="connsiteY32" fmla="*/ 430441 h 3032924"/>
                  <a:gd name="connsiteX33" fmla="*/ 386326 w 3239999"/>
                  <a:gd name="connsiteY33" fmla="*/ 91100 h 3032924"/>
                  <a:gd name="connsiteX34" fmla="*/ 833935 w 3239999"/>
                  <a:gd name="connsiteY34" fmla="*/ 22 h 3032924"/>
                  <a:gd name="connsiteX0" fmla="*/ 833935 w 3239999"/>
                  <a:gd name="connsiteY0" fmla="*/ 22 h 3032924"/>
                  <a:gd name="connsiteX1" fmla="*/ 1576606 w 3239999"/>
                  <a:gd name="connsiteY1" fmla="*/ 402054 h 3032924"/>
                  <a:gd name="connsiteX2" fmla="*/ 1576606 w 3239999"/>
                  <a:gd name="connsiteY2" fmla="*/ 430441 h 3032924"/>
                  <a:gd name="connsiteX3" fmla="*/ 1576606 w 3239999"/>
                  <a:gd name="connsiteY3" fmla="*/ 526981 h 3032924"/>
                  <a:gd name="connsiteX4" fmla="*/ 1576606 w 3239999"/>
                  <a:gd name="connsiteY4" fmla="*/ 2765302 h 3032924"/>
                  <a:gd name="connsiteX5" fmla="*/ 378630 w 3239999"/>
                  <a:gd name="connsiteY5" fmla="*/ 2472117 h 3032924"/>
                  <a:gd name="connsiteX6" fmla="*/ 384918 w 3239999"/>
                  <a:gd name="connsiteY6" fmla="*/ 526981 h 3032924"/>
                  <a:gd name="connsiteX7" fmla="*/ 239143 w 3239999"/>
                  <a:gd name="connsiteY7" fmla="*/ 526981 h 3032924"/>
                  <a:gd name="connsiteX8" fmla="*/ 239143 w 3239999"/>
                  <a:gd name="connsiteY8" fmla="*/ 2776423 h 3032924"/>
                  <a:gd name="connsiteX9" fmla="*/ 1576606 w 3239999"/>
                  <a:gd name="connsiteY9" fmla="*/ 2776423 h 3032924"/>
                  <a:gd name="connsiteX10" fmla="*/ 1576606 w 3239999"/>
                  <a:gd name="connsiteY10" fmla="*/ 2778202 h 3032924"/>
                  <a:gd name="connsiteX11" fmla="*/ 1663394 w 3239999"/>
                  <a:gd name="connsiteY11" fmla="*/ 2778202 h 3032924"/>
                  <a:gd name="connsiteX12" fmla="*/ 1663394 w 3239999"/>
                  <a:gd name="connsiteY12" fmla="*/ 2776423 h 3032924"/>
                  <a:gd name="connsiteX13" fmla="*/ 3000856 w 3239999"/>
                  <a:gd name="connsiteY13" fmla="*/ 2776423 h 3032924"/>
                  <a:gd name="connsiteX14" fmla="*/ 3000856 w 3239999"/>
                  <a:gd name="connsiteY14" fmla="*/ 526981 h 3032924"/>
                  <a:gd name="connsiteX15" fmla="*/ 2855082 w 3239999"/>
                  <a:gd name="connsiteY15" fmla="*/ 526981 h 3032924"/>
                  <a:gd name="connsiteX16" fmla="*/ 2861369 w 3239999"/>
                  <a:gd name="connsiteY16" fmla="*/ 2472117 h 3032924"/>
                  <a:gd name="connsiteX17" fmla="*/ 1663394 w 3239999"/>
                  <a:gd name="connsiteY17" fmla="*/ 2765302 h 3032924"/>
                  <a:gd name="connsiteX18" fmla="*/ 1663394 w 3239999"/>
                  <a:gd name="connsiteY18" fmla="*/ 526981 h 3032924"/>
                  <a:gd name="connsiteX19" fmla="*/ 1663394 w 3239999"/>
                  <a:gd name="connsiteY19" fmla="*/ 430441 h 3032924"/>
                  <a:gd name="connsiteX20" fmla="*/ 1663394 w 3239999"/>
                  <a:gd name="connsiteY20" fmla="*/ 402054 h 3032924"/>
                  <a:gd name="connsiteX21" fmla="*/ 2406065 w 3239999"/>
                  <a:gd name="connsiteY21" fmla="*/ 22 h 3032924"/>
                  <a:gd name="connsiteX22" fmla="*/ 2853673 w 3239999"/>
                  <a:gd name="connsiteY22" fmla="*/ 91100 h 3032924"/>
                  <a:gd name="connsiteX23" fmla="*/ 2854770 w 3239999"/>
                  <a:gd name="connsiteY23" fmla="*/ 430441 h 3032924"/>
                  <a:gd name="connsiteX24" fmla="*/ 3120669 w 3239999"/>
                  <a:gd name="connsiteY24" fmla="*/ 428517 h 3032924"/>
                  <a:gd name="connsiteX25" fmla="*/ 3120669 w 3239999"/>
                  <a:gd name="connsiteY25" fmla="*/ 738345 h 3032924"/>
                  <a:gd name="connsiteX26" fmla="*/ 3239999 w 3239999"/>
                  <a:gd name="connsiteY26" fmla="*/ 738345 h 3032924"/>
                  <a:gd name="connsiteX27" fmla="*/ 3239999 w 3239999"/>
                  <a:gd name="connsiteY27" fmla="*/ 3032924 h 3032924"/>
                  <a:gd name="connsiteX28" fmla="*/ 0 w 3239999"/>
                  <a:gd name="connsiteY28" fmla="*/ 3032924 h 3032924"/>
                  <a:gd name="connsiteX29" fmla="*/ 0 w 3239999"/>
                  <a:gd name="connsiteY29" fmla="*/ 738345 h 3032924"/>
                  <a:gd name="connsiteX30" fmla="*/ 102477 w 3239999"/>
                  <a:gd name="connsiteY30" fmla="*/ 738345 h 3032924"/>
                  <a:gd name="connsiteX31" fmla="*/ 102477 w 3239999"/>
                  <a:gd name="connsiteY31" fmla="*/ 428517 h 3032924"/>
                  <a:gd name="connsiteX32" fmla="*/ 385229 w 3239999"/>
                  <a:gd name="connsiteY32" fmla="*/ 430441 h 3032924"/>
                  <a:gd name="connsiteX33" fmla="*/ 386326 w 3239999"/>
                  <a:gd name="connsiteY33" fmla="*/ 91100 h 3032924"/>
                  <a:gd name="connsiteX34" fmla="*/ 833935 w 3239999"/>
                  <a:gd name="connsiteY34" fmla="*/ 22 h 3032924"/>
                  <a:gd name="connsiteX0" fmla="*/ 833935 w 3239999"/>
                  <a:gd name="connsiteY0" fmla="*/ 22 h 3032924"/>
                  <a:gd name="connsiteX1" fmla="*/ 1576606 w 3239999"/>
                  <a:gd name="connsiteY1" fmla="*/ 402054 h 3032924"/>
                  <a:gd name="connsiteX2" fmla="*/ 1576606 w 3239999"/>
                  <a:gd name="connsiteY2" fmla="*/ 430441 h 3032924"/>
                  <a:gd name="connsiteX3" fmla="*/ 1576606 w 3239999"/>
                  <a:gd name="connsiteY3" fmla="*/ 526981 h 3032924"/>
                  <a:gd name="connsiteX4" fmla="*/ 1576606 w 3239999"/>
                  <a:gd name="connsiteY4" fmla="*/ 2765302 h 3032924"/>
                  <a:gd name="connsiteX5" fmla="*/ 378630 w 3239999"/>
                  <a:gd name="connsiteY5" fmla="*/ 2472117 h 3032924"/>
                  <a:gd name="connsiteX6" fmla="*/ 384918 w 3239999"/>
                  <a:gd name="connsiteY6" fmla="*/ 526981 h 3032924"/>
                  <a:gd name="connsiteX7" fmla="*/ 239143 w 3239999"/>
                  <a:gd name="connsiteY7" fmla="*/ 526981 h 3032924"/>
                  <a:gd name="connsiteX8" fmla="*/ 239143 w 3239999"/>
                  <a:gd name="connsiteY8" fmla="*/ 2776423 h 3032924"/>
                  <a:gd name="connsiteX9" fmla="*/ 1576606 w 3239999"/>
                  <a:gd name="connsiteY9" fmla="*/ 2776423 h 3032924"/>
                  <a:gd name="connsiteX10" fmla="*/ 1576606 w 3239999"/>
                  <a:gd name="connsiteY10" fmla="*/ 2778202 h 3032924"/>
                  <a:gd name="connsiteX11" fmla="*/ 1663394 w 3239999"/>
                  <a:gd name="connsiteY11" fmla="*/ 2778202 h 3032924"/>
                  <a:gd name="connsiteX12" fmla="*/ 1663394 w 3239999"/>
                  <a:gd name="connsiteY12" fmla="*/ 2776423 h 3032924"/>
                  <a:gd name="connsiteX13" fmla="*/ 3000856 w 3239999"/>
                  <a:gd name="connsiteY13" fmla="*/ 2776423 h 3032924"/>
                  <a:gd name="connsiteX14" fmla="*/ 3000856 w 3239999"/>
                  <a:gd name="connsiteY14" fmla="*/ 526981 h 3032924"/>
                  <a:gd name="connsiteX15" fmla="*/ 2855082 w 3239999"/>
                  <a:gd name="connsiteY15" fmla="*/ 526981 h 3032924"/>
                  <a:gd name="connsiteX16" fmla="*/ 2861369 w 3239999"/>
                  <a:gd name="connsiteY16" fmla="*/ 2472117 h 3032924"/>
                  <a:gd name="connsiteX17" fmla="*/ 1663394 w 3239999"/>
                  <a:gd name="connsiteY17" fmla="*/ 2765302 h 3032924"/>
                  <a:gd name="connsiteX18" fmla="*/ 1663394 w 3239999"/>
                  <a:gd name="connsiteY18" fmla="*/ 526981 h 3032924"/>
                  <a:gd name="connsiteX19" fmla="*/ 1663394 w 3239999"/>
                  <a:gd name="connsiteY19" fmla="*/ 430441 h 3032924"/>
                  <a:gd name="connsiteX20" fmla="*/ 1663394 w 3239999"/>
                  <a:gd name="connsiteY20" fmla="*/ 402054 h 3032924"/>
                  <a:gd name="connsiteX21" fmla="*/ 2406065 w 3239999"/>
                  <a:gd name="connsiteY21" fmla="*/ 22 h 3032924"/>
                  <a:gd name="connsiteX22" fmla="*/ 2853673 w 3239999"/>
                  <a:gd name="connsiteY22" fmla="*/ 91100 h 3032924"/>
                  <a:gd name="connsiteX23" fmla="*/ 2854770 w 3239999"/>
                  <a:gd name="connsiteY23" fmla="*/ 430441 h 3032924"/>
                  <a:gd name="connsiteX24" fmla="*/ 3120669 w 3239999"/>
                  <a:gd name="connsiteY24" fmla="*/ 428517 h 3032924"/>
                  <a:gd name="connsiteX25" fmla="*/ 3120669 w 3239999"/>
                  <a:gd name="connsiteY25" fmla="*/ 738345 h 3032924"/>
                  <a:gd name="connsiteX26" fmla="*/ 3239999 w 3239999"/>
                  <a:gd name="connsiteY26" fmla="*/ 738345 h 3032924"/>
                  <a:gd name="connsiteX27" fmla="*/ 3239999 w 3239999"/>
                  <a:gd name="connsiteY27" fmla="*/ 3032924 h 3032924"/>
                  <a:gd name="connsiteX28" fmla="*/ 0 w 3239999"/>
                  <a:gd name="connsiteY28" fmla="*/ 3032924 h 3032924"/>
                  <a:gd name="connsiteX29" fmla="*/ 0 w 3239999"/>
                  <a:gd name="connsiteY29" fmla="*/ 738345 h 3032924"/>
                  <a:gd name="connsiteX30" fmla="*/ 102477 w 3239999"/>
                  <a:gd name="connsiteY30" fmla="*/ 738345 h 3032924"/>
                  <a:gd name="connsiteX31" fmla="*/ 102477 w 3239999"/>
                  <a:gd name="connsiteY31" fmla="*/ 428517 h 3032924"/>
                  <a:gd name="connsiteX32" fmla="*/ 385229 w 3239999"/>
                  <a:gd name="connsiteY32" fmla="*/ 430441 h 3032924"/>
                  <a:gd name="connsiteX33" fmla="*/ 386326 w 3239999"/>
                  <a:gd name="connsiteY33" fmla="*/ 91100 h 3032924"/>
                  <a:gd name="connsiteX34" fmla="*/ 833935 w 3239999"/>
                  <a:gd name="connsiteY34" fmla="*/ 2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34" fmla="*/ 1668046 w 3239999"/>
                  <a:gd name="connsiteY34" fmla="*/ 2869642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39143 w 3239999"/>
                  <a:gd name="connsiteY32" fmla="*/ 2776423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3000856 w 3239999"/>
                  <a:gd name="connsiteY3" fmla="*/ 2776423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29618 w 3239999"/>
                  <a:gd name="connsiteY32" fmla="*/ 2690698 h 3032924"/>
                  <a:gd name="connsiteX33" fmla="*/ 1576606 w 3239999"/>
                  <a:gd name="connsiteY33" fmla="*/ 2776423 h 3032924"/>
                  <a:gd name="connsiteX0" fmla="*/ 1576606 w 3239999"/>
                  <a:gd name="connsiteY0" fmla="*/ 2778202 h 3032924"/>
                  <a:gd name="connsiteX1" fmla="*/ 1663394 w 3239999"/>
                  <a:gd name="connsiteY1" fmla="*/ 2778202 h 3032924"/>
                  <a:gd name="connsiteX2" fmla="*/ 1663394 w 3239999"/>
                  <a:gd name="connsiteY2" fmla="*/ 2776423 h 3032924"/>
                  <a:gd name="connsiteX3" fmla="*/ 2991331 w 3239999"/>
                  <a:gd name="connsiteY3" fmla="*/ 2709748 h 3032924"/>
                  <a:gd name="connsiteX4" fmla="*/ 3000856 w 3239999"/>
                  <a:gd name="connsiteY4" fmla="*/ 526981 h 3032924"/>
                  <a:gd name="connsiteX5" fmla="*/ 2855082 w 3239999"/>
                  <a:gd name="connsiteY5" fmla="*/ 526981 h 3032924"/>
                  <a:gd name="connsiteX6" fmla="*/ 2861369 w 3239999"/>
                  <a:gd name="connsiteY6" fmla="*/ 2472117 h 3032924"/>
                  <a:gd name="connsiteX7" fmla="*/ 1663394 w 3239999"/>
                  <a:gd name="connsiteY7" fmla="*/ 2765302 h 3032924"/>
                  <a:gd name="connsiteX8" fmla="*/ 1663394 w 3239999"/>
                  <a:gd name="connsiteY8" fmla="*/ 526981 h 3032924"/>
                  <a:gd name="connsiteX9" fmla="*/ 1663394 w 3239999"/>
                  <a:gd name="connsiteY9" fmla="*/ 430441 h 3032924"/>
                  <a:gd name="connsiteX10" fmla="*/ 1663394 w 3239999"/>
                  <a:gd name="connsiteY10" fmla="*/ 402054 h 3032924"/>
                  <a:gd name="connsiteX11" fmla="*/ 2406065 w 3239999"/>
                  <a:gd name="connsiteY11" fmla="*/ 22 h 3032924"/>
                  <a:gd name="connsiteX12" fmla="*/ 2853673 w 3239999"/>
                  <a:gd name="connsiteY12" fmla="*/ 91100 h 3032924"/>
                  <a:gd name="connsiteX13" fmla="*/ 2854770 w 3239999"/>
                  <a:gd name="connsiteY13" fmla="*/ 430441 h 3032924"/>
                  <a:gd name="connsiteX14" fmla="*/ 3120669 w 3239999"/>
                  <a:gd name="connsiteY14" fmla="*/ 428517 h 3032924"/>
                  <a:gd name="connsiteX15" fmla="*/ 3120669 w 3239999"/>
                  <a:gd name="connsiteY15" fmla="*/ 738345 h 3032924"/>
                  <a:gd name="connsiteX16" fmla="*/ 3239999 w 3239999"/>
                  <a:gd name="connsiteY16" fmla="*/ 738345 h 3032924"/>
                  <a:gd name="connsiteX17" fmla="*/ 3239999 w 3239999"/>
                  <a:gd name="connsiteY17" fmla="*/ 3032924 h 3032924"/>
                  <a:gd name="connsiteX18" fmla="*/ 0 w 3239999"/>
                  <a:gd name="connsiteY18" fmla="*/ 3032924 h 3032924"/>
                  <a:gd name="connsiteX19" fmla="*/ 0 w 3239999"/>
                  <a:gd name="connsiteY19" fmla="*/ 738345 h 3032924"/>
                  <a:gd name="connsiteX20" fmla="*/ 102477 w 3239999"/>
                  <a:gd name="connsiteY20" fmla="*/ 738345 h 3032924"/>
                  <a:gd name="connsiteX21" fmla="*/ 102477 w 3239999"/>
                  <a:gd name="connsiteY21" fmla="*/ 428517 h 3032924"/>
                  <a:gd name="connsiteX22" fmla="*/ 385229 w 3239999"/>
                  <a:gd name="connsiteY22" fmla="*/ 430441 h 3032924"/>
                  <a:gd name="connsiteX23" fmla="*/ 386326 w 3239999"/>
                  <a:gd name="connsiteY23" fmla="*/ 91100 h 3032924"/>
                  <a:gd name="connsiteX24" fmla="*/ 833935 w 3239999"/>
                  <a:gd name="connsiteY24" fmla="*/ 22 h 3032924"/>
                  <a:gd name="connsiteX25" fmla="*/ 1576606 w 3239999"/>
                  <a:gd name="connsiteY25" fmla="*/ 402054 h 3032924"/>
                  <a:gd name="connsiteX26" fmla="*/ 1576606 w 3239999"/>
                  <a:gd name="connsiteY26" fmla="*/ 430441 h 3032924"/>
                  <a:gd name="connsiteX27" fmla="*/ 1576606 w 3239999"/>
                  <a:gd name="connsiteY27" fmla="*/ 526981 h 3032924"/>
                  <a:gd name="connsiteX28" fmla="*/ 1576606 w 3239999"/>
                  <a:gd name="connsiteY28" fmla="*/ 2765302 h 3032924"/>
                  <a:gd name="connsiteX29" fmla="*/ 378630 w 3239999"/>
                  <a:gd name="connsiteY29" fmla="*/ 2472117 h 3032924"/>
                  <a:gd name="connsiteX30" fmla="*/ 384918 w 3239999"/>
                  <a:gd name="connsiteY30" fmla="*/ 526981 h 3032924"/>
                  <a:gd name="connsiteX31" fmla="*/ 239143 w 3239999"/>
                  <a:gd name="connsiteY31" fmla="*/ 526981 h 3032924"/>
                  <a:gd name="connsiteX32" fmla="*/ 229618 w 3239999"/>
                  <a:gd name="connsiteY32" fmla="*/ 2690698 h 3032924"/>
                  <a:gd name="connsiteX33" fmla="*/ 1576606 w 3239999"/>
                  <a:gd name="connsiteY33" fmla="*/ 2776423 h 3032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3239999" h="3032924">
                    <a:moveTo>
                      <a:pt x="1576606" y="2778202"/>
                    </a:moveTo>
                    <a:cubicBezTo>
                      <a:pt x="1576606" y="2778795"/>
                      <a:pt x="1663394" y="2792670"/>
                      <a:pt x="1663394" y="2778202"/>
                    </a:cubicBezTo>
                    <a:lnTo>
                      <a:pt x="1663394" y="2776423"/>
                    </a:lnTo>
                    <a:cubicBezTo>
                      <a:pt x="2185083" y="2605634"/>
                      <a:pt x="2444552" y="2500589"/>
                      <a:pt x="2991331" y="2709748"/>
                    </a:cubicBezTo>
                    <a:lnTo>
                      <a:pt x="3000856" y="526981"/>
                    </a:lnTo>
                    <a:lnTo>
                      <a:pt x="2855082" y="526981"/>
                    </a:lnTo>
                    <a:cubicBezTo>
                      <a:pt x="2857178" y="1175360"/>
                      <a:pt x="2859273" y="1823738"/>
                      <a:pt x="2861369" y="2472117"/>
                    </a:cubicBezTo>
                    <a:cubicBezTo>
                      <a:pt x="2483869" y="2318121"/>
                      <a:pt x="2052449" y="2439541"/>
                      <a:pt x="1663394" y="2765302"/>
                    </a:cubicBezTo>
                    <a:lnTo>
                      <a:pt x="1663394" y="526981"/>
                    </a:lnTo>
                    <a:lnTo>
                      <a:pt x="1663394" y="430441"/>
                    </a:lnTo>
                    <a:lnTo>
                      <a:pt x="1663394" y="402054"/>
                    </a:lnTo>
                    <a:cubicBezTo>
                      <a:pt x="1896442" y="149589"/>
                      <a:pt x="2115835" y="2106"/>
                      <a:pt x="2406065" y="22"/>
                    </a:cubicBezTo>
                    <a:cubicBezTo>
                      <a:pt x="2537987" y="-925"/>
                      <a:pt x="2684544" y="28169"/>
                      <a:pt x="2853673" y="91100"/>
                    </a:cubicBezTo>
                    <a:cubicBezTo>
                      <a:pt x="2854039" y="204214"/>
                      <a:pt x="2854404" y="317327"/>
                      <a:pt x="2854770" y="430441"/>
                    </a:cubicBezTo>
                    <a:lnTo>
                      <a:pt x="3120669" y="428517"/>
                    </a:lnTo>
                    <a:lnTo>
                      <a:pt x="3120669" y="738345"/>
                    </a:lnTo>
                    <a:lnTo>
                      <a:pt x="3239999" y="738345"/>
                    </a:lnTo>
                    <a:lnTo>
                      <a:pt x="3239999" y="3032924"/>
                    </a:lnTo>
                    <a:lnTo>
                      <a:pt x="0" y="3032924"/>
                    </a:lnTo>
                    <a:lnTo>
                      <a:pt x="0" y="738345"/>
                    </a:lnTo>
                    <a:lnTo>
                      <a:pt x="102477" y="738345"/>
                    </a:lnTo>
                    <a:lnTo>
                      <a:pt x="102477" y="428517"/>
                    </a:lnTo>
                    <a:lnTo>
                      <a:pt x="385229" y="430441"/>
                    </a:lnTo>
                    <a:cubicBezTo>
                      <a:pt x="385595" y="317327"/>
                      <a:pt x="385960" y="204214"/>
                      <a:pt x="386326" y="91100"/>
                    </a:cubicBezTo>
                    <a:cubicBezTo>
                      <a:pt x="555455" y="28169"/>
                      <a:pt x="702013" y="-925"/>
                      <a:pt x="833935" y="22"/>
                    </a:cubicBezTo>
                    <a:cubicBezTo>
                      <a:pt x="1124164" y="2106"/>
                      <a:pt x="1343558" y="149589"/>
                      <a:pt x="1576606" y="402054"/>
                    </a:cubicBezTo>
                    <a:lnTo>
                      <a:pt x="1576606" y="430441"/>
                    </a:lnTo>
                    <a:lnTo>
                      <a:pt x="1576606" y="526981"/>
                    </a:lnTo>
                    <a:lnTo>
                      <a:pt x="1576606" y="2765302"/>
                    </a:lnTo>
                    <a:cubicBezTo>
                      <a:pt x="1187550" y="2439541"/>
                      <a:pt x="756130" y="2318121"/>
                      <a:pt x="378630" y="2472117"/>
                    </a:cubicBezTo>
                    <a:lnTo>
                      <a:pt x="384918" y="526981"/>
                    </a:lnTo>
                    <a:lnTo>
                      <a:pt x="239143" y="526981"/>
                    </a:lnTo>
                    <a:lnTo>
                      <a:pt x="229618" y="2690698"/>
                    </a:lnTo>
                    <a:cubicBezTo>
                      <a:pt x="773243" y="2466244"/>
                      <a:pt x="1081748" y="2626096"/>
                      <a:pt x="1576606" y="2776423"/>
                    </a:cubicBezTo>
                  </a:path>
                </a:pathLst>
              </a:custGeom>
              <a:solidFill>
                <a:srgbClr val="262626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483" name="Parallelogram 30">
                <a:extLst>
                  <a:ext uri="{FF2B5EF4-FFF2-40B4-BE49-F238E27FC236}">
                    <a16:creationId xmlns:a16="http://schemas.microsoft.com/office/drawing/2014/main" id="{E6A8E0C1-4E65-4C8D-AAE2-EE787010D6A6}"/>
                  </a:ext>
                </a:extLst>
              </p:cNvPr>
              <p:cNvSpPr/>
              <p:nvPr/>
            </p:nvSpPr>
            <p:spPr>
              <a:xfrm flipH="1">
                <a:off x="7067546" y="4041564"/>
                <a:ext cx="331980" cy="332801"/>
              </a:xfrm>
              <a:custGeom>
                <a:avLst/>
                <a:gdLst/>
                <a:ahLst/>
                <a:cxnLst/>
                <a:rect l="l" t="t" r="r" b="b"/>
                <a:pathLst>
                  <a:path w="3240000" h="3248012">
                    <a:moveTo>
                      <a:pt x="712553" y="858820"/>
                    </a:moveTo>
                    <a:cubicBezTo>
                      <a:pt x="727950" y="858820"/>
                      <a:pt x="743348" y="864694"/>
                      <a:pt x="755096" y="876443"/>
                    </a:cubicBezTo>
                    <a:lnTo>
                      <a:pt x="1193671" y="1315016"/>
                    </a:lnTo>
                    <a:lnTo>
                      <a:pt x="1509169" y="999517"/>
                    </a:lnTo>
                    <a:cubicBezTo>
                      <a:pt x="1509517" y="999169"/>
                      <a:pt x="1509868" y="998827"/>
                      <a:pt x="1510414" y="998691"/>
                    </a:cubicBezTo>
                    <a:lnTo>
                      <a:pt x="1518932" y="988592"/>
                    </a:lnTo>
                    <a:cubicBezTo>
                      <a:pt x="1531945" y="978263"/>
                      <a:pt x="1547912" y="974188"/>
                      <a:pt x="1563209" y="975946"/>
                    </a:cubicBezTo>
                    <a:cubicBezTo>
                      <a:pt x="1578505" y="977705"/>
                      <a:pt x="1593131" y="985299"/>
                      <a:pt x="1603459" y="998313"/>
                    </a:cubicBezTo>
                    <a:lnTo>
                      <a:pt x="1892346" y="1362277"/>
                    </a:lnTo>
                    <a:lnTo>
                      <a:pt x="2149759" y="1177067"/>
                    </a:lnTo>
                    <a:lnTo>
                      <a:pt x="2151621" y="1174867"/>
                    </a:lnTo>
                    <a:cubicBezTo>
                      <a:pt x="2159033" y="1169006"/>
                      <a:pt x="2167397" y="1165168"/>
                      <a:pt x="2176160" y="1163802"/>
                    </a:cubicBezTo>
                    <a:cubicBezTo>
                      <a:pt x="2177188" y="1163485"/>
                      <a:pt x="2178237" y="1163269"/>
                      <a:pt x="2179375" y="1163558"/>
                    </a:cubicBezTo>
                    <a:cubicBezTo>
                      <a:pt x="2184768" y="1161771"/>
                      <a:pt x="2190389" y="1161654"/>
                      <a:pt x="2195921" y="1162300"/>
                    </a:cubicBezTo>
                    <a:cubicBezTo>
                      <a:pt x="2196662" y="1162386"/>
                      <a:pt x="2197402" y="1162487"/>
                      <a:pt x="2198081" y="1162987"/>
                    </a:cubicBezTo>
                    <a:cubicBezTo>
                      <a:pt x="2202197" y="1163290"/>
                      <a:pt x="2206218" y="1164270"/>
                      <a:pt x="2209739" y="1166702"/>
                    </a:cubicBezTo>
                    <a:cubicBezTo>
                      <a:pt x="2213116" y="1166857"/>
                      <a:pt x="2216051" y="1168231"/>
                      <a:pt x="2218766" y="1170038"/>
                    </a:cubicBezTo>
                    <a:cubicBezTo>
                      <a:pt x="2225342" y="1173160"/>
                      <a:pt x="2231151" y="1177875"/>
                      <a:pt x="2235489" y="1184194"/>
                    </a:cubicBezTo>
                    <a:lnTo>
                      <a:pt x="2236132" y="1184737"/>
                    </a:lnTo>
                    <a:lnTo>
                      <a:pt x="2236287" y="1184934"/>
                    </a:lnTo>
                    <a:lnTo>
                      <a:pt x="2238712" y="1187183"/>
                    </a:lnTo>
                    <a:cubicBezTo>
                      <a:pt x="2239115" y="1187744"/>
                      <a:pt x="2239507" y="1188310"/>
                      <a:pt x="2239574" y="1189090"/>
                    </a:cubicBezTo>
                    <a:lnTo>
                      <a:pt x="2540580" y="1569705"/>
                    </a:lnTo>
                    <a:cubicBezTo>
                      <a:pt x="2561191" y="1595768"/>
                      <a:pt x="2556772" y="1633604"/>
                      <a:pt x="2530710" y="1654215"/>
                    </a:cubicBezTo>
                    <a:cubicBezTo>
                      <a:pt x="2504647" y="1674827"/>
                      <a:pt x="2466811" y="1670408"/>
                      <a:pt x="2446199" y="1644345"/>
                    </a:cubicBezTo>
                    <a:lnTo>
                      <a:pt x="2177884" y="1305067"/>
                    </a:lnTo>
                    <a:lnTo>
                      <a:pt x="1934804" y="1479967"/>
                    </a:lnTo>
                    <a:cubicBezTo>
                      <a:pt x="1927367" y="1485317"/>
                      <a:pt x="1919123" y="1488726"/>
                      <a:pt x="1910598" y="1489881"/>
                    </a:cubicBezTo>
                    <a:cubicBezTo>
                      <a:pt x="1885257" y="1507791"/>
                      <a:pt x="1850121" y="1502627"/>
                      <a:pt x="1830495" y="1477903"/>
                    </a:cubicBezTo>
                    <a:lnTo>
                      <a:pt x="1551924" y="1126933"/>
                    </a:lnTo>
                    <a:lnTo>
                      <a:pt x="1239041" y="1439816"/>
                    </a:lnTo>
                    <a:cubicBezTo>
                      <a:pt x="1226569" y="1452288"/>
                      <a:pt x="1209983" y="1458139"/>
                      <a:pt x="1193674" y="1456888"/>
                    </a:cubicBezTo>
                    <a:cubicBezTo>
                      <a:pt x="1177363" y="1458142"/>
                      <a:pt x="1160774" y="1452290"/>
                      <a:pt x="1148301" y="1439816"/>
                    </a:cubicBezTo>
                    <a:lnTo>
                      <a:pt x="670011" y="961527"/>
                    </a:lnTo>
                    <a:cubicBezTo>
                      <a:pt x="646515" y="938031"/>
                      <a:pt x="646515" y="899938"/>
                      <a:pt x="670011" y="876442"/>
                    </a:cubicBezTo>
                    <a:cubicBezTo>
                      <a:pt x="681760" y="864694"/>
                      <a:pt x="697157" y="858820"/>
                      <a:pt x="712553" y="858820"/>
                    </a:cubicBezTo>
                    <a:close/>
                    <a:moveTo>
                      <a:pt x="2790000" y="699581"/>
                    </a:moveTo>
                    <a:lnTo>
                      <a:pt x="450000" y="699581"/>
                    </a:lnTo>
                    <a:lnTo>
                      <a:pt x="450000" y="1851581"/>
                    </a:lnTo>
                    <a:lnTo>
                      <a:pt x="2790000" y="1851581"/>
                    </a:lnTo>
                    <a:close/>
                    <a:moveTo>
                      <a:pt x="2987972" y="519497"/>
                    </a:moveTo>
                    <a:lnTo>
                      <a:pt x="2987972" y="2031665"/>
                    </a:lnTo>
                    <a:lnTo>
                      <a:pt x="252028" y="2031665"/>
                    </a:lnTo>
                    <a:lnTo>
                      <a:pt x="252028" y="519497"/>
                    </a:lnTo>
                    <a:close/>
                    <a:moveTo>
                      <a:pt x="1620000" y="0"/>
                    </a:moveTo>
                    <a:cubicBezTo>
                      <a:pt x="1540462" y="0"/>
                      <a:pt x="1475984" y="64478"/>
                      <a:pt x="1475984" y="144016"/>
                    </a:cubicBezTo>
                    <a:lnTo>
                      <a:pt x="1475984" y="267469"/>
                    </a:lnTo>
                    <a:lnTo>
                      <a:pt x="0" y="267469"/>
                    </a:lnTo>
                    <a:lnTo>
                      <a:pt x="0" y="2283693"/>
                    </a:lnTo>
                    <a:lnTo>
                      <a:pt x="852101" y="2283693"/>
                    </a:lnTo>
                    <a:lnTo>
                      <a:pt x="323771" y="3248012"/>
                    </a:lnTo>
                    <a:lnTo>
                      <a:pt x="621526" y="3248012"/>
                    </a:lnTo>
                    <a:lnTo>
                      <a:pt x="1149856" y="2283693"/>
                    </a:lnTo>
                    <a:lnTo>
                      <a:pt x="2090146" y="2283693"/>
                    </a:lnTo>
                    <a:lnTo>
                      <a:pt x="2618476" y="3248012"/>
                    </a:lnTo>
                    <a:lnTo>
                      <a:pt x="2916231" y="3248012"/>
                    </a:lnTo>
                    <a:lnTo>
                      <a:pt x="2387901" y="2283693"/>
                    </a:lnTo>
                    <a:lnTo>
                      <a:pt x="3240000" y="2283693"/>
                    </a:lnTo>
                    <a:lnTo>
                      <a:pt x="3240000" y="267469"/>
                    </a:lnTo>
                    <a:lnTo>
                      <a:pt x="1764016" y="267469"/>
                    </a:lnTo>
                    <a:lnTo>
                      <a:pt x="1764016" y="144016"/>
                    </a:lnTo>
                    <a:cubicBezTo>
                      <a:pt x="1764016" y="64478"/>
                      <a:pt x="1699538" y="0"/>
                      <a:pt x="1620000" y="0"/>
                    </a:cubicBezTo>
                    <a:close/>
                  </a:path>
                </a:pathLst>
              </a:custGeom>
              <a:solidFill>
                <a:srgbClr val="28608C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  <p:sp>
          <p:nvSpPr>
            <p:cNvPr id="486" name="Donut 48">
              <a:extLst>
                <a:ext uri="{FF2B5EF4-FFF2-40B4-BE49-F238E27FC236}">
                  <a16:creationId xmlns:a16="http://schemas.microsoft.com/office/drawing/2014/main" id="{71EBD7EE-6398-4EDB-9A20-E32926880488}"/>
                </a:ext>
              </a:extLst>
            </p:cNvPr>
            <p:cNvSpPr/>
            <p:nvPr/>
          </p:nvSpPr>
          <p:spPr>
            <a:xfrm>
              <a:off x="411625" y="2050324"/>
              <a:ext cx="3126033" cy="3126033"/>
            </a:xfrm>
            <a:prstGeom prst="donut">
              <a:avLst>
                <a:gd name="adj" fmla="val 3665"/>
              </a:avLst>
            </a:prstGeom>
            <a:solidFill>
              <a:srgbClr val="26262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34" charset="-127"/>
                <a:cs typeface="+mn-cs"/>
              </a:endParaRPr>
            </a:p>
          </p:txBody>
        </p:sp>
      </p:grpSp>
      <p:pic>
        <p:nvPicPr>
          <p:cNvPr id="488" name="Picture 29">
            <a:extLst>
              <a:ext uri="{FF2B5EF4-FFF2-40B4-BE49-F238E27FC236}">
                <a16:creationId xmlns:a16="http://schemas.microsoft.com/office/drawing/2014/main" id="{D0CD274A-3CB6-471E-B8B5-A9B3C8E4FFEE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170561" y="2718549"/>
            <a:ext cx="1556094" cy="1564706"/>
          </a:xfrm>
          <a:prstGeom prst="rect">
            <a:avLst/>
          </a:prstGeom>
        </p:spPr>
      </p:pic>
      <p:pic>
        <p:nvPicPr>
          <p:cNvPr id="489" name="Picture 18" descr="Due foglie | Icona Gratis"/>
          <p:cNvPicPr>
            <a:picLocks noChangeAspect="1" noChangeArrowheads="1"/>
          </p:cNvPicPr>
          <p:nvPr/>
        </p:nvPicPr>
        <p:blipFill>
          <a:blip r:embed="rId11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0210" y="2813985"/>
            <a:ext cx="340274" cy="321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2" name="Immagine 491"/>
          <p:cNvPicPr>
            <a:picLocks noChangeAspect="1"/>
          </p:cNvPicPr>
          <p:nvPr/>
        </p:nvPicPr>
        <p:blipFill rotWithShape="1">
          <a:blip r:embed="rId1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0243" y="3798509"/>
            <a:ext cx="459703" cy="340467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493" name="Picture 10" descr="Depot, railway, station, train icon"/>
          <p:cNvPicPr>
            <a:picLocks noChangeAspect="1" noChangeArrowheads="1"/>
          </p:cNvPicPr>
          <p:nvPr/>
        </p:nvPicPr>
        <p:blipFill>
          <a:blip r:embed="rId14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Photocopy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97870" y="4138976"/>
            <a:ext cx="441956" cy="417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4" name="Picture 10" descr="Depot, railway, station, train icon"/>
          <p:cNvPicPr>
            <a:picLocks noChangeAspect="1" noChangeArrowheads="1"/>
          </p:cNvPicPr>
          <p:nvPr/>
        </p:nvPicPr>
        <p:blipFill>
          <a:blip r:embed="rId14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Photocopy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62412" y="4617477"/>
            <a:ext cx="441956" cy="417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5" name="Picture 18" descr="TRENO - Hotel Properzio Assisi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65123" y="4880202"/>
            <a:ext cx="397288" cy="390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6" name="Picture 18" descr="TRENO - Hotel Properzio Assisi"/>
          <p:cNvPicPr>
            <a:picLocks noChangeAspect="1" noChangeArrowheads="1"/>
          </p:cNvPicPr>
          <p:nvPr/>
        </p:nvPicPr>
        <p:blipFill>
          <a:blip r:embed="rId1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4554" y="4430735"/>
            <a:ext cx="397288" cy="390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7" name="Picture 2" descr="Costruttore con cappello e un ingranaggio | Icona Gratis"/>
          <p:cNvPicPr>
            <a:picLocks noChangeAspect="1" noChangeArrowheads="1"/>
          </p:cNvPicPr>
          <p:nvPr/>
        </p:nvPicPr>
        <p:blipFill>
          <a:blip r:embed="rId18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artisticPhotocopy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013" y="3477290"/>
            <a:ext cx="347829" cy="328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8" name="Picture 18" descr="Due foglie | Icona Gratis"/>
          <p:cNvPicPr>
            <a:picLocks noChangeAspect="1" noChangeArrowheads="1"/>
          </p:cNvPicPr>
          <p:nvPr/>
        </p:nvPicPr>
        <p:blipFill>
          <a:blip r:embed="rId11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1205" y="1776160"/>
            <a:ext cx="340274" cy="321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9" name="Picture 10" descr="Depot, railway, station, train icon"/>
          <p:cNvPicPr>
            <a:picLocks noChangeAspect="1" noChangeArrowheads="1"/>
          </p:cNvPicPr>
          <p:nvPr/>
        </p:nvPicPr>
        <p:blipFill>
          <a:blip r:embed="rId20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Photocopy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012" y="1949334"/>
            <a:ext cx="441956" cy="417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0" name="Picture 2" descr="Costruttore con cappello e un ingranaggio | Icona Gratis"/>
          <p:cNvPicPr>
            <a:picLocks noChangeAspect="1" noChangeArrowheads="1"/>
          </p:cNvPicPr>
          <p:nvPr/>
        </p:nvPicPr>
        <p:blipFill>
          <a:blip r:embed="rId18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artisticPhotocopy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752" y="4578564"/>
            <a:ext cx="298100" cy="28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6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11095999" y="46915"/>
            <a:ext cx="391321" cy="41690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04" name="Immagine 503">
            <a:extLst>
              <a:ext uri="{FF2B5EF4-FFF2-40B4-BE49-F238E27FC236}">
                <a16:creationId xmlns:a16="http://schemas.microsoft.com/office/drawing/2014/main" id="{4088D501-7079-440F-BA23-A8E17F0F494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screen">
            <a:biLevel thresh="75000"/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7019" y="108455"/>
            <a:ext cx="299610" cy="313546"/>
          </a:xfrm>
          <a:prstGeom prst="ellipse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385092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D4A4CDF-B7A7-43DB-943D-5081E63EF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-219094"/>
            <a:ext cx="11176620" cy="866367"/>
          </a:xfrm>
        </p:spPr>
        <p:txBody>
          <a:bodyPr/>
          <a:lstStyle/>
          <a:p>
            <a:r>
              <a:rPr lang="it-IT" dirty="0">
                <a:solidFill>
                  <a:srgbClr val="DC002E"/>
                </a:solidFill>
              </a:rPr>
              <a:t>Accessibilità stazioni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1D83145-F607-492A-AF56-40DFE9F305F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368" y="647273"/>
            <a:ext cx="11176620" cy="390933"/>
          </a:xfrm>
        </p:spPr>
        <p:txBody>
          <a:bodyPr>
            <a:noAutofit/>
          </a:bodyPr>
          <a:lstStyle/>
          <a:p>
            <a:r>
              <a:rPr lang="it-IT" sz="1800" dirty="0"/>
              <a:t>La valorizzazione delle oltre 2.200 stazioni di RFI rappresenta uno straordinario volano per la transizione sostenibile del sistema di mobilità italiano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F63B440-EC5B-43B4-A9F6-0430BB5391D9}"/>
              </a:ext>
            </a:extLst>
          </p:cNvPr>
          <p:cNvSpPr txBox="1"/>
          <p:nvPr/>
        </p:nvSpPr>
        <p:spPr>
          <a:xfrm>
            <a:off x="338673" y="1366456"/>
            <a:ext cx="535485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 strategia di RFI prevede che le stazioni sviluppino il duplice ruolo d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do intermodale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 d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lo di servizi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integrate nell’ecosistema urbano e centro vitale della </a:t>
            </a:r>
            <a:r>
              <a:rPr kumimoji="0" lang="it-IT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mart city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137EB1EB-E771-4EBE-9BA5-7EC699DF283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267" y="2370921"/>
            <a:ext cx="2826605" cy="1800000"/>
          </a:xfrm>
          <a:prstGeom prst="rect">
            <a:avLst/>
          </a:prstGeom>
        </p:spPr>
      </p:pic>
      <p:pic>
        <p:nvPicPr>
          <p:cNvPr id="17" name="Immagine 16">
            <a:extLst>
              <a:ext uri="{FF2B5EF4-FFF2-40B4-BE49-F238E27FC236}">
                <a16:creationId xmlns:a16="http://schemas.microsoft.com/office/drawing/2014/main" id="{132220AD-64A6-4A6C-B604-F95FBD12D29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3308" y="2439781"/>
            <a:ext cx="1787127" cy="1771871"/>
          </a:xfrm>
          <a:prstGeom prst="rect">
            <a:avLst/>
          </a:prstGeom>
        </p:spPr>
      </p:pic>
      <p:sp>
        <p:nvSpPr>
          <p:cNvPr id="20" name="Rettangolo 19">
            <a:extLst>
              <a:ext uri="{FF2B5EF4-FFF2-40B4-BE49-F238E27FC236}">
                <a16:creationId xmlns:a16="http://schemas.microsoft.com/office/drawing/2014/main" id="{4731D89E-C42B-452D-8530-E9AB3C0D1102}"/>
              </a:ext>
            </a:extLst>
          </p:cNvPr>
          <p:cNvSpPr/>
          <p:nvPr/>
        </p:nvSpPr>
        <p:spPr>
          <a:xfrm>
            <a:off x="409218" y="2134601"/>
            <a:ext cx="2521362" cy="246221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do di scambio intermodale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9A5625D5-07E8-4E6E-A5AD-C9DC2CF5D9C3}"/>
              </a:ext>
            </a:extLst>
          </p:cNvPr>
          <p:cNvSpPr/>
          <p:nvPr/>
        </p:nvSpPr>
        <p:spPr>
          <a:xfrm>
            <a:off x="3083202" y="2134600"/>
            <a:ext cx="2520000" cy="24622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lo di servizi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5190B794-1758-4D0E-8507-62660DF92944}"/>
              </a:ext>
            </a:extLst>
          </p:cNvPr>
          <p:cNvSpPr txBox="1"/>
          <p:nvPr/>
        </p:nvSpPr>
        <p:spPr>
          <a:xfrm>
            <a:off x="9129220" y="1491161"/>
            <a:ext cx="17871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biettivi</a:t>
            </a:r>
          </a:p>
        </p:txBody>
      </p:sp>
      <p:pic>
        <p:nvPicPr>
          <p:cNvPr id="42" name="Immagine 41">
            <a:extLst>
              <a:ext uri="{FF2B5EF4-FFF2-40B4-BE49-F238E27FC236}">
                <a16:creationId xmlns:a16="http://schemas.microsoft.com/office/drawing/2014/main" id="{AF52F58D-49D2-4AE9-A7F9-F708E4A9F96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5964" y="1491161"/>
            <a:ext cx="344000" cy="360000"/>
          </a:xfrm>
          <a:prstGeom prst="rect">
            <a:avLst/>
          </a:prstGeom>
        </p:spPr>
      </p:pic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FF220E76-8A4A-4A25-9C39-DA70F4674C00}"/>
              </a:ext>
            </a:extLst>
          </p:cNvPr>
          <p:cNvSpPr txBox="1"/>
          <p:nvPr/>
        </p:nvSpPr>
        <p:spPr>
          <a:xfrm>
            <a:off x="8967965" y="1874170"/>
            <a:ext cx="267551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ddisfare le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igenze di mobilità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le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sone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gli spostamenti quotidiani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ribuire allo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viluppo sostenibile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 all’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trattività del territorio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mentare la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nettività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 l’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zione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la rete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487E2D25-3C7B-45D8-83FA-D74D002F9E31}"/>
              </a:ext>
            </a:extLst>
          </p:cNvPr>
          <p:cNvSpPr txBox="1"/>
          <p:nvPr/>
        </p:nvSpPr>
        <p:spPr>
          <a:xfrm>
            <a:off x="8810152" y="4079255"/>
            <a:ext cx="30582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ncipali linee di intervento</a:t>
            </a:r>
          </a:p>
        </p:txBody>
      </p: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9088CDE9-4FDE-414E-8427-67054E76BBF4}"/>
              </a:ext>
            </a:extLst>
          </p:cNvPr>
          <p:cNvSpPr txBox="1"/>
          <p:nvPr/>
        </p:nvSpPr>
        <p:spPr>
          <a:xfrm>
            <a:off x="9039915" y="4492770"/>
            <a:ext cx="267551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ANO INTEGRATO STAZIONI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etto Easy &amp; Smart Station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etto Aree Esterne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B312566C-EED4-41E9-A462-2CC66008061A}"/>
              </a:ext>
            </a:extLst>
          </p:cNvPr>
          <p:cNvSpPr txBox="1"/>
          <p:nvPr/>
        </p:nvSpPr>
        <p:spPr>
          <a:xfrm>
            <a:off x="9039916" y="5144299"/>
            <a:ext cx="28284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MA HUB e LINEE METROPOLITANE per lo SVILUPPO della MOBILITÀ SOSTENIBILE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1F83FB9D-5EB3-411A-86AC-DE628C2D6DDE}"/>
              </a:ext>
            </a:extLst>
          </p:cNvPr>
          <p:cNvSpPr txBox="1"/>
          <p:nvPr/>
        </p:nvSpPr>
        <p:spPr>
          <a:xfrm>
            <a:off x="9039915" y="5806637"/>
            <a:ext cx="267551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ETTI AD HOC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FF1033F9-D13C-4A52-A4B2-20E1740DE6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26290" y="2785627"/>
            <a:ext cx="1979227" cy="2299014"/>
          </a:xfrm>
          <a:prstGeom prst="rect">
            <a:avLst/>
          </a:prstGeom>
        </p:spPr>
      </p:pic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9368442C-FB75-4E63-A95D-49F988EAA99A}"/>
              </a:ext>
            </a:extLst>
          </p:cNvPr>
          <p:cNvSpPr txBox="1"/>
          <p:nvPr/>
        </p:nvSpPr>
        <p:spPr>
          <a:xfrm>
            <a:off x="5985041" y="5103851"/>
            <a:ext cx="246966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 convergenza verso le stazioni dei sistemi di mobilità deve però essere realizzata secondo una “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ramide delle priorità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”, che deve </a:t>
            </a:r>
            <a:r>
              <a:rPr kumimoji="0" lang="it-IT" sz="1200" b="0" i="1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re maggiore importanza in primis alla pedonalità e alla ciclabilità, seguite dal TPL e dalla sharing mobility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quindi dai mezzi privati a 2 e a 4 ruote.</a:t>
            </a:r>
          </a:p>
        </p:txBody>
      </p:sp>
      <p:sp>
        <p:nvSpPr>
          <p:cNvPr id="6" name="Rettangolo 5"/>
          <p:cNvSpPr/>
          <p:nvPr/>
        </p:nvSpPr>
        <p:spPr>
          <a:xfrm>
            <a:off x="5985041" y="1346963"/>
            <a:ext cx="245131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AL SHARE DI ACCESSO IN STAZIONE</a:t>
            </a: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57900" y="1589872"/>
            <a:ext cx="2144533" cy="867470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123" y="4456988"/>
            <a:ext cx="5691185" cy="2354487"/>
          </a:xfrm>
          <a:prstGeom prst="rect">
            <a:avLst/>
          </a:prstGeom>
        </p:spPr>
      </p:pic>
      <p:sp>
        <p:nvSpPr>
          <p:cNvPr id="25" name="Rettangolo 24"/>
          <p:cNvSpPr/>
          <p:nvPr/>
        </p:nvSpPr>
        <p:spPr>
          <a:xfrm>
            <a:off x="165978" y="4385033"/>
            <a:ext cx="323518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PORTO TRA DENSITA’ URBANA E USO DELL’AUTO</a:t>
            </a:r>
          </a:p>
        </p:txBody>
      </p:sp>
      <p:cxnSp>
        <p:nvCxnSpPr>
          <p:cNvPr id="11" name="Connettore diritto 10"/>
          <p:cNvCxnSpPr/>
          <p:nvPr/>
        </p:nvCxnSpPr>
        <p:spPr>
          <a:xfrm>
            <a:off x="233909" y="4377562"/>
            <a:ext cx="556912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diritto 28"/>
          <p:cNvCxnSpPr/>
          <p:nvPr/>
        </p:nvCxnSpPr>
        <p:spPr>
          <a:xfrm>
            <a:off x="5771906" y="1366456"/>
            <a:ext cx="0" cy="527200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ttangolo 29"/>
          <p:cNvSpPr/>
          <p:nvPr/>
        </p:nvSpPr>
        <p:spPr>
          <a:xfrm>
            <a:off x="6005826" y="2370921"/>
            <a:ext cx="8386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ODM RFI</a:t>
            </a:r>
          </a:p>
        </p:txBody>
      </p:sp>
      <p:sp>
        <p:nvSpPr>
          <p:cNvPr id="31" name="Rettangolo 30"/>
          <p:cNvSpPr/>
          <p:nvPr/>
        </p:nvSpPr>
        <p:spPr>
          <a:xfrm>
            <a:off x="5974161" y="2480995"/>
            <a:ext cx="232583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ITA’ SOSTENIBILE URBANA: PIRAMIDE DELE PRIORITA</a:t>
            </a:r>
          </a:p>
        </p:txBody>
      </p:sp>
      <p:cxnSp>
        <p:nvCxnSpPr>
          <p:cNvPr id="32" name="Connettore diritto 31"/>
          <p:cNvCxnSpPr/>
          <p:nvPr/>
        </p:nvCxnSpPr>
        <p:spPr>
          <a:xfrm>
            <a:off x="8607779" y="1366456"/>
            <a:ext cx="29838" cy="527200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ttangolo 32"/>
          <p:cNvSpPr/>
          <p:nvPr/>
        </p:nvSpPr>
        <p:spPr>
          <a:xfrm>
            <a:off x="1465910" y="4638949"/>
            <a:ext cx="3339376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uzioni mirate per la rifunzionalizzazione delle stazioni</a:t>
            </a:r>
          </a:p>
        </p:txBody>
      </p:sp>
      <p:sp>
        <p:nvSpPr>
          <p:cNvPr id="50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11179874" y="46915"/>
            <a:ext cx="391321" cy="41690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3" name="Picture 10" descr="Depot, railway, station, train icon"/>
          <p:cNvPicPr>
            <a:picLocks noChangeAspect="1" noChangeArrowheads="1"/>
          </p:cNvPicPr>
          <p:nvPr/>
        </p:nvPicPr>
        <p:blipFill>
          <a:blip r:embed="rId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40355" y="129933"/>
            <a:ext cx="265586" cy="265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80543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832646-3627-4C30-9ADA-A737DDF16C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01" y="1672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832646-3627-4C30-9ADA-A737DDF16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01" y="1672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4AEE02C-ABC8-495A-8A5F-BD5049B9585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it-IT">
                <a:latin typeface="+mn-lt"/>
              </a:rPr>
              <a:t>Trasporto Pubblico Locale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idx="13"/>
          </p:nvPr>
        </p:nvSpPr>
        <p:spPr/>
        <p:txBody>
          <a:bodyPr>
            <a:noAutofit/>
          </a:bodyPr>
          <a:lstStyle/>
          <a:p>
            <a:pPr algn="just"/>
            <a:r>
              <a:rPr lang="it-IT" sz="1400"/>
              <a:t>RFI concentra il massimo sforzo produttivo per rispondere alle esigenze e aspettative di puntualità, alta frequenza cadenzata, accessibilità e raggiungibilità. Uno sforzo che mira non solo a decongestionare le aree urbane e metropolitane ma anche a salvaguardare e valorizzazione le tratte ferroviarie di particolare pregio culturale, paesaggistico e turistico. </a:t>
            </a:r>
          </a:p>
        </p:txBody>
      </p:sp>
      <p:sp>
        <p:nvSpPr>
          <p:cNvPr id="43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11121835" y="100650"/>
            <a:ext cx="391321" cy="41690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18" descr="TRENO - Hotel Properzio Assisi"/>
          <p:cNvPicPr>
            <a:picLocks noChangeAspect="1" noChangeArrowheads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87935" y="181735"/>
            <a:ext cx="259119" cy="254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o 9"/>
          <p:cNvGrpSpPr/>
          <p:nvPr/>
        </p:nvGrpSpPr>
        <p:grpSpPr>
          <a:xfrm>
            <a:off x="4313780" y="1618903"/>
            <a:ext cx="549023" cy="4980698"/>
            <a:chOff x="5722486" y="1261593"/>
            <a:chExt cx="549023" cy="5033639"/>
          </a:xfrm>
        </p:grpSpPr>
        <p:sp>
          <p:nvSpPr>
            <p:cNvPr id="11" name="Rectangle 140">
              <a:extLst>
                <a:ext uri="{FF2B5EF4-FFF2-40B4-BE49-F238E27FC236}">
                  <a16:creationId xmlns:a16="http://schemas.microsoft.com/office/drawing/2014/main" id="{7F2E266A-478E-4D55-B222-0EA2DE35A5EB}"/>
                </a:ext>
              </a:extLst>
            </p:cNvPr>
            <p:cNvSpPr>
              <a:spLocks/>
            </p:cNvSpPr>
            <p:nvPr/>
          </p:nvSpPr>
          <p:spPr>
            <a:xfrm rot="5400000" flipH="1" flipV="1">
              <a:off x="3339585" y="3644494"/>
              <a:ext cx="5033639" cy="267837"/>
            </a:xfrm>
            <a:prstGeom prst="rect">
              <a:avLst/>
            </a:prstGeom>
            <a:gradFill flip="none" rotWithShape="1">
              <a:gsLst>
                <a:gs pos="1000">
                  <a:srgbClr val="D2D2D2"/>
                </a:gs>
                <a:gs pos="60000">
                  <a:srgbClr val="FFFFFF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  <p:sp>
          <p:nvSpPr>
            <p:cNvPr id="12" name="Rectangle 134">
              <a:extLst>
                <a:ext uri="{FF2B5EF4-FFF2-40B4-BE49-F238E27FC236}">
                  <a16:creationId xmlns:a16="http://schemas.microsoft.com/office/drawing/2014/main" id="{735D8F16-B2E9-49D8-9464-58353933B4A0}"/>
                </a:ext>
              </a:extLst>
            </p:cNvPr>
            <p:cNvSpPr>
              <a:spLocks/>
            </p:cNvSpPr>
            <p:nvPr/>
          </p:nvSpPr>
          <p:spPr>
            <a:xfrm rot="16200000" flipV="1">
              <a:off x="3620771" y="3644494"/>
              <a:ext cx="5033639" cy="267837"/>
            </a:xfrm>
            <a:prstGeom prst="rect">
              <a:avLst/>
            </a:prstGeom>
            <a:gradFill flip="none" rotWithShape="1">
              <a:gsLst>
                <a:gs pos="1000">
                  <a:srgbClr val="D2D2D2"/>
                </a:gs>
                <a:gs pos="60000">
                  <a:srgbClr val="FFFFFF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</p:grpSp>
      <p:sp>
        <p:nvSpPr>
          <p:cNvPr id="14" name="Arrow: Pentagon 71">
            <a:extLst>
              <a:ext uri="{FF2B5EF4-FFF2-40B4-BE49-F238E27FC236}">
                <a16:creationId xmlns:a16="http://schemas.microsoft.com/office/drawing/2014/main" id="{4D856913-3ED2-4B28-8842-FC075714326F}"/>
              </a:ext>
            </a:extLst>
          </p:cNvPr>
          <p:cNvSpPr>
            <a:spLocks/>
          </p:cNvSpPr>
          <p:nvPr/>
        </p:nvSpPr>
        <p:spPr>
          <a:xfrm>
            <a:off x="567881" y="1714470"/>
            <a:ext cx="5650808" cy="233910"/>
          </a:xfrm>
          <a:prstGeom prst="homePlate">
            <a:avLst>
              <a:gd name="adj" fmla="val 0"/>
            </a:avLst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89535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D90000"/>
              </a:buClr>
              <a:buSzPct val="100000"/>
              <a:buFontTx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cini regionali</a:t>
            </a:r>
          </a:p>
        </p:txBody>
      </p:sp>
      <p:cxnSp>
        <p:nvCxnSpPr>
          <p:cNvPr id="15" name="Straight Connector 73">
            <a:extLst>
              <a:ext uri="{FF2B5EF4-FFF2-40B4-BE49-F238E27FC236}">
                <a16:creationId xmlns:a16="http://schemas.microsoft.com/office/drawing/2014/main" id="{08C5C688-F90D-40BE-A3A6-F8034566A6F4}"/>
              </a:ext>
            </a:extLst>
          </p:cNvPr>
          <p:cNvCxnSpPr>
            <a:cxnSpLocks/>
          </p:cNvCxnSpPr>
          <p:nvPr/>
        </p:nvCxnSpPr>
        <p:spPr>
          <a:xfrm>
            <a:off x="538385" y="2023732"/>
            <a:ext cx="378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cxnSp>
        <p:nvCxnSpPr>
          <p:cNvPr id="16" name="Straight Connector 141">
            <a:extLst>
              <a:ext uri="{FF2B5EF4-FFF2-40B4-BE49-F238E27FC236}">
                <a16:creationId xmlns:a16="http://schemas.microsoft.com/office/drawing/2014/main" id="{FC51425E-27C4-4B8E-A77E-B90DC5A066C5}"/>
              </a:ext>
            </a:extLst>
          </p:cNvPr>
          <p:cNvCxnSpPr>
            <a:cxnSpLocks/>
          </p:cNvCxnSpPr>
          <p:nvPr/>
        </p:nvCxnSpPr>
        <p:spPr>
          <a:xfrm flipH="1">
            <a:off x="538386" y="1615790"/>
            <a:ext cx="11160000" cy="0"/>
          </a:xfrm>
          <a:prstGeom prst="line">
            <a:avLst/>
          </a:prstGeom>
          <a:noFill/>
          <a:ln w="9525" cap="flat" cmpd="sng" algn="ctr">
            <a:solidFill>
              <a:srgbClr val="7F7F7F">
                <a:lumMod val="20000"/>
                <a:lumOff val="80000"/>
              </a:srgbClr>
            </a:solidFill>
            <a:prstDash val="solid"/>
          </a:ln>
          <a:effectLst/>
        </p:spPr>
      </p:cxnSp>
      <p:grpSp>
        <p:nvGrpSpPr>
          <p:cNvPr id="18" name="Gruppo 17"/>
          <p:cNvGrpSpPr/>
          <p:nvPr/>
        </p:nvGrpSpPr>
        <p:grpSpPr>
          <a:xfrm>
            <a:off x="8075790" y="1634288"/>
            <a:ext cx="549023" cy="4980698"/>
            <a:chOff x="5722486" y="1261593"/>
            <a:chExt cx="549023" cy="5033639"/>
          </a:xfrm>
        </p:grpSpPr>
        <p:sp>
          <p:nvSpPr>
            <p:cNvPr id="19" name="Rectangle 140">
              <a:extLst>
                <a:ext uri="{FF2B5EF4-FFF2-40B4-BE49-F238E27FC236}">
                  <a16:creationId xmlns:a16="http://schemas.microsoft.com/office/drawing/2014/main" id="{7F2E266A-478E-4D55-B222-0EA2DE35A5EB}"/>
                </a:ext>
              </a:extLst>
            </p:cNvPr>
            <p:cNvSpPr>
              <a:spLocks/>
            </p:cNvSpPr>
            <p:nvPr/>
          </p:nvSpPr>
          <p:spPr>
            <a:xfrm rot="5400000" flipH="1" flipV="1">
              <a:off x="3339585" y="3644494"/>
              <a:ext cx="5033639" cy="267837"/>
            </a:xfrm>
            <a:prstGeom prst="rect">
              <a:avLst/>
            </a:prstGeom>
            <a:gradFill flip="none" rotWithShape="1">
              <a:gsLst>
                <a:gs pos="1000">
                  <a:srgbClr val="D2D2D2"/>
                </a:gs>
                <a:gs pos="60000">
                  <a:srgbClr val="FFFFFF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  <p:sp>
          <p:nvSpPr>
            <p:cNvPr id="20" name="Rectangle 134">
              <a:extLst>
                <a:ext uri="{FF2B5EF4-FFF2-40B4-BE49-F238E27FC236}">
                  <a16:creationId xmlns:a16="http://schemas.microsoft.com/office/drawing/2014/main" id="{735D8F16-B2E9-49D8-9464-58353933B4A0}"/>
                </a:ext>
              </a:extLst>
            </p:cNvPr>
            <p:cNvSpPr>
              <a:spLocks/>
            </p:cNvSpPr>
            <p:nvPr/>
          </p:nvSpPr>
          <p:spPr>
            <a:xfrm rot="16200000" flipV="1">
              <a:off x="3620771" y="3644494"/>
              <a:ext cx="5033639" cy="267837"/>
            </a:xfrm>
            <a:prstGeom prst="rect">
              <a:avLst/>
            </a:prstGeom>
            <a:gradFill flip="none" rotWithShape="1">
              <a:gsLst>
                <a:gs pos="1000">
                  <a:srgbClr val="D2D2D2"/>
                </a:gs>
                <a:gs pos="60000">
                  <a:srgbClr val="FFFFFF"/>
                </a:gs>
              </a:gsLst>
              <a:lin ang="16200000" scaled="0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</p:grpSp>
      <p:sp>
        <p:nvSpPr>
          <p:cNvPr id="6" name="Rettangolo 5"/>
          <p:cNvSpPr/>
          <p:nvPr/>
        </p:nvSpPr>
        <p:spPr>
          <a:xfrm>
            <a:off x="248310" y="6014395"/>
            <a:ext cx="2045084" cy="709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Arrow: Pentagon 71">
            <a:extLst>
              <a:ext uri="{FF2B5EF4-FFF2-40B4-BE49-F238E27FC236}">
                <a16:creationId xmlns:a16="http://schemas.microsoft.com/office/drawing/2014/main" id="{4D856913-3ED2-4B28-8842-FC075714326F}"/>
              </a:ext>
            </a:extLst>
          </p:cNvPr>
          <p:cNvSpPr>
            <a:spLocks/>
          </p:cNvSpPr>
          <p:nvPr/>
        </p:nvSpPr>
        <p:spPr>
          <a:xfrm>
            <a:off x="4767361" y="1730749"/>
            <a:ext cx="5650808" cy="233910"/>
          </a:xfrm>
          <a:prstGeom prst="homePlate">
            <a:avLst>
              <a:gd name="adj" fmla="val 0"/>
            </a:avLst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89535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D90000"/>
              </a:buClr>
              <a:buSzPct val="100000"/>
              <a:buFontTx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ee metropolitane</a:t>
            </a:r>
          </a:p>
        </p:txBody>
      </p:sp>
      <p:sp>
        <p:nvSpPr>
          <p:cNvPr id="249" name="Arrow: Pentagon 71">
            <a:extLst>
              <a:ext uri="{FF2B5EF4-FFF2-40B4-BE49-F238E27FC236}">
                <a16:creationId xmlns:a16="http://schemas.microsoft.com/office/drawing/2014/main" id="{4D856913-3ED2-4B28-8842-FC075714326F}"/>
              </a:ext>
            </a:extLst>
          </p:cNvPr>
          <p:cNvSpPr>
            <a:spLocks/>
          </p:cNvSpPr>
          <p:nvPr/>
        </p:nvSpPr>
        <p:spPr>
          <a:xfrm>
            <a:off x="8568963" y="1745448"/>
            <a:ext cx="3205148" cy="233910"/>
          </a:xfrm>
          <a:prstGeom prst="homePlate">
            <a:avLst>
              <a:gd name="adj" fmla="val 0"/>
            </a:avLst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89535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D90000"/>
              </a:buClr>
              <a:buSzPct val="100000"/>
              <a:buFontTx/>
              <a:buNone/>
              <a:tabLst/>
              <a:defRPr/>
            </a:pP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ristiche</a:t>
            </a:r>
          </a:p>
        </p:txBody>
      </p:sp>
      <p:cxnSp>
        <p:nvCxnSpPr>
          <p:cNvPr id="250" name="Straight Connector 73">
            <a:extLst>
              <a:ext uri="{FF2B5EF4-FFF2-40B4-BE49-F238E27FC236}">
                <a16:creationId xmlns:a16="http://schemas.microsoft.com/office/drawing/2014/main" id="{08C5C688-F90D-40BE-A3A6-F8034566A6F4}"/>
              </a:ext>
            </a:extLst>
          </p:cNvPr>
          <p:cNvCxnSpPr>
            <a:cxnSpLocks/>
          </p:cNvCxnSpPr>
          <p:nvPr/>
        </p:nvCxnSpPr>
        <p:spPr>
          <a:xfrm>
            <a:off x="8539467" y="2054710"/>
            <a:ext cx="3168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148" name="Rettangolo 1147"/>
          <p:cNvSpPr/>
          <p:nvPr/>
        </p:nvSpPr>
        <p:spPr>
          <a:xfrm>
            <a:off x="505156" y="2041903"/>
            <a:ext cx="3840939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i interventi consistono nel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ziamento tecnologico ed infrastrutturale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ttraverso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ocizzazione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gli itinerari deviati, realizzazione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ttopassi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movimenti contemporanei nelle sedi di incrocio sul semplice binario, rinnovo del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stema di distanziamento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ealizzazione di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ovi apparati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 circolazione. Il programma prevede anche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'elettrificazione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 alcune tratte a trazione diesel e il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doppio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 alcune tratte a capacità limitata. </a:t>
            </a:r>
          </a:p>
        </p:txBody>
      </p:sp>
      <p:sp>
        <p:nvSpPr>
          <p:cNvPr id="1149" name="Rettangolo 1148"/>
          <p:cNvSpPr/>
          <p:nvPr/>
        </p:nvSpPr>
        <p:spPr>
          <a:xfrm>
            <a:off x="597527" y="3196018"/>
            <a:ext cx="5032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1150" name="Rettangolo 1149"/>
          <p:cNvSpPr/>
          <p:nvPr/>
        </p:nvSpPr>
        <p:spPr>
          <a:xfrm>
            <a:off x="855836" y="3281308"/>
            <a:ext cx="2861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cini regionali</a:t>
            </a:r>
          </a:p>
        </p:txBody>
      </p:sp>
      <p:grpSp>
        <p:nvGrpSpPr>
          <p:cNvPr id="1151" name="Gruppo 1150"/>
          <p:cNvGrpSpPr/>
          <p:nvPr/>
        </p:nvGrpSpPr>
        <p:grpSpPr>
          <a:xfrm>
            <a:off x="1298219" y="4026009"/>
            <a:ext cx="2144844" cy="2254966"/>
            <a:chOff x="3571230" y="713011"/>
            <a:chExt cx="4197350" cy="5310188"/>
          </a:xfrm>
          <a:solidFill>
            <a:schemeClr val="bg1"/>
          </a:solidFill>
        </p:grpSpPr>
        <p:sp>
          <p:nvSpPr>
            <p:cNvPr id="1152" name="Figura a mano libera 1151"/>
            <p:cNvSpPr/>
            <p:nvPr/>
          </p:nvSpPr>
          <p:spPr bwMode="auto">
            <a:xfrm>
              <a:off x="4332221" y="3621511"/>
              <a:ext cx="615950" cy="1195387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3" name="Figura a mano libera 1152"/>
            <p:cNvSpPr/>
            <p:nvPr/>
          </p:nvSpPr>
          <p:spPr bwMode="auto">
            <a:xfrm>
              <a:off x="6689080" y="4243611"/>
              <a:ext cx="601662" cy="1136650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4" name="Figura a mano libera 1153"/>
            <p:cNvSpPr/>
            <p:nvPr/>
          </p:nvSpPr>
          <p:spPr bwMode="auto">
            <a:xfrm>
              <a:off x="5473055" y="5177061"/>
              <a:ext cx="1231900" cy="846138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5" name="Figura a mano libera 1154"/>
            <p:cNvSpPr/>
            <p:nvPr/>
          </p:nvSpPr>
          <p:spPr bwMode="auto">
            <a:xfrm>
              <a:off x="6012805" y="3548286"/>
              <a:ext cx="747712" cy="774700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6" name="Figura a mano libera 1155"/>
            <p:cNvSpPr/>
            <p:nvPr/>
          </p:nvSpPr>
          <p:spPr bwMode="auto">
            <a:xfrm>
              <a:off x="6597005" y="3735611"/>
              <a:ext cx="550862" cy="630238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7" name="Figura a mano libera 1156"/>
            <p:cNvSpPr/>
            <p:nvPr/>
          </p:nvSpPr>
          <p:spPr bwMode="auto">
            <a:xfrm>
              <a:off x="6436667" y="3321274"/>
              <a:ext cx="1331913" cy="1084262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8" name="Figura a mano libera 1157"/>
            <p:cNvSpPr/>
            <p:nvPr/>
          </p:nvSpPr>
          <p:spPr bwMode="auto">
            <a:xfrm>
              <a:off x="6085830" y="3270474"/>
              <a:ext cx="431800" cy="350837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9" name="Figura a mano libera 1158"/>
            <p:cNvSpPr/>
            <p:nvPr/>
          </p:nvSpPr>
          <p:spPr bwMode="auto">
            <a:xfrm>
              <a:off x="5744517" y="2843436"/>
              <a:ext cx="642938" cy="627063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0" name="Figura a mano libera 1159"/>
            <p:cNvSpPr/>
            <p:nvPr/>
          </p:nvSpPr>
          <p:spPr bwMode="auto">
            <a:xfrm>
              <a:off x="5176192" y="2852961"/>
              <a:ext cx="933450" cy="844550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1" name="Figura a mano libera 1160"/>
            <p:cNvSpPr/>
            <p:nvPr/>
          </p:nvSpPr>
          <p:spPr bwMode="auto">
            <a:xfrm>
              <a:off x="5357167" y="2460849"/>
              <a:ext cx="488950" cy="650875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2" name="Figura a mano libera 1161"/>
            <p:cNvSpPr/>
            <p:nvPr/>
          </p:nvSpPr>
          <p:spPr bwMode="auto">
            <a:xfrm>
              <a:off x="5430192" y="2294161"/>
              <a:ext cx="638175" cy="655638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3" name="Figura a mano libera 1162"/>
            <p:cNvSpPr/>
            <p:nvPr/>
          </p:nvSpPr>
          <p:spPr bwMode="auto">
            <a:xfrm>
              <a:off x="4607867" y="1995711"/>
              <a:ext cx="931863" cy="1089025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4" name="Figura a mano libera 1163"/>
            <p:cNvSpPr/>
            <p:nvPr/>
          </p:nvSpPr>
          <p:spPr bwMode="auto">
            <a:xfrm>
              <a:off x="3822055" y="1875061"/>
              <a:ext cx="877887" cy="420688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5" name="Figura a mano libera 1164"/>
            <p:cNvSpPr/>
            <p:nvPr/>
          </p:nvSpPr>
          <p:spPr bwMode="auto">
            <a:xfrm>
              <a:off x="4436417" y="1668686"/>
              <a:ext cx="1252538" cy="730250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6" name="Figura a mano libera 1165"/>
            <p:cNvSpPr/>
            <p:nvPr/>
          </p:nvSpPr>
          <p:spPr bwMode="auto">
            <a:xfrm>
              <a:off x="3660130" y="1176561"/>
              <a:ext cx="384175" cy="25717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7" name="Figura a mano libera 1166"/>
            <p:cNvSpPr/>
            <p:nvPr/>
          </p:nvSpPr>
          <p:spPr bwMode="auto">
            <a:xfrm>
              <a:off x="3571230" y="962249"/>
              <a:ext cx="895350" cy="1181100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8" name="Figura a mano libera 1167"/>
            <p:cNvSpPr/>
            <p:nvPr/>
          </p:nvSpPr>
          <p:spPr bwMode="auto">
            <a:xfrm>
              <a:off x="4222105" y="917799"/>
              <a:ext cx="984250" cy="96202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9" name="Figura a mano libera 1168"/>
            <p:cNvSpPr/>
            <p:nvPr/>
          </p:nvSpPr>
          <p:spPr bwMode="auto">
            <a:xfrm>
              <a:off x="4906317" y="713011"/>
              <a:ext cx="698500" cy="690563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0" name="Figura a mano libera 1169"/>
            <p:cNvSpPr/>
            <p:nvPr/>
          </p:nvSpPr>
          <p:spPr bwMode="auto">
            <a:xfrm>
              <a:off x="5549255" y="940024"/>
              <a:ext cx="541337" cy="550862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1" name="Figura a mano libera 1170"/>
            <p:cNvSpPr/>
            <p:nvPr/>
          </p:nvSpPr>
          <p:spPr bwMode="auto">
            <a:xfrm>
              <a:off x="4961880" y="924149"/>
              <a:ext cx="831850" cy="955675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72" name="Rettangolo 1171"/>
          <p:cNvSpPr/>
          <p:nvPr/>
        </p:nvSpPr>
        <p:spPr>
          <a:xfrm>
            <a:off x="312854" y="3870574"/>
            <a:ext cx="2861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d Ovest</a:t>
            </a:r>
          </a:p>
        </p:txBody>
      </p:sp>
      <p:sp>
        <p:nvSpPr>
          <p:cNvPr id="1173" name="Rettangolo 1172"/>
          <p:cNvSpPr/>
          <p:nvPr/>
        </p:nvSpPr>
        <p:spPr>
          <a:xfrm>
            <a:off x="2409806" y="4299358"/>
            <a:ext cx="2861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d Est</a:t>
            </a:r>
          </a:p>
        </p:txBody>
      </p:sp>
      <p:sp>
        <p:nvSpPr>
          <p:cNvPr id="1174" name="Rettangolo 1173"/>
          <p:cNvSpPr/>
          <p:nvPr/>
        </p:nvSpPr>
        <p:spPr>
          <a:xfrm>
            <a:off x="1219137" y="4939383"/>
            <a:ext cx="2861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o</a:t>
            </a:r>
          </a:p>
        </p:txBody>
      </p:sp>
      <p:sp>
        <p:nvSpPr>
          <p:cNvPr id="1175" name="Rettangolo 1174"/>
          <p:cNvSpPr/>
          <p:nvPr/>
        </p:nvSpPr>
        <p:spPr>
          <a:xfrm>
            <a:off x="3204442" y="5720036"/>
            <a:ext cx="13258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d</a:t>
            </a:r>
          </a:p>
        </p:txBody>
      </p:sp>
      <p:cxnSp>
        <p:nvCxnSpPr>
          <p:cNvPr id="1179" name="Straight Connector 73">
            <a:extLst>
              <a:ext uri="{FF2B5EF4-FFF2-40B4-BE49-F238E27FC236}">
                <a16:creationId xmlns:a16="http://schemas.microsoft.com/office/drawing/2014/main" id="{08C5C688-F90D-40BE-A3A6-F8034566A6F4}"/>
              </a:ext>
            </a:extLst>
          </p:cNvPr>
          <p:cNvCxnSpPr>
            <a:cxnSpLocks/>
          </p:cNvCxnSpPr>
          <p:nvPr/>
        </p:nvCxnSpPr>
        <p:spPr>
          <a:xfrm>
            <a:off x="4759467" y="2035270"/>
            <a:ext cx="3204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181" name="Rettangolo 1180"/>
          <p:cNvSpPr/>
          <p:nvPr/>
        </p:nvSpPr>
        <p:spPr>
          <a:xfrm>
            <a:off x="5063268" y="3185268"/>
            <a:ext cx="7105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</a:t>
            </a:r>
          </a:p>
        </p:txBody>
      </p:sp>
      <p:sp>
        <p:nvSpPr>
          <p:cNvPr id="1182" name="Rettangolo 1181"/>
          <p:cNvSpPr/>
          <p:nvPr/>
        </p:nvSpPr>
        <p:spPr>
          <a:xfrm>
            <a:off x="5528903" y="3270558"/>
            <a:ext cx="2861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ee metropolitane</a:t>
            </a:r>
          </a:p>
        </p:txBody>
      </p:sp>
      <p:grpSp>
        <p:nvGrpSpPr>
          <p:cNvPr id="1284" name="Gruppo 1283"/>
          <p:cNvGrpSpPr/>
          <p:nvPr/>
        </p:nvGrpSpPr>
        <p:grpSpPr>
          <a:xfrm>
            <a:off x="5322927" y="3853758"/>
            <a:ext cx="2422641" cy="2516746"/>
            <a:chOff x="3571230" y="713011"/>
            <a:chExt cx="4197350" cy="5310188"/>
          </a:xfrm>
          <a:solidFill>
            <a:schemeClr val="bg1"/>
          </a:solidFill>
        </p:grpSpPr>
        <p:sp>
          <p:nvSpPr>
            <p:cNvPr id="1285" name="Figura a mano libera 1284"/>
            <p:cNvSpPr/>
            <p:nvPr/>
          </p:nvSpPr>
          <p:spPr bwMode="auto">
            <a:xfrm>
              <a:off x="4332221" y="3621511"/>
              <a:ext cx="615950" cy="1195387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6" name="Figura a mano libera 1285"/>
            <p:cNvSpPr/>
            <p:nvPr/>
          </p:nvSpPr>
          <p:spPr bwMode="auto">
            <a:xfrm>
              <a:off x="6689080" y="4243611"/>
              <a:ext cx="601662" cy="1136650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7" name="Figura a mano libera 1286"/>
            <p:cNvSpPr/>
            <p:nvPr/>
          </p:nvSpPr>
          <p:spPr bwMode="auto">
            <a:xfrm>
              <a:off x="5473055" y="5177061"/>
              <a:ext cx="1231900" cy="846138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8" name="Figura a mano libera 1287"/>
            <p:cNvSpPr/>
            <p:nvPr/>
          </p:nvSpPr>
          <p:spPr bwMode="auto">
            <a:xfrm>
              <a:off x="6012805" y="3548286"/>
              <a:ext cx="747712" cy="774700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9" name="Figura a mano libera 1288"/>
            <p:cNvSpPr/>
            <p:nvPr/>
          </p:nvSpPr>
          <p:spPr bwMode="auto">
            <a:xfrm>
              <a:off x="6597005" y="3735611"/>
              <a:ext cx="550862" cy="630238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0" name="Figura a mano libera 1289"/>
            <p:cNvSpPr/>
            <p:nvPr/>
          </p:nvSpPr>
          <p:spPr bwMode="auto">
            <a:xfrm>
              <a:off x="6436667" y="3321274"/>
              <a:ext cx="1331913" cy="1084262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1" name="Figura a mano libera 1290"/>
            <p:cNvSpPr/>
            <p:nvPr/>
          </p:nvSpPr>
          <p:spPr bwMode="auto">
            <a:xfrm>
              <a:off x="6085830" y="3270474"/>
              <a:ext cx="431800" cy="350837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2" name="Figura a mano libera 1291"/>
            <p:cNvSpPr/>
            <p:nvPr/>
          </p:nvSpPr>
          <p:spPr bwMode="auto">
            <a:xfrm>
              <a:off x="5744517" y="2843436"/>
              <a:ext cx="642938" cy="627063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3" name="Figura a mano libera 1292"/>
            <p:cNvSpPr/>
            <p:nvPr/>
          </p:nvSpPr>
          <p:spPr bwMode="auto">
            <a:xfrm>
              <a:off x="5176192" y="2852961"/>
              <a:ext cx="933450" cy="844550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4" name="Figura a mano libera 1293"/>
            <p:cNvSpPr/>
            <p:nvPr/>
          </p:nvSpPr>
          <p:spPr bwMode="auto">
            <a:xfrm>
              <a:off x="5357167" y="2460849"/>
              <a:ext cx="488950" cy="650875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5" name="Figura a mano libera 1294"/>
            <p:cNvSpPr/>
            <p:nvPr/>
          </p:nvSpPr>
          <p:spPr bwMode="auto">
            <a:xfrm>
              <a:off x="5430192" y="2294161"/>
              <a:ext cx="638175" cy="655638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6" name="Figura a mano libera 1295"/>
            <p:cNvSpPr/>
            <p:nvPr/>
          </p:nvSpPr>
          <p:spPr bwMode="auto">
            <a:xfrm>
              <a:off x="4607867" y="1995711"/>
              <a:ext cx="931863" cy="1089025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7" name="Figura a mano libera 1296"/>
            <p:cNvSpPr/>
            <p:nvPr/>
          </p:nvSpPr>
          <p:spPr bwMode="auto">
            <a:xfrm>
              <a:off x="3822055" y="1875061"/>
              <a:ext cx="877887" cy="420688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8" name="Figura a mano libera 1297"/>
            <p:cNvSpPr/>
            <p:nvPr/>
          </p:nvSpPr>
          <p:spPr bwMode="auto">
            <a:xfrm>
              <a:off x="4436417" y="1668686"/>
              <a:ext cx="1252538" cy="730250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9" name="Figura a mano libera 1298"/>
            <p:cNvSpPr/>
            <p:nvPr/>
          </p:nvSpPr>
          <p:spPr bwMode="auto">
            <a:xfrm>
              <a:off x="3660130" y="1176561"/>
              <a:ext cx="384175" cy="25717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0" name="Figura a mano libera 1299"/>
            <p:cNvSpPr/>
            <p:nvPr/>
          </p:nvSpPr>
          <p:spPr bwMode="auto">
            <a:xfrm>
              <a:off x="3571230" y="962249"/>
              <a:ext cx="895350" cy="1181100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1" name="Figura a mano libera 1300"/>
            <p:cNvSpPr/>
            <p:nvPr/>
          </p:nvSpPr>
          <p:spPr bwMode="auto">
            <a:xfrm>
              <a:off x="4222105" y="917799"/>
              <a:ext cx="984250" cy="96202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2" name="Figura a mano libera 1301"/>
            <p:cNvSpPr/>
            <p:nvPr/>
          </p:nvSpPr>
          <p:spPr bwMode="auto">
            <a:xfrm>
              <a:off x="4906317" y="713011"/>
              <a:ext cx="698500" cy="690563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3" name="Figura a mano libera 1302"/>
            <p:cNvSpPr/>
            <p:nvPr/>
          </p:nvSpPr>
          <p:spPr bwMode="auto">
            <a:xfrm>
              <a:off x="5549255" y="940024"/>
              <a:ext cx="541337" cy="550862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4" name="Figura a mano libera 1303"/>
            <p:cNvSpPr/>
            <p:nvPr/>
          </p:nvSpPr>
          <p:spPr bwMode="auto">
            <a:xfrm>
              <a:off x="4961880" y="924149"/>
              <a:ext cx="831850" cy="955675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05" name="Ovale 1304"/>
          <p:cNvSpPr/>
          <p:nvPr/>
        </p:nvSpPr>
        <p:spPr>
          <a:xfrm>
            <a:off x="5880205" y="4119546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06" name="Ovale 1305"/>
          <p:cNvSpPr/>
          <p:nvPr/>
        </p:nvSpPr>
        <p:spPr>
          <a:xfrm>
            <a:off x="5440413" y="4246924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07" name="Ovale 1306"/>
          <p:cNvSpPr/>
          <p:nvPr/>
        </p:nvSpPr>
        <p:spPr>
          <a:xfrm>
            <a:off x="5645208" y="4417851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08" name="Ovale 1307"/>
          <p:cNvSpPr/>
          <p:nvPr/>
        </p:nvSpPr>
        <p:spPr>
          <a:xfrm>
            <a:off x="6158089" y="4369771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09" name="Ovale 1308"/>
          <p:cNvSpPr/>
          <p:nvPr/>
        </p:nvSpPr>
        <p:spPr>
          <a:xfrm>
            <a:off x="6299831" y="4162607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0" name="Ovale 1309"/>
          <p:cNvSpPr/>
          <p:nvPr/>
        </p:nvSpPr>
        <p:spPr>
          <a:xfrm>
            <a:off x="6033481" y="4646063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2" name="Ovale 1311"/>
          <p:cNvSpPr/>
          <p:nvPr/>
        </p:nvSpPr>
        <p:spPr>
          <a:xfrm>
            <a:off x="6390000" y="5090009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3" name="Ovale 1312"/>
          <p:cNvSpPr/>
          <p:nvPr/>
        </p:nvSpPr>
        <p:spPr>
          <a:xfrm>
            <a:off x="7115317" y="5142220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4" name="Ovale 1313"/>
          <p:cNvSpPr/>
          <p:nvPr/>
        </p:nvSpPr>
        <p:spPr>
          <a:xfrm>
            <a:off x="6828643" y="5318632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5" name="Ovale 1314"/>
          <p:cNvSpPr/>
          <p:nvPr/>
        </p:nvSpPr>
        <p:spPr>
          <a:xfrm>
            <a:off x="5925186" y="5514125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6" name="Ovale 1315"/>
          <p:cNvSpPr/>
          <p:nvPr/>
        </p:nvSpPr>
        <p:spPr>
          <a:xfrm>
            <a:off x="7113954" y="5889232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7" name="Ovale 1316"/>
          <p:cNvSpPr/>
          <p:nvPr/>
        </p:nvSpPr>
        <p:spPr>
          <a:xfrm>
            <a:off x="6956080" y="5980478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8" name="Ovale 1317"/>
          <p:cNvSpPr/>
          <p:nvPr/>
        </p:nvSpPr>
        <p:spPr>
          <a:xfrm>
            <a:off x="6911535" y="6177021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9" name="Ovale 1318"/>
          <p:cNvSpPr/>
          <p:nvPr/>
        </p:nvSpPr>
        <p:spPr>
          <a:xfrm>
            <a:off x="6474662" y="5952787"/>
            <a:ext cx="151200" cy="15172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20" name="Rettangolo 1319"/>
          <p:cNvSpPr/>
          <p:nvPr/>
        </p:nvSpPr>
        <p:spPr>
          <a:xfrm>
            <a:off x="4644577" y="4383493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rino</a:t>
            </a:r>
          </a:p>
        </p:txBody>
      </p:sp>
      <p:sp>
        <p:nvSpPr>
          <p:cNvPr id="1321" name="Rettangolo 1320"/>
          <p:cNvSpPr/>
          <p:nvPr/>
        </p:nvSpPr>
        <p:spPr>
          <a:xfrm>
            <a:off x="5196616" y="4551439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ova</a:t>
            </a:r>
          </a:p>
        </p:txBody>
      </p:sp>
      <p:sp>
        <p:nvSpPr>
          <p:cNvPr id="1322" name="Rettangolo 1321"/>
          <p:cNvSpPr/>
          <p:nvPr/>
        </p:nvSpPr>
        <p:spPr>
          <a:xfrm>
            <a:off x="5268504" y="4702401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renze</a:t>
            </a:r>
          </a:p>
        </p:txBody>
      </p:sp>
      <p:sp>
        <p:nvSpPr>
          <p:cNvPr id="1323" name="Rettangolo 1322"/>
          <p:cNvSpPr/>
          <p:nvPr/>
        </p:nvSpPr>
        <p:spPr>
          <a:xfrm>
            <a:off x="6031783" y="4387692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logna</a:t>
            </a:r>
          </a:p>
        </p:txBody>
      </p:sp>
      <p:sp>
        <p:nvSpPr>
          <p:cNvPr id="1324" name="Rettangolo 1323"/>
          <p:cNvSpPr/>
          <p:nvPr/>
        </p:nvSpPr>
        <p:spPr>
          <a:xfrm>
            <a:off x="5570360" y="5035670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ma</a:t>
            </a:r>
          </a:p>
        </p:txBody>
      </p:sp>
      <p:sp>
        <p:nvSpPr>
          <p:cNvPr id="1325" name="Rettangolo 1324"/>
          <p:cNvSpPr/>
          <p:nvPr/>
        </p:nvSpPr>
        <p:spPr>
          <a:xfrm>
            <a:off x="6886025" y="5050639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i</a:t>
            </a:r>
          </a:p>
        </p:txBody>
      </p:sp>
      <p:sp>
        <p:nvSpPr>
          <p:cNvPr id="1326" name="Rettangolo 1325"/>
          <p:cNvSpPr/>
          <p:nvPr/>
        </p:nvSpPr>
        <p:spPr>
          <a:xfrm>
            <a:off x="6272978" y="5457730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poli</a:t>
            </a:r>
          </a:p>
        </p:txBody>
      </p:sp>
      <p:sp>
        <p:nvSpPr>
          <p:cNvPr id="1327" name="Rettangolo 1326"/>
          <p:cNvSpPr/>
          <p:nvPr/>
        </p:nvSpPr>
        <p:spPr>
          <a:xfrm>
            <a:off x="5102862" y="5467072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gliari</a:t>
            </a:r>
          </a:p>
        </p:txBody>
      </p:sp>
      <p:sp>
        <p:nvSpPr>
          <p:cNvPr id="1328" name="Rettangolo 1327"/>
          <p:cNvSpPr/>
          <p:nvPr/>
        </p:nvSpPr>
        <p:spPr>
          <a:xfrm>
            <a:off x="5690956" y="6023231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ermo</a:t>
            </a:r>
          </a:p>
        </p:txBody>
      </p:sp>
      <p:sp>
        <p:nvSpPr>
          <p:cNvPr id="1329" name="Rettangolo 1328"/>
          <p:cNvSpPr/>
          <p:nvPr/>
        </p:nvSpPr>
        <p:spPr>
          <a:xfrm>
            <a:off x="6764799" y="6197130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tania</a:t>
            </a:r>
          </a:p>
        </p:txBody>
      </p:sp>
      <p:sp>
        <p:nvSpPr>
          <p:cNvPr id="1330" name="Rettangolo 1329"/>
          <p:cNvSpPr/>
          <p:nvPr/>
        </p:nvSpPr>
        <p:spPr>
          <a:xfrm>
            <a:off x="7036226" y="5968595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gio C.</a:t>
            </a:r>
          </a:p>
        </p:txBody>
      </p:sp>
      <p:sp>
        <p:nvSpPr>
          <p:cNvPr id="1331" name="Rettangolo 1330"/>
          <p:cNvSpPr/>
          <p:nvPr/>
        </p:nvSpPr>
        <p:spPr>
          <a:xfrm>
            <a:off x="5451468" y="3930775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ano</a:t>
            </a:r>
          </a:p>
        </p:txBody>
      </p:sp>
      <p:sp>
        <p:nvSpPr>
          <p:cNvPr id="1332" name="Rettangolo 1331"/>
          <p:cNvSpPr/>
          <p:nvPr/>
        </p:nvSpPr>
        <p:spPr>
          <a:xfrm>
            <a:off x="6202948" y="4149385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nezia</a:t>
            </a:r>
          </a:p>
        </p:txBody>
      </p:sp>
      <p:sp>
        <p:nvSpPr>
          <p:cNvPr id="1333" name="Rettangolo 1332"/>
          <p:cNvSpPr/>
          <p:nvPr/>
        </p:nvSpPr>
        <p:spPr>
          <a:xfrm>
            <a:off x="6266694" y="5755550"/>
            <a:ext cx="1077442" cy="167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ina</a:t>
            </a:r>
          </a:p>
        </p:txBody>
      </p:sp>
      <p:sp>
        <p:nvSpPr>
          <p:cNvPr id="1334" name="Rettangolo 1333"/>
          <p:cNvSpPr/>
          <p:nvPr/>
        </p:nvSpPr>
        <p:spPr>
          <a:xfrm>
            <a:off x="4716661" y="2028048"/>
            <a:ext cx="3497877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 programma mira a creare i presupposti infrastrutturali per servizi di 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ea locale 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 rete ferroviaria con caratteristiche 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 frequenza, velocità, capacità di trasporto e affidabilità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ssimilabili alle 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i metropolitane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ttraverso: l’organizzazione dei servizi per relazioni, servizi ad elevata frequenza e potenziamento dell’interscambio modale (nuove fermate metropolitane).</a:t>
            </a:r>
          </a:p>
        </p:txBody>
      </p:sp>
      <p:cxnSp>
        <p:nvCxnSpPr>
          <p:cNvPr id="8" name="Straight Connector 142">
            <a:extLst>
              <a:ext uri="{FF2B5EF4-FFF2-40B4-BE49-F238E27FC236}">
                <a16:creationId xmlns:a16="http://schemas.microsoft.com/office/drawing/2014/main" id="{78D4AD48-6D44-4AFA-881A-FE028EB54E02}"/>
              </a:ext>
            </a:extLst>
          </p:cNvPr>
          <p:cNvCxnSpPr>
            <a:cxnSpLocks/>
          </p:cNvCxnSpPr>
          <p:nvPr/>
        </p:nvCxnSpPr>
        <p:spPr>
          <a:xfrm flipH="1">
            <a:off x="449442" y="6614986"/>
            <a:ext cx="11268000" cy="0"/>
          </a:xfrm>
          <a:prstGeom prst="line">
            <a:avLst/>
          </a:prstGeom>
          <a:noFill/>
          <a:ln w="9525" cap="flat" cmpd="sng" algn="ctr">
            <a:solidFill>
              <a:srgbClr val="7F7F7F">
                <a:lumMod val="20000"/>
                <a:lumOff val="80000"/>
              </a:srgbClr>
            </a:solidFill>
            <a:prstDash val="solid"/>
          </a:ln>
          <a:effectLst/>
        </p:spPr>
      </p:cxnSp>
      <p:sp>
        <p:nvSpPr>
          <p:cNvPr id="13" name="Rettangolo 12">
            <a:extLst>
              <a:ext uri="{FF2B5EF4-FFF2-40B4-BE49-F238E27FC236}">
                <a16:creationId xmlns:a16="http://schemas.microsoft.com/office/drawing/2014/main" id="{BF4F781D-9885-4864-AD2C-BCF5E90E7B70}"/>
              </a:ext>
            </a:extLst>
          </p:cNvPr>
          <p:cNvSpPr/>
          <p:nvPr/>
        </p:nvSpPr>
        <p:spPr>
          <a:xfrm>
            <a:off x="8969626" y="4913876"/>
            <a:ext cx="572951" cy="2830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4E25FB34-730B-4C28-B5E6-3221DEB7923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47868"/>
          <a:stretch/>
        </p:blipFill>
        <p:spPr>
          <a:xfrm>
            <a:off x="8568022" y="2072604"/>
            <a:ext cx="2124148" cy="1315816"/>
          </a:xfrm>
          <a:prstGeom prst="rect">
            <a:avLst/>
          </a:prstGeom>
        </p:spPr>
      </p:pic>
      <p:pic>
        <p:nvPicPr>
          <p:cNvPr id="213" name="Immagine 212">
            <a:extLst>
              <a:ext uri="{FF2B5EF4-FFF2-40B4-BE49-F238E27FC236}">
                <a16:creationId xmlns:a16="http://schemas.microsoft.com/office/drawing/2014/main" id="{31373DFF-0E68-4A50-AC49-56226CDB310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2329"/>
          <a:stretch/>
        </p:blipFill>
        <p:spPr>
          <a:xfrm>
            <a:off x="10188468" y="2095058"/>
            <a:ext cx="1889105" cy="1242390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1C383B12-B888-4A7E-9C86-CD6467397F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77074" y="3936532"/>
            <a:ext cx="893198" cy="485047"/>
          </a:xfrm>
          <a:prstGeom prst="rect">
            <a:avLst/>
          </a:prstGeom>
        </p:spPr>
      </p:pic>
      <p:grpSp>
        <p:nvGrpSpPr>
          <p:cNvPr id="24" name="Gruppo 23">
            <a:extLst>
              <a:ext uri="{FF2B5EF4-FFF2-40B4-BE49-F238E27FC236}">
                <a16:creationId xmlns:a16="http://schemas.microsoft.com/office/drawing/2014/main" id="{3BBBE76F-8381-4F49-BC89-C7F59490818C}"/>
              </a:ext>
            </a:extLst>
          </p:cNvPr>
          <p:cNvGrpSpPr/>
          <p:nvPr/>
        </p:nvGrpSpPr>
        <p:grpSpPr>
          <a:xfrm>
            <a:off x="8874764" y="3434889"/>
            <a:ext cx="2636130" cy="2823503"/>
            <a:chOff x="8874764" y="3607609"/>
            <a:chExt cx="2636130" cy="2823503"/>
          </a:xfrm>
        </p:grpSpPr>
        <p:pic>
          <p:nvPicPr>
            <p:cNvPr id="112" name="Immagine 111">
              <a:extLst>
                <a:ext uri="{FF2B5EF4-FFF2-40B4-BE49-F238E27FC236}">
                  <a16:creationId xmlns:a16="http://schemas.microsoft.com/office/drawing/2014/main" id="{923D4E8D-B7DE-4838-B498-1E7602AE5E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874764" y="3607609"/>
              <a:ext cx="2636130" cy="2823503"/>
            </a:xfrm>
            <a:prstGeom prst="rect">
              <a:avLst/>
            </a:prstGeom>
          </p:spPr>
        </p:pic>
        <p:sp>
          <p:nvSpPr>
            <p:cNvPr id="23" name="Rettangolo 22">
              <a:extLst>
                <a:ext uri="{FF2B5EF4-FFF2-40B4-BE49-F238E27FC236}">
                  <a16:creationId xmlns:a16="http://schemas.microsoft.com/office/drawing/2014/main" id="{568E0EB0-CDB9-4A86-94AE-CBD5FBFB7E73}"/>
                </a:ext>
              </a:extLst>
            </p:cNvPr>
            <p:cNvSpPr/>
            <p:nvPr/>
          </p:nvSpPr>
          <p:spPr>
            <a:xfrm>
              <a:off x="8981284" y="4741935"/>
              <a:ext cx="529063" cy="4002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217" name="Rettangolo 216">
            <a:extLst>
              <a:ext uri="{FF2B5EF4-FFF2-40B4-BE49-F238E27FC236}">
                <a16:creationId xmlns:a16="http://schemas.microsoft.com/office/drawing/2014/main" id="{185B16D3-1553-4DEE-9222-0F845F8E4E1B}"/>
              </a:ext>
            </a:extLst>
          </p:cNvPr>
          <p:cNvSpPr/>
          <p:nvPr/>
        </p:nvSpPr>
        <p:spPr>
          <a:xfrm>
            <a:off x="8490894" y="6302208"/>
            <a:ext cx="31793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*Linee escluse dal perimetro di intervento a seguito dell’emissione del Decreto Interministeriale n. 146/2022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Rettangolo 218">
            <a:extLst>
              <a:ext uri="{FF2B5EF4-FFF2-40B4-BE49-F238E27FC236}">
                <a16:creationId xmlns:a16="http://schemas.microsoft.com/office/drawing/2014/main" id="{32EC2AC6-F499-4DBF-940A-460A1D5557E4}"/>
              </a:ext>
            </a:extLst>
          </p:cNvPr>
          <p:cNvSpPr/>
          <p:nvPr/>
        </p:nvSpPr>
        <p:spPr>
          <a:xfrm>
            <a:off x="9860315" y="3239780"/>
            <a:ext cx="21132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*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Rettangolo 219">
            <a:extLst>
              <a:ext uri="{FF2B5EF4-FFF2-40B4-BE49-F238E27FC236}">
                <a16:creationId xmlns:a16="http://schemas.microsoft.com/office/drawing/2014/main" id="{0075AC00-3EF6-494A-9914-C264F1878D73}"/>
              </a:ext>
            </a:extLst>
          </p:cNvPr>
          <p:cNvSpPr/>
          <p:nvPr/>
        </p:nvSpPr>
        <p:spPr>
          <a:xfrm>
            <a:off x="11070325" y="3132058"/>
            <a:ext cx="21132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*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Rettangolo 220">
            <a:extLst>
              <a:ext uri="{FF2B5EF4-FFF2-40B4-BE49-F238E27FC236}">
                <a16:creationId xmlns:a16="http://schemas.microsoft.com/office/drawing/2014/main" id="{F6079769-66A0-4ADF-A82B-54EACB4840E4}"/>
              </a:ext>
            </a:extLst>
          </p:cNvPr>
          <p:cNvSpPr/>
          <p:nvPr/>
        </p:nvSpPr>
        <p:spPr>
          <a:xfrm>
            <a:off x="11420287" y="2272886"/>
            <a:ext cx="21132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*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Rettangolo 221">
            <a:extLst>
              <a:ext uri="{FF2B5EF4-FFF2-40B4-BE49-F238E27FC236}">
                <a16:creationId xmlns:a16="http://schemas.microsoft.com/office/drawing/2014/main" id="{13350CC1-C3DA-4103-B928-DFC34F847725}"/>
              </a:ext>
            </a:extLst>
          </p:cNvPr>
          <p:cNvSpPr/>
          <p:nvPr/>
        </p:nvSpPr>
        <p:spPr>
          <a:xfrm>
            <a:off x="10964414" y="2166514"/>
            <a:ext cx="21132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*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16703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5F04552-ECD8-4E35-AA6F-2D58141A5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Upgrade e sviluppo infrastrutturale dei corridoi merci</a:t>
            </a:r>
          </a:p>
        </p:txBody>
      </p:sp>
      <p:sp>
        <p:nvSpPr>
          <p:cNvPr id="11" name="Segnaposto contenuto 10">
            <a:extLst>
              <a:ext uri="{FF2B5EF4-FFF2-40B4-BE49-F238E27FC236}">
                <a16:creationId xmlns:a16="http://schemas.microsoft.com/office/drawing/2014/main" id="{711FDE8C-AF9B-47AD-BD59-D65AB27F1C21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/>
              <a:t>Piani di adeguamento a sagoma, modulo e peso assiale</a:t>
            </a:r>
          </a:p>
        </p:txBody>
      </p:sp>
      <p:sp>
        <p:nvSpPr>
          <p:cNvPr id="12" name="object 20">
            <a:extLst>
              <a:ext uri="{FF2B5EF4-FFF2-40B4-BE49-F238E27FC236}">
                <a16:creationId xmlns:a16="http://schemas.microsoft.com/office/drawing/2014/main" id="{DAF36F3D-4B98-4604-8739-83A9FC5F3C40}"/>
              </a:ext>
            </a:extLst>
          </p:cNvPr>
          <p:cNvSpPr txBox="1">
            <a:spLocks/>
          </p:cNvSpPr>
          <p:nvPr/>
        </p:nvSpPr>
        <p:spPr bwMode="gray">
          <a:xfrm>
            <a:off x="508968" y="1336515"/>
            <a:ext cx="2452692" cy="289817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4" marR="0" lvl="0" indent="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35502" algn="l"/>
              </a:tabLst>
              <a:defRPr/>
            </a:pPr>
            <a:r>
              <a:rPr kumimoji="0" lang="it-IT" b="1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Adeguamento a SAGOMA</a:t>
            </a:r>
          </a:p>
        </p:txBody>
      </p:sp>
      <p:cxnSp>
        <p:nvCxnSpPr>
          <p:cNvPr id="13" name="Straight Connector 9">
            <a:extLst>
              <a:ext uri="{FF2B5EF4-FFF2-40B4-BE49-F238E27FC236}">
                <a16:creationId xmlns:a16="http://schemas.microsoft.com/office/drawing/2014/main" id="{76BD2D5A-842C-4907-BC88-D633A8EB76E1}"/>
              </a:ext>
            </a:extLst>
          </p:cNvPr>
          <p:cNvCxnSpPr>
            <a:cxnSpLocks/>
          </p:cNvCxnSpPr>
          <p:nvPr/>
        </p:nvCxnSpPr>
        <p:spPr bwMode="gray">
          <a:xfrm>
            <a:off x="407368" y="1657421"/>
            <a:ext cx="360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pic>
        <p:nvPicPr>
          <p:cNvPr id="14" name="Immagine 13">
            <a:extLst>
              <a:ext uri="{FF2B5EF4-FFF2-40B4-BE49-F238E27FC236}">
                <a16:creationId xmlns:a16="http://schemas.microsoft.com/office/drawing/2014/main" id="{90D3E6C6-B768-4CF4-A2DE-099BC318091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1961672"/>
            <a:ext cx="2576084" cy="2641635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33F3C849-DB42-4787-B32D-97BF2007B6F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50945" y="1946163"/>
            <a:ext cx="1440000" cy="461739"/>
          </a:xfrm>
          <a:prstGeom prst="rect">
            <a:avLst/>
          </a:prstGeom>
        </p:spPr>
      </p:pic>
      <p:sp>
        <p:nvSpPr>
          <p:cNvPr id="18" name="object 20">
            <a:extLst>
              <a:ext uri="{FF2B5EF4-FFF2-40B4-BE49-F238E27FC236}">
                <a16:creationId xmlns:a16="http://schemas.microsoft.com/office/drawing/2014/main" id="{EA684061-4ED7-4EA5-AF92-0A0C3AA81473}"/>
              </a:ext>
            </a:extLst>
          </p:cNvPr>
          <p:cNvSpPr txBox="1">
            <a:spLocks/>
          </p:cNvSpPr>
          <p:nvPr/>
        </p:nvSpPr>
        <p:spPr bwMode="gray">
          <a:xfrm>
            <a:off x="4284310" y="1336515"/>
            <a:ext cx="2452692" cy="289817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4" marR="0" lvl="0" indent="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35502" algn="l"/>
              </a:tabLst>
              <a:defRPr/>
            </a:pPr>
            <a:r>
              <a:rPr kumimoji="0" lang="it-IT" b="1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Adeguamento a MODULO</a:t>
            </a:r>
          </a:p>
        </p:txBody>
      </p:sp>
      <p:cxnSp>
        <p:nvCxnSpPr>
          <p:cNvPr id="19" name="Straight Connector 9">
            <a:extLst>
              <a:ext uri="{FF2B5EF4-FFF2-40B4-BE49-F238E27FC236}">
                <a16:creationId xmlns:a16="http://schemas.microsoft.com/office/drawing/2014/main" id="{D7C69542-4A6D-45F8-9A07-082BDB099EA9}"/>
              </a:ext>
            </a:extLst>
          </p:cNvPr>
          <p:cNvCxnSpPr>
            <a:cxnSpLocks/>
          </p:cNvCxnSpPr>
          <p:nvPr/>
        </p:nvCxnSpPr>
        <p:spPr bwMode="gray">
          <a:xfrm>
            <a:off x="4182710" y="1657421"/>
            <a:ext cx="360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20" name="object 20">
            <a:extLst>
              <a:ext uri="{FF2B5EF4-FFF2-40B4-BE49-F238E27FC236}">
                <a16:creationId xmlns:a16="http://schemas.microsoft.com/office/drawing/2014/main" id="{C993F93F-4F6A-4ABD-82C5-B35E27DD6A32}"/>
              </a:ext>
            </a:extLst>
          </p:cNvPr>
          <p:cNvSpPr txBox="1">
            <a:spLocks/>
          </p:cNvSpPr>
          <p:nvPr/>
        </p:nvSpPr>
        <p:spPr bwMode="gray">
          <a:xfrm>
            <a:off x="8059652" y="1336515"/>
            <a:ext cx="2880000" cy="289817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4" marR="0" lvl="0" indent="0" algn="ctr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35502" algn="l"/>
              </a:tabLst>
              <a:defRPr/>
            </a:pPr>
            <a:r>
              <a:rPr kumimoji="0" lang="it-IT" b="1" i="0" u="none" strike="noStrike" kern="1200" cap="none" spc="-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Adeguamento a PESO ASSIALE</a:t>
            </a:r>
          </a:p>
        </p:txBody>
      </p:sp>
      <p:cxnSp>
        <p:nvCxnSpPr>
          <p:cNvPr id="21" name="Straight Connector 9">
            <a:extLst>
              <a:ext uri="{FF2B5EF4-FFF2-40B4-BE49-F238E27FC236}">
                <a16:creationId xmlns:a16="http://schemas.microsoft.com/office/drawing/2014/main" id="{7B81A68F-FA9A-42EF-B57A-71EC5A58FF7E}"/>
              </a:ext>
            </a:extLst>
          </p:cNvPr>
          <p:cNvCxnSpPr>
            <a:cxnSpLocks/>
          </p:cNvCxnSpPr>
          <p:nvPr/>
        </p:nvCxnSpPr>
        <p:spPr bwMode="gray">
          <a:xfrm>
            <a:off x="7958052" y="1657421"/>
            <a:ext cx="360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pic>
        <p:nvPicPr>
          <p:cNvPr id="22" name="Immagine 21">
            <a:extLst>
              <a:ext uri="{FF2B5EF4-FFF2-40B4-BE49-F238E27FC236}">
                <a16:creationId xmlns:a16="http://schemas.microsoft.com/office/drawing/2014/main" id="{7EB37155-C59F-44D2-BAFC-C5CBF42C250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2710" y="1961672"/>
            <a:ext cx="2729840" cy="2753397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49F7B349-0162-41C4-BEAE-8D44066EAC2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5935" y="2004928"/>
            <a:ext cx="1440000" cy="459130"/>
          </a:xfrm>
          <a:prstGeom prst="rect">
            <a:avLst/>
          </a:prstGeom>
        </p:spPr>
      </p:pic>
      <p:pic>
        <p:nvPicPr>
          <p:cNvPr id="27" name="Immagine 26">
            <a:extLst>
              <a:ext uri="{FF2B5EF4-FFF2-40B4-BE49-F238E27FC236}">
                <a16:creationId xmlns:a16="http://schemas.microsoft.com/office/drawing/2014/main" id="{73A6C4B5-55F8-4681-974C-1B671E536C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58052" y="1961673"/>
            <a:ext cx="2727287" cy="2795469"/>
          </a:xfrm>
          <a:prstGeom prst="rect">
            <a:avLst/>
          </a:prstGeom>
        </p:spPr>
      </p:pic>
      <p:pic>
        <p:nvPicPr>
          <p:cNvPr id="28" name="Immagine 27">
            <a:extLst>
              <a:ext uri="{FF2B5EF4-FFF2-40B4-BE49-F238E27FC236}">
                <a16:creationId xmlns:a16="http://schemas.microsoft.com/office/drawing/2014/main" id="{1444F98F-8448-4E58-B92D-547C4DB9F17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8178" y="2122051"/>
            <a:ext cx="1440000" cy="461739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42544" y="3935631"/>
            <a:ext cx="1121513" cy="746895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12569" y="3487464"/>
            <a:ext cx="976146" cy="1028910"/>
          </a:xfrm>
          <a:prstGeom prst="rect">
            <a:avLst/>
          </a:prstGeom>
        </p:spPr>
      </p:pic>
      <p:sp>
        <p:nvSpPr>
          <p:cNvPr id="33" name="AutoShape 250">
            <a:extLst>
              <a:ext uri="{FF2B5EF4-FFF2-40B4-BE49-F238E27FC236}">
                <a16:creationId xmlns:a16="http://schemas.microsoft.com/office/drawing/2014/main" id="{B96010A9-3EA5-4E23-8708-84653265DC5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7173" y="4826824"/>
            <a:ext cx="3492000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KPI TRAFFICO MERCI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(% rete attrezzata)</a:t>
            </a:r>
          </a:p>
        </p:txBody>
      </p:sp>
      <p:cxnSp>
        <p:nvCxnSpPr>
          <p:cNvPr id="36" name="Straight Connector 9">
            <a:extLst>
              <a:ext uri="{FF2B5EF4-FFF2-40B4-BE49-F238E27FC236}">
                <a16:creationId xmlns:a16="http://schemas.microsoft.com/office/drawing/2014/main" id="{3CF3A516-091A-4FB7-8B03-3E53471F970E}"/>
              </a:ext>
            </a:extLst>
          </p:cNvPr>
          <p:cNvCxnSpPr>
            <a:cxnSpLocks/>
          </p:cNvCxnSpPr>
          <p:nvPr/>
        </p:nvCxnSpPr>
        <p:spPr bwMode="gray">
          <a:xfrm>
            <a:off x="407368" y="5038204"/>
            <a:ext cx="11196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graphicFrame>
        <p:nvGraphicFramePr>
          <p:cNvPr id="37" name="Grafico 36">
            <a:extLst>
              <a:ext uri="{FF2B5EF4-FFF2-40B4-BE49-F238E27FC236}">
                <a16:creationId xmlns:a16="http://schemas.microsoft.com/office/drawing/2014/main" id="{4975D1FA-C9B5-4CC6-9F95-C4EA4FFD0C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9408973"/>
              </p:ext>
            </p:extLst>
          </p:nvPr>
        </p:nvGraphicFramePr>
        <p:xfrm>
          <a:off x="507173" y="5023618"/>
          <a:ext cx="3472681" cy="11170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8" name="Grafico 37">
            <a:extLst>
              <a:ext uri="{FF2B5EF4-FFF2-40B4-BE49-F238E27FC236}">
                <a16:creationId xmlns:a16="http://schemas.microsoft.com/office/drawing/2014/main" id="{A108E513-5E90-4D43-8BE1-3BAE676C9F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345679"/>
              </p:ext>
            </p:extLst>
          </p:nvPr>
        </p:nvGraphicFramePr>
        <p:xfrm>
          <a:off x="4272711" y="5023453"/>
          <a:ext cx="3474000" cy="111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9" name="Grafico 38">
            <a:extLst>
              <a:ext uri="{FF2B5EF4-FFF2-40B4-BE49-F238E27FC236}">
                <a16:creationId xmlns:a16="http://schemas.microsoft.com/office/drawing/2014/main" id="{D867EBBA-CADB-42F4-947C-46E9346B41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5760939"/>
              </p:ext>
            </p:extLst>
          </p:nvPr>
        </p:nvGraphicFramePr>
        <p:xfrm>
          <a:off x="8100671" y="5023453"/>
          <a:ext cx="3474000" cy="111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40" name="Straight Connector 9">
            <a:extLst>
              <a:ext uri="{FF2B5EF4-FFF2-40B4-BE49-F238E27FC236}">
                <a16:creationId xmlns:a16="http://schemas.microsoft.com/office/drawing/2014/main" id="{C1E046FC-BBCB-4FC9-AF6A-618083B6EE7F}"/>
              </a:ext>
            </a:extLst>
          </p:cNvPr>
          <p:cNvCxnSpPr>
            <a:cxnSpLocks/>
          </p:cNvCxnSpPr>
          <p:nvPr/>
        </p:nvCxnSpPr>
        <p:spPr bwMode="gray">
          <a:xfrm>
            <a:off x="532439" y="5990446"/>
            <a:ext cx="3420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6" name="Rettangolo 5">
            <a:extLst>
              <a:ext uri="{FF2B5EF4-FFF2-40B4-BE49-F238E27FC236}">
                <a16:creationId xmlns:a16="http://schemas.microsoft.com/office/drawing/2014/main" id="{1B5D9492-A8D2-4285-A89E-B50A4F2E7B41}"/>
              </a:ext>
            </a:extLst>
          </p:cNvPr>
          <p:cNvSpPr/>
          <p:nvPr/>
        </p:nvSpPr>
        <p:spPr>
          <a:xfrm>
            <a:off x="369268" y="1257301"/>
            <a:ext cx="3775342" cy="497840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id="{B2B45CAA-2970-4594-A072-E1798DEB6C0C}"/>
              </a:ext>
            </a:extLst>
          </p:cNvPr>
          <p:cNvSpPr/>
          <p:nvPr/>
        </p:nvSpPr>
        <p:spPr>
          <a:xfrm>
            <a:off x="4148549" y="1257300"/>
            <a:ext cx="3775342" cy="497840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Rettangolo 41">
            <a:extLst>
              <a:ext uri="{FF2B5EF4-FFF2-40B4-BE49-F238E27FC236}">
                <a16:creationId xmlns:a16="http://schemas.microsoft.com/office/drawing/2014/main" id="{774FD4EF-CC2B-4FAC-9320-F804E4D2A770}"/>
              </a:ext>
            </a:extLst>
          </p:cNvPr>
          <p:cNvSpPr/>
          <p:nvPr/>
        </p:nvSpPr>
        <p:spPr>
          <a:xfrm>
            <a:off x="7927831" y="1259882"/>
            <a:ext cx="3729363" cy="497840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7" name="Gruppo 6">
            <a:extLst>
              <a:ext uri="{FF2B5EF4-FFF2-40B4-BE49-F238E27FC236}">
                <a16:creationId xmlns:a16="http://schemas.microsoft.com/office/drawing/2014/main" id="{CD66AB7B-3A98-42C2-A962-4B2DC84CF780}"/>
              </a:ext>
            </a:extLst>
          </p:cNvPr>
          <p:cNvGrpSpPr/>
          <p:nvPr/>
        </p:nvGrpSpPr>
        <p:grpSpPr>
          <a:xfrm>
            <a:off x="674124" y="6043513"/>
            <a:ext cx="3114167" cy="187744"/>
            <a:chOff x="674124" y="6058984"/>
            <a:chExt cx="3114167" cy="187744"/>
          </a:xfrm>
        </p:grpSpPr>
        <p:sp>
          <p:nvSpPr>
            <p:cNvPr id="43" name="AutoShape 250">
              <a:extLst>
                <a:ext uri="{FF2B5EF4-FFF2-40B4-BE49-F238E27FC236}">
                  <a16:creationId xmlns:a16="http://schemas.microsoft.com/office/drawing/2014/main" id="{F6B59B86-AB59-45CF-A909-B4495E55E9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74124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22</a:t>
              </a:r>
            </a:p>
          </p:txBody>
        </p:sp>
        <p:sp>
          <p:nvSpPr>
            <p:cNvPr id="44" name="AutoShape 250">
              <a:extLst>
                <a:ext uri="{FF2B5EF4-FFF2-40B4-BE49-F238E27FC236}">
                  <a16:creationId xmlns:a16="http://schemas.microsoft.com/office/drawing/2014/main" id="{36B16B16-54C2-4C5F-91F9-FB324F59837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486605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24</a:t>
              </a:r>
            </a:p>
          </p:txBody>
        </p:sp>
        <p:sp>
          <p:nvSpPr>
            <p:cNvPr id="45" name="AutoShape 250">
              <a:extLst>
                <a:ext uri="{FF2B5EF4-FFF2-40B4-BE49-F238E27FC236}">
                  <a16:creationId xmlns:a16="http://schemas.microsoft.com/office/drawing/2014/main" id="{0F5D62D5-42B7-4EB8-AADD-8541EAE5F3B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99452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27</a:t>
              </a:r>
            </a:p>
          </p:txBody>
        </p:sp>
        <p:sp>
          <p:nvSpPr>
            <p:cNvPr id="46" name="AutoShape 250">
              <a:extLst>
                <a:ext uri="{FF2B5EF4-FFF2-40B4-BE49-F238E27FC236}">
                  <a16:creationId xmlns:a16="http://schemas.microsoft.com/office/drawing/2014/main" id="{662F6CA6-879C-4B7F-BE68-6F835F27A42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04291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30</a:t>
              </a:r>
            </a:p>
          </p:txBody>
        </p:sp>
      </p:grpSp>
      <p:grpSp>
        <p:nvGrpSpPr>
          <p:cNvPr id="53" name="Gruppo 52">
            <a:extLst>
              <a:ext uri="{FF2B5EF4-FFF2-40B4-BE49-F238E27FC236}">
                <a16:creationId xmlns:a16="http://schemas.microsoft.com/office/drawing/2014/main" id="{F8B1FC83-8B2B-4300-A34B-6144F6DDC9DD}"/>
              </a:ext>
            </a:extLst>
          </p:cNvPr>
          <p:cNvGrpSpPr/>
          <p:nvPr/>
        </p:nvGrpSpPr>
        <p:grpSpPr>
          <a:xfrm>
            <a:off x="4482383" y="6043513"/>
            <a:ext cx="3114167" cy="187744"/>
            <a:chOff x="674124" y="6058984"/>
            <a:chExt cx="3114167" cy="187744"/>
          </a:xfrm>
        </p:grpSpPr>
        <p:sp>
          <p:nvSpPr>
            <p:cNvPr id="54" name="AutoShape 250">
              <a:extLst>
                <a:ext uri="{FF2B5EF4-FFF2-40B4-BE49-F238E27FC236}">
                  <a16:creationId xmlns:a16="http://schemas.microsoft.com/office/drawing/2014/main" id="{2F64DA02-534D-465D-8372-BB5BF5D5992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74124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22</a:t>
              </a:r>
            </a:p>
          </p:txBody>
        </p:sp>
        <p:sp>
          <p:nvSpPr>
            <p:cNvPr id="55" name="AutoShape 250">
              <a:extLst>
                <a:ext uri="{FF2B5EF4-FFF2-40B4-BE49-F238E27FC236}">
                  <a16:creationId xmlns:a16="http://schemas.microsoft.com/office/drawing/2014/main" id="{BC013E5A-B9E0-4F2B-B714-903AC6E18C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486605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24</a:t>
              </a:r>
            </a:p>
          </p:txBody>
        </p:sp>
        <p:sp>
          <p:nvSpPr>
            <p:cNvPr id="56" name="AutoShape 250">
              <a:extLst>
                <a:ext uri="{FF2B5EF4-FFF2-40B4-BE49-F238E27FC236}">
                  <a16:creationId xmlns:a16="http://schemas.microsoft.com/office/drawing/2014/main" id="{6055ECD5-6796-47BC-9799-C48506EF4A4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99452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27</a:t>
              </a:r>
            </a:p>
          </p:txBody>
        </p:sp>
        <p:sp>
          <p:nvSpPr>
            <p:cNvPr id="57" name="AutoShape 250">
              <a:extLst>
                <a:ext uri="{FF2B5EF4-FFF2-40B4-BE49-F238E27FC236}">
                  <a16:creationId xmlns:a16="http://schemas.microsoft.com/office/drawing/2014/main" id="{28731314-FE9B-43D7-821B-5B0EB712886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04291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30</a:t>
              </a:r>
            </a:p>
          </p:txBody>
        </p:sp>
      </p:grpSp>
      <p:grpSp>
        <p:nvGrpSpPr>
          <p:cNvPr id="58" name="Gruppo 57">
            <a:extLst>
              <a:ext uri="{FF2B5EF4-FFF2-40B4-BE49-F238E27FC236}">
                <a16:creationId xmlns:a16="http://schemas.microsoft.com/office/drawing/2014/main" id="{9F2E5E51-441F-4B4D-9689-CE978BC16298}"/>
              </a:ext>
            </a:extLst>
          </p:cNvPr>
          <p:cNvGrpSpPr/>
          <p:nvPr/>
        </p:nvGrpSpPr>
        <p:grpSpPr>
          <a:xfrm>
            <a:off x="8280587" y="6043513"/>
            <a:ext cx="3114167" cy="187744"/>
            <a:chOff x="674124" y="6058984"/>
            <a:chExt cx="3114167" cy="187744"/>
          </a:xfrm>
        </p:grpSpPr>
        <p:sp>
          <p:nvSpPr>
            <p:cNvPr id="59" name="AutoShape 250">
              <a:extLst>
                <a:ext uri="{FF2B5EF4-FFF2-40B4-BE49-F238E27FC236}">
                  <a16:creationId xmlns:a16="http://schemas.microsoft.com/office/drawing/2014/main" id="{FF8255E7-7DA9-4B97-A5E2-E1735635129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74124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22</a:t>
              </a:r>
            </a:p>
          </p:txBody>
        </p:sp>
        <p:sp>
          <p:nvSpPr>
            <p:cNvPr id="60" name="AutoShape 250">
              <a:extLst>
                <a:ext uri="{FF2B5EF4-FFF2-40B4-BE49-F238E27FC236}">
                  <a16:creationId xmlns:a16="http://schemas.microsoft.com/office/drawing/2014/main" id="{3E4F6891-203C-4D68-8675-FD58AA854D5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486605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24</a:t>
              </a:r>
            </a:p>
          </p:txBody>
        </p:sp>
        <p:sp>
          <p:nvSpPr>
            <p:cNvPr id="61" name="AutoShape 250">
              <a:extLst>
                <a:ext uri="{FF2B5EF4-FFF2-40B4-BE49-F238E27FC236}">
                  <a16:creationId xmlns:a16="http://schemas.microsoft.com/office/drawing/2014/main" id="{7DCF70AB-860D-4BEC-A4D8-673452395B8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99452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27</a:t>
              </a:r>
            </a:p>
          </p:txBody>
        </p:sp>
        <p:sp>
          <p:nvSpPr>
            <p:cNvPr id="62" name="AutoShape 250">
              <a:extLst>
                <a:ext uri="{FF2B5EF4-FFF2-40B4-BE49-F238E27FC236}">
                  <a16:creationId xmlns:a16="http://schemas.microsoft.com/office/drawing/2014/main" id="{94521EF6-41A5-40FF-BF4D-8F8F222E404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104291" y="6058984"/>
              <a:ext cx="68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Arial Unicode MS" pitchFamily="34" charset="-128"/>
                  <a:cs typeface="Arial Unicode MS" pitchFamily="34" charset="-128"/>
                </a:rPr>
                <a:t>2030</a:t>
              </a:r>
            </a:p>
          </p:txBody>
        </p:sp>
      </p:grpSp>
      <p:cxnSp>
        <p:nvCxnSpPr>
          <p:cNvPr id="63" name="Straight Connector 9">
            <a:extLst>
              <a:ext uri="{FF2B5EF4-FFF2-40B4-BE49-F238E27FC236}">
                <a16:creationId xmlns:a16="http://schemas.microsoft.com/office/drawing/2014/main" id="{79620DD8-7AB9-4710-9C84-0DC914A4789A}"/>
              </a:ext>
            </a:extLst>
          </p:cNvPr>
          <p:cNvCxnSpPr>
            <a:cxnSpLocks/>
          </p:cNvCxnSpPr>
          <p:nvPr/>
        </p:nvCxnSpPr>
        <p:spPr bwMode="gray">
          <a:xfrm>
            <a:off x="4268864" y="5990446"/>
            <a:ext cx="3420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cxnSp>
        <p:nvCxnSpPr>
          <p:cNvPr id="64" name="Straight Connector 9">
            <a:extLst>
              <a:ext uri="{FF2B5EF4-FFF2-40B4-BE49-F238E27FC236}">
                <a16:creationId xmlns:a16="http://schemas.microsoft.com/office/drawing/2014/main" id="{36A7A278-0C7C-4507-AFDB-ABC2FCDE3AB2}"/>
              </a:ext>
            </a:extLst>
          </p:cNvPr>
          <p:cNvCxnSpPr>
            <a:cxnSpLocks/>
          </p:cNvCxnSpPr>
          <p:nvPr/>
        </p:nvCxnSpPr>
        <p:spPr bwMode="gray">
          <a:xfrm>
            <a:off x="8100671" y="5990446"/>
            <a:ext cx="3420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230576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kern="0"/>
              <a:t>Una Rete passeggeri più veloce, performante e capillare</a:t>
            </a:r>
            <a:endParaRPr lang="it-IT"/>
          </a:p>
        </p:txBody>
      </p:sp>
      <p:sp>
        <p:nvSpPr>
          <p:cNvPr id="227" name="Segnaposto contenuto 29"/>
          <p:cNvSpPr>
            <a:spLocks noGrp="1"/>
          </p:cNvSpPr>
          <p:nvPr>
            <p:ph idx="13"/>
          </p:nvPr>
        </p:nvSpPr>
        <p:spPr/>
        <p:txBody>
          <a:bodyPr>
            <a:normAutofit/>
          </a:bodyPr>
          <a:lstStyle/>
          <a:p>
            <a:r>
              <a:rPr lang="it-IT"/>
              <a:t>Per estendere a tutto il Paese connettività e prestazioni dell’AV</a:t>
            </a:r>
          </a:p>
        </p:txBody>
      </p:sp>
      <p:sp>
        <p:nvSpPr>
          <p:cNvPr id="214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11167105" y="40369"/>
            <a:ext cx="440480" cy="43849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1" name="Gruppo 384"/>
          <p:cNvGrpSpPr>
            <a:grpSpLocks/>
          </p:cNvGrpSpPr>
          <p:nvPr/>
        </p:nvGrpSpPr>
        <p:grpSpPr bwMode="auto">
          <a:xfrm>
            <a:off x="11246463" y="86953"/>
            <a:ext cx="281764" cy="308393"/>
            <a:chOff x="6030758" y="980464"/>
            <a:chExt cx="5107083" cy="5839233"/>
          </a:xfrm>
          <a:solidFill>
            <a:schemeClr val="bg1">
              <a:lumMod val="50000"/>
            </a:schemeClr>
          </a:solidFill>
          <a:effectLst/>
        </p:grpSpPr>
        <p:sp>
          <p:nvSpPr>
            <p:cNvPr id="192" name="Figura a mano libera 191"/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igura a mano libera 192"/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igura a mano libera 193"/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igura a mano libera 194"/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igura a mano libera 195"/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igura a mano libera 196"/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igura a mano libera 197"/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igura a mano libera 198"/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igura a mano libera 199"/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igura a mano libera 200"/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igura a mano libera 201"/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igura a mano libera 202"/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grpFill/>
            <a:ln w="9525">
              <a:noFill/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igura a mano libera 203"/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igura a mano libera 204"/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igura a mano libera 205"/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igura a mano libera 206"/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igura a mano libera 207"/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igura a mano libera 208"/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igura a mano libera 209"/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igura a mano libera 210"/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5" name="Rettangolo 214"/>
          <p:cNvSpPr/>
          <p:nvPr/>
        </p:nvSpPr>
        <p:spPr>
          <a:xfrm>
            <a:off x="102928" y="1687118"/>
            <a:ext cx="3905472" cy="400109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DC002E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  migliorare l'integrazione e l'accessibilità tra le principali aree urbane del Paese, è stata disegnata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a nuova logica di sviluppo della rete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 dei servizi Alta Velocità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DC002E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iancando alla realizzazione di nuove linee interventi di velocizzazione e superamento delle situazioni di saturazione, sarà possibile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simizzare l’offerta di collegamenti veloci nord-sud/Est-Ovest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DC002E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 gli impegni dei prossimi anni l’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lerazione dei lavori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er le grand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e già in cantiere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 l’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vio di nuovi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mportant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estimenti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inanziati anche grazie al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RR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DC002E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entire tempi di accesso a Roma non superiori alle 4.30 da tutte le principali aree urbane del Paese</a:t>
            </a:r>
          </a:p>
        </p:txBody>
      </p:sp>
      <p:grpSp>
        <p:nvGrpSpPr>
          <p:cNvPr id="216" name="Gruppo 215"/>
          <p:cNvGrpSpPr/>
          <p:nvPr/>
        </p:nvGrpSpPr>
        <p:grpSpPr>
          <a:xfrm>
            <a:off x="4206131" y="4976398"/>
            <a:ext cx="2577734" cy="1430463"/>
            <a:chOff x="4461725" y="1126836"/>
            <a:chExt cx="2783184" cy="1430463"/>
          </a:xfrm>
          <a:solidFill>
            <a:schemeClr val="bg1"/>
          </a:solidFill>
        </p:grpSpPr>
        <p:sp>
          <p:nvSpPr>
            <p:cNvPr id="217" name="Line 63"/>
            <p:cNvSpPr>
              <a:spLocks noChangeShapeType="1"/>
            </p:cNvSpPr>
            <p:nvPr/>
          </p:nvSpPr>
          <p:spPr bwMode="auto">
            <a:xfrm>
              <a:off x="4471237" y="2125547"/>
              <a:ext cx="365964" cy="0"/>
            </a:xfrm>
            <a:prstGeom prst="line">
              <a:avLst/>
            </a:prstGeom>
            <a:grpFill/>
            <a:ln w="38100">
              <a:solidFill>
                <a:srgbClr val="FF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8" name="Line 64"/>
            <p:cNvSpPr>
              <a:spLocks noChangeShapeType="1"/>
            </p:cNvSpPr>
            <p:nvPr/>
          </p:nvSpPr>
          <p:spPr bwMode="auto">
            <a:xfrm>
              <a:off x="4471237" y="1759040"/>
              <a:ext cx="365964" cy="0"/>
            </a:xfrm>
            <a:prstGeom prst="line">
              <a:avLst/>
            </a:prstGeom>
            <a:grpFill/>
            <a:ln w="38100">
              <a:solidFill>
                <a:srgbClr val="00B05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9" name="Line 65"/>
            <p:cNvSpPr>
              <a:spLocks noChangeShapeType="1"/>
            </p:cNvSpPr>
            <p:nvPr/>
          </p:nvSpPr>
          <p:spPr bwMode="auto">
            <a:xfrm>
              <a:off x="4476211" y="1371552"/>
              <a:ext cx="365963" cy="0"/>
            </a:xfrm>
            <a:prstGeom prst="line">
              <a:avLst/>
            </a:prstGeom>
            <a:grpFill/>
            <a:ln w="38100">
              <a:solidFill>
                <a:srgbClr val="37609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0" name="Line 63"/>
            <p:cNvSpPr>
              <a:spLocks noChangeShapeType="1"/>
            </p:cNvSpPr>
            <p:nvPr/>
          </p:nvSpPr>
          <p:spPr bwMode="auto">
            <a:xfrm>
              <a:off x="4471237" y="1536584"/>
              <a:ext cx="365963" cy="0"/>
            </a:xfrm>
            <a:prstGeom prst="line">
              <a:avLst/>
            </a:prstGeom>
            <a:grpFill/>
            <a:ln w="38100">
              <a:solidFill>
                <a:schemeClr val="accent3">
                  <a:lumMod val="60000"/>
                  <a:lumOff val="40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1" name="Line 64"/>
            <p:cNvSpPr>
              <a:spLocks noChangeShapeType="1"/>
            </p:cNvSpPr>
            <p:nvPr/>
          </p:nvSpPr>
          <p:spPr bwMode="auto">
            <a:xfrm>
              <a:off x="4471237" y="1954729"/>
              <a:ext cx="365964" cy="0"/>
            </a:xfrm>
            <a:prstGeom prst="line">
              <a:avLst/>
            </a:prstGeom>
            <a:grpFill/>
            <a:ln w="38100">
              <a:solidFill>
                <a:srgbClr val="92D05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2" name="Text Box 57"/>
            <p:cNvSpPr txBox="1">
              <a:spLocks noChangeAspect="1" noChangeArrowheads="1"/>
            </p:cNvSpPr>
            <p:nvPr/>
          </p:nvSpPr>
          <p:spPr bwMode="auto">
            <a:xfrm>
              <a:off x="4864022" y="1126836"/>
              <a:ext cx="2380887" cy="143046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E6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13500000" algn="ctr" rotWithShape="0">
                      <a:srgbClr val="FFFFFF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61200" tIns="31195" rIns="59991" bIns="31195" anchor="ctr"/>
            <a:lstStyle>
              <a:lvl1pPr algn="l" defTabSz="1189038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algn="l" defTabSz="1189038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2pPr>
              <a:lvl3pPr algn="l" defTabSz="1189038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3pPr>
              <a:lvl4pPr algn="l" defTabSz="1189038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4pPr>
              <a:lvl5pPr algn="l" defTabSz="1189038">
                <a:spcBef>
                  <a:spcPct val="0"/>
                </a:spcBef>
                <a:defRPr>
                  <a:solidFill>
                    <a:schemeClr val="tx1"/>
                  </a:solidFill>
                  <a:latin typeface="Arial" charset="0"/>
                </a:defRPr>
              </a:lvl5pPr>
              <a:lvl6pPr defTabSz="1189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defTabSz="1189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defTabSz="1189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defTabSz="1189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1189038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 esercizio  - da 200 a 300 km/h</a:t>
              </a:r>
              <a:endParaRPr kumimoji="0" lang="it-IT" alt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1189038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 esercizio - fino a 200 km/h</a:t>
              </a:r>
              <a:endParaRPr kumimoji="0" lang="it-IT" alt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1189038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vori in corso – da 200 a 300 km/h</a:t>
              </a:r>
            </a:p>
            <a:p>
              <a:pPr marL="0" marR="0" lvl="0" indent="0" algn="l" defTabSz="1189038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vori in corso - fino a 200 km/h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 progettazione - da 200 a 300 km/h</a:t>
              </a:r>
              <a:endParaRPr kumimoji="0" lang="it-IT" altLang="en-US" sz="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 progettazione – fino a 200 km/h</a:t>
              </a:r>
            </a:p>
          </p:txBody>
        </p:sp>
        <p:sp>
          <p:nvSpPr>
            <p:cNvPr id="223" name="Line 63"/>
            <p:cNvSpPr>
              <a:spLocks noChangeShapeType="1"/>
            </p:cNvSpPr>
            <p:nvPr/>
          </p:nvSpPr>
          <p:spPr bwMode="auto">
            <a:xfrm>
              <a:off x="4461725" y="2358345"/>
              <a:ext cx="397095" cy="0"/>
            </a:xfrm>
            <a:prstGeom prst="line">
              <a:avLst/>
            </a:prstGeom>
            <a:grpFill/>
            <a:ln w="38100">
              <a:solidFill>
                <a:srgbClr val="EF892A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224" name="Gruppo 223"/>
          <p:cNvGrpSpPr/>
          <p:nvPr/>
        </p:nvGrpSpPr>
        <p:grpSpPr>
          <a:xfrm>
            <a:off x="4293568" y="1741934"/>
            <a:ext cx="4377457" cy="4052301"/>
            <a:chOff x="380102" y="1218038"/>
            <a:chExt cx="5518299" cy="5042079"/>
          </a:xfrm>
        </p:grpSpPr>
        <p:sp>
          <p:nvSpPr>
            <p:cNvPr id="225" name="Rettangolo 224"/>
            <p:cNvSpPr/>
            <p:nvPr/>
          </p:nvSpPr>
          <p:spPr>
            <a:xfrm>
              <a:off x="2075049" y="1218038"/>
              <a:ext cx="1205100" cy="1927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onaco/Berlino</a:t>
              </a:r>
            </a:p>
          </p:txBody>
        </p:sp>
        <p:grpSp>
          <p:nvGrpSpPr>
            <p:cNvPr id="226" name="Gruppo 225"/>
            <p:cNvGrpSpPr/>
            <p:nvPr/>
          </p:nvGrpSpPr>
          <p:grpSpPr>
            <a:xfrm>
              <a:off x="380102" y="1289968"/>
              <a:ext cx="5518299" cy="4970149"/>
              <a:chOff x="350057" y="474989"/>
              <a:chExt cx="5958114" cy="5518937"/>
            </a:xfrm>
          </p:grpSpPr>
          <p:sp>
            <p:nvSpPr>
              <p:cNvPr id="230" name="Figura a mano libera 229"/>
              <p:cNvSpPr/>
              <p:nvPr/>
            </p:nvSpPr>
            <p:spPr bwMode="auto">
              <a:xfrm>
                <a:off x="1593492" y="3159009"/>
                <a:ext cx="700197" cy="1216377"/>
              </a:xfrm>
              <a:custGeom>
                <a:avLst/>
                <a:gdLst>
                  <a:gd name="connsiteX0" fmla="*/ 58847 w 873659"/>
                  <a:gd name="connsiteY0" fmla="*/ 208229 h 1552669"/>
                  <a:gd name="connsiteX1" fmla="*/ 162962 w 873659"/>
                  <a:gd name="connsiteY1" fmla="*/ 258023 h 1552669"/>
                  <a:gd name="connsiteX2" fmla="*/ 230863 w 873659"/>
                  <a:gd name="connsiteY2" fmla="*/ 267077 h 1552669"/>
                  <a:gd name="connsiteX3" fmla="*/ 316871 w 873659"/>
                  <a:gd name="connsiteY3" fmla="*/ 203703 h 1552669"/>
                  <a:gd name="connsiteX4" fmla="*/ 353085 w 873659"/>
                  <a:gd name="connsiteY4" fmla="*/ 208229 h 1552669"/>
                  <a:gd name="connsiteX5" fmla="*/ 407406 w 873659"/>
                  <a:gd name="connsiteY5" fmla="*/ 140328 h 1552669"/>
                  <a:gd name="connsiteX6" fmla="*/ 479834 w 873659"/>
                  <a:gd name="connsiteY6" fmla="*/ 76954 h 1552669"/>
                  <a:gd name="connsiteX7" fmla="*/ 529628 w 873659"/>
                  <a:gd name="connsiteY7" fmla="*/ 76954 h 1552669"/>
                  <a:gd name="connsiteX8" fmla="*/ 543208 w 873659"/>
                  <a:gd name="connsiteY8" fmla="*/ 58847 h 1552669"/>
                  <a:gd name="connsiteX9" fmla="*/ 547735 w 873659"/>
                  <a:gd name="connsiteY9" fmla="*/ 58847 h 1552669"/>
                  <a:gd name="connsiteX10" fmla="*/ 538681 w 873659"/>
                  <a:gd name="connsiteY10" fmla="*/ 0 h 1552669"/>
                  <a:gd name="connsiteX11" fmla="*/ 611109 w 873659"/>
                  <a:gd name="connsiteY11" fmla="*/ 0 h 1552669"/>
                  <a:gd name="connsiteX12" fmla="*/ 620162 w 873659"/>
                  <a:gd name="connsiteY12" fmla="*/ 45267 h 1552669"/>
                  <a:gd name="connsiteX13" fmla="*/ 651849 w 873659"/>
                  <a:gd name="connsiteY13" fmla="*/ 45267 h 1552669"/>
                  <a:gd name="connsiteX14" fmla="*/ 697117 w 873659"/>
                  <a:gd name="connsiteY14" fmla="*/ 4526 h 1552669"/>
                  <a:gd name="connsiteX15" fmla="*/ 710697 w 873659"/>
                  <a:gd name="connsiteY15" fmla="*/ 36214 h 1552669"/>
                  <a:gd name="connsiteX16" fmla="*/ 710697 w 873659"/>
                  <a:gd name="connsiteY16" fmla="*/ 36214 h 1552669"/>
                  <a:gd name="connsiteX17" fmla="*/ 701643 w 873659"/>
                  <a:gd name="connsiteY17" fmla="*/ 99588 h 1552669"/>
                  <a:gd name="connsiteX18" fmla="*/ 728804 w 873659"/>
                  <a:gd name="connsiteY18" fmla="*/ 86008 h 1552669"/>
                  <a:gd name="connsiteX19" fmla="*/ 760491 w 873659"/>
                  <a:gd name="connsiteY19" fmla="*/ 95061 h 1552669"/>
                  <a:gd name="connsiteX20" fmla="*/ 760491 w 873659"/>
                  <a:gd name="connsiteY20" fmla="*/ 95061 h 1552669"/>
                  <a:gd name="connsiteX21" fmla="*/ 737857 w 873659"/>
                  <a:gd name="connsiteY21" fmla="*/ 140328 h 1552669"/>
                  <a:gd name="connsiteX22" fmla="*/ 737857 w 873659"/>
                  <a:gd name="connsiteY22" fmla="*/ 185596 h 1552669"/>
                  <a:gd name="connsiteX23" fmla="*/ 737857 w 873659"/>
                  <a:gd name="connsiteY23" fmla="*/ 185596 h 1552669"/>
                  <a:gd name="connsiteX24" fmla="*/ 778598 w 873659"/>
                  <a:gd name="connsiteY24" fmla="*/ 167489 h 1552669"/>
                  <a:gd name="connsiteX25" fmla="*/ 769544 w 873659"/>
                  <a:gd name="connsiteY25" fmla="*/ 194649 h 1552669"/>
                  <a:gd name="connsiteX26" fmla="*/ 760491 w 873659"/>
                  <a:gd name="connsiteY26" fmla="*/ 244443 h 1552669"/>
                  <a:gd name="connsiteX27" fmla="*/ 774071 w 873659"/>
                  <a:gd name="connsiteY27" fmla="*/ 244443 h 1552669"/>
                  <a:gd name="connsiteX28" fmla="*/ 805758 w 873659"/>
                  <a:gd name="connsiteY28" fmla="*/ 244443 h 1552669"/>
                  <a:gd name="connsiteX29" fmla="*/ 837445 w 873659"/>
                  <a:gd name="connsiteY29" fmla="*/ 230863 h 1552669"/>
                  <a:gd name="connsiteX30" fmla="*/ 837445 w 873659"/>
                  <a:gd name="connsiteY30" fmla="*/ 230863 h 1552669"/>
                  <a:gd name="connsiteX31" fmla="*/ 810285 w 873659"/>
                  <a:gd name="connsiteY31" fmla="*/ 262550 h 1552669"/>
                  <a:gd name="connsiteX32" fmla="*/ 851026 w 873659"/>
                  <a:gd name="connsiteY32" fmla="*/ 262550 h 1552669"/>
                  <a:gd name="connsiteX33" fmla="*/ 832919 w 873659"/>
                  <a:gd name="connsiteY33" fmla="*/ 271604 h 1552669"/>
                  <a:gd name="connsiteX34" fmla="*/ 801232 w 873659"/>
                  <a:gd name="connsiteY34" fmla="*/ 307817 h 1552669"/>
                  <a:gd name="connsiteX35" fmla="*/ 823865 w 873659"/>
                  <a:gd name="connsiteY35" fmla="*/ 339505 h 1552669"/>
                  <a:gd name="connsiteX36" fmla="*/ 832919 w 873659"/>
                  <a:gd name="connsiteY36" fmla="*/ 384772 h 1552669"/>
                  <a:gd name="connsiteX37" fmla="*/ 832919 w 873659"/>
                  <a:gd name="connsiteY37" fmla="*/ 384772 h 1552669"/>
                  <a:gd name="connsiteX38" fmla="*/ 832919 w 873659"/>
                  <a:gd name="connsiteY38" fmla="*/ 434566 h 1552669"/>
                  <a:gd name="connsiteX39" fmla="*/ 855552 w 873659"/>
                  <a:gd name="connsiteY39" fmla="*/ 461726 h 1552669"/>
                  <a:gd name="connsiteX40" fmla="*/ 873659 w 873659"/>
                  <a:gd name="connsiteY40" fmla="*/ 502467 h 1552669"/>
                  <a:gd name="connsiteX41" fmla="*/ 851026 w 873659"/>
                  <a:gd name="connsiteY41" fmla="*/ 543208 h 1552669"/>
                  <a:gd name="connsiteX42" fmla="*/ 851026 w 873659"/>
                  <a:gd name="connsiteY42" fmla="*/ 574895 h 1552669"/>
                  <a:gd name="connsiteX43" fmla="*/ 823865 w 873659"/>
                  <a:gd name="connsiteY43" fmla="*/ 611109 h 1552669"/>
                  <a:gd name="connsiteX44" fmla="*/ 783125 w 873659"/>
                  <a:gd name="connsiteY44" fmla="*/ 642796 h 1552669"/>
                  <a:gd name="connsiteX45" fmla="*/ 765018 w 873659"/>
                  <a:gd name="connsiteY45" fmla="*/ 669956 h 1552669"/>
                  <a:gd name="connsiteX46" fmla="*/ 760491 w 873659"/>
                  <a:gd name="connsiteY46" fmla="*/ 710697 h 1552669"/>
                  <a:gd name="connsiteX47" fmla="*/ 769544 w 873659"/>
                  <a:gd name="connsiteY47" fmla="*/ 755964 h 1552669"/>
                  <a:gd name="connsiteX48" fmla="*/ 769544 w 873659"/>
                  <a:gd name="connsiteY48" fmla="*/ 755964 h 1552669"/>
                  <a:gd name="connsiteX49" fmla="*/ 810285 w 873659"/>
                  <a:gd name="connsiteY49" fmla="*/ 783124 h 1552669"/>
                  <a:gd name="connsiteX50" fmla="*/ 783125 w 873659"/>
                  <a:gd name="connsiteY50" fmla="*/ 860079 h 1552669"/>
                  <a:gd name="connsiteX51" fmla="*/ 760491 w 873659"/>
                  <a:gd name="connsiteY51" fmla="*/ 905346 h 1552669"/>
                  <a:gd name="connsiteX52" fmla="*/ 769544 w 873659"/>
                  <a:gd name="connsiteY52" fmla="*/ 995881 h 1552669"/>
                  <a:gd name="connsiteX53" fmla="*/ 742384 w 873659"/>
                  <a:gd name="connsiteY53" fmla="*/ 1045675 h 1552669"/>
                  <a:gd name="connsiteX54" fmla="*/ 737857 w 873659"/>
                  <a:gd name="connsiteY54" fmla="*/ 1109049 h 1552669"/>
                  <a:gd name="connsiteX55" fmla="*/ 733331 w 873659"/>
                  <a:gd name="connsiteY55" fmla="*/ 1163370 h 1552669"/>
                  <a:gd name="connsiteX56" fmla="*/ 733331 w 873659"/>
                  <a:gd name="connsiteY56" fmla="*/ 1204111 h 1552669"/>
                  <a:gd name="connsiteX57" fmla="*/ 692590 w 873659"/>
                  <a:gd name="connsiteY57" fmla="*/ 1244851 h 1552669"/>
                  <a:gd name="connsiteX58" fmla="*/ 706170 w 873659"/>
                  <a:gd name="connsiteY58" fmla="*/ 1285592 h 1552669"/>
                  <a:gd name="connsiteX59" fmla="*/ 706170 w 873659"/>
                  <a:gd name="connsiteY59" fmla="*/ 1285592 h 1552669"/>
                  <a:gd name="connsiteX60" fmla="*/ 688063 w 873659"/>
                  <a:gd name="connsiteY60" fmla="*/ 1326332 h 1552669"/>
                  <a:gd name="connsiteX61" fmla="*/ 683537 w 873659"/>
                  <a:gd name="connsiteY61" fmla="*/ 1371600 h 1552669"/>
                  <a:gd name="connsiteX62" fmla="*/ 674483 w 873659"/>
                  <a:gd name="connsiteY62" fmla="*/ 1425920 h 1552669"/>
                  <a:gd name="connsiteX63" fmla="*/ 611109 w 873659"/>
                  <a:gd name="connsiteY63" fmla="*/ 1416867 h 1552669"/>
                  <a:gd name="connsiteX64" fmla="*/ 570368 w 873659"/>
                  <a:gd name="connsiteY64" fmla="*/ 1376126 h 1552669"/>
                  <a:gd name="connsiteX65" fmla="*/ 543208 w 873659"/>
                  <a:gd name="connsiteY65" fmla="*/ 1348966 h 1552669"/>
                  <a:gd name="connsiteX66" fmla="*/ 497940 w 873659"/>
                  <a:gd name="connsiteY66" fmla="*/ 1339913 h 1552669"/>
                  <a:gd name="connsiteX67" fmla="*/ 457200 w 873659"/>
                  <a:gd name="connsiteY67" fmla="*/ 1367073 h 1552669"/>
                  <a:gd name="connsiteX68" fmla="*/ 457200 w 873659"/>
                  <a:gd name="connsiteY68" fmla="*/ 1367073 h 1552669"/>
                  <a:gd name="connsiteX69" fmla="*/ 457200 w 873659"/>
                  <a:gd name="connsiteY69" fmla="*/ 1367073 h 1552669"/>
                  <a:gd name="connsiteX70" fmla="*/ 425513 w 873659"/>
                  <a:gd name="connsiteY70" fmla="*/ 1339913 h 1552669"/>
                  <a:gd name="connsiteX71" fmla="*/ 389299 w 873659"/>
                  <a:gd name="connsiteY71" fmla="*/ 1403287 h 1552669"/>
                  <a:gd name="connsiteX72" fmla="*/ 375719 w 873659"/>
                  <a:gd name="connsiteY72" fmla="*/ 1439501 h 1552669"/>
                  <a:gd name="connsiteX73" fmla="*/ 380245 w 873659"/>
                  <a:gd name="connsiteY73" fmla="*/ 1484768 h 1552669"/>
                  <a:gd name="connsiteX74" fmla="*/ 339505 w 873659"/>
                  <a:gd name="connsiteY74" fmla="*/ 1511928 h 1552669"/>
                  <a:gd name="connsiteX75" fmla="*/ 271604 w 873659"/>
                  <a:gd name="connsiteY75" fmla="*/ 1552669 h 1552669"/>
                  <a:gd name="connsiteX76" fmla="*/ 217283 w 873659"/>
                  <a:gd name="connsiteY76" fmla="*/ 1516455 h 1552669"/>
                  <a:gd name="connsiteX77" fmla="*/ 172016 w 873659"/>
                  <a:gd name="connsiteY77" fmla="*/ 1548142 h 1552669"/>
                  <a:gd name="connsiteX78" fmla="*/ 144855 w 873659"/>
                  <a:gd name="connsiteY78" fmla="*/ 1484768 h 1552669"/>
                  <a:gd name="connsiteX79" fmla="*/ 144855 w 873659"/>
                  <a:gd name="connsiteY79" fmla="*/ 1421394 h 1552669"/>
                  <a:gd name="connsiteX80" fmla="*/ 144855 w 873659"/>
                  <a:gd name="connsiteY80" fmla="*/ 1421394 h 1552669"/>
                  <a:gd name="connsiteX81" fmla="*/ 104115 w 873659"/>
                  <a:gd name="connsiteY81" fmla="*/ 1444027 h 1552669"/>
                  <a:gd name="connsiteX82" fmla="*/ 67901 w 873659"/>
                  <a:gd name="connsiteY82" fmla="*/ 1471188 h 1552669"/>
                  <a:gd name="connsiteX83" fmla="*/ 54321 w 873659"/>
                  <a:gd name="connsiteY83" fmla="*/ 1507402 h 1552669"/>
                  <a:gd name="connsiteX84" fmla="*/ 58847 w 873659"/>
                  <a:gd name="connsiteY84" fmla="*/ 1484768 h 1552669"/>
                  <a:gd name="connsiteX85" fmla="*/ 31687 w 873659"/>
                  <a:gd name="connsiteY85" fmla="*/ 1421394 h 1552669"/>
                  <a:gd name="connsiteX86" fmla="*/ 31687 w 873659"/>
                  <a:gd name="connsiteY86" fmla="*/ 1421394 h 1552669"/>
                  <a:gd name="connsiteX87" fmla="*/ 90535 w 873659"/>
                  <a:gd name="connsiteY87" fmla="*/ 1394233 h 1552669"/>
                  <a:gd name="connsiteX88" fmla="*/ 76954 w 873659"/>
                  <a:gd name="connsiteY88" fmla="*/ 1348966 h 1552669"/>
                  <a:gd name="connsiteX89" fmla="*/ 49794 w 873659"/>
                  <a:gd name="connsiteY89" fmla="*/ 1321806 h 1552669"/>
                  <a:gd name="connsiteX90" fmla="*/ 90535 w 873659"/>
                  <a:gd name="connsiteY90" fmla="*/ 1281065 h 1552669"/>
                  <a:gd name="connsiteX91" fmla="*/ 58847 w 873659"/>
                  <a:gd name="connsiteY91" fmla="*/ 1226744 h 1552669"/>
                  <a:gd name="connsiteX92" fmla="*/ 72428 w 873659"/>
                  <a:gd name="connsiteY92" fmla="*/ 1181477 h 1552669"/>
                  <a:gd name="connsiteX93" fmla="*/ 58847 w 873659"/>
                  <a:gd name="connsiteY93" fmla="*/ 1149790 h 1552669"/>
                  <a:gd name="connsiteX94" fmla="*/ 108641 w 873659"/>
                  <a:gd name="connsiteY94" fmla="*/ 1063782 h 1552669"/>
                  <a:gd name="connsiteX95" fmla="*/ 126748 w 873659"/>
                  <a:gd name="connsiteY95" fmla="*/ 964194 h 1552669"/>
                  <a:gd name="connsiteX96" fmla="*/ 158436 w 873659"/>
                  <a:gd name="connsiteY96" fmla="*/ 982301 h 1552669"/>
                  <a:gd name="connsiteX97" fmla="*/ 181069 w 873659"/>
                  <a:gd name="connsiteY97" fmla="*/ 923453 h 1552669"/>
                  <a:gd name="connsiteX98" fmla="*/ 162962 w 873659"/>
                  <a:gd name="connsiteY98" fmla="*/ 869132 h 1552669"/>
                  <a:gd name="connsiteX99" fmla="*/ 117695 w 873659"/>
                  <a:gd name="connsiteY99" fmla="*/ 887239 h 1552669"/>
                  <a:gd name="connsiteX100" fmla="*/ 122222 w 873659"/>
                  <a:gd name="connsiteY100" fmla="*/ 887239 h 1552669"/>
                  <a:gd name="connsiteX101" fmla="*/ 86008 w 873659"/>
                  <a:gd name="connsiteY101" fmla="*/ 860079 h 1552669"/>
                  <a:gd name="connsiteX102" fmla="*/ 90535 w 873659"/>
                  <a:gd name="connsiteY102" fmla="*/ 774071 h 1552669"/>
                  <a:gd name="connsiteX103" fmla="*/ 158436 w 873659"/>
                  <a:gd name="connsiteY103" fmla="*/ 760491 h 1552669"/>
                  <a:gd name="connsiteX104" fmla="*/ 144855 w 873659"/>
                  <a:gd name="connsiteY104" fmla="*/ 715223 h 1552669"/>
                  <a:gd name="connsiteX105" fmla="*/ 140329 w 873659"/>
                  <a:gd name="connsiteY105" fmla="*/ 660903 h 1552669"/>
                  <a:gd name="connsiteX106" fmla="*/ 158436 w 873659"/>
                  <a:gd name="connsiteY106" fmla="*/ 602055 h 1552669"/>
                  <a:gd name="connsiteX107" fmla="*/ 117695 w 873659"/>
                  <a:gd name="connsiteY107" fmla="*/ 593002 h 1552669"/>
                  <a:gd name="connsiteX108" fmla="*/ 117695 w 873659"/>
                  <a:gd name="connsiteY108" fmla="*/ 538681 h 1552669"/>
                  <a:gd name="connsiteX109" fmla="*/ 113168 w 873659"/>
                  <a:gd name="connsiteY109" fmla="*/ 479833 h 1552669"/>
                  <a:gd name="connsiteX110" fmla="*/ 67901 w 873659"/>
                  <a:gd name="connsiteY110" fmla="*/ 411932 h 1552669"/>
                  <a:gd name="connsiteX111" fmla="*/ 36214 w 873659"/>
                  <a:gd name="connsiteY111" fmla="*/ 425513 h 1552669"/>
                  <a:gd name="connsiteX112" fmla="*/ 36214 w 873659"/>
                  <a:gd name="connsiteY112" fmla="*/ 389299 h 1552669"/>
                  <a:gd name="connsiteX113" fmla="*/ 13580 w 873659"/>
                  <a:gd name="connsiteY113" fmla="*/ 420986 h 1552669"/>
                  <a:gd name="connsiteX114" fmla="*/ 0 w 873659"/>
                  <a:gd name="connsiteY114" fmla="*/ 380245 h 1552669"/>
                  <a:gd name="connsiteX115" fmla="*/ 31687 w 873659"/>
                  <a:gd name="connsiteY115" fmla="*/ 348558 h 1552669"/>
                  <a:gd name="connsiteX116" fmla="*/ 4527 w 873659"/>
                  <a:gd name="connsiteY116" fmla="*/ 312344 h 1552669"/>
                  <a:gd name="connsiteX117" fmla="*/ 58847 w 873659"/>
                  <a:gd name="connsiteY117" fmla="*/ 208229 h 155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873659" h="1552669">
                    <a:moveTo>
                      <a:pt x="58847" y="208229"/>
                    </a:moveTo>
                    <a:lnTo>
                      <a:pt x="162962" y="258023"/>
                    </a:lnTo>
                    <a:lnTo>
                      <a:pt x="230863" y="267077"/>
                    </a:lnTo>
                    <a:lnTo>
                      <a:pt x="316871" y="203703"/>
                    </a:lnTo>
                    <a:lnTo>
                      <a:pt x="353085" y="208229"/>
                    </a:lnTo>
                    <a:lnTo>
                      <a:pt x="407406" y="140328"/>
                    </a:lnTo>
                    <a:lnTo>
                      <a:pt x="479834" y="76954"/>
                    </a:lnTo>
                    <a:lnTo>
                      <a:pt x="529628" y="76954"/>
                    </a:lnTo>
                    <a:lnTo>
                      <a:pt x="543208" y="58847"/>
                    </a:lnTo>
                    <a:lnTo>
                      <a:pt x="547735" y="58847"/>
                    </a:lnTo>
                    <a:lnTo>
                      <a:pt x="538681" y="0"/>
                    </a:lnTo>
                    <a:lnTo>
                      <a:pt x="611109" y="0"/>
                    </a:lnTo>
                    <a:lnTo>
                      <a:pt x="620162" y="45267"/>
                    </a:lnTo>
                    <a:lnTo>
                      <a:pt x="651849" y="45267"/>
                    </a:lnTo>
                    <a:lnTo>
                      <a:pt x="697117" y="4526"/>
                    </a:lnTo>
                    <a:lnTo>
                      <a:pt x="710697" y="36214"/>
                    </a:lnTo>
                    <a:lnTo>
                      <a:pt x="710697" y="36214"/>
                    </a:lnTo>
                    <a:lnTo>
                      <a:pt x="701643" y="99588"/>
                    </a:lnTo>
                    <a:lnTo>
                      <a:pt x="728804" y="86008"/>
                    </a:lnTo>
                    <a:lnTo>
                      <a:pt x="760491" y="95061"/>
                    </a:lnTo>
                    <a:lnTo>
                      <a:pt x="760491" y="95061"/>
                    </a:lnTo>
                    <a:lnTo>
                      <a:pt x="737857" y="140328"/>
                    </a:lnTo>
                    <a:lnTo>
                      <a:pt x="737857" y="185596"/>
                    </a:lnTo>
                    <a:lnTo>
                      <a:pt x="737857" y="185596"/>
                    </a:lnTo>
                    <a:lnTo>
                      <a:pt x="778598" y="167489"/>
                    </a:lnTo>
                    <a:lnTo>
                      <a:pt x="769544" y="194649"/>
                    </a:lnTo>
                    <a:lnTo>
                      <a:pt x="760491" y="244443"/>
                    </a:lnTo>
                    <a:lnTo>
                      <a:pt x="774071" y="244443"/>
                    </a:lnTo>
                    <a:lnTo>
                      <a:pt x="805758" y="244443"/>
                    </a:lnTo>
                    <a:lnTo>
                      <a:pt x="837445" y="230863"/>
                    </a:lnTo>
                    <a:lnTo>
                      <a:pt x="837445" y="230863"/>
                    </a:lnTo>
                    <a:lnTo>
                      <a:pt x="810285" y="262550"/>
                    </a:lnTo>
                    <a:lnTo>
                      <a:pt x="851026" y="262550"/>
                    </a:lnTo>
                    <a:lnTo>
                      <a:pt x="832919" y="271604"/>
                    </a:lnTo>
                    <a:lnTo>
                      <a:pt x="801232" y="307817"/>
                    </a:lnTo>
                    <a:lnTo>
                      <a:pt x="823865" y="339505"/>
                    </a:lnTo>
                    <a:lnTo>
                      <a:pt x="832919" y="384772"/>
                    </a:lnTo>
                    <a:lnTo>
                      <a:pt x="832919" y="384772"/>
                    </a:lnTo>
                    <a:lnTo>
                      <a:pt x="832919" y="434566"/>
                    </a:lnTo>
                    <a:lnTo>
                      <a:pt x="855552" y="461726"/>
                    </a:lnTo>
                    <a:lnTo>
                      <a:pt x="873659" y="502467"/>
                    </a:lnTo>
                    <a:lnTo>
                      <a:pt x="851026" y="543208"/>
                    </a:lnTo>
                    <a:lnTo>
                      <a:pt x="851026" y="574895"/>
                    </a:lnTo>
                    <a:lnTo>
                      <a:pt x="823865" y="611109"/>
                    </a:lnTo>
                    <a:lnTo>
                      <a:pt x="783125" y="642796"/>
                    </a:lnTo>
                    <a:lnTo>
                      <a:pt x="765018" y="669956"/>
                    </a:lnTo>
                    <a:lnTo>
                      <a:pt x="760491" y="710697"/>
                    </a:lnTo>
                    <a:cubicBezTo>
                      <a:pt x="765168" y="757465"/>
                      <a:pt x="749854" y="755964"/>
                      <a:pt x="769544" y="755964"/>
                    </a:cubicBezTo>
                    <a:lnTo>
                      <a:pt x="769544" y="755964"/>
                    </a:lnTo>
                    <a:lnTo>
                      <a:pt x="810285" y="783124"/>
                    </a:lnTo>
                    <a:lnTo>
                      <a:pt x="783125" y="860079"/>
                    </a:lnTo>
                    <a:lnTo>
                      <a:pt x="760491" y="905346"/>
                    </a:lnTo>
                    <a:lnTo>
                      <a:pt x="769544" y="995881"/>
                    </a:lnTo>
                    <a:lnTo>
                      <a:pt x="742384" y="1045675"/>
                    </a:lnTo>
                    <a:lnTo>
                      <a:pt x="737857" y="1109049"/>
                    </a:lnTo>
                    <a:lnTo>
                      <a:pt x="733331" y="1163370"/>
                    </a:lnTo>
                    <a:lnTo>
                      <a:pt x="733331" y="1204111"/>
                    </a:lnTo>
                    <a:lnTo>
                      <a:pt x="692590" y="1244851"/>
                    </a:lnTo>
                    <a:lnTo>
                      <a:pt x="706170" y="1285592"/>
                    </a:lnTo>
                    <a:lnTo>
                      <a:pt x="706170" y="1285592"/>
                    </a:lnTo>
                    <a:lnTo>
                      <a:pt x="688063" y="1326332"/>
                    </a:lnTo>
                    <a:lnTo>
                      <a:pt x="683537" y="1371600"/>
                    </a:lnTo>
                    <a:lnTo>
                      <a:pt x="674483" y="1425920"/>
                    </a:lnTo>
                    <a:lnTo>
                      <a:pt x="611109" y="1416867"/>
                    </a:lnTo>
                    <a:lnTo>
                      <a:pt x="570368" y="1376126"/>
                    </a:lnTo>
                    <a:lnTo>
                      <a:pt x="543208" y="1348966"/>
                    </a:lnTo>
                    <a:lnTo>
                      <a:pt x="497940" y="1339913"/>
                    </a:lnTo>
                    <a:lnTo>
                      <a:pt x="457200" y="1367073"/>
                    </a:lnTo>
                    <a:lnTo>
                      <a:pt x="457200" y="1367073"/>
                    </a:lnTo>
                    <a:lnTo>
                      <a:pt x="457200" y="1367073"/>
                    </a:lnTo>
                    <a:lnTo>
                      <a:pt x="425513" y="1339913"/>
                    </a:lnTo>
                    <a:lnTo>
                      <a:pt x="389299" y="1403287"/>
                    </a:lnTo>
                    <a:lnTo>
                      <a:pt x="375719" y="1439501"/>
                    </a:lnTo>
                    <a:lnTo>
                      <a:pt x="380245" y="1484768"/>
                    </a:lnTo>
                    <a:lnTo>
                      <a:pt x="339505" y="1511928"/>
                    </a:lnTo>
                    <a:lnTo>
                      <a:pt x="271604" y="1552669"/>
                    </a:lnTo>
                    <a:lnTo>
                      <a:pt x="217283" y="1516455"/>
                    </a:lnTo>
                    <a:lnTo>
                      <a:pt x="172016" y="1548142"/>
                    </a:lnTo>
                    <a:lnTo>
                      <a:pt x="144855" y="1484768"/>
                    </a:lnTo>
                    <a:lnTo>
                      <a:pt x="144855" y="1421394"/>
                    </a:lnTo>
                    <a:lnTo>
                      <a:pt x="144855" y="1421394"/>
                    </a:lnTo>
                    <a:lnTo>
                      <a:pt x="104115" y="1444027"/>
                    </a:lnTo>
                    <a:lnTo>
                      <a:pt x="67901" y="1471188"/>
                    </a:lnTo>
                    <a:lnTo>
                      <a:pt x="54321" y="1507402"/>
                    </a:lnTo>
                    <a:lnTo>
                      <a:pt x="58847" y="1484768"/>
                    </a:lnTo>
                    <a:lnTo>
                      <a:pt x="31687" y="1421394"/>
                    </a:lnTo>
                    <a:lnTo>
                      <a:pt x="31687" y="1421394"/>
                    </a:lnTo>
                    <a:lnTo>
                      <a:pt x="90535" y="1394233"/>
                    </a:lnTo>
                    <a:lnTo>
                      <a:pt x="76954" y="1348966"/>
                    </a:lnTo>
                    <a:lnTo>
                      <a:pt x="49794" y="1321806"/>
                    </a:lnTo>
                    <a:lnTo>
                      <a:pt x="90535" y="1281065"/>
                    </a:lnTo>
                    <a:lnTo>
                      <a:pt x="58847" y="1226744"/>
                    </a:lnTo>
                    <a:lnTo>
                      <a:pt x="72428" y="1181477"/>
                    </a:lnTo>
                    <a:lnTo>
                      <a:pt x="58847" y="1149790"/>
                    </a:lnTo>
                    <a:lnTo>
                      <a:pt x="108641" y="1063782"/>
                    </a:lnTo>
                    <a:lnTo>
                      <a:pt x="126748" y="964194"/>
                    </a:lnTo>
                    <a:lnTo>
                      <a:pt x="158436" y="982301"/>
                    </a:lnTo>
                    <a:lnTo>
                      <a:pt x="181069" y="923453"/>
                    </a:lnTo>
                    <a:lnTo>
                      <a:pt x="162962" y="869132"/>
                    </a:lnTo>
                    <a:lnTo>
                      <a:pt x="117695" y="887239"/>
                    </a:lnTo>
                    <a:lnTo>
                      <a:pt x="122222" y="887239"/>
                    </a:lnTo>
                    <a:lnTo>
                      <a:pt x="86008" y="860079"/>
                    </a:lnTo>
                    <a:lnTo>
                      <a:pt x="90535" y="774071"/>
                    </a:lnTo>
                    <a:lnTo>
                      <a:pt x="158436" y="760491"/>
                    </a:lnTo>
                    <a:lnTo>
                      <a:pt x="144855" y="715223"/>
                    </a:lnTo>
                    <a:lnTo>
                      <a:pt x="140329" y="660903"/>
                    </a:lnTo>
                    <a:lnTo>
                      <a:pt x="158436" y="602055"/>
                    </a:lnTo>
                    <a:lnTo>
                      <a:pt x="117695" y="593002"/>
                    </a:lnTo>
                    <a:lnTo>
                      <a:pt x="117695" y="538681"/>
                    </a:lnTo>
                    <a:lnTo>
                      <a:pt x="113168" y="479833"/>
                    </a:lnTo>
                    <a:lnTo>
                      <a:pt x="67901" y="411932"/>
                    </a:lnTo>
                    <a:lnTo>
                      <a:pt x="36214" y="425513"/>
                    </a:lnTo>
                    <a:lnTo>
                      <a:pt x="36214" y="389299"/>
                    </a:lnTo>
                    <a:lnTo>
                      <a:pt x="13580" y="420986"/>
                    </a:lnTo>
                    <a:lnTo>
                      <a:pt x="0" y="380245"/>
                    </a:lnTo>
                    <a:lnTo>
                      <a:pt x="31687" y="348558"/>
                    </a:lnTo>
                    <a:lnTo>
                      <a:pt x="4527" y="312344"/>
                    </a:lnTo>
                    <a:lnTo>
                      <a:pt x="58847" y="208229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1" name="Figura a mano libera 230"/>
              <p:cNvSpPr/>
              <p:nvPr/>
            </p:nvSpPr>
            <p:spPr bwMode="auto">
              <a:xfrm>
                <a:off x="4524183" y="4188413"/>
                <a:ext cx="683880" cy="1153359"/>
              </a:xfrm>
              <a:custGeom>
                <a:avLst/>
                <a:gdLst>
                  <a:gd name="connsiteX0" fmla="*/ 81481 w 851025"/>
                  <a:gd name="connsiteY0" fmla="*/ 144856 h 1475715"/>
                  <a:gd name="connsiteX1" fmla="*/ 99588 w 851025"/>
                  <a:gd name="connsiteY1" fmla="*/ 90535 h 1475715"/>
                  <a:gd name="connsiteX2" fmla="*/ 140328 w 851025"/>
                  <a:gd name="connsiteY2" fmla="*/ 108642 h 1475715"/>
                  <a:gd name="connsiteX3" fmla="*/ 176542 w 851025"/>
                  <a:gd name="connsiteY3" fmla="*/ 90535 h 1475715"/>
                  <a:gd name="connsiteX4" fmla="*/ 208229 w 851025"/>
                  <a:gd name="connsiteY4" fmla="*/ 113169 h 1475715"/>
                  <a:gd name="connsiteX5" fmla="*/ 253497 w 851025"/>
                  <a:gd name="connsiteY5" fmla="*/ 158436 h 1475715"/>
                  <a:gd name="connsiteX6" fmla="*/ 312344 w 851025"/>
                  <a:gd name="connsiteY6" fmla="*/ 140329 h 1475715"/>
                  <a:gd name="connsiteX7" fmla="*/ 375719 w 851025"/>
                  <a:gd name="connsiteY7" fmla="*/ 126749 h 1475715"/>
                  <a:gd name="connsiteX8" fmla="*/ 393825 w 851025"/>
                  <a:gd name="connsiteY8" fmla="*/ 144856 h 1475715"/>
                  <a:gd name="connsiteX9" fmla="*/ 402879 w 851025"/>
                  <a:gd name="connsiteY9" fmla="*/ 95062 h 1475715"/>
                  <a:gd name="connsiteX10" fmla="*/ 402879 w 851025"/>
                  <a:gd name="connsiteY10" fmla="*/ 36214 h 1475715"/>
                  <a:gd name="connsiteX11" fmla="*/ 420986 w 851025"/>
                  <a:gd name="connsiteY11" fmla="*/ 0 h 1475715"/>
                  <a:gd name="connsiteX12" fmla="*/ 502467 w 851025"/>
                  <a:gd name="connsiteY12" fmla="*/ 9054 h 1475715"/>
                  <a:gd name="connsiteX13" fmla="*/ 538681 w 851025"/>
                  <a:gd name="connsiteY13" fmla="*/ 18107 h 1475715"/>
                  <a:gd name="connsiteX14" fmla="*/ 525101 w 851025"/>
                  <a:gd name="connsiteY14" fmla="*/ 67901 h 1475715"/>
                  <a:gd name="connsiteX15" fmla="*/ 525101 w 851025"/>
                  <a:gd name="connsiteY15" fmla="*/ 104115 h 1475715"/>
                  <a:gd name="connsiteX16" fmla="*/ 525101 w 851025"/>
                  <a:gd name="connsiteY16" fmla="*/ 104115 h 1475715"/>
                  <a:gd name="connsiteX17" fmla="*/ 466253 w 851025"/>
                  <a:gd name="connsiteY17" fmla="*/ 226337 h 1475715"/>
                  <a:gd name="connsiteX18" fmla="*/ 466253 w 851025"/>
                  <a:gd name="connsiteY18" fmla="*/ 276131 h 1475715"/>
                  <a:gd name="connsiteX19" fmla="*/ 484360 w 851025"/>
                  <a:gd name="connsiteY19" fmla="*/ 312345 h 1475715"/>
                  <a:gd name="connsiteX20" fmla="*/ 493414 w 851025"/>
                  <a:gd name="connsiteY20" fmla="*/ 330452 h 1475715"/>
                  <a:gd name="connsiteX21" fmla="*/ 565841 w 851025"/>
                  <a:gd name="connsiteY21" fmla="*/ 353085 h 1475715"/>
                  <a:gd name="connsiteX22" fmla="*/ 602055 w 851025"/>
                  <a:gd name="connsiteY22" fmla="*/ 348559 h 1475715"/>
                  <a:gd name="connsiteX23" fmla="*/ 706170 w 851025"/>
                  <a:gd name="connsiteY23" fmla="*/ 411933 h 1475715"/>
                  <a:gd name="connsiteX24" fmla="*/ 755964 w 851025"/>
                  <a:gd name="connsiteY24" fmla="*/ 425513 h 1475715"/>
                  <a:gd name="connsiteX25" fmla="*/ 755964 w 851025"/>
                  <a:gd name="connsiteY25" fmla="*/ 461727 h 1475715"/>
                  <a:gd name="connsiteX26" fmla="*/ 810285 w 851025"/>
                  <a:gd name="connsiteY26" fmla="*/ 479834 h 1475715"/>
                  <a:gd name="connsiteX27" fmla="*/ 792178 w 851025"/>
                  <a:gd name="connsiteY27" fmla="*/ 552262 h 1475715"/>
                  <a:gd name="connsiteX28" fmla="*/ 814812 w 851025"/>
                  <a:gd name="connsiteY28" fmla="*/ 597529 h 1475715"/>
                  <a:gd name="connsiteX29" fmla="*/ 814812 w 851025"/>
                  <a:gd name="connsiteY29" fmla="*/ 651850 h 1475715"/>
                  <a:gd name="connsiteX30" fmla="*/ 810285 w 851025"/>
                  <a:gd name="connsiteY30" fmla="*/ 697117 h 1475715"/>
                  <a:gd name="connsiteX31" fmla="*/ 823865 w 851025"/>
                  <a:gd name="connsiteY31" fmla="*/ 719751 h 1475715"/>
                  <a:gd name="connsiteX32" fmla="*/ 851025 w 851025"/>
                  <a:gd name="connsiteY32" fmla="*/ 733331 h 1475715"/>
                  <a:gd name="connsiteX33" fmla="*/ 828392 w 851025"/>
                  <a:gd name="connsiteY33" fmla="*/ 751438 h 1475715"/>
                  <a:gd name="connsiteX34" fmla="*/ 832919 w 851025"/>
                  <a:gd name="connsiteY34" fmla="*/ 787652 h 1475715"/>
                  <a:gd name="connsiteX35" fmla="*/ 796705 w 851025"/>
                  <a:gd name="connsiteY35" fmla="*/ 814812 h 1475715"/>
                  <a:gd name="connsiteX36" fmla="*/ 746911 w 851025"/>
                  <a:gd name="connsiteY36" fmla="*/ 787652 h 1475715"/>
                  <a:gd name="connsiteX37" fmla="*/ 692590 w 851025"/>
                  <a:gd name="connsiteY37" fmla="*/ 774072 h 1475715"/>
                  <a:gd name="connsiteX38" fmla="*/ 588475 w 851025"/>
                  <a:gd name="connsiteY38" fmla="*/ 819339 h 1475715"/>
                  <a:gd name="connsiteX39" fmla="*/ 506994 w 851025"/>
                  <a:gd name="connsiteY39" fmla="*/ 900820 h 1475715"/>
                  <a:gd name="connsiteX40" fmla="*/ 497940 w 851025"/>
                  <a:gd name="connsiteY40" fmla="*/ 955141 h 1475715"/>
                  <a:gd name="connsiteX41" fmla="*/ 511520 w 851025"/>
                  <a:gd name="connsiteY41" fmla="*/ 1023042 h 1475715"/>
                  <a:gd name="connsiteX42" fmla="*/ 525101 w 851025"/>
                  <a:gd name="connsiteY42" fmla="*/ 1072836 h 1475715"/>
                  <a:gd name="connsiteX43" fmla="*/ 525101 w 851025"/>
                  <a:gd name="connsiteY43" fmla="*/ 1136210 h 1475715"/>
                  <a:gd name="connsiteX44" fmla="*/ 502467 w 851025"/>
                  <a:gd name="connsiteY44" fmla="*/ 1176951 h 1475715"/>
                  <a:gd name="connsiteX45" fmla="*/ 448146 w 851025"/>
                  <a:gd name="connsiteY45" fmla="*/ 1195058 h 1475715"/>
                  <a:gd name="connsiteX46" fmla="*/ 402879 w 851025"/>
                  <a:gd name="connsiteY46" fmla="*/ 1213165 h 1475715"/>
                  <a:gd name="connsiteX47" fmla="*/ 357612 w 851025"/>
                  <a:gd name="connsiteY47" fmla="*/ 1231272 h 1475715"/>
                  <a:gd name="connsiteX48" fmla="*/ 294237 w 851025"/>
                  <a:gd name="connsiteY48" fmla="*/ 1344440 h 1475715"/>
                  <a:gd name="connsiteX49" fmla="*/ 285184 w 851025"/>
                  <a:gd name="connsiteY49" fmla="*/ 1398761 h 1475715"/>
                  <a:gd name="connsiteX50" fmla="*/ 276130 w 851025"/>
                  <a:gd name="connsiteY50" fmla="*/ 1448555 h 1475715"/>
                  <a:gd name="connsiteX51" fmla="*/ 221810 w 851025"/>
                  <a:gd name="connsiteY51" fmla="*/ 1475715 h 1475715"/>
                  <a:gd name="connsiteX52" fmla="*/ 153909 w 851025"/>
                  <a:gd name="connsiteY52" fmla="*/ 1466662 h 1475715"/>
                  <a:gd name="connsiteX53" fmla="*/ 99588 w 851025"/>
                  <a:gd name="connsiteY53" fmla="*/ 1475715 h 1475715"/>
                  <a:gd name="connsiteX54" fmla="*/ 9053 w 851025"/>
                  <a:gd name="connsiteY54" fmla="*/ 1444028 h 1475715"/>
                  <a:gd name="connsiteX55" fmla="*/ 4526 w 851025"/>
                  <a:gd name="connsiteY55" fmla="*/ 1403287 h 1475715"/>
                  <a:gd name="connsiteX56" fmla="*/ 36214 w 851025"/>
                  <a:gd name="connsiteY56" fmla="*/ 1389707 h 1475715"/>
                  <a:gd name="connsiteX57" fmla="*/ 0 w 851025"/>
                  <a:gd name="connsiteY57" fmla="*/ 1339913 h 1475715"/>
                  <a:gd name="connsiteX58" fmla="*/ 13580 w 851025"/>
                  <a:gd name="connsiteY58" fmla="*/ 1339913 h 1475715"/>
                  <a:gd name="connsiteX59" fmla="*/ 13580 w 851025"/>
                  <a:gd name="connsiteY59" fmla="*/ 1267485 h 1475715"/>
                  <a:gd name="connsiteX60" fmla="*/ 76954 w 851025"/>
                  <a:gd name="connsiteY60" fmla="*/ 1249378 h 1475715"/>
                  <a:gd name="connsiteX61" fmla="*/ 162962 w 851025"/>
                  <a:gd name="connsiteY61" fmla="*/ 1167897 h 1475715"/>
                  <a:gd name="connsiteX62" fmla="*/ 181069 w 851025"/>
                  <a:gd name="connsiteY62" fmla="*/ 1090943 h 1475715"/>
                  <a:gd name="connsiteX63" fmla="*/ 167489 w 851025"/>
                  <a:gd name="connsiteY63" fmla="*/ 1045676 h 1475715"/>
                  <a:gd name="connsiteX64" fmla="*/ 117695 w 851025"/>
                  <a:gd name="connsiteY64" fmla="*/ 1009462 h 1475715"/>
                  <a:gd name="connsiteX65" fmla="*/ 135802 w 851025"/>
                  <a:gd name="connsiteY65" fmla="*/ 977775 h 1475715"/>
                  <a:gd name="connsiteX66" fmla="*/ 181069 w 851025"/>
                  <a:gd name="connsiteY66" fmla="*/ 959668 h 1475715"/>
                  <a:gd name="connsiteX67" fmla="*/ 239917 w 851025"/>
                  <a:gd name="connsiteY67" fmla="*/ 927980 h 1475715"/>
                  <a:gd name="connsiteX68" fmla="*/ 276130 w 851025"/>
                  <a:gd name="connsiteY68" fmla="*/ 955141 h 1475715"/>
                  <a:gd name="connsiteX69" fmla="*/ 316871 w 851025"/>
                  <a:gd name="connsiteY69" fmla="*/ 914400 h 1475715"/>
                  <a:gd name="connsiteX70" fmla="*/ 339505 w 851025"/>
                  <a:gd name="connsiteY70" fmla="*/ 855553 h 1475715"/>
                  <a:gd name="connsiteX71" fmla="*/ 348558 w 851025"/>
                  <a:gd name="connsiteY71" fmla="*/ 814812 h 1475715"/>
                  <a:gd name="connsiteX72" fmla="*/ 312344 w 851025"/>
                  <a:gd name="connsiteY72" fmla="*/ 787652 h 1475715"/>
                  <a:gd name="connsiteX73" fmla="*/ 298764 w 851025"/>
                  <a:gd name="connsiteY73" fmla="*/ 778598 h 1475715"/>
                  <a:gd name="connsiteX74" fmla="*/ 235390 w 851025"/>
                  <a:gd name="connsiteY74" fmla="*/ 715224 h 1475715"/>
                  <a:gd name="connsiteX75" fmla="*/ 248970 w 851025"/>
                  <a:gd name="connsiteY75" fmla="*/ 588476 h 1475715"/>
                  <a:gd name="connsiteX76" fmla="*/ 199176 w 851025"/>
                  <a:gd name="connsiteY76" fmla="*/ 457200 h 1475715"/>
                  <a:gd name="connsiteX77" fmla="*/ 162962 w 851025"/>
                  <a:gd name="connsiteY77" fmla="*/ 384773 h 1475715"/>
                  <a:gd name="connsiteX78" fmla="*/ 140328 w 851025"/>
                  <a:gd name="connsiteY78" fmla="*/ 389299 h 1475715"/>
                  <a:gd name="connsiteX79" fmla="*/ 108641 w 851025"/>
                  <a:gd name="connsiteY79" fmla="*/ 316872 h 1475715"/>
                  <a:gd name="connsiteX80" fmla="*/ 108641 w 851025"/>
                  <a:gd name="connsiteY80" fmla="*/ 285184 h 1475715"/>
                  <a:gd name="connsiteX81" fmla="*/ 99588 w 851025"/>
                  <a:gd name="connsiteY81" fmla="*/ 239917 h 1475715"/>
                  <a:gd name="connsiteX82" fmla="*/ 81481 w 851025"/>
                  <a:gd name="connsiteY82" fmla="*/ 144856 h 147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851025" h="1475715">
                    <a:moveTo>
                      <a:pt x="81481" y="144856"/>
                    </a:moveTo>
                    <a:lnTo>
                      <a:pt x="99588" y="90535"/>
                    </a:lnTo>
                    <a:lnTo>
                      <a:pt x="140328" y="108642"/>
                    </a:lnTo>
                    <a:lnTo>
                      <a:pt x="176542" y="90535"/>
                    </a:lnTo>
                    <a:lnTo>
                      <a:pt x="208229" y="113169"/>
                    </a:lnTo>
                    <a:lnTo>
                      <a:pt x="253497" y="158436"/>
                    </a:lnTo>
                    <a:lnTo>
                      <a:pt x="312344" y="140329"/>
                    </a:lnTo>
                    <a:lnTo>
                      <a:pt x="375719" y="126749"/>
                    </a:lnTo>
                    <a:lnTo>
                      <a:pt x="393825" y="144856"/>
                    </a:lnTo>
                    <a:lnTo>
                      <a:pt x="402879" y="95062"/>
                    </a:lnTo>
                    <a:lnTo>
                      <a:pt x="402879" y="36214"/>
                    </a:lnTo>
                    <a:lnTo>
                      <a:pt x="420986" y="0"/>
                    </a:lnTo>
                    <a:lnTo>
                      <a:pt x="502467" y="9054"/>
                    </a:lnTo>
                    <a:lnTo>
                      <a:pt x="538681" y="18107"/>
                    </a:lnTo>
                    <a:lnTo>
                      <a:pt x="525101" y="67901"/>
                    </a:lnTo>
                    <a:lnTo>
                      <a:pt x="525101" y="104115"/>
                    </a:lnTo>
                    <a:lnTo>
                      <a:pt x="525101" y="104115"/>
                    </a:lnTo>
                    <a:lnTo>
                      <a:pt x="466253" y="226337"/>
                    </a:lnTo>
                    <a:lnTo>
                      <a:pt x="466253" y="276131"/>
                    </a:lnTo>
                    <a:lnTo>
                      <a:pt x="484360" y="312345"/>
                    </a:lnTo>
                    <a:lnTo>
                      <a:pt x="493414" y="330452"/>
                    </a:lnTo>
                    <a:lnTo>
                      <a:pt x="565841" y="353085"/>
                    </a:lnTo>
                    <a:lnTo>
                      <a:pt x="602055" y="348559"/>
                    </a:lnTo>
                    <a:lnTo>
                      <a:pt x="706170" y="411933"/>
                    </a:lnTo>
                    <a:lnTo>
                      <a:pt x="755964" y="425513"/>
                    </a:lnTo>
                    <a:lnTo>
                      <a:pt x="755964" y="461727"/>
                    </a:lnTo>
                    <a:lnTo>
                      <a:pt x="810285" y="479834"/>
                    </a:lnTo>
                    <a:lnTo>
                      <a:pt x="792178" y="552262"/>
                    </a:lnTo>
                    <a:lnTo>
                      <a:pt x="814812" y="597529"/>
                    </a:lnTo>
                    <a:lnTo>
                      <a:pt x="814812" y="651850"/>
                    </a:lnTo>
                    <a:lnTo>
                      <a:pt x="810285" y="697117"/>
                    </a:lnTo>
                    <a:lnTo>
                      <a:pt x="823865" y="719751"/>
                    </a:lnTo>
                    <a:lnTo>
                      <a:pt x="851025" y="733331"/>
                    </a:lnTo>
                    <a:lnTo>
                      <a:pt x="828392" y="751438"/>
                    </a:lnTo>
                    <a:lnTo>
                      <a:pt x="832919" y="787652"/>
                    </a:lnTo>
                    <a:lnTo>
                      <a:pt x="796705" y="814812"/>
                    </a:lnTo>
                    <a:lnTo>
                      <a:pt x="746911" y="787652"/>
                    </a:lnTo>
                    <a:lnTo>
                      <a:pt x="692590" y="774072"/>
                    </a:lnTo>
                    <a:lnTo>
                      <a:pt x="588475" y="819339"/>
                    </a:lnTo>
                    <a:lnTo>
                      <a:pt x="506994" y="900820"/>
                    </a:lnTo>
                    <a:lnTo>
                      <a:pt x="497940" y="955141"/>
                    </a:lnTo>
                    <a:lnTo>
                      <a:pt x="511520" y="1023042"/>
                    </a:lnTo>
                    <a:lnTo>
                      <a:pt x="525101" y="1072836"/>
                    </a:lnTo>
                    <a:lnTo>
                      <a:pt x="525101" y="1136210"/>
                    </a:lnTo>
                    <a:lnTo>
                      <a:pt x="502467" y="1176951"/>
                    </a:lnTo>
                    <a:lnTo>
                      <a:pt x="448146" y="1195058"/>
                    </a:lnTo>
                    <a:lnTo>
                      <a:pt x="402879" y="1213165"/>
                    </a:lnTo>
                    <a:lnTo>
                      <a:pt x="357612" y="1231272"/>
                    </a:lnTo>
                    <a:lnTo>
                      <a:pt x="294237" y="1344440"/>
                    </a:lnTo>
                    <a:lnTo>
                      <a:pt x="285184" y="1398761"/>
                    </a:lnTo>
                    <a:lnTo>
                      <a:pt x="276130" y="1448555"/>
                    </a:lnTo>
                    <a:lnTo>
                      <a:pt x="221810" y="1475715"/>
                    </a:lnTo>
                    <a:lnTo>
                      <a:pt x="153909" y="1466662"/>
                    </a:lnTo>
                    <a:lnTo>
                      <a:pt x="99588" y="1475715"/>
                    </a:lnTo>
                    <a:lnTo>
                      <a:pt x="9053" y="1444028"/>
                    </a:lnTo>
                    <a:lnTo>
                      <a:pt x="4526" y="1403287"/>
                    </a:lnTo>
                    <a:lnTo>
                      <a:pt x="36214" y="1389707"/>
                    </a:lnTo>
                    <a:lnTo>
                      <a:pt x="0" y="1339913"/>
                    </a:lnTo>
                    <a:lnTo>
                      <a:pt x="13580" y="1339913"/>
                    </a:lnTo>
                    <a:lnTo>
                      <a:pt x="13580" y="1267485"/>
                    </a:lnTo>
                    <a:lnTo>
                      <a:pt x="76954" y="1249378"/>
                    </a:lnTo>
                    <a:lnTo>
                      <a:pt x="162962" y="1167897"/>
                    </a:lnTo>
                    <a:lnTo>
                      <a:pt x="181069" y="1090943"/>
                    </a:lnTo>
                    <a:lnTo>
                      <a:pt x="167489" y="1045676"/>
                    </a:lnTo>
                    <a:lnTo>
                      <a:pt x="117695" y="1009462"/>
                    </a:lnTo>
                    <a:lnTo>
                      <a:pt x="135802" y="977775"/>
                    </a:lnTo>
                    <a:lnTo>
                      <a:pt x="181069" y="959668"/>
                    </a:lnTo>
                    <a:lnTo>
                      <a:pt x="239917" y="927980"/>
                    </a:lnTo>
                    <a:lnTo>
                      <a:pt x="276130" y="955141"/>
                    </a:lnTo>
                    <a:lnTo>
                      <a:pt x="316871" y="914400"/>
                    </a:lnTo>
                    <a:lnTo>
                      <a:pt x="339505" y="855553"/>
                    </a:lnTo>
                    <a:lnTo>
                      <a:pt x="348558" y="814812"/>
                    </a:lnTo>
                    <a:lnTo>
                      <a:pt x="312344" y="787652"/>
                    </a:lnTo>
                    <a:lnTo>
                      <a:pt x="298764" y="778598"/>
                    </a:lnTo>
                    <a:lnTo>
                      <a:pt x="235390" y="715224"/>
                    </a:lnTo>
                    <a:lnTo>
                      <a:pt x="248970" y="588476"/>
                    </a:lnTo>
                    <a:lnTo>
                      <a:pt x="199176" y="457200"/>
                    </a:lnTo>
                    <a:lnTo>
                      <a:pt x="162962" y="384773"/>
                    </a:lnTo>
                    <a:lnTo>
                      <a:pt x="140328" y="389299"/>
                    </a:lnTo>
                    <a:lnTo>
                      <a:pt x="108641" y="316872"/>
                    </a:lnTo>
                    <a:lnTo>
                      <a:pt x="108641" y="285184"/>
                    </a:lnTo>
                    <a:lnTo>
                      <a:pt x="99588" y="239917"/>
                    </a:lnTo>
                    <a:lnTo>
                      <a:pt x="81481" y="1448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2" name="Figura a mano libera 231"/>
              <p:cNvSpPr/>
              <p:nvPr/>
            </p:nvSpPr>
            <p:spPr bwMode="auto">
              <a:xfrm>
                <a:off x="3141591" y="5133670"/>
                <a:ext cx="1401877" cy="860256"/>
              </a:xfrm>
              <a:custGeom>
                <a:avLst/>
                <a:gdLst>
                  <a:gd name="connsiteX0" fmla="*/ 1688306 w 1745456"/>
                  <a:gd name="connsiteY0" fmla="*/ 0 h 1097756"/>
                  <a:gd name="connsiteX1" fmla="*/ 1745456 w 1745456"/>
                  <a:gd name="connsiteY1" fmla="*/ 23812 h 1097756"/>
                  <a:gd name="connsiteX2" fmla="*/ 1697831 w 1745456"/>
                  <a:gd name="connsiteY2" fmla="*/ 57150 h 1097756"/>
                  <a:gd name="connsiteX3" fmla="*/ 1657350 w 1745456"/>
                  <a:gd name="connsiteY3" fmla="*/ 178594 h 1097756"/>
                  <a:gd name="connsiteX4" fmla="*/ 1533525 w 1745456"/>
                  <a:gd name="connsiteY4" fmla="*/ 321469 h 1097756"/>
                  <a:gd name="connsiteX5" fmla="*/ 1507331 w 1745456"/>
                  <a:gd name="connsiteY5" fmla="*/ 397669 h 1097756"/>
                  <a:gd name="connsiteX6" fmla="*/ 1493044 w 1745456"/>
                  <a:gd name="connsiteY6" fmla="*/ 428625 h 1097756"/>
                  <a:gd name="connsiteX7" fmla="*/ 1504950 w 1745456"/>
                  <a:gd name="connsiteY7" fmla="*/ 483394 h 1097756"/>
                  <a:gd name="connsiteX8" fmla="*/ 1471613 w 1745456"/>
                  <a:gd name="connsiteY8" fmla="*/ 500062 h 1097756"/>
                  <a:gd name="connsiteX9" fmla="*/ 1440656 w 1745456"/>
                  <a:gd name="connsiteY9" fmla="*/ 547687 h 1097756"/>
                  <a:gd name="connsiteX10" fmla="*/ 1443038 w 1745456"/>
                  <a:gd name="connsiteY10" fmla="*/ 657225 h 1097756"/>
                  <a:gd name="connsiteX11" fmla="*/ 1519238 w 1745456"/>
                  <a:gd name="connsiteY11" fmla="*/ 685800 h 1097756"/>
                  <a:gd name="connsiteX12" fmla="*/ 1538288 w 1745456"/>
                  <a:gd name="connsiteY12" fmla="*/ 702469 h 1097756"/>
                  <a:gd name="connsiteX13" fmla="*/ 1502569 w 1745456"/>
                  <a:gd name="connsiteY13" fmla="*/ 707231 h 1097756"/>
                  <a:gd name="connsiteX14" fmla="*/ 1519238 w 1745456"/>
                  <a:gd name="connsiteY14" fmla="*/ 785812 h 1097756"/>
                  <a:gd name="connsiteX15" fmla="*/ 1557338 w 1745456"/>
                  <a:gd name="connsiteY15" fmla="*/ 795337 h 1097756"/>
                  <a:gd name="connsiteX16" fmla="*/ 1574006 w 1745456"/>
                  <a:gd name="connsiteY16" fmla="*/ 816769 h 1097756"/>
                  <a:gd name="connsiteX17" fmla="*/ 1559719 w 1745456"/>
                  <a:gd name="connsiteY17" fmla="*/ 845344 h 1097756"/>
                  <a:gd name="connsiteX18" fmla="*/ 1550194 w 1745456"/>
                  <a:gd name="connsiteY18" fmla="*/ 876300 h 1097756"/>
                  <a:gd name="connsiteX19" fmla="*/ 1531144 w 1745456"/>
                  <a:gd name="connsiteY19" fmla="*/ 885825 h 1097756"/>
                  <a:gd name="connsiteX20" fmla="*/ 1478756 w 1745456"/>
                  <a:gd name="connsiteY20" fmla="*/ 912019 h 1097756"/>
                  <a:gd name="connsiteX21" fmla="*/ 1450181 w 1745456"/>
                  <a:gd name="connsiteY21" fmla="*/ 971550 h 1097756"/>
                  <a:gd name="connsiteX22" fmla="*/ 1464469 w 1745456"/>
                  <a:gd name="connsiteY22" fmla="*/ 1062037 h 1097756"/>
                  <a:gd name="connsiteX23" fmla="*/ 1483519 w 1745456"/>
                  <a:gd name="connsiteY23" fmla="*/ 1092994 h 1097756"/>
                  <a:gd name="connsiteX24" fmla="*/ 1445419 w 1745456"/>
                  <a:gd name="connsiteY24" fmla="*/ 1097756 h 1097756"/>
                  <a:gd name="connsiteX25" fmla="*/ 1426369 w 1745456"/>
                  <a:gd name="connsiteY25" fmla="*/ 1057275 h 1097756"/>
                  <a:gd name="connsiteX26" fmla="*/ 1400175 w 1745456"/>
                  <a:gd name="connsiteY26" fmla="*/ 1057275 h 1097756"/>
                  <a:gd name="connsiteX27" fmla="*/ 1385888 w 1745456"/>
                  <a:gd name="connsiteY27" fmla="*/ 1073944 h 1097756"/>
                  <a:gd name="connsiteX28" fmla="*/ 1328738 w 1745456"/>
                  <a:gd name="connsiteY28" fmla="*/ 1033462 h 1097756"/>
                  <a:gd name="connsiteX29" fmla="*/ 1264444 w 1745456"/>
                  <a:gd name="connsiteY29" fmla="*/ 1062037 h 1097756"/>
                  <a:gd name="connsiteX30" fmla="*/ 1202531 w 1745456"/>
                  <a:gd name="connsiteY30" fmla="*/ 1026319 h 1097756"/>
                  <a:gd name="connsiteX31" fmla="*/ 1147763 w 1745456"/>
                  <a:gd name="connsiteY31" fmla="*/ 1002506 h 1097756"/>
                  <a:gd name="connsiteX32" fmla="*/ 1126331 w 1745456"/>
                  <a:gd name="connsiteY32" fmla="*/ 1002506 h 1097756"/>
                  <a:gd name="connsiteX33" fmla="*/ 1090613 w 1745456"/>
                  <a:gd name="connsiteY33" fmla="*/ 978694 h 1097756"/>
                  <a:gd name="connsiteX34" fmla="*/ 1004888 w 1745456"/>
                  <a:gd name="connsiteY34" fmla="*/ 831056 h 1097756"/>
                  <a:gd name="connsiteX35" fmla="*/ 897731 w 1745456"/>
                  <a:gd name="connsiteY35" fmla="*/ 792956 h 1097756"/>
                  <a:gd name="connsiteX36" fmla="*/ 854869 w 1745456"/>
                  <a:gd name="connsiteY36" fmla="*/ 792956 h 1097756"/>
                  <a:gd name="connsiteX37" fmla="*/ 802481 w 1745456"/>
                  <a:gd name="connsiteY37" fmla="*/ 792956 h 1097756"/>
                  <a:gd name="connsiteX38" fmla="*/ 790575 w 1745456"/>
                  <a:gd name="connsiteY38" fmla="*/ 807244 h 1097756"/>
                  <a:gd name="connsiteX39" fmla="*/ 769144 w 1745456"/>
                  <a:gd name="connsiteY39" fmla="*/ 769144 h 1097756"/>
                  <a:gd name="connsiteX40" fmla="*/ 719138 w 1745456"/>
                  <a:gd name="connsiteY40" fmla="*/ 759619 h 1097756"/>
                  <a:gd name="connsiteX41" fmla="*/ 666750 w 1745456"/>
                  <a:gd name="connsiteY41" fmla="*/ 721519 h 1097756"/>
                  <a:gd name="connsiteX42" fmla="*/ 631031 w 1745456"/>
                  <a:gd name="connsiteY42" fmla="*/ 683419 h 1097756"/>
                  <a:gd name="connsiteX43" fmla="*/ 626269 w 1745456"/>
                  <a:gd name="connsiteY43" fmla="*/ 681037 h 1097756"/>
                  <a:gd name="connsiteX44" fmla="*/ 566738 w 1745456"/>
                  <a:gd name="connsiteY44" fmla="*/ 673894 h 1097756"/>
                  <a:gd name="connsiteX45" fmla="*/ 526256 w 1745456"/>
                  <a:gd name="connsiteY45" fmla="*/ 654844 h 1097756"/>
                  <a:gd name="connsiteX46" fmla="*/ 471488 w 1745456"/>
                  <a:gd name="connsiteY46" fmla="*/ 607219 h 1097756"/>
                  <a:gd name="connsiteX47" fmla="*/ 411956 w 1745456"/>
                  <a:gd name="connsiteY47" fmla="*/ 540544 h 1097756"/>
                  <a:gd name="connsiteX48" fmla="*/ 392906 w 1745456"/>
                  <a:gd name="connsiteY48" fmla="*/ 526256 h 1097756"/>
                  <a:gd name="connsiteX49" fmla="*/ 333375 w 1745456"/>
                  <a:gd name="connsiteY49" fmla="*/ 523875 h 1097756"/>
                  <a:gd name="connsiteX50" fmla="*/ 300038 w 1745456"/>
                  <a:gd name="connsiteY50" fmla="*/ 504825 h 1097756"/>
                  <a:gd name="connsiteX51" fmla="*/ 271463 w 1745456"/>
                  <a:gd name="connsiteY51" fmla="*/ 469106 h 1097756"/>
                  <a:gd name="connsiteX52" fmla="*/ 164306 w 1745456"/>
                  <a:gd name="connsiteY52" fmla="*/ 473869 h 1097756"/>
                  <a:gd name="connsiteX53" fmla="*/ 142875 w 1745456"/>
                  <a:gd name="connsiteY53" fmla="*/ 490537 h 1097756"/>
                  <a:gd name="connsiteX54" fmla="*/ 83344 w 1745456"/>
                  <a:gd name="connsiteY54" fmla="*/ 411956 h 1097756"/>
                  <a:gd name="connsiteX55" fmla="*/ 52388 w 1745456"/>
                  <a:gd name="connsiteY55" fmla="*/ 414337 h 1097756"/>
                  <a:gd name="connsiteX56" fmla="*/ 28575 w 1745456"/>
                  <a:gd name="connsiteY56" fmla="*/ 378619 h 1097756"/>
                  <a:gd name="connsiteX57" fmla="*/ 26194 w 1745456"/>
                  <a:gd name="connsiteY57" fmla="*/ 342900 h 1097756"/>
                  <a:gd name="connsiteX58" fmla="*/ 4763 w 1745456"/>
                  <a:gd name="connsiteY58" fmla="*/ 323850 h 1097756"/>
                  <a:gd name="connsiteX59" fmla="*/ 35719 w 1745456"/>
                  <a:gd name="connsiteY59" fmla="*/ 295275 h 1097756"/>
                  <a:gd name="connsiteX60" fmla="*/ 0 w 1745456"/>
                  <a:gd name="connsiteY60" fmla="*/ 266700 h 1097756"/>
                  <a:gd name="connsiteX61" fmla="*/ 42863 w 1745456"/>
                  <a:gd name="connsiteY61" fmla="*/ 233362 h 1097756"/>
                  <a:gd name="connsiteX62" fmla="*/ 45244 w 1745456"/>
                  <a:gd name="connsiteY62" fmla="*/ 176212 h 1097756"/>
                  <a:gd name="connsiteX63" fmla="*/ 92869 w 1745456"/>
                  <a:gd name="connsiteY63" fmla="*/ 140494 h 1097756"/>
                  <a:gd name="connsiteX64" fmla="*/ 140494 w 1745456"/>
                  <a:gd name="connsiteY64" fmla="*/ 116681 h 1097756"/>
                  <a:gd name="connsiteX65" fmla="*/ 190500 w 1745456"/>
                  <a:gd name="connsiteY65" fmla="*/ 76200 h 1097756"/>
                  <a:gd name="connsiteX66" fmla="*/ 219075 w 1745456"/>
                  <a:gd name="connsiteY66" fmla="*/ 147637 h 1097756"/>
                  <a:gd name="connsiteX67" fmla="*/ 273844 w 1745456"/>
                  <a:gd name="connsiteY67" fmla="*/ 180975 h 1097756"/>
                  <a:gd name="connsiteX68" fmla="*/ 319088 w 1745456"/>
                  <a:gd name="connsiteY68" fmla="*/ 154781 h 1097756"/>
                  <a:gd name="connsiteX69" fmla="*/ 359569 w 1745456"/>
                  <a:gd name="connsiteY69" fmla="*/ 154781 h 1097756"/>
                  <a:gd name="connsiteX70" fmla="*/ 357188 w 1745456"/>
                  <a:gd name="connsiteY70" fmla="*/ 123825 h 1097756"/>
                  <a:gd name="connsiteX71" fmla="*/ 366713 w 1745456"/>
                  <a:gd name="connsiteY71" fmla="*/ 69056 h 1097756"/>
                  <a:gd name="connsiteX72" fmla="*/ 402431 w 1745456"/>
                  <a:gd name="connsiteY72" fmla="*/ 85725 h 1097756"/>
                  <a:gd name="connsiteX73" fmla="*/ 447675 w 1745456"/>
                  <a:gd name="connsiteY73" fmla="*/ 85725 h 1097756"/>
                  <a:gd name="connsiteX74" fmla="*/ 481013 w 1745456"/>
                  <a:gd name="connsiteY74" fmla="*/ 54769 h 1097756"/>
                  <a:gd name="connsiteX75" fmla="*/ 516731 w 1745456"/>
                  <a:gd name="connsiteY75" fmla="*/ 71437 h 1097756"/>
                  <a:gd name="connsiteX76" fmla="*/ 528638 w 1745456"/>
                  <a:gd name="connsiteY76" fmla="*/ 102394 h 1097756"/>
                  <a:gd name="connsiteX77" fmla="*/ 511969 w 1745456"/>
                  <a:gd name="connsiteY77" fmla="*/ 133350 h 1097756"/>
                  <a:gd name="connsiteX78" fmla="*/ 595313 w 1745456"/>
                  <a:gd name="connsiteY78" fmla="*/ 126206 h 1097756"/>
                  <a:gd name="connsiteX79" fmla="*/ 595313 w 1745456"/>
                  <a:gd name="connsiteY79" fmla="*/ 126206 h 1097756"/>
                  <a:gd name="connsiteX80" fmla="*/ 621506 w 1745456"/>
                  <a:gd name="connsiteY80" fmla="*/ 159544 h 1097756"/>
                  <a:gd name="connsiteX81" fmla="*/ 647700 w 1745456"/>
                  <a:gd name="connsiteY81" fmla="*/ 204787 h 1097756"/>
                  <a:gd name="connsiteX82" fmla="*/ 726281 w 1745456"/>
                  <a:gd name="connsiteY82" fmla="*/ 221456 h 1097756"/>
                  <a:gd name="connsiteX83" fmla="*/ 785813 w 1745456"/>
                  <a:gd name="connsiteY83" fmla="*/ 211931 h 1097756"/>
                  <a:gd name="connsiteX84" fmla="*/ 857250 w 1745456"/>
                  <a:gd name="connsiteY84" fmla="*/ 176212 h 1097756"/>
                  <a:gd name="connsiteX85" fmla="*/ 888206 w 1745456"/>
                  <a:gd name="connsiteY85" fmla="*/ 176212 h 1097756"/>
                  <a:gd name="connsiteX86" fmla="*/ 959644 w 1745456"/>
                  <a:gd name="connsiteY86" fmla="*/ 192881 h 1097756"/>
                  <a:gd name="connsiteX87" fmla="*/ 1059656 w 1745456"/>
                  <a:gd name="connsiteY87" fmla="*/ 192881 h 1097756"/>
                  <a:gd name="connsiteX88" fmla="*/ 1166813 w 1745456"/>
                  <a:gd name="connsiteY88" fmla="*/ 171450 h 1097756"/>
                  <a:gd name="connsiteX89" fmla="*/ 1245394 w 1745456"/>
                  <a:gd name="connsiteY89" fmla="*/ 119062 h 1097756"/>
                  <a:gd name="connsiteX90" fmla="*/ 1273969 w 1745456"/>
                  <a:gd name="connsiteY90" fmla="*/ 102394 h 1097756"/>
                  <a:gd name="connsiteX91" fmla="*/ 1366838 w 1745456"/>
                  <a:gd name="connsiteY91" fmla="*/ 76200 h 1097756"/>
                  <a:gd name="connsiteX92" fmla="*/ 1402556 w 1745456"/>
                  <a:gd name="connsiteY92" fmla="*/ 114300 h 1097756"/>
                  <a:gd name="connsiteX93" fmla="*/ 1462088 w 1745456"/>
                  <a:gd name="connsiteY93" fmla="*/ 128587 h 1097756"/>
                  <a:gd name="connsiteX94" fmla="*/ 1512094 w 1745456"/>
                  <a:gd name="connsiteY94" fmla="*/ 107156 h 1097756"/>
                  <a:gd name="connsiteX95" fmla="*/ 1528763 w 1745456"/>
                  <a:gd name="connsiteY95" fmla="*/ 61912 h 1097756"/>
                  <a:gd name="connsiteX96" fmla="*/ 1585913 w 1745456"/>
                  <a:gd name="connsiteY96" fmla="*/ 61912 h 1097756"/>
                  <a:gd name="connsiteX97" fmla="*/ 1621631 w 1745456"/>
                  <a:gd name="connsiteY97" fmla="*/ 42862 h 1097756"/>
                  <a:gd name="connsiteX98" fmla="*/ 1688306 w 1745456"/>
                  <a:gd name="connsiteY98" fmla="*/ 0 h 109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745456" h="1097756">
                    <a:moveTo>
                      <a:pt x="1688306" y="0"/>
                    </a:moveTo>
                    <a:lnTo>
                      <a:pt x="1745456" y="23812"/>
                    </a:lnTo>
                    <a:lnTo>
                      <a:pt x="1697831" y="57150"/>
                    </a:lnTo>
                    <a:lnTo>
                      <a:pt x="1657350" y="178594"/>
                    </a:lnTo>
                    <a:lnTo>
                      <a:pt x="1533525" y="321469"/>
                    </a:lnTo>
                    <a:lnTo>
                      <a:pt x="1507331" y="397669"/>
                    </a:lnTo>
                    <a:lnTo>
                      <a:pt x="1493044" y="428625"/>
                    </a:lnTo>
                    <a:lnTo>
                      <a:pt x="1504950" y="483394"/>
                    </a:lnTo>
                    <a:lnTo>
                      <a:pt x="1471613" y="500062"/>
                    </a:lnTo>
                    <a:lnTo>
                      <a:pt x="1440656" y="547687"/>
                    </a:lnTo>
                    <a:lnTo>
                      <a:pt x="1443038" y="657225"/>
                    </a:lnTo>
                    <a:lnTo>
                      <a:pt x="1519238" y="685800"/>
                    </a:lnTo>
                    <a:lnTo>
                      <a:pt x="1538288" y="702469"/>
                    </a:lnTo>
                    <a:lnTo>
                      <a:pt x="1502569" y="707231"/>
                    </a:lnTo>
                    <a:lnTo>
                      <a:pt x="1519238" y="785812"/>
                    </a:lnTo>
                    <a:lnTo>
                      <a:pt x="1557338" y="795337"/>
                    </a:lnTo>
                    <a:lnTo>
                      <a:pt x="1574006" y="816769"/>
                    </a:lnTo>
                    <a:lnTo>
                      <a:pt x="1559719" y="845344"/>
                    </a:lnTo>
                    <a:lnTo>
                      <a:pt x="1550194" y="876300"/>
                    </a:lnTo>
                    <a:lnTo>
                      <a:pt x="1531144" y="885825"/>
                    </a:lnTo>
                    <a:lnTo>
                      <a:pt x="1478756" y="912019"/>
                    </a:lnTo>
                    <a:lnTo>
                      <a:pt x="1450181" y="971550"/>
                    </a:lnTo>
                    <a:lnTo>
                      <a:pt x="1464469" y="1062037"/>
                    </a:lnTo>
                    <a:lnTo>
                      <a:pt x="1483519" y="1092994"/>
                    </a:lnTo>
                    <a:lnTo>
                      <a:pt x="1445419" y="1097756"/>
                    </a:lnTo>
                    <a:lnTo>
                      <a:pt x="1426369" y="1057275"/>
                    </a:lnTo>
                    <a:lnTo>
                      <a:pt x="1400175" y="1057275"/>
                    </a:lnTo>
                    <a:lnTo>
                      <a:pt x="1385888" y="1073944"/>
                    </a:lnTo>
                    <a:lnTo>
                      <a:pt x="1328738" y="1033462"/>
                    </a:lnTo>
                    <a:lnTo>
                      <a:pt x="1264444" y="1062037"/>
                    </a:lnTo>
                    <a:lnTo>
                      <a:pt x="1202531" y="1026319"/>
                    </a:lnTo>
                    <a:lnTo>
                      <a:pt x="1147763" y="1002506"/>
                    </a:lnTo>
                    <a:lnTo>
                      <a:pt x="1126331" y="1002506"/>
                    </a:lnTo>
                    <a:lnTo>
                      <a:pt x="1090613" y="978694"/>
                    </a:lnTo>
                    <a:lnTo>
                      <a:pt x="1004888" y="831056"/>
                    </a:lnTo>
                    <a:lnTo>
                      <a:pt x="897731" y="792956"/>
                    </a:lnTo>
                    <a:lnTo>
                      <a:pt x="854869" y="792956"/>
                    </a:lnTo>
                    <a:lnTo>
                      <a:pt x="802481" y="792956"/>
                    </a:lnTo>
                    <a:lnTo>
                      <a:pt x="790575" y="807244"/>
                    </a:lnTo>
                    <a:lnTo>
                      <a:pt x="769144" y="769144"/>
                    </a:lnTo>
                    <a:lnTo>
                      <a:pt x="719138" y="759619"/>
                    </a:lnTo>
                    <a:lnTo>
                      <a:pt x="666750" y="721519"/>
                    </a:lnTo>
                    <a:lnTo>
                      <a:pt x="631031" y="683419"/>
                    </a:lnTo>
                    <a:lnTo>
                      <a:pt x="626269" y="681037"/>
                    </a:lnTo>
                    <a:lnTo>
                      <a:pt x="566738" y="673894"/>
                    </a:lnTo>
                    <a:lnTo>
                      <a:pt x="526256" y="654844"/>
                    </a:lnTo>
                    <a:lnTo>
                      <a:pt x="471488" y="607219"/>
                    </a:lnTo>
                    <a:lnTo>
                      <a:pt x="411956" y="540544"/>
                    </a:lnTo>
                    <a:lnTo>
                      <a:pt x="392906" y="526256"/>
                    </a:lnTo>
                    <a:lnTo>
                      <a:pt x="333375" y="523875"/>
                    </a:lnTo>
                    <a:lnTo>
                      <a:pt x="300038" y="504825"/>
                    </a:lnTo>
                    <a:lnTo>
                      <a:pt x="271463" y="469106"/>
                    </a:lnTo>
                    <a:lnTo>
                      <a:pt x="164306" y="473869"/>
                    </a:lnTo>
                    <a:lnTo>
                      <a:pt x="142875" y="490537"/>
                    </a:lnTo>
                    <a:lnTo>
                      <a:pt x="83344" y="411956"/>
                    </a:lnTo>
                    <a:lnTo>
                      <a:pt x="52388" y="414337"/>
                    </a:lnTo>
                    <a:lnTo>
                      <a:pt x="28575" y="378619"/>
                    </a:lnTo>
                    <a:lnTo>
                      <a:pt x="26194" y="342900"/>
                    </a:lnTo>
                    <a:lnTo>
                      <a:pt x="4763" y="323850"/>
                    </a:lnTo>
                    <a:lnTo>
                      <a:pt x="35719" y="295275"/>
                    </a:lnTo>
                    <a:lnTo>
                      <a:pt x="0" y="266700"/>
                    </a:lnTo>
                    <a:lnTo>
                      <a:pt x="42863" y="233362"/>
                    </a:lnTo>
                    <a:cubicBezTo>
                      <a:pt x="43657" y="214312"/>
                      <a:pt x="44450" y="195262"/>
                      <a:pt x="45244" y="176212"/>
                    </a:cubicBezTo>
                    <a:lnTo>
                      <a:pt x="92869" y="140494"/>
                    </a:lnTo>
                    <a:lnTo>
                      <a:pt x="140494" y="116681"/>
                    </a:lnTo>
                    <a:lnTo>
                      <a:pt x="190500" y="76200"/>
                    </a:lnTo>
                    <a:lnTo>
                      <a:pt x="219075" y="147637"/>
                    </a:lnTo>
                    <a:lnTo>
                      <a:pt x="273844" y="180975"/>
                    </a:lnTo>
                    <a:lnTo>
                      <a:pt x="319088" y="154781"/>
                    </a:lnTo>
                    <a:lnTo>
                      <a:pt x="359569" y="154781"/>
                    </a:lnTo>
                    <a:lnTo>
                      <a:pt x="357188" y="123825"/>
                    </a:lnTo>
                    <a:lnTo>
                      <a:pt x="366713" y="69056"/>
                    </a:lnTo>
                    <a:lnTo>
                      <a:pt x="402431" y="85725"/>
                    </a:lnTo>
                    <a:lnTo>
                      <a:pt x="447675" y="85725"/>
                    </a:lnTo>
                    <a:lnTo>
                      <a:pt x="481013" y="54769"/>
                    </a:lnTo>
                    <a:lnTo>
                      <a:pt x="516731" y="71437"/>
                    </a:lnTo>
                    <a:lnTo>
                      <a:pt x="528638" y="102394"/>
                    </a:lnTo>
                    <a:lnTo>
                      <a:pt x="511969" y="133350"/>
                    </a:lnTo>
                    <a:lnTo>
                      <a:pt x="595313" y="126206"/>
                    </a:lnTo>
                    <a:lnTo>
                      <a:pt x="595313" y="126206"/>
                    </a:lnTo>
                    <a:lnTo>
                      <a:pt x="621506" y="159544"/>
                    </a:lnTo>
                    <a:lnTo>
                      <a:pt x="647700" y="204787"/>
                    </a:lnTo>
                    <a:lnTo>
                      <a:pt x="726281" y="221456"/>
                    </a:lnTo>
                    <a:lnTo>
                      <a:pt x="785813" y="211931"/>
                    </a:lnTo>
                    <a:lnTo>
                      <a:pt x="857250" y="176212"/>
                    </a:lnTo>
                    <a:lnTo>
                      <a:pt x="888206" y="176212"/>
                    </a:lnTo>
                    <a:lnTo>
                      <a:pt x="959644" y="192881"/>
                    </a:lnTo>
                    <a:lnTo>
                      <a:pt x="1059656" y="192881"/>
                    </a:lnTo>
                    <a:lnTo>
                      <a:pt x="1166813" y="171450"/>
                    </a:lnTo>
                    <a:lnTo>
                      <a:pt x="1245394" y="119062"/>
                    </a:lnTo>
                    <a:lnTo>
                      <a:pt x="1273969" y="102394"/>
                    </a:lnTo>
                    <a:lnTo>
                      <a:pt x="1366838" y="76200"/>
                    </a:lnTo>
                    <a:lnTo>
                      <a:pt x="1402556" y="114300"/>
                    </a:lnTo>
                    <a:lnTo>
                      <a:pt x="1462088" y="128587"/>
                    </a:lnTo>
                    <a:lnTo>
                      <a:pt x="1512094" y="107156"/>
                    </a:lnTo>
                    <a:lnTo>
                      <a:pt x="1528763" y="61912"/>
                    </a:lnTo>
                    <a:lnTo>
                      <a:pt x="1585913" y="61912"/>
                    </a:lnTo>
                    <a:lnTo>
                      <a:pt x="1621631" y="42862"/>
                    </a:lnTo>
                    <a:lnTo>
                      <a:pt x="168830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3" name="Figura a mano libera 232"/>
              <p:cNvSpPr/>
              <p:nvPr/>
            </p:nvSpPr>
            <p:spPr bwMode="auto">
              <a:xfrm>
                <a:off x="3757231" y="3480570"/>
                <a:ext cx="848543" cy="786980"/>
              </a:xfrm>
              <a:custGeom>
                <a:avLst/>
                <a:gdLst>
                  <a:gd name="connsiteX0" fmla="*/ 0 w 1057275"/>
                  <a:gd name="connsiteY0" fmla="*/ 202406 h 1007268"/>
                  <a:gd name="connsiteX1" fmla="*/ 21431 w 1057275"/>
                  <a:gd name="connsiteY1" fmla="*/ 188118 h 1007268"/>
                  <a:gd name="connsiteX2" fmla="*/ 54768 w 1057275"/>
                  <a:gd name="connsiteY2" fmla="*/ 145256 h 1007268"/>
                  <a:gd name="connsiteX3" fmla="*/ 59531 w 1057275"/>
                  <a:gd name="connsiteY3" fmla="*/ 126206 h 1007268"/>
                  <a:gd name="connsiteX4" fmla="*/ 64293 w 1057275"/>
                  <a:gd name="connsiteY4" fmla="*/ 47625 h 1007268"/>
                  <a:gd name="connsiteX5" fmla="*/ 128587 w 1057275"/>
                  <a:gd name="connsiteY5" fmla="*/ 30956 h 1007268"/>
                  <a:gd name="connsiteX6" fmla="*/ 166687 w 1057275"/>
                  <a:gd name="connsiteY6" fmla="*/ 42862 h 1007268"/>
                  <a:gd name="connsiteX7" fmla="*/ 173831 w 1057275"/>
                  <a:gd name="connsiteY7" fmla="*/ 0 h 1007268"/>
                  <a:gd name="connsiteX8" fmla="*/ 247650 w 1057275"/>
                  <a:gd name="connsiteY8" fmla="*/ 16668 h 1007268"/>
                  <a:gd name="connsiteX9" fmla="*/ 285750 w 1057275"/>
                  <a:gd name="connsiteY9" fmla="*/ 40481 h 1007268"/>
                  <a:gd name="connsiteX10" fmla="*/ 350043 w 1057275"/>
                  <a:gd name="connsiteY10" fmla="*/ 52387 h 1007268"/>
                  <a:gd name="connsiteX11" fmla="*/ 369093 w 1057275"/>
                  <a:gd name="connsiteY11" fmla="*/ 78581 h 1007268"/>
                  <a:gd name="connsiteX12" fmla="*/ 395287 w 1057275"/>
                  <a:gd name="connsiteY12" fmla="*/ 92868 h 1007268"/>
                  <a:gd name="connsiteX13" fmla="*/ 409575 w 1057275"/>
                  <a:gd name="connsiteY13" fmla="*/ 85725 h 1007268"/>
                  <a:gd name="connsiteX14" fmla="*/ 416718 w 1057275"/>
                  <a:gd name="connsiteY14" fmla="*/ 97631 h 1007268"/>
                  <a:gd name="connsiteX15" fmla="*/ 478631 w 1057275"/>
                  <a:gd name="connsiteY15" fmla="*/ 66675 h 1007268"/>
                  <a:gd name="connsiteX16" fmla="*/ 514350 w 1057275"/>
                  <a:gd name="connsiteY16" fmla="*/ 66675 h 1007268"/>
                  <a:gd name="connsiteX17" fmla="*/ 514350 w 1057275"/>
                  <a:gd name="connsiteY17" fmla="*/ 42862 h 1007268"/>
                  <a:gd name="connsiteX18" fmla="*/ 545306 w 1057275"/>
                  <a:gd name="connsiteY18" fmla="*/ 54768 h 1007268"/>
                  <a:gd name="connsiteX19" fmla="*/ 602456 w 1057275"/>
                  <a:gd name="connsiteY19" fmla="*/ 33337 h 1007268"/>
                  <a:gd name="connsiteX20" fmla="*/ 635793 w 1057275"/>
                  <a:gd name="connsiteY20" fmla="*/ 21431 h 1007268"/>
                  <a:gd name="connsiteX21" fmla="*/ 647700 w 1057275"/>
                  <a:gd name="connsiteY21" fmla="*/ 50006 h 1007268"/>
                  <a:gd name="connsiteX22" fmla="*/ 681037 w 1057275"/>
                  <a:gd name="connsiteY22" fmla="*/ 59531 h 1007268"/>
                  <a:gd name="connsiteX23" fmla="*/ 650081 w 1057275"/>
                  <a:gd name="connsiteY23" fmla="*/ 85725 h 1007268"/>
                  <a:gd name="connsiteX24" fmla="*/ 673893 w 1057275"/>
                  <a:gd name="connsiteY24" fmla="*/ 123825 h 1007268"/>
                  <a:gd name="connsiteX25" fmla="*/ 716756 w 1057275"/>
                  <a:gd name="connsiteY25" fmla="*/ 140493 h 1007268"/>
                  <a:gd name="connsiteX26" fmla="*/ 754856 w 1057275"/>
                  <a:gd name="connsiteY26" fmla="*/ 157162 h 1007268"/>
                  <a:gd name="connsiteX27" fmla="*/ 778668 w 1057275"/>
                  <a:gd name="connsiteY27" fmla="*/ 176212 h 1007268"/>
                  <a:gd name="connsiteX28" fmla="*/ 759618 w 1057275"/>
                  <a:gd name="connsiteY28" fmla="*/ 185737 h 1007268"/>
                  <a:gd name="connsiteX29" fmla="*/ 759618 w 1057275"/>
                  <a:gd name="connsiteY29" fmla="*/ 204787 h 1007268"/>
                  <a:gd name="connsiteX30" fmla="*/ 742950 w 1057275"/>
                  <a:gd name="connsiteY30" fmla="*/ 226218 h 1007268"/>
                  <a:gd name="connsiteX31" fmla="*/ 752475 w 1057275"/>
                  <a:gd name="connsiteY31" fmla="*/ 240506 h 1007268"/>
                  <a:gd name="connsiteX32" fmla="*/ 778668 w 1057275"/>
                  <a:gd name="connsiteY32" fmla="*/ 271462 h 1007268"/>
                  <a:gd name="connsiteX33" fmla="*/ 814387 w 1057275"/>
                  <a:gd name="connsiteY33" fmla="*/ 276225 h 1007268"/>
                  <a:gd name="connsiteX34" fmla="*/ 845343 w 1057275"/>
                  <a:gd name="connsiteY34" fmla="*/ 269081 h 1007268"/>
                  <a:gd name="connsiteX35" fmla="*/ 885825 w 1057275"/>
                  <a:gd name="connsiteY35" fmla="*/ 283368 h 1007268"/>
                  <a:gd name="connsiteX36" fmla="*/ 902493 w 1057275"/>
                  <a:gd name="connsiteY36" fmla="*/ 290512 h 1007268"/>
                  <a:gd name="connsiteX37" fmla="*/ 921543 w 1057275"/>
                  <a:gd name="connsiteY37" fmla="*/ 309562 h 1007268"/>
                  <a:gd name="connsiteX38" fmla="*/ 923925 w 1057275"/>
                  <a:gd name="connsiteY38" fmla="*/ 340518 h 1007268"/>
                  <a:gd name="connsiteX39" fmla="*/ 923925 w 1057275"/>
                  <a:gd name="connsiteY39" fmla="*/ 378618 h 1007268"/>
                  <a:gd name="connsiteX40" fmla="*/ 892968 w 1057275"/>
                  <a:gd name="connsiteY40" fmla="*/ 404812 h 1007268"/>
                  <a:gd name="connsiteX41" fmla="*/ 831056 w 1057275"/>
                  <a:gd name="connsiteY41" fmla="*/ 411956 h 1007268"/>
                  <a:gd name="connsiteX42" fmla="*/ 823912 w 1057275"/>
                  <a:gd name="connsiteY42" fmla="*/ 435768 h 1007268"/>
                  <a:gd name="connsiteX43" fmla="*/ 826293 w 1057275"/>
                  <a:gd name="connsiteY43" fmla="*/ 469106 h 1007268"/>
                  <a:gd name="connsiteX44" fmla="*/ 828675 w 1057275"/>
                  <a:gd name="connsiteY44" fmla="*/ 500062 h 1007268"/>
                  <a:gd name="connsiteX45" fmla="*/ 854868 w 1057275"/>
                  <a:gd name="connsiteY45" fmla="*/ 538162 h 1007268"/>
                  <a:gd name="connsiteX46" fmla="*/ 892968 w 1057275"/>
                  <a:gd name="connsiteY46" fmla="*/ 557212 h 1007268"/>
                  <a:gd name="connsiteX47" fmla="*/ 864393 w 1057275"/>
                  <a:gd name="connsiteY47" fmla="*/ 588168 h 1007268"/>
                  <a:gd name="connsiteX48" fmla="*/ 900112 w 1057275"/>
                  <a:gd name="connsiteY48" fmla="*/ 621506 h 1007268"/>
                  <a:gd name="connsiteX49" fmla="*/ 916781 w 1057275"/>
                  <a:gd name="connsiteY49" fmla="*/ 645318 h 1007268"/>
                  <a:gd name="connsiteX50" fmla="*/ 923925 w 1057275"/>
                  <a:gd name="connsiteY50" fmla="*/ 678656 h 1007268"/>
                  <a:gd name="connsiteX51" fmla="*/ 900112 w 1057275"/>
                  <a:gd name="connsiteY51" fmla="*/ 681037 h 1007268"/>
                  <a:gd name="connsiteX52" fmla="*/ 945356 w 1057275"/>
                  <a:gd name="connsiteY52" fmla="*/ 704850 h 1007268"/>
                  <a:gd name="connsiteX53" fmla="*/ 985837 w 1057275"/>
                  <a:gd name="connsiteY53" fmla="*/ 740568 h 1007268"/>
                  <a:gd name="connsiteX54" fmla="*/ 1002506 w 1057275"/>
                  <a:gd name="connsiteY54" fmla="*/ 747712 h 1007268"/>
                  <a:gd name="connsiteX55" fmla="*/ 1016793 w 1057275"/>
                  <a:gd name="connsiteY55" fmla="*/ 790575 h 1007268"/>
                  <a:gd name="connsiteX56" fmla="*/ 1054893 w 1057275"/>
                  <a:gd name="connsiteY56" fmla="*/ 802481 h 1007268"/>
                  <a:gd name="connsiteX57" fmla="*/ 1057275 w 1057275"/>
                  <a:gd name="connsiteY57" fmla="*/ 840581 h 1007268"/>
                  <a:gd name="connsiteX58" fmla="*/ 1031081 w 1057275"/>
                  <a:gd name="connsiteY58" fmla="*/ 862012 h 1007268"/>
                  <a:gd name="connsiteX59" fmla="*/ 997743 w 1057275"/>
                  <a:gd name="connsiteY59" fmla="*/ 881062 h 1007268"/>
                  <a:gd name="connsiteX60" fmla="*/ 1002506 w 1057275"/>
                  <a:gd name="connsiteY60" fmla="*/ 921543 h 1007268"/>
                  <a:gd name="connsiteX61" fmla="*/ 971550 w 1057275"/>
                  <a:gd name="connsiteY61" fmla="*/ 945356 h 1007268"/>
                  <a:gd name="connsiteX62" fmla="*/ 928687 w 1057275"/>
                  <a:gd name="connsiteY62" fmla="*/ 950118 h 1007268"/>
                  <a:gd name="connsiteX63" fmla="*/ 904875 w 1057275"/>
                  <a:gd name="connsiteY63" fmla="*/ 950118 h 1007268"/>
                  <a:gd name="connsiteX64" fmla="*/ 873918 w 1057275"/>
                  <a:gd name="connsiteY64" fmla="*/ 981075 h 1007268"/>
                  <a:gd name="connsiteX65" fmla="*/ 845343 w 1057275"/>
                  <a:gd name="connsiteY65" fmla="*/ 1007268 h 1007268"/>
                  <a:gd name="connsiteX66" fmla="*/ 797718 w 1057275"/>
                  <a:gd name="connsiteY66" fmla="*/ 983456 h 1007268"/>
                  <a:gd name="connsiteX67" fmla="*/ 776287 w 1057275"/>
                  <a:gd name="connsiteY67" fmla="*/ 954881 h 1007268"/>
                  <a:gd name="connsiteX68" fmla="*/ 738187 w 1057275"/>
                  <a:gd name="connsiteY68" fmla="*/ 921543 h 1007268"/>
                  <a:gd name="connsiteX69" fmla="*/ 742950 w 1057275"/>
                  <a:gd name="connsiteY69" fmla="*/ 904875 h 1007268"/>
                  <a:gd name="connsiteX70" fmla="*/ 711993 w 1057275"/>
                  <a:gd name="connsiteY70" fmla="*/ 907256 h 1007268"/>
                  <a:gd name="connsiteX71" fmla="*/ 714375 w 1057275"/>
                  <a:gd name="connsiteY71" fmla="*/ 871537 h 1007268"/>
                  <a:gd name="connsiteX72" fmla="*/ 678656 w 1057275"/>
                  <a:gd name="connsiteY72" fmla="*/ 892968 h 1007268"/>
                  <a:gd name="connsiteX73" fmla="*/ 661987 w 1057275"/>
                  <a:gd name="connsiteY73" fmla="*/ 885825 h 1007268"/>
                  <a:gd name="connsiteX74" fmla="*/ 626268 w 1057275"/>
                  <a:gd name="connsiteY74" fmla="*/ 847725 h 1007268"/>
                  <a:gd name="connsiteX75" fmla="*/ 600075 w 1057275"/>
                  <a:gd name="connsiteY75" fmla="*/ 850106 h 1007268"/>
                  <a:gd name="connsiteX76" fmla="*/ 600075 w 1057275"/>
                  <a:gd name="connsiteY76" fmla="*/ 850106 h 1007268"/>
                  <a:gd name="connsiteX77" fmla="*/ 611981 w 1057275"/>
                  <a:gd name="connsiteY77" fmla="*/ 821531 h 1007268"/>
                  <a:gd name="connsiteX78" fmla="*/ 614362 w 1057275"/>
                  <a:gd name="connsiteY78" fmla="*/ 781050 h 1007268"/>
                  <a:gd name="connsiteX79" fmla="*/ 640556 w 1057275"/>
                  <a:gd name="connsiteY79" fmla="*/ 754856 h 1007268"/>
                  <a:gd name="connsiteX80" fmla="*/ 621506 w 1057275"/>
                  <a:gd name="connsiteY80" fmla="*/ 721518 h 1007268"/>
                  <a:gd name="connsiteX81" fmla="*/ 597693 w 1057275"/>
                  <a:gd name="connsiteY81" fmla="*/ 671512 h 1007268"/>
                  <a:gd name="connsiteX82" fmla="*/ 573881 w 1057275"/>
                  <a:gd name="connsiteY82" fmla="*/ 619125 h 1007268"/>
                  <a:gd name="connsiteX83" fmla="*/ 526256 w 1057275"/>
                  <a:gd name="connsiteY83" fmla="*/ 561975 h 1007268"/>
                  <a:gd name="connsiteX84" fmla="*/ 504825 w 1057275"/>
                  <a:gd name="connsiteY84" fmla="*/ 545306 h 1007268"/>
                  <a:gd name="connsiteX85" fmla="*/ 492918 w 1057275"/>
                  <a:gd name="connsiteY85" fmla="*/ 545306 h 1007268"/>
                  <a:gd name="connsiteX86" fmla="*/ 481012 w 1057275"/>
                  <a:gd name="connsiteY86" fmla="*/ 573881 h 1007268"/>
                  <a:gd name="connsiteX87" fmla="*/ 476250 w 1057275"/>
                  <a:gd name="connsiteY87" fmla="*/ 583406 h 1007268"/>
                  <a:gd name="connsiteX88" fmla="*/ 445293 w 1057275"/>
                  <a:gd name="connsiteY88" fmla="*/ 566737 h 1007268"/>
                  <a:gd name="connsiteX89" fmla="*/ 404812 w 1057275"/>
                  <a:gd name="connsiteY89" fmla="*/ 592931 h 1007268"/>
                  <a:gd name="connsiteX90" fmla="*/ 402431 w 1057275"/>
                  <a:gd name="connsiteY90" fmla="*/ 600075 h 1007268"/>
                  <a:gd name="connsiteX91" fmla="*/ 373856 w 1057275"/>
                  <a:gd name="connsiteY91" fmla="*/ 592931 h 1007268"/>
                  <a:gd name="connsiteX92" fmla="*/ 345281 w 1057275"/>
                  <a:gd name="connsiteY92" fmla="*/ 588168 h 1007268"/>
                  <a:gd name="connsiteX93" fmla="*/ 316706 w 1057275"/>
                  <a:gd name="connsiteY93" fmla="*/ 602456 h 1007268"/>
                  <a:gd name="connsiteX94" fmla="*/ 290512 w 1057275"/>
                  <a:gd name="connsiteY94" fmla="*/ 626268 h 1007268"/>
                  <a:gd name="connsiteX95" fmla="*/ 273843 w 1057275"/>
                  <a:gd name="connsiteY95" fmla="*/ 619125 h 1007268"/>
                  <a:gd name="connsiteX96" fmla="*/ 300037 w 1057275"/>
                  <a:gd name="connsiteY96" fmla="*/ 581025 h 1007268"/>
                  <a:gd name="connsiteX97" fmla="*/ 357187 w 1057275"/>
                  <a:gd name="connsiteY97" fmla="*/ 545306 h 1007268"/>
                  <a:gd name="connsiteX98" fmla="*/ 369093 w 1057275"/>
                  <a:gd name="connsiteY98" fmla="*/ 526256 h 1007268"/>
                  <a:gd name="connsiteX99" fmla="*/ 340518 w 1057275"/>
                  <a:gd name="connsiteY99" fmla="*/ 495300 h 1007268"/>
                  <a:gd name="connsiteX100" fmla="*/ 321468 w 1057275"/>
                  <a:gd name="connsiteY100" fmla="*/ 502443 h 1007268"/>
                  <a:gd name="connsiteX101" fmla="*/ 266700 w 1057275"/>
                  <a:gd name="connsiteY101" fmla="*/ 447675 h 1007268"/>
                  <a:gd name="connsiteX102" fmla="*/ 266700 w 1057275"/>
                  <a:gd name="connsiteY102" fmla="*/ 447675 h 1007268"/>
                  <a:gd name="connsiteX103" fmla="*/ 216693 w 1057275"/>
                  <a:gd name="connsiteY103" fmla="*/ 459581 h 1007268"/>
                  <a:gd name="connsiteX104" fmla="*/ 216693 w 1057275"/>
                  <a:gd name="connsiteY104" fmla="*/ 459581 h 1007268"/>
                  <a:gd name="connsiteX105" fmla="*/ 197643 w 1057275"/>
                  <a:gd name="connsiteY105" fmla="*/ 464343 h 1007268"/>
                  <a:gd name="connsiteX106" fmla="*/ 178593 w 1057275"/>
                  <a:gd name="connsiteY106" fmla="*/ 447675 h 1007268"/>
                  <a:gd name="connsiteX107" fmla="*/ 176212 w 1057275"/>
                  <a:gd name="connsiteY107" fmla="*/ 433387 h 1007268"/>
                  <a:gd name="connsiteX108" fmla="*/ 166687 w 1057275"/>
                  <a:gd name="connsiteY108" fmla="*/ 459581 h 1007268"/>
                  <a:gd name="connsiteX109" fmla="*/ 164306 w 1057275"/>
                  <a:gd name="connsiteY109" fmla="*/ 483393 h 1007268"/>
                  <a:gd name="connsiteX110" fmla="*/ 164306 w 1057275"/>
                  <a:gd name="connsiteY110" fmla="*/ 483393 h 1007268"/>
                  <a:gd name="connsiteX111" fmla="*/ 126206 w 1057275"/>
                  <a:gd name="connsiteY111" fmla="*/ 507206 h 1007268"/>
                  <a:gd name="connsiteX112" fmla="*/ 111918 w 1057275"/>
                  <a:gd name="connsiteY112" fmla="*/ 497681 h 1007268"/>
                  <a:gd name="connsiteX113" fmla="*/ 138112 w 1057275"/>
                  <a:gd name="connsiteY113" fmla="*/ 464343 h 1007268"/>
                  <a:gd name="connsiteX114" fmla="*/ 135731 w 1057275"/>
                  <a:gd name="connsiteY114" fmla="*/ 409575 h 1007268"/>
                  <a:gd name="connsiteX115" fmla="*/ 102393 w 1057275"/>
                  <a:gd name="connsiteY115" fmla="*/ 373856 h 1007268"/>
                  <a:gd name="connsiteX116" fmla="*/ 80962 w 1057275"/>
                  <a:gd name="connsiteY116" fmla="*/ 302418 h 1007268"/>
                  <a:gd name="connsiteX117" fmla="*/ 30956 w 1057275"/>
                  <a:gd name="connsiteY117" fmla="*/ 247650 h 1007268"/>
                  <a:gd name="connsiteX118" fmla="*/ 0 w 1057275"/>
                  <a:gd name="connsiteY118" fmla="*/ 202406 h 100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1057275" h="1007268">
                    <a:moveTo>
                      <a:pt x="0" y="202406"/>
                    </a:moveTo>
                    <a:lnTo>
                      <a:pt x="21431" y="188118"/>
                    </a:lnTo>
                    <a:lnTo>
                      <a:pt x="54768" y="145256"/>
                    </a:lnTo>
                    <a:lnTo>
                      <a:pt x="59531" y="126206"/>
                    </a:lnTo>
                    <a:lnTo>
                      <a:pt x="64293" y="47625"/>
                    </a:lnTo>
                    <a:lnTo>
                      <a:pt x="128587" y="30956"/>
                    </a:lnTo>
                    <a:lnTo>
                      <a:pt x="166687" y="42862"/>
                    </a:lnTo>
                    <a:lnTo>
                      <a:pt x="173831" y="0"/>
                    </a:lnTo>
                    <a:lnTo>
                      <a:pt x="247650" y="16668"/>
                    </a:lnTo>
                    <a:lnTo>
                      <a:pt x="285750" y="40481"/>
                    </a:lnTo>
                    <a:lnTo>
                      <a:pt x="350043" y="52387"/>
                    </a:lnTo>
                    <a:lnTo>
                      <a:pt x="369093" y="78581"/>
                    </a:lnTo>
                    <a:lnTo>
                      <a:pt x="395287" y="92868"/>
                    </a:lnTo>
                    <a:lnTo>
                      <a:pt x="409575" y="85725"/>
                    </a:lnTo>
                    <a:lnTo>
                      <a:pt x="416718" y="97631"/>
                    </a:lnTo>
                    <a:lnTo>
                      <a:pt x="478631" y="66675"/>
                    </a:lnTo>
                    <a:lnTo>
                      <a:pt x="514350" y="66675"/>
                    </a:lnTo>
                    <a:lnTo>
                      <a:pt x="514350" y="42862"/>
                    </a:lnTo>
                    <a:lnTo>
                      <a:pt x="545306" y="54768"/>
                    </a:lnTo>
                    <a:lnTo>
                      <a:pt x="602456" y="33337"/>
                    </a:lnTo>
                    <a:lnTo>
                      <a:pt x="635793" y="21431"/>
                    </a:lnTo>
                    <a:lnTo>
                      <a:pt x="647700" y="50006"/>
                    </a:lnTo>
                    <a:lnTo>
                      <a:pt x="681037" y="59531"/>
                    </a:lnTo>
                    <a:lnTo>
                      <a:pt x="650081" y="85725"/>
                    </a:lnTo>
                    <a:lnTo>
                      <a:pt x="673893" y="123825"/>
                    </a:lnTo>
                    <a:lnTo>
                      <a:pt x="716756" y="140493"/>
                    </a:lnTo>
                    <a:lnTo>
                      <a:pt x="754856" y="157162"/>
                    </a:lnTo>
                    <a:lnTo>
                      <a:pt x="778668" y="176212"/>
                    </a:lnTo>
                    <a:lnTo>
                      <a:pt x="759618" y="185737"/>
                    </a:lnTo>
                    <a:lnTo>
                      <a:pt x="759618" y="204787"/>
                    </a:lnTo>
                    <a:lnTo>
                      <a:pt x="742950" y="226218"/>
                    </a:lnTo>
                    <a:lnTo>
                      <a:pt x="752475" y="240506"/>
                    </a:lnTo>
                    <a:lnTo>
                      <a:pt x="778668" y="271462"/>
                    </a:lnTo>
                    <a:lnTo>
                      <a:pt x="814387" y="276225"/>
                    </a:lnTo>
                    <a:lnTo>
                      <a:pt x="845343" y="269081"/>
                    </a:lnTo>
                    <a:lnTo>
                      <a:pt x="885825" y="283368"/>
                    </a:lnTo>
                    <a:lnTo>
                      <a:pt x="902493" y="290512"/>
                    </a:lnTo>
                    <a:lnTo>
                      <a:pt x="921543" y="309562"/>
                    </a:lnTo>
                    <a:lnTo>
                      <a:pt x="923925" y="340518"/>
                    </a:lnTo>
                    <a:lnTo>
                      <a:pt x="923925" y="378618"/>
                    </a:lnTo>
                    <a:lnTo>
                      <a:pt x="892968" y="404812"/>
                    </a:lnTo>
                    <a:lnTo>
                      <a:pt x="831056" y="411956"/>
                    </a:lnTo>
                    <a:lnTo>
                      <a:pt x="823912" y="435768"/>
                    </a:lnTo>
                    <a:lnTo>
                      <a:pt x="826293" y="469106"/>
                    </a:lnTo>
                    <a:lnTo>
                      <a:pt x="828675" y="500062"/>
                    </a:lnTo>
                    <a:lnTo>
                      <a:pt x="854868" y="538162"/>
                    </a:lnTo>
                    <a:lnTo>
                      <a:pt x="892968" y="557212"/>
                    </a:lnTo>
                    <a:lnTo>
                      <a:pt x="864393" y="588168"/>
                    </a:lnTo>
                    <a:lnTo>
                      <a:pt x="900112" y="621506"/>
                    </a:lnTo>
                    <a:lnTo>
                      <a:pt x="916781" y="645318"/>
                    </a:lnTo>
                    <a:lnTo>
                      <a:pt x="923925" y="678656"/>
                    </a:lnTo>
                    <a:lnTo>
                      <a:pt x="900112" y="681037"/>
                    </a:lnTo>
                    <a:lnTo>
                      <a:pt x="945356" y="704850"/>
                    </a:lnTo>
                    <a:lnTo>
                      <a:pt x="985837" y="740568"/>
                    </a:lnTo>
                    <a:lnTo>
                      <a:pt x="1002506" y="747712"/>
                    </a:lnTo>
                    <a:lnTo>
                      <a:pt x="1016793" y="790575"/>
                    </a:lnTo>
                    <a:lnTo>
                      <a:pt x="1054893" y="802481"/>
                    </a:lnTo>
                    <a:lnTo>
                      <a:pt x="1057275" y="840581"/>
                    </a:lnTo>
                    <a:lnTo>
                      <a:pt x="1031081" y="862012"/>
                    </a:lnTo>
                    <a:lnTo>
                      <a:pt x="997743" y="881062"/>
                    </a:lnTo>
                    <a:lnTo>
                      <a:pt x="1002506" y="921543"/>
                    </a:lnTo>
                    <a:lnTo>
                      <a:pt x="971550" y="945356"/>
                    </a:lnTo>
                    <a:lnTo>
                      <a:pt x="928687" y="950118"/>
                    </a:lnTo>
                    <a:lnTo>
                      <a:pt x="904875" y="950118"/>
                    </a:lnTo>
                    <a:lnTo>
                      <a:pt x="873918" y="981075"/>
                    </a:lnTo>
                    <a:lnTo>
                      <a:pt x="845343" y="1007268"/>
                    </a:lnTo>
                    <a:lnTo>
                      <a:pt x="797718" y="983456"/>
                    </a:lnTo>
                    <a:lnTo>
                      <a:pt x="776287" y="954881"/>
                    </a:lnTo>
                    <a:lnTo>
                      <a:pt x="738187" y="921543"/>
                    </a:lnTo>
                    <a:lnTo>
                      <a:pt x="742950" y="904875"/>
                    </a:lnTo>
                    <a:lnTo>
                      <a:pt x="711993" y="907256"/>
                    </a:lnTo>
                    <a:lnTo>
                      <a:pt x="714375" y="871537"/>
                    </a:lnTo>
                    <a:lnTo>
                      <a:pt x="678656" y="892968"/>
                    </a:lnTo>
                    <a:lnTo>
                      <a:pt x="661987" y="885825"/>
                    </a:lnTo>
                    <a:lnTo>
                      <a:pt x="626268" y="847725"/>
                    </a:lnTo>
                    <a:lnTo>
                      <a:pt x="600075" y="850106"/>
                    </a:lnTo>
                    <a:lnTo>
                      <a:pt x="600075" y="850106"/>
                    </a:lnTo>
                    <a:lnTo>
                      <a:pt x="611981" y="821531"/>
                    </a:lnTo>
                    <a:lnTo>
                      <a:pt x="614362" y="781050"/>
                    </a:lnTo>
                    <a:lnTo>
                      <a:pt x="640556" y="754856"/>
                    </a:lnTo>
                    <a:lnTo>
                      <a:pt x="621506" y="721518"/>
                    </a:lnTo>
                    <a:lnTo>
                      <a:pt x="597693" y="671512"/>
                    </a:lnTo>
                    <a:lnTo>
                      <a:pt x="573881" y="619125"/>
                    </a:lnTo>
                    <a:lnTo>
                      <a:pt x="526256" y="561975"/>
                    </a:lnTo>
                    <a:lnTo>
                      <a:pt x="504825" y="545306"/>
                    </a:lnTo>
                    <a:lnTo>
                      <a:pt x="492918" y="545306"/>
                    </a:lnTo>
                    <a:lnTo>
                      <a:pt x="481012" y="573881"/>
                    </a:lnTo>
                    <a:lnTo>
                      <a:pt x="476250" y="583406"/>
                    </a:lnTo>
                    <a:lnTo>
                      <a:pt x="445293" y="566737"/>
                    </a:lnTo>
                    <a:lnTo>
                      <a:pt x="404812" y="592931"/>
                    </a:lnTo>
                    <a:lnTo>
                      <a:pt x="402431" y="600075"/>
                    </a:lnTo>
                    <a:lnTo>
                      <a:pt x="373856" y="592931"/>
                    </a:lnTo>
                    <a:lnTo>
                      <a:pt x="345281" y="588168"/>
                    </a:lnTo>
                    <a:lnTo>
                      <a:pt x="316706" y="602456"/>
                    </a:lnTo>
                    <a:lnTo>
                      <a:pt x="290512" y="626268"/>
                    </a:lnTo>
                    <a:lnTo>
                      <a:pt x="273843" y="619125"/>
                    </a:lnTo>
                    <a:lnTo>
                      <a:pt x="300037" y="581025"/>
                    </a:lnTo>
                    <a:lnTo>
                      <a:pt x="357187" y="545306"/>
                    </a:lnTo>
                    <a:lnTo>
                      <a:pt x="369093" y="526256"/>
                    </a:lnTo>
                    <a:lnTo>
                      <a:pt x="340518" y="495300"/>
                    </a:lnTo>
                    <a:lnTo>
                      <a:pt x="321468" y="502443"/>
                    </a:lnTo>
                    <a:lnTo>
                      <a:pt x="266700" y="447675"/>
                    </a:lnTo>
                    <a:lnTo>
                      <a:pt x="266700" y="447675"/>
                    </a:lnTo>
                    <a:lnTo>
                      <a:pt x="216693" y="459581"/>
                    </a:lnTo>
                    <a:lnTo>
                      <a:pt x="216693" y="459581"/>
                    </a:lnTo>
                    <a:lnTo>
                      <a:pt x="197643" y="464343"/>
                    </a:lnTo>
                    <a:lnTo>
                      <a:pt x="178593" y="447675"/>
                    </a:lnTo>
                    <a:lnTo>
                      <a:pt x="176212" y="433387"/>
                    </a:lnTo>
                    <a:lnTo>
                      <a:pt x="166687" y="459581"/>
                    </a:lnTo>
                    <a:lnTo>
                      <a:pt x="164306" y="483393"/>
                    </a:lnTo>
                    <a:lnTo>
                      <a:pt x="164306" y="483393"/>
                    </a:lnTo>
                    <a:lnTo>
                      <a:pt x="126206" y="507206"/>
                    </a:lnTo>
                    <a:lnTo>
                      <a:pt x="111918" y="497681"/>
                    </a:lnTo>
                    <a:lnTo>
                      <a:pt x="138112" y="464343"/>
                    </a:lnTo>
                    <a:lnTo>
                      <a:pt x="135731" y="409575"/>
                    </a:lnTo>
                    <a:lnTo>
                      <a:pt x="102393" y="373856"/>
                    </a:lnTo>
                    <a:lnTo>
                      <a:pt x="80962" y="302418"/>
                    </a:lnTo>
                    <a:lnTo>
                      <a:pt x="30956" y="247650"/>
                    </a:lnTo>
                    <a:lnTo>
                      <a:pt x="0" y="20240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4" name="Figura a mano libera 233"/>
              <p:cNvSpPr/>
              <p:nvPr/>
            </p:nvSpPr>
            <p:spPr bwMode="auto">
              <a:xfrm>
                <a:off x="4420340" y="3669621"/>
                <a:ext cx="626023" cy="641895"/>
              </a:xfrm>
              <a:custGeom>
                <a:avLst/>
                <a:gdLst>
                  <a:gd name="connsiteX0" fmla="*/ 676275 w 778669"/>
                  <a:gd name="connsiteY0" fmla="*/ 666750 h 819150"/>
                  <a:gd name="connsiteX1" fmla="*/ 721519 w 778669"/>
                  <a:gd name="connsiteY1" fmla="*/ 616744 h 819150"/>
                  <a:gd name="connsiteX2" fmla="*/ 723900 w 778669"/>
                  <a:gd name="connsiteY2" fmla="*/ 585788 h 819150"/>
                  <a:gd name="connsiteX3" fmla="*/ 745332 w 778669"/>
                  <a:gd name="connsiteY3" fmla="*/ 545306 h 819150"/>
                  <a:gd name="connsiteX4" fmla="*/ 778669 w 778669"/>
                  <a:gd name="connsiteY4" fmla="*/ 483394 h 819150"/>
                  <a:gd name="connsiteX5" fmla="*/ 762000 w 778669"/>
                  <a:gd name="connsiteY5" fmla="*/ 471488 h 819150"/>
                  <a:gd name="connsiteX6" fmla="*/ 740569 w 778669"/>
                  <a:gd name="connsiteY6" fmla="*/ 435769 h 819150"/>
                  <a:gd name="connsiteX7" fmla="*/ 714375 w 778669"/>
                  <a:gd name="connsiteY7" fmla="*/ 447675 h 819150"/>
                  <a:gd name="connsiteX8" fmla="*/ 707232 w 778669"/>
                  <a:gd name="connsiteY8" fmla="*/ 404813 h 819150"/>
                  <a:gd name="connsiteX9" fmla="*/ 702469 w 778669"/>
                  <a:gd name="connsiteY9" fmla="*/ 335756 h 819150"/>
                  <a:gd name="connsiteX10" fmla="*/ 711994 w 778669"/>
                  <a:gd name="connsiteY10" fmla="*/ 292894 h 819150"/>
                  <a:gd name="connsiteX11" fmla="*/ 700088 w 778669"/>
                  <a:gd name="connsiteY11" fmla="*/ 266700 h 819150"/>
                  <a:gd name="connsiteX12" fmla="*/ 676275 w 778669"/>
                  <a:gd name="connsiteY12" fmla="*/ 261938 h 819150"/>
                  <a:gd name="connsiteX13" fmla="*/ 640557 w 778669"/>
                  <a:gd name="connsiteY13" fmla="*/ 247650 h 819150"/>
                  <a:gd name="connsiteX14" fmla="*/ 597694 w 778669"/>
                  <a:gd name="connsiteY14" fmla="*/ 247650 h 819150"/>
                  <a:gd name="connsiteX15" fmla="*/ 578644 w 778669"/>
                  <a:gd name="connsiteY15" fmla="*/ 257175 h 819150"/>
                  <a:gd name="connsiteX16" fmla="*/ 554832 w 778669"/>
                  <a:gd name="connsiteY16" fmla="*/ 278606 h 819150"/>
                  <a:gd name="connsiteX17" fmla="*/ 557213 w 778669"/>
                  <a:gd name="connsiteY17" fmla="*/ 302419 h 819150"/>
                  <a:gd name="connsiteX18" fmla="*/ 531019 w 778669"/>
                  <a:gd name="connsiteY18" fmla="*/ 261938 h 819150"/>
                  <a:gd name="connsiteX19" fmla="*/ 478632 w 778669"/>
                  <a:gd name="connsiteY19" fmla="*/ 226219 h 819150"/>
                  <a:gd name="connsiteX20" fmla="*/ 454819 w 778669"/>
                  <a:gd name="connsiteY20" fmla="*/ 190500 h 819150"/>
                  <a:gd name="connsiteX21" fmla="*/ 440532 w 778669"/>
                  <a:gd name="connsiteY21" fmla="*/ 142875 h 819150"/>
                  <a:gd name="connsiteX22" fmla="*/ 404813 w 778669"/>
                  <a:gd name="connsiteY22" fmla="*/ 138113 h 819150"/>
                  <a:gd name="connsiteX23" fmla="*/ 397669 w 778669"/>
                  <a:gd name="connsiteY23" fmla="*/ 166688 h 819150"/>
                  <a:gd name="connsiteX24" fmla="*/ 361950 w 778669"/>
                  <a:gd name="connsiteY24" fmla="*/ 145256 h 819150"/>
                  <a:gd name="connsiteX25" fmla="*/ 326232 w 778669"/>
                  <a:gd name="connsiteY25" fmla="*/ 123825 h 819150"/>
                  <a:gd name="connsiteX26" fmla="*/ 304800 w 778669"/>
                  <a:gd name="connsiteY26" fmla="*/ 123825 h 819150"/>
                  <a:gd name="connsiteX27" fmla="*/ 333375 w 778669"/>
                  <a:gd name="connsiteY27" fmla="*/ 109538 h 819150"/>
                  <a:gd name="connsiteX28" fmla="*/ 335757 w 778669"/>
                  <a:gd name="connsiteY28" fmla="*/ 95250 h 819150"/>
                  <a:gd name="connsiteX29" fmla="*/ 342900 w 778669"/>
                  <a:gd name="connsiteY29" fmla="*/ 59531 h 819150"/>
                  <a:gd name="connsiteX30" fmla="*/ 307182 w 778669"/>
                  <a:gd name="connsiteY30" fmla="*/ 52388 h 819150"/>
                  <a:gd name="connsiteX31" fmla="*/ 297657 w 778669"/>
                  <a:gd name="connsiteY31" fmla="*/ 21431 h 819150"/>
                  <a:gd name="connsiteX32" fmla="*/ 245269 w 778669"/>
                  <a:gd name="connsiteY32" fmla="*/ 0 h 819150"/>
                  <a:gd name="connsiteX33" fmla="*/ 230982 w 778669"/>
                  <a:gd name="connsiteY33" fmla="*/ 26194 h 819150"/>
                  <a:gd name="connsiteX34" fmla="*/ 173832 w 778669"/>
                  <a:gd name="connsiteY34" fmla="*/ 40481 h 819150"/>
                  <a:gd name="connsiteX35" fmla="*/ 159544 w 778669"/>
                  <a:gd name="connsiteY35" fmla="*/ 40481 h 819150"/>
                  <a:gd name="connsiteX36" fmla="*/ 128588 w 778669"/>
                  <a:gd name="connsiteY36" fmla="*/ 40481 h 819150"/>
                  <a:gd name="connsiteX37" fmla="*/ 100013 w 778669"/>
                  <a:gd name="connsiteY37" fmla="*/ 47625 h 819150"/>
                  <a:gd name="connsiteX38" fmla="*/ 102394 w 778669"/>
                  <a:gd name="connsiteY38" fmla="*/ 69056 h 819150"/>
                  <a:gd name="connsiteX39" fmla="*/ 92869 w 778669"/>
                  <a:gd name="connsiteY39" fmla="*/ 116681 h 819150"/>
                  <a:gd name="connsiteX40" fmla="*/ 100013 w 778669"/>
                  <a:gd name="connsiteY40" fmla="*/ 147638 h 819150"/>
                  <a:gd name="connsiteX41" fmla="*/ 69057 w 778669"/>
                  <a:gd name="connsiteY41" fmla="*/ 159544 h 819150"/>
                  <a:gd name="connsiteX42" fmla="*/ 11907 w 778669"/>
                  <a:gd name="connsiteY42" fmla="*/ 169069 h 819150"/>
                  <a:gd name="connsiteX43" fmla="*/ 0 w 778669"/>
                  <a:gd name="connsiteY43" fmla="*/ 192881 h 819150"/>
                  <a:gd name="connsiteX44" fmla="*/ 14288 w 778669"/>
                  <a:gd name="connsiteY44" fmla="*/ 259556 h 819150"/>
                  <a:gd name="connsiteX45" fmla="*/ 38100 w 778669"/>
                  <a:gd name="connsiteY45" fmla="*/ 300038 h 819150"/>
                  <a:gd name="connsiteX46" fmla="*/ 69057 w 778669"/>
                  <a:gd name="connsiteY46" fmla="*/ 309563 h 819150"/>
                  <a:gd name="connsiteX47" fmla="*/ 45244 w 778669"/>
                  <a:gd name="connsiteY47" fmla="*/ 338138 h 819150"/>
                  <a:gd name="connsiteX48" fmla="*/ 54769 w 778669"/>
                  <a:gd name="connsiteY48" fmla="*/ 361950 h 819150"/>
                  <a:gd name="connsiteX49" fmla="*/ 90488 w 778669"/>
                  <a:gd name="connsiteY49" fmla="*/ 409575 h 819150"/>
                  <a:gd name="connsiteX50" fmla="*/ 107157 w 778669"/>
                  <a:gd name="connsiteY50" fmla="*/ 435769 h 819150"/>
                  <a:gd name="connsiteX51" fmla="*/ 85725 w 778669"/>
                  <a:gd name="connsiteY51" fmla="*/ 445294 h 819150"/>
                  <a:gd name="connsiteX52" fmla="*/ 150019 w 778669"/>
                  <a:gd name="connsiteY52" fmla="*/ 488156 h 819150"/>
                  <a:gd name="connsiteX53" fmla="*/ 164307 w 778669"/>
                  <a:gd name="connsiteY53" fmla="*/ 497681 h 819150"/>
                  <a:gd name="connsiteX54" fmla="*/ 164307 w 778669"/>
                  <a:gd name="connsiteY54" fmla="*/ 497681 h 819150"/>
                  <a:gd name="connsiteX55" fmla="*/ 192882 w 778669"/>
                  <a:gd name="connsiteY55" fmla="*/ 545306 h 819150"/>
                  <a:gd name="connsiteX56" fmla="*/ 238125 w 778669"/>
                  <a:gd name="connsiteY56" fmla="*/ 561975 h 819150"/>
                  <a:gd name="connsiteX57" fmla="*/ 235744 w 778669"/>
                  <a:gd name="connsiteY57" fmla="*/ 604838 h 819150"/>
                  <a:gd name="connsiteX58" fmla="*/ 185738 w 778669"/>
                  <a:gd name="connsiteY58" fmla="*/ 621506 h 819150"/>
                  <a:gd name="connsiteX59" fmla="*/ 178594 w 778669"/>
                  <a:gd name="connsiteY59" fmla="*/ 659606 h 819150"/>
                  <a:gd name="connsiteX60" fmla="*/ 183357 w 778669"/>
                  <a:gd name="connsiteY60" fmla="*/ 681038 h 819150"/>
                  <a:gd name="connsiteX61" fmla="*/ 133350 w 778669"/>
                  <a:gd name="connsiteY61" fmla="*/ 711994 h 819150"/>
                  <a:gd name="connsiteX62" fmla="*/ 161925 w 778669"/>
                  <a:gd name="connsiteY62" fmla="*/ 735806 h 819150"/>
                  <a:gd name="connsiteX63" fmla="*/ 164307 w 778669"/>
                  <a:gd name="connsiteY63" fmla="*/ 754856 h 819150"/>
                  <a:gd name="connsiteX64" fmla="*/ 178594 w 778669"/>
                  <a:gd name="connsiteY64" fmla="*/ 778669 h 819150"/>
                  <a:gd name="connsiteX65" fmla="*/ 202407 w 778669"/>
                  <a:gd name="connsiteY65" fmla="*/ 802481 h 819150"/>
                  <a:gd name="connsiteX66" fmla="*/ 211932 w 778669"/>
                  <a:gd name="connsiteY66" fmla="*/ 807244 h 819150"/>
                  <a:gd name="connsiteX67" fmla="*/ 242888 w 778669"/>
                  <a:gd name="connsiteY67" fmla="*/ 752475 h 819150"/>
                  <a:gd name="connsiteX68" fmla="*/ 261938 w 778669"/>
                  <a:gd name="connsiteY68" fmla="*/ 773906 h 819150"/>
                  <a:gd name="connsiteX69" fmla="*/ 328613 w 778669"/>
                  <a:gd name="connsiteY69" fmla="*/ 752475 h 819150"/>
                  <a:gd name="connsiteX70" fmla="*/ 390525 w 778669"/>
                  <a:gd name="connsiteY70" fmla="*/ 819150 h 819150"/>
                  <a:gd name="connsiteX71" fmla="*/ 478632 w 778669"/>
                  <a:gd name="connsiteY71" fmla="*/ 819150 h 819150"/>
                  <a:gd name="connsiteX72" fmla="*/ 514350 w 778669"/>
                  <a:gd name="connsiteY72" fmla="*/ 788194 h 819150"/>
                  <a:gd name="connsiteX73" fmla="*/ 528638 w 778669"/>
                  <a:gd name="connsiteY73" fmla="*/ 804863 h 819150"/>
                  <a:gd name="connsiteX74" fmla="*/ 528638 w 778669"/>
                  <a:gd name="connsiteY74" fmla="*/ 709613 h 819150"/>
                  <a:gd name="connsiteX75" fmla="*/ 547688 w 778669"/>
                  <a:gd name="connsiteY75" fmla="*/ 664369 h 819150"/>
                  <a:gd name="connsiteX76" fmla="*/ 590550 w 778669"/>
                  <a:gd name="connsiteY76" fmla="*/ 661988 h 819150"/>
                  <a:gd name="connsiteX77" fmla="*/ 676275 w 778669"/>
                  <a:gd name="connsiteY77" fmla="*/ 66675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778669" h="819150">
                    <a:moveTo>
                      <a:pt x="676275" y="666750"/>
                    </a:moveTo>
                    <a:lnTo>
                      <a:pt x="721519" y="616744"/>
                    </a:lnTo>
                    <a:lnTo>
                      <a:pt x="723900" y="585788"/>
                    </a:lnTo>
                    <a:lnTo>
                      <a:pt x="745332" y="545306"/>
                    </a:lnTo>
                    <a:lnTo>
                      <a:pt x="778669" y="483394"/>
                    </a:lnTo>
                    <a:lnTo>
                      <a:pt x="762000" y="471488"/>
                    </a:lnTo>
                    <a:lnTo>
                      <a:pt x="740569" y="435769"/>
                    </a:lnTo>
                    <a:lnTo>
                      <a:pt x="714375" y="447675"/>
                    </a:lnTo>
                    <a:lnTo>
                      <a:pt x="707232" y="404813"/>
                    </a:lnTo>
                    <a:lnTo>
                      <a:pt x="702469" y="335756"/>
                    </a:lnTo>
                    <a:lnTo>
                      <a:pt x="711994" y="292894"/>
                    </a:lnTo>
                    <a:lnTo>
                      <a:pt x="700088" y="266700"/>
                    </a:lnTo>
                    <a:lnTo>
                      <a:pt x="676275" y="261938"/>
                    </a:lnTo>
                    <a:lnTo>
                      <a:pt x="640557" y="247650"/>
                    </a:lnTo>
                    <a:lnTo>
                      <a:pt x="597694" y="247650"/>
                    </a:lnTo>
                    <a:lnTo>
                      <a:pt x="578644" y="257175"/>
                    </a:lnTo>
                    <a:lnTo>
                      <a:pt x="554832" y="278606"/>
                    </a:lnTo>
                    <a:lnTo>
                      <a:pt x="557213" y="302419"/>
                    </a:lnTo>
                    <a:lnTo>
                      <a:pt x="531019" y="261938"/>
                    </a:lnTo>
                    <a:lnTo>
                      <a:pt x="478632" y="226219"/>
                    </a:lnTo>
                    <a:lnTo>
                      <a:pt x="454819" y="190500"/>
                    </a:lnTo>
                    <a:lnTo>
                      <a:pt x="440532" y="142875"/>
                    </a:lnTo>
                    <a:lnTo>
                      <a:pt x="404813" y="138113"/>
                    </a:lnTo>
                    <a:lnTo>
                      <a:pt x="397669" y="166688"/>
                    </a:lnTo>
                    <a:lnTo>
                      <a:pt x="361950" y="145256"/>
                    </a:lnTo>
                    <a:lnTo>
                      <a:pt x="326232" y="123825"/>
                    </a:lnTo>
                    <a:lnTo>
                      <a:pt x="304800" y="123825"/>
                    </a:lnTo>
                    <a:lnTo>
                      <a:pt x="333375" y="109538"/>
                    </a:lnTo>
                    <a:lnTo>
                      <a:pt x="335757" y="95250"/>
                    </a:lnTo>
                    <a:lnTo>
                      <a:pt x="342900" y="59531"/>
                    </a:lnTo>
                    <a:lnTo>
                      <a:pt x="307182" y="52388"/>
                    </a:lnTo>
                    <a:lnTo>
                      <a:pt x="297657" y="21431"/>
                    </a:lnTo>
                    <a:lnTo>
                      <a:pt x="245269" y="0"/>
                    </a:lnTo>
                    <a:lnTo>
                      <a:pt x="230982" y="26194"/>
                    </a:lnTo>
                    <a:lnTo>
                      <a:pt x="173832" y="40481"/>
                    </a:lnTo>
                    <a:lnTo>
                      <a:pt x="159544" y="40481"/>
                    </a:lnTo>
                    <a:lnTo>
                      <a:pt x="128588" y="40481"/>
                    </a:lnTo>
                    <a:lnTo>
                      <a:pt x="100013" y="47625"/>
                    </a:lnTo>
                    <a:lnTo>
                      <a:pt x="102394" y="69056"/>
                    </a:lnTo>
                    <a:lnTo>
                      <a:pt x="92869" y="116681"/>
                    </a:lnTo>
                    <a:lnTo>
                      <a:pt x="100013" y="147638"/>
                    </a:lnTo>
                    <a:lnTo>
                      <a:pt x="69057" y="159544"/>
                    </a:lnTo>
                    <a:lnTo>
                      <a:pt x="11907" y="169069"/>
                    </a:lnTo>
                    <a:lnTo>
                      <a:pt x="0" y="192881"/>
                    </a:lnTo>
                    <a:lnTo>
                      <a:pt x="14288" y="259556"/>
                    </a:lnTo>
                    <a:lnTo>
                      <a:pt x="38100" y="300038"/>
                    </a:lnTo>
                    <a:lnTo>
                      <a:pt x="69057" y="309563"/>
                    </a:lnTo>
                    <a:lnTo>
                      <a:pt x="45244" y="338138"/>
                    </a:lnTo>
                    <a:lnTo>
                      <a:pt x="54769" y="361950"/>
                    </a:lnTo>
                    <a:lnTo>
                      <a:pt x="90488" y="409575"/>
                    </a:lnTo>
                    <a:lnTo>
                      <a:pt x="107157" y="435769"/>
                    </a:lnTo>
                    <a:lnTo>
                      <a:pt x="85725" y="445294"/>
                    </a:lnTo>
                    <a:lnTo>
                      <a:pt x="150019" y="488156"/>
                    </a:lnTo>
                    <a:lnTo>
                      <a:pt x="164307" y="497681"/>
                    </a:lnTo>
                    <a:lnTo>
                      <a:pt x="164307" y="497681"/>
                    </a:lnTo>
                    <a:lnTo>
                      <a:pt x="192882" y="545306"/>
                    </a:lnTo>
                    <a:lnTo>
                      <a:pt x="238125" y="561975"/>
                    </a:lnTo>
                    <a:lnTo>
                      <a:pt x="235744" y="604838"/>
                    </a:lnTo>
                    <a:lnTo>
                      <a:pt x="185738" y="621506"/>
                    </a:lnTo>
                    <a:lnTo>
                      <a:pt x="178594" y="659606"/>
                    </a:lnTo>
                    <a:lnTo>
                      <a:pt x="183357" y="681038"/>
                    </a:lnTo>
                    <a:lnTo>
                      <a:pt x="133350" y="711994"/>
                    </a:lnTo>
                    <a:lnTo>
                      <a:pt x="161925" y="735806"/>
                    </a:lnTo>
                    <a:lnTo>
                      <a:pt x="164307" y="754856"/>
                    </a:lnTo>
                    <a:lnTo>
                      <a:pt x="178594" y="778669"/>
                    </a:lnTo>
                    <a:lnTo>
                      <a:pt x="202407" y="802481"/>
                    </a:lnTo>
                    <a:lnTo>
                      <a:pt x="211932" y="807244"/>
                    </a:lnTo>
                    <a:lnTo>
                      <a:pt x="242888" y="752475"/>
                    </a:lnTo>
                    <a:lnTo>
                      <a:pt x="261938" y="773906"/>
                    </a:lnTo>
                    <a:lnTo>
                      <a:pt x="328613" y="752475"/>
                    </a:lnTo>
                    <a:lnTo>
                      <a:pt x="390525" y="819150"/>
                    </a:lnTo>
                    <a:lnTo>
                      <a:pt x="478632" y="819150"/>
                    </a:lnTo>
                    <a:lnTo>
                      <a:pt x="514350" y="788194"/>
                    </a:lnTo>
                    <a:lnTo>
                      <a:pt x="528638" y="804863"/>
                    </a:lnTo>
                    <a:lnTo>
                      <a:pt x="528638" y="709613"/>
                    </a:lnTo>
                    <a:lnTo>
                      <a:pt x="547688" y="664369"/>
                    </a:lnTo>
                    <a:lnTo>
                      <a:pt x="590550" y="661988"/>
                    </a:lnTo>
                    <a:lnTo>
                      <a:pt x="676275" y="6667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5" name="Figura a mano libera 234"/>
              <p:cNvSpPr/>
              <p:nvPr/>
            </p:nvSpPr>
            <p:spPr bwMode="auto">
              <a:xfrm>
                <a:off x="4237875" y="3249018"/>
                <a:ext cx="1514619" cy="1102067"/>
              </a:xfrm>
              <a:custGeom>
                <a:avLst/>
                <a:gdLst>
                  <a:gd name="connsiteX0" fmla="*/ 1023937 w 1883568"/>
                  <a:gd name="connsiteY0" fmla="*/ 1012031 h 1409700"/>
                  <a:gd name="connsiteX1" fmla="*/ 1100137 w 1883568"/>
                  <a:gd name="connsiteY1" fmla="*/ 945356 h 1409700"/>
                  <a:gd name="connsiteX2" fmla="*/ 1152525 w 1883568"/>
                  <a:gd name="connsiteY2" fmla="*/ 942975 h 1409700"/>
                  <a:gd name="connsiteX3" fmla="*/ 1193006 w 1883568"/>
                  <a:gd name="connsiteY3" fmla="*/ 966787 h 1409700"/>
                  <a:gd name="connsiteX4" fmla="*/ 1202531 w 1883568"/>
                  <a:gd name="connsiteY4" fmla="*/ 985837 h 1409700"/>
                  <a:gd name="connsiteX5" fmla="*/ 1190625 w 1883568"/>
                  <a:gd name="connsiteY5" fmla="*/ 1014412 h 1409700"/>
                  <a:gd name="connsiteX6" fmla="*/ 1264443 w 1883568"/>
                  <a:gd name="connsiteY6" fmla="*/ 1054893 h 1409700"/>
                  <a:gd name="connsiteX7" fmla="*/ 1323975 w 1883568"/>
                  <a:gd name="connsiteY7" fmla="*/ 1069181 h 1409700"/>
                  <a:gd name="connsiteX8" fmla="*/ 1350168 w 1883568"/>
                  <a:gd name="connsiteY8" fmla="*/ 1090612 h 1409700"/>
                  <a:gd name="connsiteX9" fmla="*/ 1385887 w 1883568"/>
                  <a:gd name="connsiteY9" fmla="*/ 1076325 h 1409700"/>
                  <a:gd name="connsiteX10" fmla="*/ 1540668 w 1883568"/>
                  <a:gd name="connsiteY10" fmla="*/ 1081087 h 1409700"/>
                  <a:gd name="connsiteX11" fmla="*/ 1569243 w 1883568"/>
                  <a:gd name="connsiteY11" fmla="*/ 1128712 h 1409700"/>
                  <a:gd name="connsiteX12" fmla="*/ 1612106 w 1883568"/>
                  <a:gd name="connsiteY12" fmla="*/ 1188243 h 1409700"/>
                  <a:gd name="connsiteX13" fmla="*/ 1616868 w 1883568"/>
                  <a:gd name="connsiteY13" fmla="*/ 1219200 h 1409700"/>
                  <a:gd name="connsiteX14" fmla="*/ 1600200 w 1883568"/>
                  <a:gd name="connsiteY14" fmla="*/ 1243012 h 1409700"/>
                  <a:gd name="connsiteX15" fmla="*/ 1626393 w 1883568"/>
                  <a:gd name="connsiteY15" fmla="*/ 1254918 h 1409700"/>
                  <a:gd name="connsiteX16" fmla="*/ 1609725 w 1883568"/>
                  <a:gd name="connsiteY16" fmla="*/ 1283493 h 1409700"/>
                  <a:gd name="connsiteX17" fmla="*/ 1702593 w 1883568"/>
                  <a:gd name="connsiteY17" fmla="*/ 1369218 h 1409700"/>
                  <a:gd name="connsiteX18" fmla="*/ 1721643 w 1883568"/>
                  <a:gd name="connsiteY18" fmla="*/ 1376362 h 1409700"/>
                  <a:gd name="connsiteX19" fmla="*/ 1776412 w 1883568"/>
                  <a:gd name="connsiteY19" fmla="*/ 1390650 h 1409700"/>
                  <a:gd name="connsiteX20" fmla="*/ 1826418 w 1883568"/>
                  <a:gd name="connsiteY20" fmla="*/ 1409700 h 1409700"/>
                  <a:gd name="connsiteX21" fmla="*/ 1826418 w 1883568"/>
                  <a:gd name="connsiteY21" fmla="*/ 1357312 h 1409700"/>
                  <a:gd name="connsiteX22" fmla="*/ 1819275 w 1883568"/>
                  <a:gd name="connsiteY22" fmla="*/ 1319212 h 1409700"/>
                  <a:gd name="connsiteX23" fmla="*/ 1840706 w 1883568"/>
                  <a:gd name="connsiteY23" fmla="*/ 1281112 h 1409700"/>
                  <a:gd name="connsiteX24" fmla="*/ 1843087 w 1883568"/>
                  <a:gd name="connsiteY24" fmla="*/ 1235868 h 1409700"/>
                  <a:gd name="connsiteX25" fmla="*/ 1883568 w 1883568"/>
                  <a:gd name="connsiteY25" fmla="*/ 1188243 h 1409700"/>
                  <a:gd name="connsiteX26" fmla="*/ 1869281 w 1883568"/>
                  <a:gd name="connsiteY26" fmla="*/ 1145381 h 1409700"/>
                  <a:gd name="connsiteX27" fmla="*/ 1843087 w 1883568"/>
                  <a:gd name="connsiteY27" fmla="*/ 1073943 h 1409700"/>
                  <a:gd name="connsiteX28" fmla="*/ 1793081 w 1883568"/>
                  <a:gd name="connsiteY28" fmla="*/ 1031081 h 1409700"/>
                  <a:gd name="connsiteX29" fmla="*/ 1731168 w 1883568"/>
                  <a:gd name="connsiteY29" fmla="*/ 973931 h 1409700"/>
                  <a:gd name="connsiteX30" fmla="*/ 1674018 w 1883568"/>
                  <a:gd name="connsiteY30" fmla="*/ 947737 h 1409700"/>
                  <a:gd name="connsiteX31" fmla="*/ 1609725 w 1883568"/>
                  <a:gd name="connsiteY31" fmla="*/ 888206 h 1409700"/>
                  <a:gd name="connsiteX32" fmla="*/ 1595437 w 1883568"/>
                  <a:gd name="connsiteY32" fmla="*/ 838200 h 1409700"/>
                  <a:gd name="connsiteX33" fmla="*/ 1538287 w 1883568"/>
                  <a:gd name="connsiteY33" fmla="*/ 842962 h 1409700"/>
                  <a:gd name="connsiteX34" fmla="*/ 1552575 w 1883568"/>
                  <a:gd name="connsiteY34" fmla="*/ 814387 h 1409700"/>
                  <a:gd name="connsiteX35" fmla="*/ 1483518 w 1883568"/>
                  <a:gd name="connsiteY35" fmla="*/ 812006 h 1409700"/>
                  <a:gd name="connsiteX36" fmla="*/ 1390650 w 1883568"/>
                  <a:gd name="connsiteY36" fmla="*/ 754856 h 1409700"/>
                  <a:gd name="connsiteX37" fmla="*/ 1352550 w 1883568"/>
                  <a:gd name="connsiteY37" fmla="*/ 762000 h 1409700"/>
                  <a:gd name="connsiteX38" fmla="*/ 1250156 w 1883568"/>
                  <a:gd name="connsiteY38" fmla="*/ 676275 h 1409700"/>
                  <a:gd name="connsiteX39" fmla="*/ 1221581 w 1883568"/>
                  <a:gd name="connsiteY39" fmla="*/ 640556 h 1409700"/>
                  <a:gd name="connsiteX40" fmla="*/ 1071562 w 1883568"/>
                  <a:gd name="connsiteY40" fmla="*/ 566737 h 1409700"/>
                  <a:gd name="connsiteX41" fmla="*/ 971550 w 1883568"/>
                  <a:gd name="connsiteY41" fmla="*/ 528637 h 1409700"/>
                  <a:gd name="connsiteX42" fmla="*/ 845343 w 1883568"/>
                  <a:gd name="connsiteY42" fmla="*/ 483393 h 1409700"/>
                  <a:gd name="connsiteX43" fmla="*/ 719137 w 1883568"/>
                  <a:gd name="connsiteY43" fmla="*/ 433387 h 1409700"/>
                  <a:gd name="connsiteX44" fmla="*/ 631031 w 1883568"/>
                  <a:gd name="connsiteY44" fmla="*/ 373856 h 1409700"/>
                  <a:gd name="connsiteX45" fmla="*/ 507206 w 1883568"/>
                  <a:gd name="connsiteY45" fmla="*/ 304800 h 1409700"/>
                  <a:gd name="connsiteX46" fmla="*/ 476250 w 1883568"/>
                  <a:gd name="connsiteY46" fmla="*/ 238125 h 1409700"/>
                  <a:gd name="connsiteX47" fmla="*/ 547687 w 1883568"/>
                  <a:gd name="connsiteY47" fmla="*/ 197643 h 1409700"/>
                  <a:gd name="connsiteX48" fmla="*/ 652462 w 1883568"/>
                  <a:gd name="connsiteY48" fmla="*/ 121443 h 1409700"/>
                  <a:gd name="connsiteX49" fmla="*/ 645318 w 1883568"/>
                  <a:gd name="connsiteY49" fmla="*/ 52387 h 1409700"/>
                  <a:gd name="connsiteX50" fmla="*/ 623887 w 1883568"/>
                  <a:gd name="connsiteY50" fmla="*/ 19050 h 1409700"/>
                  <a:gd name="connsiteX51" fmla="*/ 554831 w 1883568"/>
                  <a:gd name="connsiteY51" fmla="*/ 0 h 1409700"/>
                  <a:gd name="connsiteX52" fmla="*/ 492918 w 1883568"/>
                  <a:gd name="connsiteY52" fmla="*/ 2381 h 1409700"/>
                  <a:gd name="connsiteX53" fmla="*/ 414337 w 1883568"/>
                  <a:gd name="connsiteY53" fmla="*/ 28575 h 1409700"/>
                  <a:gd name="connsiteX54" fmla="*/ 340518 w 1883568"/>
                  <a:gd name="connsiteY54" fmla="*/ 26193 h 1409700"/>
                  <a:gd name="connsiteX55" fmla="*/ 319087 w 1883568"/>
                  <a:gd name="connsiteY55" fmla="*/ 16668 h 1409700"/>
                  <a:gd name="connsiteX56" fmla="*/ 269081 w 1883568"/>
                  <a:gd name="connsiteY56" fmla="*/ 26193 h 1409700"/>
                  <a:gd name="connsiteX57" fmla="*/ 169068 w 1883568"/>
                  <a:gd name="connsiteY57" fmla="*/ 23812 h 1409700"/>
                  <a:gd name="connsiteX58" fmla="*/ 92868 w 1883568"/>
                  <a:gd name="connsiteY58" fmla="*/ 14287 h 1409700"/>
                  <a:gd name="connsiteX59" fmla="*/ 83343 w 1883568"/>
                  <a:gd name="connsiteY59" fmla="*/ 126206 h 1409700"/>
                  <a:gd name="connsiteX60" fmla="*/ 111918 w 1883568"/>
                  <a:gd name="connsiteY60" fmla="*/ 166687 h 1409700"/>
                  <a:gd name="connsiteX61" fmla="*/ 92868 w 1883568"/>
                  <a:gd name="connsiteY61" fmla="*/ 190500 h 1409700"/>
                  <a:gd name="connsiteX62" fmla="*/ 54768 w 1883568"/>
                  <a:gd name="connsiteY62" fmla="*/ 223837 h 1409700"/>
                  <a:gd name="connsiteX63" fmla="*/ 19050 w 1883568"/>
                  <a:gd name="connsiteY63" fmla="*/ 195262 h 1409700"/>
                  <a:gd name="connsiteX64" fmla="*/ 0 w 1883568"/>
                  <a:gd name="connsiteY64" fmla="*/ 254793 h 1409700"/>
                  <a:gd name="connsiteX65" fmla="*/ 23812 w 1883568"/>
                  <a:gd name="connsiteY65" fmla="*/ 290512 h 1409700"/>
                  <a:gd name="connsiteX66" fmla="*/ 38100 w 1883568"/>
                  <a:gd name="connsiteY66" fmla="*/ 330993 h 1409700"/>
                  <a:gd name="connsiteX67" fmla="*/ 78581 w 1883568"/>
                  <a:gd name="connsiteY67" fmla="*/ 354806 h 1409700"/>
                  <a:gd name="connsiteX68" fmla="*/ 57150 w 1883568"/>
                  <a:gd name="connsiteY68" fmla="*/ 378618 h 1409700"/>
                  <a:gd name="connsiteX69" fmla="*/ 80962 w 1883568"/>
                  <a:gd name="connsiteY69" fmla="*/ 419100 h 1409700"/>
                  <a:gd name="connsiteX70" fmla="*/ 164306 w 1883568"/>
                  <a:gd name="connsiteY70" fmla="*/ 461962 h 1409700"/>
                  <a:gd name="connsiteX71" fmla="*/ 188118 w 1883568"/>
                  <a:gd name="connsiteY71" fmla="*/ 471487 h 1409700"/>
                  <a:gd name="connsiteX72" fmla="*/ 171450 w 1883568"/>
                  <a:gd name="connsiteY72" fmla="*/ 483393 h 1409700"/>
                  <a:gd name="connsiteX73" fmla="*/ 150018 w 1883568"/>
                  <a:gd name="connsiteY73" fmla="*/ 516731 h 1409700"/>
                  <a:gd name="connsiteX74" fmla="*/ 188118 w 1883568"/>
                  <a:gd name="connsiteY74" fmla="*/ 573881 h 1409700"/>
                  <a:gd name="connsiteX75" fmla="*/ 257175 w 1883568"/>
                  <a:gd name="connsiteY75" fmla="*/ 559593 h 1409700"/>
                  <a:gd name="connsiteX76" fmla="*/ 273843 w 1883568"/>
                  <a:gd name="connsiteY76" fmla="*/ 583406 h 1409700"/>
                  <a:gd name="connsiteX77" fmla="*/ 297656 w 1883568"/>
                  <a:gd name="connsiteY77" fmla="*/ 583406 h 1409700"/>
                  <a:gd name="connsiteX78" fmla="*/ 323850 w 1883568"/>
                  <a:gd name="connsiteY78" fmla="*/ 600075 h 1409700"/>
                  <a:gd name="connsiteX79" fmla="*/ 354806 w 1883568"/>
                  <a:gd name="connsiteY79" fmla="*/ 581025 h 1409700"/>
                  <a:gd name="connsiteX80" fmla="*/ 409575 w 1883568"/>
                  <a:gd name="connsiteY80" fmla="*/ 578643 h 1409700"/>
                  <a:gd name="connsiteX81" fmla="*/ 450056 w 1883568"/>
                  <a:gd name="connsiteY81" fmla="*/ 578643 h 1409700"/>
                  <a:gd name="connsiteX82" fmla="*/ 488156 w 1883568"/>
                  <a:gd name="connsiteY82" fmla="*/ 533400 h 1409700"/>
                  <a:gd name="connsiteX83" fmla="*/ 531018 w 1883568"/>
                  <a:gd name="connsiteY83" fmla="*/ 571500 h 1409700"/>
                  <a:gd name="connsiteX84" fmla="*/ 547687 w 1883568"/>
                  <a:gd name="connsiteY84" fmla="*/ 588168 h 1409700"/>
                  <a:gd name="connsiteX85" fmla="*/ 559593 w 1883568"/>
                  <a:gd name="connsiteY85" fmla="*/ 597693 h 1409700"/>
                  <a:gd name="connsiteX86" fmla="*/ 583406 w 1883568"/>
                  <a:gd name="connsiteY86" fmla="*/ 614362 h 1409700"/>
                  <a:gd name="connsiteX87" fmla="*/ 533400 w 1883568"/>
                  <a:gd name="connsiteY87" fmla="*/ 650081 h 1409700"/>
                  <a:gd name="connsiteX88" fmla="*/ 581025 w 1883568"/>
                  <a:gd name="connsiteY88" fmla="*/ 681037 h 1409700"/>
                  <a:gd name="connsiteX89" fmla="*/ 623887 w 1883568"/>
                  <a:gd name="connsiteY89" fmla="*/ 709612 h 1409700"/>
                  <a:gd name="connsiteX90" fmla="*/ 661987 w 1883568"/>
                  <a:gd name="connsiteY90" fmla="*/ 671512 h 1409700"/>
                  <a:gd name="connsiteX91" fmla="*/ 678656 w 1883568"/>
                  <a:gd name="connsiteY91" fmla="*/ 683418 h 1409700"/>
                  <a:gd name="connsiteX92" fmla="*/ 700087 w 1883568"/>
                  <a:gd name="connsiteY92" fmla="*/ 759618 h 1409700"/>
                  <a:gd name="connsiteX93" fmla="*/ 752475 w 1883568"/>
                  <a:gd name="connsiteY93" fmla="*/ 792956 h 1409700"/>
                  <a:gd name="connsiteX94" fmla="*/ 783431 w 1883568"/>
                  <a:gd name="connsiteY94" fmla="*/ 838200 h 1409700"/>
                  <a:gd name="connsiteX95" fmla="*/ 795337 w 1883568"/>
                  <a:gd name="connsiteY95" fmla="*/ 807243 h 1409700"/>
                  <a:gd name="connsiteX96" fmla="*/ 852487 w 1883568"/>
                  <a:gd name="connsiteY96" fmla="*/ 792956 h 1409700"/>
                  <a:gd name="connsiteX97" fmla="*/ 902493 w 1883568"/>
                  <a:gd name="connsiteY97" fmla="*/ 800100 h 1409700"/>
                  <a:gd name="connsiteX98" fmla="*/ 947737 w 1883568"/>
                  <a:gd name="connsiteY98" fmla="*/ 823912 h 1409700"/>
                  <a:gd name="connsiteX99" fmla="*/ 928687 w 1883568"/>
                  <a:gd name="connsiteY99" fmla="*/ 878681 h 1409700"/>
                  <a:gd name="connsiteX100" fmla="*/ 931068 w 1883568"/>
                  <a:gd name="connsiteY100" fmla="*/ 928687 h 1409700"/>
                  <a:gd name="connsiteX101" fmla="*/ 931068 w 1883568"/>
                  <a:gd name="connsiteY101" fmla="*/ 983456 h 1409700"/>
                  <a:gd name="connsiteX102" fmla="*/ 962025 w 1883568"/>
                  <a:gd name="connsiteY102" fmla="*/ 973931 h 1409700"/>
                  <a:gd name="connsiteX103" fmla="*/ 1023937 w 1883568"/>
                  <a:gd name="connsiteY103" fmla="*/ 1012031 h 140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1883568" h="1409700">
                    <a:moveTo>
                      <a:pt x="1023937" y="1012031"/>
                    </a:moveTo>
                    <a:lnTo>
                      <a:pt x="1100137" y="945356"/>
                    </a:lnTo>
                    <a:lnTo>
                      <a:pt x="1152525" y="942975"/>
                    </a:lnTo>
                    <a:lnTo>
                      <a:pt x="1193006" y="966787"/>
                    </a:lnTo>
                    <a:lnTo>
                      <a:pt x="1202531" y="985837"/>
                    </a:lnTo>
                    <a:lnTo>
                      <a:pt x="1190625" y="1014412"/>
                    </a:lnTo>
                    <a:lnTo>
                      <a:pt x="1264443" y="1054893"/>
                    </a:lnTo>
                    <a:lnTo>
                      <a:pt x="1323975" y="1069181"/>
                    </a:lnTo>
                    <a:lnTo>
                      <a:pt x="1350168" y="1090612"/>
                    </a:lnTo>
                    <a:lnTo>
                      <a:pt x="1385887" y="1076325"/>
                    </a:lnTo>
                    <a:lnTo>
                      <a:pt x="1540668" y="1081087"/>
                    </a:lnTo>
                    <a:lnTo>
                      <a:pt x="1569243" y="1128712"/>
                    </a:lnTo>
                    <a:lnTo>
                      <a:pt x="1612106" y="1188243"/>
                    </a:lnTo>
                    <a:lnTo>
                      <a:pt x="1616868" y="1219200"/>
                    </a:lnTo>
                    <a:lnTo>
                      <a:pt x="1600200" y="1243012"/>
                    </a:lnTo>
                    <a:lnTo>
                      <a:pt x="1626393" y="1254918"/>
                    </a:lnTo>
                    <a:lnTo>
                      <a:pt x="1609725" y="1283493"/>
                    </a:lnTo>
                    <a:lnTo>
                      <a:pt x="1702593" y="1369218"/>
                    </a:lnTo>
                    <a:lnTo>
                      <a:pt x="1721643" y="1376362"/>
                    </a:lnTo>
                    <a:lnTo>
                      <a:pt x="1776412" y="1390650"/>
                    </a:lnTo>
                    <a:lnTo>
                      <a:pt x="1826418" y="1409700"/>
                    </a:lnTo>
                    <a:lnTo>
                      <a:pt x="1826418" y="1357312"/>
                    </a:lnTo>
                    <a:lnTo>
                      <a:pt x="1819275" y="1319212"/>
                    </a:lnTo>
                    <a:lnTo>
                      <a:pt x="1840706" y="1281112"/>
                    </a:lnTo>
                    <a:lnTo>
                      <a:pt x="1843087" y="1235868"/>
                    </a:lnTo>
                    <a:lnTo>
                      <a:pt x="1883568" y="1188243"/>
                    </a:lnTo>
                    <a:lnTo>
                      <a:pt x="1869281" y="1145381"/>
                    </a:lnTo>
                    <a:lnTo>
                      <a:pt x="1843087" y="1073943"/>
                    </a:lnTo>
                    <a:lnTo>
                      <a:pt x="1793081" y="1031081"/>
                    </a:lnTo>
                    <a:lnTo>
                      <a:pt x="1731168" y="973931"/>
                    </a:lnTo>
                    <a:lnTo>
                      <a:pt x="1674018" y="947737"/>
                    </a:lnTo>
                    <a:lnTo>
                      <a:pt x="1609725" y="888206"/>
                    </a:lnTo>
                    <a:lnTo>
                      <a:pt x="1595437" y="838200"/>
                    </a:lnTo>
                    <a:lnTo>
                      <a:pt x="1538287" y="842962"/>
                    </a:lnTo>
                    <a:lnTo>
                      <a:pt x="1552575" y="814387"/>
                    </a:lnTo>
                    <a:lnTo>
                      <a:pt x="1483518" y="812006"/>
                    </a:lnTo>
                    <a:lnTo>
                      <a:pt x="1390650" y="754856"/>
                    </a:lnTo>
                    <a:lnTo>
                      <a:pt x="1352550" y="762000"/>
                    </a:lnTo>
                    <a:lnTo>
                      <a:pt x="1250156" y="676275"/>
                    </a:lnTo>
                    <a:lnTo>
                      <a:pt x="1221581" y="640556"/>
                    </a:lnTo>
                    <a:lnTo>
                      <a:pt x="1071562" y="566737"/>
                    </a:lnTo>
                    <a:lnTo>
                      <a:pt x="971550" y="528637"/>
                    </a:lnTo>
                    <a:lnTo>
                      <a:pt x="845343" y="483393"/>
                    </a:lnTo>
                    <a:lnTo>
                      <a:pt x="719137" y="433387"/>
                    </a:lnTo>
                    <a:lnTo>
                      <a:pt x="631031" y="373856"/>
                    </a:lnTo>
                    <a:lnTo>
                      <a:pt x="507206" y="304800"/>
                    </a:lnTo>
                    <a:lnTo>
                      <a:pt x="476250" y="238125"/>
                    </a:lnTo>
                    <a:lnTo>
                      <a:pt x="547687" y="197643"/>
                    </a:lnTo>
                    <a:lnTo>
                      <a:pt x="652462" y="121443"/>
                    </a:lnTo>
                    <a:lnTo>
                      <a:pt x="645318" y="52387"/>
                    </a:lnTo>
                    <a:lnTo>
                      <a:pt x="623887" y="19050"/>
                    </a:lnTo>
                    <a:lnTo>
                      <a:pt x="554831" y="0"/>
                    </a:lnTo>
                    <a:lnTo>
                      <a:pt x="492918" y="2381"/>
                    </a:lnTo>
                    <a:lnTo>
                      <a:pt x="414337" y="28575"/>
                    </a:lnTo>
                    <a:lnTo>
                      <a:pt x="340518" y="26193"/>
                    </a:lnTo>
                    <a:lnTo>
                      <a:pt x="319087" y="16668"/>
                    </a:lnTo>
                    <a:lnTo>
                      <a:pt x="269081" y="26193"/>
                    </a:lnTo>
                    <a:lnTo>
                      <a:pt x="169068" y="23812"/>
                    </a:lnTo>
                    <a:lnTo>
                      <a:pt x="92868" y="14287"/>
                    </a:lnTo>
                    <a:lnTo>
                      <a:pt x="83343" y="126206"/>
                    </a:lnTo>
                    <a:lnTo>
                      <a:pt x="111918" y="166687"/>
                    </a:lnTo>
                    <a:lnTo>
                      <a:pt x="92868" y="190500"/>
                    </a:lnTo>
                    <a:lnTo>
                      <a:pt x="54768" y="223837"/>
                    </a:lnTo>
                    <a:lnTo>
                      <a:pt x="19050" y="195262"/>
                    </a:lnTo>
                    <a:lnTo>
                      <a:pt x="0" y="254793"/>
                    </a:lnTo>
                    <a:lnTo>
                      <a:pt x="23812" y="290512"/>
                    </a:lnTo>
                    <a:lnTo>
                      <a:pt x="38100" y="330993"/>
                    </a:lnTo>
                    <a:lnTo>
                      <a:pt x="78581" y="354806"/>
                    </a:lnTo>
                    <a:lnTo>
                      <a:pt x="57150" y="378618"/>
                    </a:lnTo>
                    <a:lnTo>
                      <a:pt x="80962" y="419100"/>
                    </a:lnTo>
                    <a:lnTo>
                      <a:pt x="164306" y="461962"/>
                    </a:lnTo>
                    <a:lnTo>
                      <a:pt x="188118" y="471487"/>
                    </a:lnTo>
                    <a:lnTo>
                      <a:pt x="171450" y="483393"/>
                    </a:lnTo>
                    <a:lnTo>
                      <a:pt x="150018" y="516731"/>
                    </a:lnTo>
                    <a:lnTo>
                      <a:pt x="188118" y="573881"/>
                    </a:lnTo>
                    <a:lnTo>
                      <a:pt x="257175" y="559593"/>
                    </a:lnTo>
                    <a:lnTo>
                      <a:pt x="273843" y="583406"/>
                    </a:lnTo>
                    <a:lnTo>
                      <a:pt x="297656" y="583406"/>
                    </a:lnTo>
                    <a:lnTo>
                      <a:pt x="323850" y="600075"/>
                    </a:lnTo>
                    <a:lnTo>
                      <a:pt x="354806" y="581025"/>
                    </a:lnTo>
                    <a:lnTo>
                      <a:pt x="409575" y="578643"/>
                    </a:lnTo>
                    <a:lnTo>
                      <a:pt x="450056" y="578643"/>
                    </a:lnTo>
                    <a:lnTo>
                      <a:pt x="488156" y="533400"/>
                    </a:lnTo>
                    <a:lnTo>
                      <a:pt x="531018" y="571500"/>
                    </a:lnTo>
                    <a:lnTo>
                      <a:pt x="547687" y="588168"/>
                    </a:lnTo>
                    <a:lnTo>
                      <a:pt x="559593" y="597693"/>
                    </a:lnTo>
                    <a:lnTo>
                      <a:pt x="583406" y="614362"/>
                    </a:lnTo>
                    <a:lnTo>
                      <a:pt x="533400" y="650081"/>
                    </a:lnTo>
                    <a:lnTo>
                      <a:pt x="581025" y="681037"/>
                    </a:lnTo>
                    <a:lnTo>
                      <a:pt x="623887" y="709612"/>
                    </a:lnTo>
                    <a:lnTo>
                      <a:pt x="661987" y="671512"/>
                    </a:lnTo>
                    <a:lnTo>
                      <a:pt x="678656" y="683418"/>
                    </a:lnTo>
                    <a:lnTo>
                      <a:pt x="700087" y="759618"/>
                    </a:lnTo>
                    <a:lnTo>
                      <a:pt x="752475" y="792956"/>
                    </a:lnTo>
                    <a:lnTo>
                      <a:pt x="783431" y="838200"/>
                    </a:lnTo>
                    <a:lnTo>
                      <a:pt x="795337" y="807243"/>
                    </a:lnTo>
                    <a:lnTo>
                      <a:pt x="852487" y="792956"/>
                    </a:lnTo>
                    <a:lnTo>
                      <a:pt x="902493" y="800100"/>
                    </a:lnTo>
                    <a:lnTo>
                      <a:pt x="947737" y="823912"/>
                    </a:lnTo>
                    <a:lnTo>
                      <a:pt x="928687" y="878681"/>
                    </a:lnTo>
                    <a:lnTo>
                      <a:pt x="931068" y="928687"/>
                    </a:lnTo>
                    <a:lnTo>
                      <a:pt x="931068" y="983456"/>
                    </a:lnTo>
                    <a:lnTo>
                      <a:pt x="962025" y="973931"/>
                    </a:lnTo>
                    <a:lnTo>
                      <a:pt x="1023937" y="101203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6" name="Figura a mano libera 235"/>
              <p:cNvSpPr/>
              <p:nvPr/>
            </p:nvSpPr>
            <p:spPr bwMode="auto">
              <a:xfrm>
                <a:off x="3840306" y="3199192"/>
                <a:ext cx="488060" cy="356119"/>
              </a:xfrm>
              <a:custGeom>
                <a:avLst/>
                <a:gdLst>
                  <a:gd name="connsiteX0" fmla="*/ 571500 w 609600"/>
                  <a:gd name="connsiteY0" fmla="*/ 83344 h 454819"/>
                  <a:gd name="connsiteX1" fmla="*/ 528638 w 609600"/>
                  <a:gd name="connsiteY1" fmla="*/ 47625 h 454819"/>
                  <a:gd name="connsiteX2" fmla="*/ 514350 w 609600"/>
                  <a:gd name="connsiteY2" fmla="*/ 19050 h 454819"/>
                  <a:gd name="connsiteX3" fmla="*/ 457200 w 609600"/>
                  <a:gd name="connsiteY3" fmla="*/ 23812 h 454819"/>
                  <a:gd name="connsiteX4" fmla="*/ 423863 w 609600"/>
                  <a:gd name="connsiteY4" fmla="*/ 0 h 454819"/>
                  <a:gd name="connsiteX5" fmla="*/ 388144 w 609600"/>
                  <a:gd name="connsiteY5" fmla="*/ 45244 h 454819"/>
                  <a:gd name="connsiteX6" fmla="*/ 369094 w 609600"/>
                  <a:gd name="connsiteY6" fmla="*/ 88106 h 454819"/>
                  <a:gd name="connsiteX7" fmla="*/ 342900 w 609600"/>
                  <a:gd name="connsiteY7" fmla="*/ 114300 h 454819"/>
                  <a:gd name="connsiteX8" fmla="*/ 261938 w 609600"/>
                  <a:gd name="connsiteY8" fmla="*/ 207169 h 454819"/>
                  <a:gd name="connsiteX9" fmla="*/ 252413 w 609600"/>
                  <a:gd name="connsiteY9" fmla="*/ 140494 h 454819"/>
                  <a:gd name="connsiteX10" fmla="*/ 252413 w 609600"/>
                  <a:gd name="connsiteY10" fmla="*/ 140494 h 454819"/>
                  <a:gd name="connsiteX11" fmla="*/ 242888 w 609600"/>
                  <a:gd name="connsiteY11" fmla="*/ 126206 h 454819"/>
                  <a:gd name="connsiteX12" fmla="*/ 219075 w 609600"/>
                  <a:gd name="connsiteY12" fmla="*/ 126206 h 454819"/>
                  <a:gd name="connsiteX13" fmla="*/ 195263 w 609600"/>
                  <a:gd name="connsiteY13" fmla="*/ 116681 h 454819"/>
                  <a:gd name="connsiteX14" fmla="*/ 195263 w 609600"/>
                  <a:gd name="connsiteY14" fmla="*/ 128587 h 454819"/>
                  <a:gd name="connsiteX15" fmla="*/ 171450 w 609600"/>
                  <a:gd name="connsiteY15" fmla="*/ 102394 h 454819"/>
                  <a:gd name="connsiteX16" fmla="*/ 147638 w 609600"/>
                  <a:gd name="connsiteY16" fmla="*/ 109537 h 454819"/>
                  <a:gd name="connsiteX17" fmla="*/ 114300 w 609600"/>
                  <a:gd name="connsiteY17" fmla="*/ 142875 h 454819"/>
                  <a:gd name="connsiteX18" fmla="*/ 85725 w 609600"/>
                  <a:gd name="connsiteY18" fmla="*/ 152400 h 454819"/>
                  <a:gd name="connsiteX19" fmla="*/ 109538 w 609600"/>
                  <a:gd name="connsiteY19" fmla="*/ 173831 h 454819"/>
                  <a:gd name="connsiteX20" fmla="*/ 109538 w 609600"/>
                  <a:gd name="connsiteY20" fmla="*/ 173831 h 454819"/>
                  <a:gd name="connsiteX21" fmla="*/ 61913 w 609600"/>
                  <a:gd name="connsiteY21" fmla="*/ 192881 h 454819"/>
                  <a:gd name="connsiteX22" fmla="*/ 35719 w 609600"/>
                  <a:gd name="connsiteY22" fmla="*/ 219075 h 454819"/>
                  <a:gd name="connsiteX23" fmla="*/ 45244 w 609600"/>
                  <a:gd name="connsiteY23" fmla="*/ 242887 h 454819"/>
                  <a:gd name="connsiteX24" fmla="*/ 9525 w 609600"/>
                  <a:gd name="connsiteY24" fmla="*/ 230981 h 454819"/>
                  <a:gd name="connsiteX25" fmla="*/ 9525 w 609600"/>
                  <a:gd name="connsiteY25" fmla="*/ 230981 h 454819"/>
                  <a:gd name="connsiteX26" fmla="*/ 16669 w 609600"/>
                  <a:gd name="connsiteY26" fmla="*/ 297656 h 454819"/>
                  <a:gd name="connsiteX27" fmla="*/ 30957 w 609600"/>
                  <a:gd name="connsiteY27" fmla="*/ 352425 h 454819"/>
                  <a:gd name="connsiteX28" fmla="*/ 0 w 609600"/>
                  <a:gd name="connsiteY28" fmla="*/ 376237 h 454819"/>
                  <a:gd name="connsiteX29" fmla="*/ 35719 w 609600"/>
                  <a:gd name="connsiteY29" fmla="*/ 388144 h 454819"/>
                  <a:gd name="connsiteX30" fmla="*/ 61913 w 609600"/>
                  <a:gd name="connsiteY30" fmla="*/ 400050 h 454819"/>
                  <a:gd name="connsiteX31" fmla="*/ 73819 w 609600"/>
                  <a:gd name="connsiteY31" fmla="*/ 357187 h 454819"/>
                  <a:gd name="connsiteX32" fmla="*/ 145257 w 609600"/>
                  <a:gd name="connsiteY32" fmla="*/ 378619 h 454819"/>
                  <a:gd name="connsiteX33" fmla="*/ 188119 w 609600"/>
                  <a:gd name="connsiteY33" fmla="*/ 404812 h 454819"/>
                  <a:gd name="connsiteX34" fmla="*/ 252413 w 609600"/>
                  <a:gd name="connsiteY34" fmla="*/ 416719 h 454819"/>
                  <a:gd name="connsiteX35" fmla="*/ 292894 w 609600"/>
                  <a:gd name="connsiteY35" fmla="*/ 452437 h 454819"/>
                  <a:gd name="connsiteX36" fmla="*/ 323850 w 609600"/>
                  <a:gd name="connsiteY36" fmla="*/ 454819 h 454819"/>
                  <a:gd name="connsiteX37" fmla="*/ 388144 w 609600"/>
                  <a:gd name="connsiteY37" fmla="*/ 428625 h 454819"/>
                  <a:gd name="connsiteX38" fmla="*/ 411957 w 609600"/>
                  <a:gd name="connsiteY38" fmla="*/ 419100 h 454819"/>
                  <a:gd name="connsiteX39" fmla="*/ 414338 w 609600"/>
                  <a:gd name="connsiteY39" fmla="*/ 404812 h 454819"/>
                  <a:gd name="connsiteX40" fmla="*/ 459582 w 609600"/>
                  <a:gd name="connsiteY40" fmla="*/ 409575 h 454819"/>
                  <a:gd name="connsiteX41" fmla="*/ 528638 w 609600"/>
                  <a:gd name="connsiteY41" fmla="*/ 388144 h 454819"/>
                  <a:gd name="connsiteX42" fmla="*/ 504825 w 609600"/>
                  <a:gd name="connsiteY42" fmla="*/ 311944 h 454819"/>
                  <a:gd name="connsiteX43" fmla="*/ 516732 w 609600"/>
                  <a:gd name="connsiteY43" fmla="*/ 259556 h 454819"/>
                  <a:gd name="connsiteX44" fmla="*/ 552450 w 609600"/>
                  <a:gd name="connsiteY44" fmla="*/ 288131 h 454819"/>
                  <a:gd name="connsiteX45" fmla="*/ 609600 w 609600"/>
                  <a:gd name="connsiteY45" fmla="*/ 233362 h 454819"/>
                  <a:gd name="connsiteX46" fmla="*/ 592932 w 609600"/>
                  <a:gd name="connsiteY46" fmla="*/ 197644 h 454819"/>
                  <a:gd name="connsiteX47" fmla="*/ 571500 w 609600"/>
                  <a:gd name="connsiteY47" fmla="*/ 83344 h 454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9600" h="454819">
                    <a:moveTo>
                      <a:pt x="571500" y="83344"/>
                    </a:moveTo>
                    <a:lnTo>
                      <a:pt x="528638" y="47625"/>
                    </a:lnTo>
                    <a:lnTo>
                      <a:pt x="514350" y="19050"/>
                    </a:lnTo>
                    <a:lnTo>
                      <a:pt x="457200" y="23812"/>
                    </a:lnTo>
                    <a:lnTo>
                      <a:pt x="423863" y="0"/>
                    </a:lnTo>
                    <a:lnTo>
                      <a:pt x="388144" y="45244"/>
                    </a:lnTo>
                    <a:lnTo>
                      <a:pt x="369094" y="88106"/>
                    </a:lnTo>
                    <a:lnTo>
                      <a:pt x="342900" y="114300"/>
                    </a:lnTo>
                    <a:lnTo>
                      <a:pt x="261938" y="207169"/>
                    </a:lnTo>
                    <a:lnTo>
                      <a:pt x="252413" y="140494"/>
                    </a:lnTo>
                    <a:lnTo>
                      <a:pt x="252413" y="140494"/>
                    </a:lnTo>
                    <a:lnTo>
                      <a:pt x="242888" y="126206"/>
                    </a:lnTo>
                    <a:lnTo>
                      <a:pt x="219075" y="126206"/>
                    </a:lnTo>
                    <a:lnTo>
                      <a:pt x="195263" y="116681"/>
                    </a:lnTo>
                    <a:lnTo>
                      <a:pt x="195263" y="128587"/>
                    </a:lnTo>
                    <a:lnTo>
                      <a:pt x="171450" y="102394"/>
                    </a:lnTo>
                    <a:lnTo>
                      <a:pt x="147638" y="109537"/>
                    </a:lnTo>
                    <a:lnTo>
                      <a:pt x="114300" y="142875"/>
                    </a:lnTo>
                    <a:lnTo>
                      <a:pt x="85725" y="152400"/>
                    </a:lnTo>
                    <a:lnTo>
                      <a:pt x="109538" y="173831"/>
                    </a:lnTo>
                    <a:lnTo>
                      <a:pt x="109538" y="173831"/>
                    </a:lnTo>
                    <a:lnTo>
                      <a:pt x="61913" y="192881"/>
                    </a:lnTo>
                    <a:lnTo>
                      <a:pt x="35719" y="219075"/>
                    </a:lnTo>
                    <a:lnTo>
                      <a:pt x="45244" y="242887"/>
                    </a:lnTo>
                    <a:lnTo>
                      <a:pt x="9525" y="230981"/>
                    </a:lnTo>
                    <a:lnTo>
                      <a:pt x="9525" y="230981"/>
                    </a:lnTo>
                    <a:lnTo>
                      <a:pt x="16669" y="297656"/>
                    </a:lnTo>
                    <a:lnTo>
                      <a:pt x="30957" y="352425"/>
                    </a:lnTo>
                    <a:lnTo>
                      <a:pt x="0" y="376237"/>
                    </a:lnTo>
                    <a:lnTo>
                      <a:pt x="35719" y="388144"/>
                    </a:lnTo>
                    <a:lnTo>
                      <a:pt x="61913" y="400050"/>
                    </a:lnTo>
                    <a:lnTo>
                      <a:pt x="73819" y="357187"/>
                    </a:lnTo>
                    <a:lnTo>
                      <a:pt x="145257" y="378619"/>
                    </a:lnTo>
                    <a:lnTo>
                      <a:pt x="188119" y="404812"/>
                    </a:lnTo>
                    <a:lnTo>
                      <a:pt x="252413" y="416719"/>
                    </a:lnTo>
                    <a:lnTo>
                      <a:pt x="292894" y="452437"/>
                    </a:lnTo>
                    <a:lnTo>
                      <a:pt x="323850" y="454819"/>
                    </a:lnTo>
                    <a:lnTo>
                      <a:pt x="388144" y="428625"/>
                    </a:lnTo>
                    <a:lnTo>
                      <a:pt x="411957" y="419100"/>
                    </a:lnTo>
                    <a:lnTo>
                      <a:pt x="414338" y="404812"/>
                    </a:lnTo>
                    <a:lnTo>
                      <a:pt x="459582" y="409575"/>
                    </a:lnTo>
                    <a:lnTo>
                      <a:pt x="528638" y="388144"/>
                    </a:lnTo>
                    <a:lnTo>
                      <a:pt x="504825" y="311944"/>
                    </a:lnTo>
                    <a:lnTo>
                      <a:pt x="516732" y="259556"/>
                    </a:lnTo>
                    <a:lnTo>
                      <a:pt x="552450" y="288131"/>
                    </a:lnTo>
                    <a:lnTo>
                      <a:pt x="609600" y="233362"/>
                    </a:lnTo>
                    <a:lnTo>
                      <a:pt x="592932" y="197644"/>
                    </a:lnTo>
                    <a:cubicBezTo>
                      <a:pt x="593726" y="168275"/>
                      <a:pt x="594519" y="138906"/>
                      <a:pt x="571500" y="8334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7" name="Figura a mano libera 236"/>
              <p:cNvSpPr/>
              <p:nvPr/>
            </p:nvSpPr>
            <p:spPr bwMode="auto">
              <a:xfrm>
                <a:off x="3450153" y="2765400"/>
                <a:ext cx="732832" cy="636033"/>
              </a:xfrm>
              <a:custGeom>
                <a:avLst/>
                <a:gdLst>
                  <a:gd name="connsiteX0" fmla="*/ 464344 w 912019"/>
                  <a:gd name="connsiteY0" fmla="*/ 0 h 812006"/>
                  <a:gd name="connsiteX1" fmla="*/ 369094 w 912019"/>
                  <a:gd name="connsiteY1" fmla="*/ 21431 h 812006"/>
                  <a:gd name="connsiteX2" fmla="*/ 352425 w 912019"/>
                  <a:gd name="connsiteY2" fmla="*/ 42862 h 812006"/>
                  <a:gd name="connsiteX3" fmla="*/ 330994 w 912019"/>
                  <a:gd name="connsiteY3" fmla="*/ 61912 h 812006"/>
                  <a:gd name="connsiteX4" fmla="*/ 314325 w 912019"/>
                  <a:gd name="connsiteY4" fmla="*/ 57150 h 812006"/>
                  <a:gd name="connsiteX5" fmla="*/ 278607 w 912019"/>
                  <a:gd name="connsiteY5" fmla="*/ 57150 h 812006"/>
                  <a:gd name="connsiteX6" fmla="*/ 264319 w 912019"/>
                  <a:gd name="connsiteY6" fmla="*/ 90487 h 812006"/>
                  <a:gd name="connsiteX7" fmla="*/ 257175 w 912019"/>
                  <a:gd name="connsiteY7" fmla="*/ 102393 h 812006"/>
                  <a:gd name="connsiteX8" fmla="*/ 185738 w 912019"/>
                  <a:gd name="connsiteY8" fmla="*/ 138112 h 812006"/>
                  <a:gd name="connsiteX9" fmla="*/ 202407 w 912019"/>
                  <a:gd name="connsiteY9" fmla="*/ 150018 h 812006"/>
                  <a:gd name="connsiteX10" fmla="*/ 207169 w 912019"/>
                  <a:gd name="connsiteY10" fmla="*/ 171450 h 812006"/>
                  <a:gd name="connsiteX11" fmla="*/ 197644 w 912019"/>
                  <a:gd name="connsiteY11" fmla="*/ 197643 h 812006"/>
                  <a:gd name="connsiteX12" fmla="*/ 159544 w 912019"/>
                  <a:gd name="connsiteY12" fmla="*/ 207168 h 812006"/>
                  <a:gd name="connsiteX13" fmla="*/ 102394 w 912019"/>
                  <a:gd name="connsiteY13" fmla="*/ 190500 h 812006"/>
                  <a:gd name="connsiteX14" fmla="*/ 83344 w 912019"/>
                  <a:gd name="connsiteY14" fmla="*/ 221456 h 812006"/>
                  <a:gd name="connsiteX15" fmla="*/ 90488 w 912019"/>
                  <a:gd name="connsiteY15" fmla="*/ 264318 h 812006"/>
                  <a:gd name="connsiteX16" fmla="*/ 73819 w 912019"/>
                  <a:gd name="connsiteY16" fmla="*/ 278606 h 812006"/>
                  <a:gd name="connsiteX17" fmla="*/ 50007 w 912019"/>
                  <a:gd name="connsiteY17" fmla="*/ 295275 h 812006"/>
                  <a:gd name="connsiteX18" fmla="*/ 85725 w 912019"/>
                  <a:gd name="connsiteY18" fmla="*/ 335756 h 812006"/>
                  <a:gd name="connsiteX19" fmla="*/ 97632 w 912019"/>
                  <a:gd name="connsiteY19" fmla="*/ 371475 h 812006"/>
                  <a:gd name="connsiteX20" fmla="*/ 121444 w 912019"/>
                  <a:gd name="connsiteY20" fmla="*/ 404812 h 812006"/>
                  <a:gd name="connsiteX21" fmla="*/ 154782 w 912019"/>
                  <a:gd name="connsiteY21" fmla="*/ 440531 h 812006"/>
                  <a:gd name="connsiteX22" fmla="*/ 176213 w 912019"/>
                  <a:gd name="connsiteY22" fmla="*/ 454818 h 812006"/>
                  <a:gd name="connsiteX23" fmla="*/ 178594 w 912019"/>
                  <a:gd name="connsiteY23" fmla="*/ 478631 h 812006"/>
                  <a:gd name="connsiteX24" fmla="*/ 159544 w 912019"/>
                  <a:gd name="connsiteY24" fmla="*/ 502443 h 812006"/>
                  <a:gd name="connsiteX25" fmla="*/ 135732 w 912019"/>
                  <a:gd name="connsiteY25" fmla="*/ 502443 h 812006"/>
                  <a:gd name="connsiteX26" fmla="*/ 114300 w 912019"/>
                  <a:gd name="connsiteY26" fmla="*/ 502443 h 812006"/>
                  <a:gd name="connsiteX27" fmla="*/ 97632 w 912019"/>
                  <a:gd name="connsiteY27" fmla="*/ 492918 h 812006"/>
                  <a:gd name="connsiteX28" fmla="*/ 33338 w 912019"/>
                  <a:gd name="connsiteY28" fmla="*/ 461962 h 812006"/>
                  <a:gd name="connsiteX29" fmla="*/ 30957 w 912019"/>
                  <a:gd name="connsiteY29" fmla="*/ 492918 h 812006"/>
                  <a:gd name="connsiteX30" fmla="*/ 11907 w 912019"/>
                  <a:gd name="connsiteY30" fmla="*/ 500062 h 812006"/>
                  <a:gd name="connsiteX31" fmla="*/ 0 w 912019"/>
                  <a:gd name="connsiteY31" fmla="*/ 528637 h 812006"/>
                  <a:gd name="connsiteX32" fmla="*/ 11907 w 912019"/>
                  <a:gd name="connsiteY32" fmla="*/ 569118 h 812006"/>
                  <a:gd name="connsiteX33" fmla="*/ 102394 w 912019"/>
                  <a:gd name="connsiteY33" fmla="*/ 595312 h 812006"/>
                  <a:gd name="connsiteX34" fmla="*/ 180975 w 912019"/>
                  <a:gd name="connsiteY34" fmla="*/ 640556 h 812006"/>
                  <a:gd name="connsiteX35" fmla="*/ 192882 w 912019"/>
                  <a:gd name="connsiteY35" fmla="*/ 714375 h 812006"/>
                  <a:gd name="connsiteX36" fmla="*/ 221457 w 912019"/>
                  <a:gd name="connsiteY36" fmla="*/ 700087 h 812006"/>
                  <a:gd name="connsiteX37" fmla="*/ 269082 w 912019"/>
                  <a:gd name="connsiteY37" fmla="*/ 742950 h 812006"/>
                  <a:gd name="connsiteX38" fmla="*/ 302419 w 912019"/>
                  <a:gd name="connsiteY38" fmla="*/ 735806 h 812006"/>
                  <a:gd name="connsiteX39" fmla="*/ 347663 w 912019"/>
                  <a:gd name="connsiteY39" fmla="*/ 709612 h 812006"/>
                  <a:gd name="connsiteX40" fmla="*/ 366713 w 912019"/>
                  <a:gd name="connsiteY40" fmla="*/ 728662 h 812006"/>
                  <a:gd name="connsiteX41" fmla="*/ 402432 w 912019"/>
                  <a:gd name="connsiteY41" fmla="*/ 762000 h 812006"/>
                  <a:gd name="connsiteX42" fmla="*/ 402432 w 912019"/>
                  <a:gd name="connsiteY42" fmla="*/ 762000 h 812006"/>
                  <a:gd name="connsiteX43" fmla="*/ 459582 w 912019"/>
                  <a:gd name="connsiteY43" fmla="*/ 785812 h 812006"/>
                  <a:gd name="connsiteX44" fmla="*/ 478632 w 912019"/>
                  <a:gd name="connsiteY44" fmla="*/ 812006 h 812006"/>
                  <a:gd name="connsiteX45" fmla="*/ 478632 w 912019"/>
                  <a:gd name="connsiteY45" fmla="*/ 812006 h 812006"/>
                  <a:gd name="connsiteX46" fmla="*/ 478632 w 912019"/>
                  <a:gd name="connsiteY46" fmla="*/ 783431 h 812006"/>
                  <a:gd name="connsiteX47" fmla="*/ 533400 w 912019"/>
                  <a:gd name="connsiteY47" fmla="*/ 800100 h 812006"/>
                  <a:gd name="connsiteX48" fmla="*/ 545307 w 912019"/>
                  <a:gd name="connsiteY48" fmla="*/ 735806 h 812006"/>
                  <a:gd name="connsiteX49" fmla="*/ 590550 w 912019"/>
                  <a:gd name="connsiteY49" fmla="*/ 733425 h 812006"/>
                  <a:gd name="connsiteX50" fmla="*/ 578644 w 912019"/>
                  <a:gd name="connsiteY50" fmla="*/ 707231 h 812006"/>
                  <a:gd name="connsiteX51" fmla="*/ 657225 w 912019"/>
                  <a:gd name="connsiteY51" fmla="*/ 652462 h 812006"/>
                  <a:gd name="connsiteX52" fmla="*/ 669132 w 912019"/>
                  <a:gd name="connsiteY52" fmla="*/ 683418 h 812006"/>
                  <a:gd name="connsiteX53" fmla="*/ 726282 w 912019"/>
                  <a:gd name="connsiteY53" fmla="*/ 681037 h 812006"/>
                  <a:gd name="connsiteX54" fmla="*/ 740569 w 912019"/>
                  <a:gd name="connsiteY54" fmla="*/ 685800 h 812006"/>
                  <a:gd name="connsiteX55" fmla="*/ 745332 w 912019"/>
                  <a:gd name="connsiteY55" fmla="*/ 754856 h 812006"/>
                  <a:gd name="connsiteX56" fmla="*/ 850107 w 912019"/>
                  <a:gd name="connsiteY56" fmla="*/ 640556 h 812006"/>
                  <a:gd name="connsiteX57" fmla="*/ 912019 w 912019"/>
                  <a:gd name="connsiteY57" fmla="*/ 547687 h 812006"/>
                  <a:gd name="connsiteX58" fmla="*/ 876300 w 912019"/>
                  <a:gd name="connsiteY58" fmla="*/ 542925 h 812006"/>
                  <a:gd name="connsiteX59" fmla="*/ 866775 w 912019"/>
                  <a:gd name="connsiteY59" fmla="*/ 481012 h 812006"/>
                  <a:gd name="connsiteX60" fmla="*/ 831057 w 912019"/>
                  <a:gd name="connsiteY60" fmla="*/ 457200 h 812006"/>
                  <a:gd name="connsiteX61" fmla="*/ 781050 w 912019"/>
                  <a:gd name="connsiteY61" fmla="*/ 457200 h 812006"/>
                  <a:gd name="connsiteX62" fmla="*/ 721519 w 912019"/>
                  <a:gd name="connsiteY62" fmla="*/ 395287 h 812006"/>
                  <a:gd name="connsiteX63" fmla="*/ 711994 w 912019"/>
                  <a:gd name="connsiteY63" fmla="*/ 345281 h 812006"/>
                  <a:gd name="connsiteX64" fmla="*/ 645319 w 912019"/>
                  <a:gd name="connsiteY64" fmla="*/ 314325 h 812006"/>
                  <a:gd name="connsiteX65" fmla="*/ 611982 w 912019"/>
                  <a:gd name="connsiteY65" fmla="*/ 288131 h 812006"/>
                  <a:gd name="connsiteX66" fmla="*/ 540544 w 912019"/>
                  <a:gd name="connsiteY66" fmla="*/ 188118 h 812006"/>
                  <a:gd name="connsiteX67" fmla="*/ 490538 w 912019"/>
                  <a:gd name="connsiteY67" fmla="*/ 100012 h 812006"/>
                  <a:gd name="connsiteX68" fmla="*/ 464344 w 912019"/>
                  <a:gd name="connsiteY68" fmla="*/ 0 h 812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912019" h="812006">
                    <a:moveTo>
                      <a:pt x="464344" y="0"/>
                    </a:moveTo>
                    <a:lnTo>
                      <a:pt x="369094" y="21431"/>
                    </a:lnTo>
                    <a:lnTo>
                      <a:pt x="352425" y="42862"/>
                    </a:lnTo>
                    <a:lnTo>
                      <a:pt x="330994" y="61912"/>
                    </a:lnTo>
                    <a:lnTo>
                      <a:pt x="314325" y="57150"/>
                    </a:lnTo>
                    <a:lnTo>
                      <a:pt x="278607" y="57150"/>
                    </a:lnTo>
                    <a:lnTo>
                      <a:pt x="264319" y="90487"/>
                    </a:lnTo>
                    <a:lnTo>
                      <a:pt x="257175" y="102393"/>
                    </a:lnTo>
                    <a:lnTo>
                      <a:pt x="185738" y="138112"/>
                    </a:lnTo>
                    <a:lnTo>
                      <a:pt x="202407" y="150018"/>
                    </a:lnTo>
                    <a:lnTo>
                      <a:pt x="207169" y="171450"/>
                    </a:lnTo>
                    <a:lnTo>
                      <a:pt x="197644" y="197643"/>
                    </a:lnTo>
                    <a:lnTo>
                      <a:pt x="159544" y="207168"/>
                    </a:lnTo>
                    <a:lnTo>
                      <a:pt x="102394" y="190500"/>
                    </a:lnTo>
                    <a:lnTo>
                      <a:pt x="83344" y="221456"/>
                    </a:lnTo>
                    <a:lnTo>
                      <a:pt x="90488" y="264318"/>
                    </a:lnTo>
                    <a:lnTo>
                      <a:pt x="73819" y="278606"/>
                    </a:lnTo>
                    <a:lnTo>
                      <a:pt x="50007" y="295275"/>
                    </a:lnTo>
                    <a:lnTo>
                      <a:pt x="85725" y="335756"/>
                    </a:lnTo>
                    <a:lnTo>
                      <a:pt x="97632" y="371475"/>
                    </a:lnTo>
                    <a:lnTo>
                      <a:pt x="121444" y="404812"/>
                    </a:lnTo>
                    <a:lnTo>
                      <a:pt x="154782" y="440531"/>
                    </a:lnTo>
                    <a:lnTo>
                      <a:pt x="176213" y="454818"/>
                    </a:lnTo>
                    <a:lnTo>
                      <a:pt x="178594" y="478631"/>
                    </a:lnTo>
                    <a:lnTo>
                      <a:pt x="159544" y="502443"/>
                    </a:lnTo>
                    <a:lnTo>
                      <a:pt x="135732" y="502443"/>
                    </a:lnTo>
                    <a:lnTo>
                      <a:pt x="114300" y="502443"/>
                    </a:lnTo>
                    <a:lnTo>
                      <a:pt x="97632" y="492918"/>
                    </a:lnTo>
                    <a:lnTo>
                      <a:pt x="33338" y="461962"/>
                    </a:lnTo>
                    <a:lnTo>
                      <a:pt x="30957" y="492918"/>
                    </a:lnTo>
                    <a:lnTo>
                      <a:pt x="11907" y="500062"/>
                    </a:lnTo>
                    <a:lnTo>
                      <a:pt x="0" y="528637"/>
                    </a:lnTo>
                    <a:lnTo>
                      <a:pt x="11907" y="569118"/>
                    </a:lnTo>
                    <a:lnTo>
                      <a:pt x="102394" y="595312"/>
                    </a:lnTo>
                    <a:lnTo>
                      <a:pt x="180975" y="640556"/>
                    </a:lnTo>
                    <a:lnTo>
                      <a:pt x="192882" y="714375"/>
                    </a:lnTo>
                    <a:lnTo>
                      <a:pt x="221457" y="700087"/>
                    </a:lnTo>
                    <a:lnTo>
                      <a:pt x="269082" y="742950"/>
                    </a:lnTo>
                    <a:lnTo>
                      <a:pt x="302419" y="735806"/>
                    </a:lnTo>
                    <a:lnTo>
                      <a:pt x="347663" y="709612"/>
                    </a:lnTo>
                    <a:lnTo>
                      <a:pt x="366713" y="728662"/>
                    </a:lnTo>
                    <a:lnTo>
                      <a:pt x="402432" y="762000"/>
                    </a:lnTo>
                    <a:lnTo>
                      <a:pt x="402432" y="762000"/>
                    </a:lnTo>
                    <a:lnTo>
                      <a:pt x="459582" y="785812"/>
                    </a:lnTo>
                    <a:lnTo>
                      <a:pt x="478632" y="812006"/>
                    </a:lnTo>
                    <a:lnTo>
                      <a:pt x="478632" y="812006"/>
                    </a:lnTo>
                    <a:lnTo>
                      <a:pt x="478632" y="783431"/>
                    </a:lnTo>
                    <a:lnTo>
                      <a:pt x="533400" y="800100"/>
                    </a:lnTo>
                    <a:lnTo>
                      <a:pt x="545307" y="735806"/>
                    </a:lnTo>
                    <a:lnTo>
                      <a:pt x="590550" y="733425"/>
                    </a:lnTo>
                    <a:lnTo>
                      <a:pt x="578644" y="707231"/>
                    </a:lnTo>
                    <a:lnTo>
                      <a:pt x="657225" y="652462"/>
                    </a:lnTo>
                    <a:lnTo>
                      <a:pt x="669132" y="683418"/>
                    </a:lnTo>
                    <a:lnTo>
                      <a:pt x="726282" y="681037"/>
                    </a:lnTo>
                    <a:lnTo>
                      <a:pt x="740569" y="685800"/>
                    </a:lnTo>
                    <a:lnTo>
                      <a:pt x="745332" y="754856"/>
                    </a:lnTo>
                    <a:lnTo>
                      <a:pt x="850107" y="640556"/>
                    </a:lnTo>
                    <a:lnTo>
                      <a:pt x="912019" y="547687"/>
                    </a:lnTo>
                    <a:lnTo>
                      <a:pt x="876300" y="542925"/>
                    </a:lnTo>
                    <a:lnTo>
                      <a:pt x="866775" y="481012"/>
                    </a:lnTo>
                    <a:lnTo>
                      <a:pt x="831057" y="457200"/>
                    </a:lnTo>
                    <a:lnTo>
                      <a:pt x="781050" y="457200"/>
                    </a:lnTo>
                    <a:lnTo>
                      <a:pt x="721519" y="395287"/>
                    </a:lnTo>
                    <a:lnTo>
                      <a:pt x="711994" y="345281"/>
                    </a:lnTo>
                    <a:lnTo>
                      <a:pt x="645319" y="314325"/>
                    </a:lnTo>
                    <a:lnTo>
                      <a:pt x="611982" y="288131"/>
                    </a:lnTo>
                    <a:lnTo>
                      <a:pt x="540544" y="188118"/>
                    </a:lnTo>
                    <a:lnTo>
                      <a:pt x="490538" y="100012"/>
                    </a:lnTo>
                    <a:lnTo>
                      <a:pt x="46434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8" name="Figura a mano libera 237"/>
              <p:cNvSpPr/>
              <p:nvPr/>
            </p:nvSpPr>
            <p:spPr bwMode="auto">
              <a:xfrm>
                <a:off x="1265007" y="1782040"/>
                <a:ext cx="999857" cy="426465"/>
              </a:xfrm>
              <a:custGeom>
                <a:avLst/>
                <a:gdLst>
                  <a:gd name="connsiteX0" fmla="*/ 1176337 w 1245394"/>
                  <a:gd name="connsiteY0" fmla="*/ 335756 h 545306"/>
                  <a:gd name="connsiteX1" fmla="*/ 1228725 w 1245394"/>
                  <a:gd name="connsiteY1" fmla="*/ 335756 h 545306"/>
                  <a:gd name="connsiteX2" fmla="*/ 1245394 w 1245394"/>
                  <a:gd name="connsiteY2" fmla="*/ 378618 h 545306"/>
                  <a:gd name="connsiteX3" fmla="*/ 1204912 w 1245394"/>
                  <a:gd name="connsiteY3" fmla="*/ 381000 h 545306"/>
                  <a:gd name="connsiteX4" fmla="*/ 1190625 w 1245394"/>
                  <a:gd name="connsiteY4" fmla="*/ 409575 h 545306"/>
                  <a:gd name="connsiteX5" fmla="*/ 1176337 w 1245394"/>
                  <a:gd name="connsiteY5" fmla="*/ 390525 h 545306"/>
                  <a:gd name="connsiteX6" fmla="*/ 1162050 w 1245394"/>
                  <a:gd name="connsiteY6" fmla="*/ 407193 h 545306"/>
                  <a:gd name="connsiteX7" fmla="*/ 1173956 w 1245394"/>
                  <a:gd name="connsiteY7" fmla="*/ 438150 h 545306"/>
                  <a:gd name="connsiteX8" fmla="*/ 1173956 w 1245394"/>
                  <a:gd name="connsiteY8" fmla="*/ 438150 h 545306"/>
                  <a:gd name="connsiteX9" fmla="*/ 1073944 w 1245394"/>
                  <a:gd name="connsiteY9" fmla="*/ 352425 h 545306"/>
                  <a:gd name="connsiteX10" fmla="*/ 1014412 w 1245394"/>
                  <a:gd name="connsiteY10" fmla="*/ 307181 h 545306"/>
                  <a:gd name="connsiteX11" fmla="*/ 978694 w 1245394"/>
                  <a:gd name="connsiteY11" fmla="*/ 273843 h 545306"/>
                  <a:gd name="connsiteX12" fmla="*/ 947737 w 1245394"/>
                  <a:gd name="connsiteY12" fmla="*/ 245268 h 545306"/>
                  <a:gd name="connsiteX13" fmla="*/ 885825 w 1245394"/>
                  <a:gd name="connsiteY13" fmla="*/ 219075 h 545306"/>
                  <a:gd name="connsiteX14" fmla="*/ 869156 w 1245394"/>
                  <a:gd name="connsiteY14" fmla="*/ 223837 h 545306"/>
                  <a:gd name="connsiteX15" fmla="*/ 859631 w 1245394"/>
                  <a:gd name="connsiteY15" fmla="*/ 240506 h 545306"/>
                  <a:gd name="connsiteX16" fmla="*/ 845344 w 1245394"/>
                  <a:gd name="connsiteY16" fmla="*/ 226218 h 545306"/>
                  <a:gd name="connsiteX17" fmla="*/ 828675 w 1245394"/>
                  <a:gd name="connsiteY17" fmla="*/ 204787 h 545306"/>
                  <a:gd name="connsiteX18" fmla="*/ 788194 w 1245394"/>
                  <a:gd name="connsiteY18" fmla="*/ 192881 h 545306"/>
                  <a:gd name="connsiteX19" fmla="*/ 707231 w 1245394"/>
                  <a:gd name="connsiteY19" fmla="*/ 164306 h 545306"/>
                  <a:gd name="connsiteX20" fmla="*/ 671512 w 1245394"/>
                  <a:gd name="connsiteY20" fmla="*/ 150018 h 545306"/>
                  <a:gd name="connsiteX21" fmla="*/ 614362 w 1245394"/>
                  <a:gd name="connsiteY21" fmla="*/ 171450 h 545306"/>
                  <a:gd name="connsiteX22" fmla="*/ 550069 w 1245394"/>
                  <a:gd name="connsiteY22" fmla="*/ 200025 h 545306"/>
                  <a:gd name="connsiteX23" fmla="*/ 483394 w 1245394"/>
                  <a:gd name="connsiteY23" fmla="*/ 235743 h 545306"/>
                  <a:gd name="connsiteX24" fmla="*/ 466725 w 1245394"/>
                  <a:gd name="connsiteY24" fmla="*/ 280987 h 545306"/>
                  <a:gd name="connsiteX25" fmla="*/ 445294 w 1245394"/>
                  <a:gd name="connsiteY25" fmla="*/ 314325 h 545306"/>
                  <a:gd name="connsiteX26" fmla="*/ 388144 w 1245394"/>
                  <a:gd name="connsiteY26" fmla="*/ 326231 h 545306"/>
                  <a:gd name="connsiteX27" fmla="*/ 364331 w 1245394"/>
                  <a:gd name="connsiteY27" fmla="*/ 369093 h 545306"/>
                  <a:gd name="connsiteX28" fmla="*/ 369094 w 1245394"/>
                  <a:gd name="connsiteY28" fmla="*/ 388143 h 545306"/>
                  <a:gd name="connsiteX29" fmla="*/ 342900 w 1245394"/>
                  <a:gd name="connsiteY29" fmla="*/ 411956 h 545306"/>
                  <a:gd name="connsiteX30" fmla="*/ 321469 w 1245394"/>
                  <a:gd name="connsiteY30" fmla="*/ 442912 h 545306"/>
                  <a:gd name="connsiteX31" fmla="*/ 311944 w 1245394"/>
                  <a:gd name="connsiteY31" fmla="*/ 478631 h 545306"/>
                  <a:gd name="connsiteX32" fmla="*/ 273844 w 1245394"/>
                  <a:gd name="connsiteY32" fmla="*/ 478631 h 545306"/>
                  <a:gd name="connsiteX33" fmla="*/ 235744 w 1245394"/>
                  <a:gd name="connsiteY33" fmla="*/ 502443 h 545306"/>
                  <a:gd name="connsiteX34" fmla="*/ 159544 w 1245394"/>
                  <a:gd name="connsiteY34" fmla="*/ 504825 h 545306"/>
                  <a:gd name="connsiteX35" fmla="*/ 126206 w 1245394"/>
                  <a:gd name="connsiteY35" fmla="*/ 521493 h 545306"/>
                  <a:gd name="connsiteX36" fmla="*/ 95250 w 1245394"/>
                  <a:gd name="connsiteY36" fmla="*/ 540543 h 545306"/>
                  <a:gd name="connsiteX37" fmla="*/ 64294 w 1245394"/>
                  <a:gd name="connsiteY37" fmla="*/ 542925 h 545306"/>
                  <a:gd name="connsiteX38" fmla="*/ 50006 w 1245394"/>
                  <a:gd name="connsiteY38" fmla="*/ 528637 h 545306"/>
                  <a:gd name="connsiteX39" fmla="*/ 28575 w 1245394"/>
                  <a:gd name="connsiteY39" fmla="*/ 545306 h 545306"/>
                  <a:gd name="connsiteX40" fmla="*/ 0 w 1245394"/>
                  <a:gd name="connsiteY40" fmla="*/ 545306 h 545306"/>
                  <a:gd name="connsiteX41" fmla="*/ 2381 w 1245394"/>
                  <a:gd name="connsiteY41" fmla="*/ 471487 h 545306"/>
                  <a:gd name="connsiteX42" fmla="*/ 35719 w 1245394"/>
                  <a:gd name="connsiteY42" fmla="*/ 454818 h 545306"/>
                  <a:gd name="connsiteX43" fmla="*/ 100012 w 1245394"/>
                  <a:gd name="connsiteY43" fmla="*/ 381000 h 545306"/>
                  <a:gd name="connsiteX44" fmla="*/ 130969 w 1245394"/>
                  <a:gd name="connsiteY44" fmla="*/ 340518 h 545306"/>
                  <a:gd name="connsiteX45" fmla="*/ 154781 w 1245394"/>
                  <a:gd name="connsiteY45" fmla="*/ 307181 h 545306"/>
                  <a:gd name="connsiteX46" fmla="*/ 219075 w 1245394"/>
                  <a:gd name="connsiteY46" fmla="*/ 338137 h 545306"/>
                  <a:gd name="connsiteX47" fmla="*/ 261937 w 1245394"/>
                  <a:gd name="connsiteY47" fmla="*/ 335756 h 545306"/>
                  <a:gd name="connsiteX48" fmla="*/ 283369 w 1245394"/>
                  <a:gd name="connsiteY48" fmla="*/ 302418 h 545306"/>
                  <a:gd name="connsiteX49" fmla="*/ 314325 w 1245394"/>
                  <a:gd name="connsiteY49" fmla="*/ 319087 h 545306"/>
                  <a:gd name="connsiteX50" fmla="*/ 316706 w 1245394"/>
                  <a:gd name="connsiteY50" fmla="*/ 273843 h 545306"/>
                  <a:gd name="connsiteX51" fmla="*/ 328612 w 1245394"/>
                  <a:gd name="connsiteY51" fmla="*/ 178593 h 545306"/>
                  <a:gd name="connsiteX52" fmla="*/ 354806 w 1245394"/>
                  <a:gd name="connsiteY52" fmla="*/ 157162 h 545306"/>
                  <a:gd name="connsiteX53" fmla="*/ 392906 w 1245394"/>
                  <a:gd name="connsiteY53" fmla="*/ 104775 h 545306"/>
                  <a:gd name="connsiteX54" fmla="*/ 402431 w 1245394"/>
                  <a:gd name="connsiteY54" fmla="*/ 71437 h 545306"/>
                  <a:gd name="connsiteX55" fmla="*/ 459581 w 1245394"/>
                  <a:gd name="connsiteY55" fmla="*/ 107156 h 545306"/>
                  <a:gd name="connsiteX56" fmla="*/ 528637 w 1245394"/>
                  <a:gd name="connsiteY56" fmla="*/ 88106 h 545306"/>
                  <a:gd name="connsiteX57" fmla="*/ 557212 w 1245394"/>
                  <a:gd name="connsiteY57" fmla="*/ 107156 h 545306"/>
                  <a:gd name="connsiteX58" fmla="*/ 590550 w 1245394"/>
                  <a:gd name="connsiteY58" fmla="*/ 45243 h 545306"/>
                  <a:gd name="connsiteX59" fmla="*/ 652462 w 1245394"/>
                  <a:gd name="connsiteY59" fmla="*/ 54768 h 545306"/>
                  <a:gd name="connsiteX60" fmla="*/ 676275 w 1245394"/>
                  <a:gd name="connsiteY60" fmla="*/ 102393 h 545306"/>
                  <a:gd name="connsiteX61" fmla="*/ 704850 w 1245394"/>
                  <a:gd name="connsiteY61" fmla="*/ 71437 h 545306"/>
                  <a:gd name="connsiteX62" fmla="*/ 742950 w 1245394"/>
                  <a:gd name="connsiteY62" fmla="*/ 80962 h 545306"/>
                  <a:gd name="connsiteX63" fmla="*/ 742950 w 1245394"/>
                  <a:gd name="connsiteY63" fmla="*/ 42862 h 545306"/>
                  <a:gd name="connsiteX64" fmla="*/ 776287 w 1245394"/>
                  <a:gd name="connsiteY64" fmla="*/ 0 h 545306"/>
                  <a:gd name="connsiteX65" fmla="*/ 814387 w 1245394"/>
                  <a:gd name="connsiteY65" fmla="*/ 42862 h 545306"/>
                  <a:gd name="connsiteX66" fmla="*/ 852487 w 1245394"/>
                  <a:gd name="connsiteY66" fmla="*/ 61912 h 545306"/>
                  <a:gd name="connsiteX67" fmla="*/ 859631 w 1245394"/>
                  <a:gd name="connsiteY67" fmla="*/ 78581 h 545306"/>
                  <a:gd name="connsiteX68" fmla="*/ 883444 w 1245394"/>
                  <a:gd name="connsiteY68" fmla="*/ 42862 h 545306"/>
                  <a:gd name="connsiteX69" fmla="*/ 928687 w 1245394"/>
                  <a:gd name="connsiteY69" fmla="*/ 76200 h 545306"/>
                  <a:gd name="connsiteX70" fmla="*/ 983456 w 1245394"/>
                  <a:gd name="connsiteY70" fmla="*/ 69056 h 545306"/>
                  <a:gd name="connsiteX71" fmla="*/ 1000125 w 1245394"/>
                  <a:gd name="connsiteY71" fmla="*/ 80962 h 545306"/>
                  <a:gd name="connsiteX72" fmla="*/ 1021556 w 1245394"/>
                  <a:gd name="connsiteY72" fmla="*/ 104775 h 545306"/>
                  <a:gd name="connsiteX73" fmla="*/ 1002506 w 1245394"/>
                  <a:gd name="connsiteY73" fmla="*/ 178593 h 545306"/>
                  <a:gd name="connsiteX74" fmla="*/ 1042987 w 1245394"/>
                  <a:gd name="connsiteY74" fmla="*/ 180975 h 545306"/>
                  <a:gd name="connsiteX75" fmla="*/ 1092994 w 1245394"/>
                  <a:gd name="connsiteY75" fmla="*/ 173831 h 545306"/>
                  <a:gd name="connsiteX76" fmla="*/ 1092994 w 1245394"/>
                  <a:gd name="connsiteY76" fmla="*/ 207168 h 545306"/>
                  <a:gd name="connsiteX77" fmla="*/ 1114425 w 1245394"/>
                  <a:gd name="connsiteY77" fmla="*/ 230981 h 545306"/>
                  <a:gd name="connsiteX78" fmla="*/ 1150144 w 1245394"/>
                  <a:gd name="connsiteY78" fmla="*/ 276225 h 545306"/>
                  <a:gd name="connsiteX79" fmla="*/ 1171575 w 1245394"/>
                  <a:gd name="connsiteY79" fmla="*/ 285750 h 545306"/>
                  <a:gd name="connsiteX80" fmla="*/ 1176337 w 1245394"/>
                  <a:gd name="connsiteY80" fmla="*/ 335756 h 545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1245394" h="545306">
                    <a:moveTo>
                      <a:pt x="1176337" y="335756"/>
                    </a:moveTo>
                    <a:lnTo>
                      <a:pt x="1228725" y="335756"/>
                    </a:lnTo>
                    <a:lnTo>
                      <a:pt x="1245394" y="378618"/>
                    </a:lnTo>
                    <a:lnTo>
                      <a:pt x="1204912" y="381000"/>
                    </a:lnTo>
                    <a:lnTo>
                      <a:pt x="1190625" y="409575"/>
                    </a:lnTo>
                    <a:lnTo>
                      <a:pt x="1176337" y="390525"/>
                    </a:lnTo>
                    <a:lnTo>
                      <a:pt x="1162050" y="407193"/>
                    </a:lnTo>
                    <a:lnTo>
                      <a:pt x="1173956" y="438150"/>
                    </a:lnTo>
                    <a:lnTo>
                      <a:pt x="1173956" y="438150"/>
                    </a:lnTo>
                    <a:lnTo>
                      <a:pt x="1073944" y="352425"/>
                    </a:lnTo>
                    <a:lnTo>
                      <a:pt x="1014412" y="307181"/>
                    </a:lnTo>
                    <a:lnTo>
                      <a:pt x="978694" y="273843"/>
                    </a:lnTo>
                    <a:lnTo>
                      <a:pt x="947737" y="245268"/>
                    </a:lnTo>
                    <a:lnTo>
                      <a:pt x="885825" y="219075"/>
                    </a:lnTo>
                    <a:lnTo>
                      <a:pt x="869156" y="223837"/>
                    </a:lnTo>
                    <a:lnTo>
                      <a:pt x="859631" y="240506"/>
                    </a:lnTo>
                    <a:lnTo>
                      <a:pt x="845344" y="226218"/>
                    </a:lnTo>
                    <a:lnTo>
                      <a:pt x="828675" y="204787"/>
                    </a:lnTo>
                    <a:lnTo>
                      <a:pt x="788194" y="192881"/>
                    </a:lnTo>
                    <a:lnTo>
                      <a:pt x="707231" y="164306"/>
                    </a:lnTo>
                    <a:lnTo>
                      <a:pt x="671512" y="150018"/>
                    </a:lnTo>
                    <a:lnTo>
                      <a:pt x="614362" y="171450"/>
                    </a:lnTo>
                    <a:lnTo>
                      <a:pt x="550069" y="200025"/>
                    </a:lnTo>
                    <a:lnTo>
                      <a:pt x="483394" y="235743"/>
                    </a:lnTo>
                    <a:lnTo>
                      <a:pt x="466725" y="280987"/>
                    </a:lnTo>
                    <a:lnTo>
                      <a:pt x="445294" y="314325"/>
                    </a:lnTo>
                    <a:lnTo>
                      <a:pt x="388144" y="326231"/>
                    </a:lnTo>
                    <a:lnTo>
                      <a:pt x="364331" y="369093"/>
                    </a:lnTo>
                    <a:lnTo>
                      <a:pt x="369094" y="388143"/>
                    </a:lnTo>
                    <a:lnTo>
                      <a:pt x="342900" y="411956"/>
                    </a:lnTo>
                    <a:lnTo>
                      <a:pt x="321469" y="442912"/>
                    </a:lnTo>
                    <a:lnTo>
                      <a:pt x="311944" y="478631"/>
                    </a:lnTo>
                    <a:lnTo>
                      <a:pt x="273844" y="478631"/>
                    </a:lnTo>
                    <a:lnTo>
                      <a:pt x="235744" y="502443"/>
                    </a:lnTo>
                    <a:lnTo>
                      <a:pt x="159544" y="504825"/>
                    </a:lnTo>
                    <a:lnTo>
                      <a:pt x="126206" y="521493"/>
                    </a:lnTo>
                    <a:lnTo>
                      <a:pt x="95250" y="540543"/>
                    </a:lnTo>
                    <a:lnTo>
                      <a:pt x="64294" y="542925"/>
                    </a:lnTo>
                    <a:lnTo>
                      <a:pt x="50006" y="528637"/>
                    </a:lnTo>
                    <a:lnTo>
                      <a:pt x="28575" y="545306"/>
                    </a:lnTo>
                    <a:lnTo>
                      <a:pt x="0" y="545306"/>
                    </a:lnTo>
                    <a:cubicBezTo>
                      <a:pt x="794" y="520700"/>
                      <a:pt x="1587" y="496093"/>
                      <a:pt x="2381" y="471487"/>
                    </a:cubicBezTo>
                    <a:lnTo>
                      <a:pt x="35719" y="454818"/>
                    </a:lnTo>
                    <a:lnTo>
                      <a:pt x="100012" y="381000"/>
                    </a:lnTo>
                    <a:lnTo>
                      <a:pt x="130969" y="340518"/>
                    </a:lnTo>
                    <a:lnTo>
                      <a:pt x="154781" y="307181"/>
                    </a:lnTo>
                    <a:lnTo>
                      <a:pt x="219075" y="338137"/>
                    </a:lnTo>
                    <a:lnTo>
                      <a:pt x="261937" y="335756"/>
                    </a:lnTo>
                    <a:lnTo>
                      <a:pt x="283369" y="302418"/>
                    </a:lnTo>
                    <a:lnTo>
                      <a:pt x="314325" y="319087"/>
                    </a:lnTo>
                    <a:lnTo>
                      <a:pt x="316706" y="273843"/>
                    </a:lnTo>
                    <a:lnTo>
                      <a:pt x="328612" y="178593"/>
                    </a:lnTo>
                    <a:lnTo>
                      <a:pt x="354806" y="157162"/>
                    </a:lnTo>
                    <a:lnTo>
                      <a:pt x="392906" y="104775"/>
                    </a:lnTo>
                    <a:lnTo>
                      <a:pt x="402431" y="71437"/>
                    </a:lnTo>
                    <a:lnTo>
                      <a:pt x="459581" y="107156"/>
                    </a:lnTo>
                    <a:lnTo>
                      <a:pt x="528637" y="88106"/>
                    </a:lnTo>
                    <a:lnTo>
                      <a:pt x="557212" y="107156"/>
                    </a:lnTo>
                    <a:lnTo>
                      <a:pt x="590550" y="45243"/>
                    </a:lnTo>
                    <a:lnTo>
                      <a:pt x="652462" y="54768"/>
                    </a:lnTo>
                    <a:lnTo>
                      <a:pt x="676275" y="102393"/>
                    </a:lnTo>
                    <a:lnTo>
                      <a:pt x="704850" y="71437"/>
                    </a:lnTo>
                    <a:lnTo>
                      <a:pt x="742950" y="80962"/>
                    </a:lnTo>
                    <a:lnTo>
                      <a:pt x="742950" y="42862"/>
                    </a:lnTo>
                    <a:lnTo>
                      <a:pt x="776287" y="0"/>
                    </a:lnTo>
                    <a:lnTo>
                      <a:pt x="814387" y="42862"/>
                    </a:lnTo>
                    <a:lnTo>
                      <a:pt x="852487" y="61912"/>
                    </a:lnTo>
                    <a:lnTo>
                      <a:pt x="859631" y="78581"/>
                    </a:lnTo>
                    <a:lnTo>
                      <a:pt x="883444" y="42862"/>
                    </a:lnTo>
                    <a:lnTo>
                      <a:pt x="928687" y="76200"/>
                    </a:lnTo>
                    <a:lnTo>
                      <a:pt x="983456" y="69056"/>
                    </a:lnTo>
                    <a:lnTo>
                      <a:pt x="1000125" y="80962"/>
                    </a:lnTo>
                    <a:lnTo>
                      <a:pt x="1021556" y="104775"/>
                    </a:lnTo>
                    <a:lnTo>
                      <a:pt x="1002506" y="178593"/>
                    </a:lnTo>
                    <a:lnTo>
                      <a:pt x="1042987" y="180975"/>
                    </a:lnTo>
                    <a:lnTo>
                      <a:pt x="1092994" y="173831"/>
                    </a:lnTo>
                    <a:lnTo>
                      <a:pt x="1092994" y="207168"/>
                    </a:lnTo>
                    <a:lnTo>
                      <a:pt x="1114425" y="230981"/>
                    </a:lnTo>
                    <a:lnTo>
                      <a:pt x="1150144" y="276225"/>
                    </a:lnTo>
                    <a:lnTo>
                      <a:pt x="1171575" y="285750"/>
                    </a:lnTo>
                    <a:lnTo>
                      <a:pt x="1176337" y="3357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9" name="Figura a mano libera 238"/>
              <p:cNvSpPr/>
              <p:nvPr/>
            </p:nvSpPr>
            <p:spPr bwMode="auto">
              <a:xfrm>
                <a:off x="1963718" y="1571006"/>
                <a:ext cx="1422646" cy="741550"/>
              </a:xfrm>
              <a:custGeom>
                <a:avLst/>
                <a:gdLst>
                  <a:gd name="connsiteX0" fmla="*/ 11906 w 1774031"/>
                  <a:gd name="connsiteY0" fmla="*/ 311944 h 947738"/>
                  <a:gd name="connsiteX1" fmla="*/ 0 w 1774031"/>
                  <a:gd name="connsiteY1" fmla="*/ 292894 h 947738"/>
                  <a:gd name="connsiteX2" fmla="*/ 16669 w 1774031"/>
                  <a:gd name="connsiteY2" fmla="*/ 264319 h 947738"/>
                  <a:gd name="connsiteX3" fmla="*/ 52388 w 1774031"/>
                  <a:gd name="connsiteY3" fmla="*/ 266700 h 947738"/>
                  <a:gd name="connsiteX4" fmla="*/ 52388 w 1774031"/>
                  <a:gd name="connsiteY4" fmla="*/ 266700 h 947738"/>
                  <a:gd name="connsiteX5" fmla="*/ 83344 w 1774031"/>
                  <a:gd name="connsiteY5" fmla="*/ 242888 h 947738"/>
                  <a:gd name="connsiteX6" fmla="*/ 54769 w 1774031"/>
                  <a:gd name="connsiteY6" fmla="*/ 211932 h 947738"/>
                  <a:gd name="connsiteX7" fmla="*/ 85725 w 1774031"/>
                  <a:gd name="connsiteY7" fmla="*/ 180975 h 947738"/>
                  <a:gd name="connsiteX8" fmla="*/ 95250 w 1774031"/>
                  <a:gd name="connsiteY8" fmla="*/ 142875 h 947738"/>
                  <a:gd name="connsiteX9" fmla="*/ 64294 w 1774031"/>
                  <a:gd name="connsiteY9" fmla="*/ 135732 h 947738"/>
                  <a:gd name="connsiteX10" fmla="*/ 76200 w 1774031"/>
                  <a:gd name="connsiteY10" fmla="*/ 90488 h 947738"/>
                  <a:gd name="connsiteX11" fmla="*/ 121444 w 1774031"/>
                  <a:gd name="connsiteY11" fmla="*/ 33338 h 947738"/>
                  <a:gd name="connsiteX12" fmla="*/ 133350 w 1774031"/>
                  <a:gd name="connsiteY12" fmla="*/ 16669 h 947738"/>
                  <a:gd name="connsiteX13" fmla="*/ 145256 w 1774031"/>
                  <a:gd name="connsiteY13" fmla="*/ 4763 h 947738"/>
                  <a:gd name="connsiteX14" fmla="*/ 178594 w 1774031"/>
                  <a:gd name="connsiteY14" fmla="*/ 2382 h 947738"/>
                  <a:gd name="connsiteX15" fmla="*/ 180975 w 1774031"/>
                  <a:gd name="connsiteY15" fmla="*/ 21432 h 947738"/>
                  <a:gd name="connsiteX16" fmla="*/ 204788 w 1774031"/>
                  <a:gd name="connsiteY16" fmla="*/ 33338 h 947738"/>
                  <a:gd name="connsiteX17" fmla="*/ 235744 w 1774031"/>
                  <a:gd name="connsiteY17" fmla="*/ 33338 h 947738"/>
                  <a:gd name="connsiteX18" fmla="*/ 271463 w 1774031"/>
                  <a:gd name="connsiteY18" fmla="*/ 23813 h 947738"/>
                  <a:gd name="connsiteX19" fmla="*/ 295275 w 1774031"/>
                  <a:gd name="connsiteY19" fmla="*/ 11907 h 947738"/>
                  <a:gd name="connsiteX20" fmla="*/ 297656 w 1774031"/>
                  <a:gd name="connsiteY20" fmla="*/ 23813 h 947738"/>
                  <a:gd name="connsiteX21" fmla="*/ 328613 w 1774031"/>
                  <a:gd name="connsiteY21" fmla="*/ 23813 h 947738"/>
                  <a:gd name="connsiteX22" fmla="*/ 328613 w 1774031"/>
                  <a:gd name="connsiteY22" fmla="*/ 23813 h 947738"/>
                  <a:gd name="connsiteX23" fmla="*/ 371475 w 1774031"/>
                  <a:gd name="connsiteY23" fmla="*/ 0 h 947738"/>
                  <a:gd name="connsiteX24" fmla="*/ 376238 w 1774031"/>
                  <a:gd name="connsiteY24" fmla="*/ 28575 h 947738"/>
                  <a:gd name="connsiteX25" fmla="*/ 411956 w 1774031"/>
                  <a:gd name="connsiteY25" fmla="*/ 2382 h 947738"/>
                  <a:gd name="connsiteX26" fmla="*/ 440531 w 1774031"/>
                  <a:gd name="connsiteY26" fmla="*/ 23813 h 947738"/>
                  <a:gd name="connsiteX27" fmla="*/ 445294 w 1774031"/>
                  <a:gd name="connsiteY27" fmla="*/ 50007 h 947738"/>
                  <a:gd name="connsiteX28" fmla="*/ 466725 w 1774031"/>
                  <a:gd name="connsiteY28" fmla="*/ 66675 h 947738"/>
                  <a:gd name="connsiteX29" fmla="*/ 514350 w 1774031"/>
                  <a:gd name="connsiteY29" fmla="*/ 59532 h 947738"/>
                  <a:gd name="connsiteX30" fmla="*/ 514350 w 1774031"/>
                  <a:gd name="connsiteY30" fmla="*/ 83344 h 947738"/>
                  <a:gd name="connsiteX31" fmla="*/ 545306 w 1774031"/>
                  <a:gd name="connsiteY31" fmla="*/ 85725 h 947738"/>
                  <a:gd name="connsiteX32" fmla="*/ 564356 w 1774031"/>
                  <a:gd name="connsiteY32" fmla="*/ 102394 h 947738"/>
                  <a:gd name="connsiteX33" fmla="*/ 583406 w 1774031"/>
                  <a:gd name="connsiteY33" fmla="*/ 111919 h 947738"/>
                  <a:gd name="connsiteX34" fmla="*/ 602456 w 1774031"/>
                  <a:gd name="connsiteY34" fmla="*/ 119063 h 947738"/>
                  <a:gd name="connsiteX35" fmla="*/ 647700 w 1774031"/>
                  <a:gd name="connsiteY35" fmla="*/ 142875 h 947738"/>
                  <a:gd name="connsiteX36" fmla="*/ 700088 w 1774031"/>
                  <a:gd name="connsiteY36" fmla="*/ 164307 h 947738"/>
                  <a:gd name="connsiteX37" fmla="*/ 750094 w 1774031"/>
                  <a:gd name="connsiteY37" fmla="*/ 121444 h 947738"/>
                  <a:gd name="connsiteX38" fmla="*/ 766763 w 1774031"/>
                  <a:gd name="connsiteY38" fmla="*/ 109538 h 947738"/>
                  <a:gd name="connsiteX39" fmla="*/ 785813 w 1774031"/>
                  <a:gd name="connsiteY39" fmla="*/ 135732 h 947738"/>
                  <a:gd name="connsiteX40" fmla="*/ 807244 w 1774031"/>
                  <a:gd name="connsiteY40" fmla="*/ 152400 h 947738"/>
                  <a:gd name="connsiteX41" fmla="*/ 873919 w 1774031"/>
                  <a:gd name="connsiteY41" fmla="*/ 157163 h 947738"/>
                  <a:gd name="connsiteX42" fmla="*/ 907256 w 1774031"/>
                  <a:gd name="connsiteY42" fmla="*/ 135732 h 947738"/>
                  <a:gd name="connsiteX43" fmla="*/ 969169 w 1774031"/>
                  <a:gd name="connsiteY43" fmla="*/ 138113 h 947738"/>
                  <a:gd name="connsiteX44" fmla="*/ 992981 w 1774031"/>
                  <a:gd name="connsiteY44" fmla="*/ 145257 h 947738"/>
                  <a:gd name="connsiteX45" fmla="*/ 1023938 w 1774031"/>
                  <a:gd name="connsiteY45" fmla="*/ 147638 h 947738"/>
                  <a:gd name="connsiteX46" fmla="*/ 1066800 w 1774031"/>
                  <a:gd name="connsiteY46" fmla="*/ 133350 h 947738"/>
                  <a:gd name="connsiteX47" fmla="*/ 1131094 w 1774031"/>
                  <a:gd name="connsiteY47" fmla="*/ 142875 h 947738"/>
                  <a:gd name="connsiteX48" fmla="*/ 1176338 w 1774031"/>
                  <a:gd name="connsiteY48" fmla="*/ 161925 h 947738"/>
                  <a:gd name="connsiteX49" fmla="*/ 1200150 w 1774031"/>
                  <a:gd name="connsiteY49" fmla="*/ 192882 h 947738"/>
                  <a:gd name="connsiteX50" fmla="*/ 1264444 w 1774031"/>
                  <a:gd name="connsiteY50" fmla="*/ 157163 h 947738"/>
                  <a:gd name="connsiteX51" fmla="*/ 1314450 w 1774031"/>
                  <a:gd name="connsiteY51" fmla="*/ 130969 h 947738"/>
                  <a:gd name="connsiteX52" fmla="*/ 1354931 w 1774031"/>
                  <a:gd name="connsiteY52" fmla="*/ 138113 h 947738"/>
                  <a:gd name="connsiteX53" fmla="*/ 1409700 w 1774031"/>
                  <a:gd name="connsiteY53" fmla="*/ 138113 h 947738"/>
                  <a:gd name="connsiteX54" fmla="*/ 1438275 w 1774031"/>
                  <a:gd name="connsiteY54" fmla="*/ 157163 h 947738"/>
                  <a:gd name="connsiteX55" fmla="*/ 1495425 w 1774031"/>
                  <a:gd name="connsiteY55" fmla="*/ 183357 h 947738"/>
                  <a:gd name="connsiteX56" fmla="*/ 1524000 w 1774031"/>
                  <a:gd name="connsiteY56" fmla="*/ 157163 h 947738"/>
                  <a:gd name="connsiteX57" fmla="*/ 1540669 w 1774031"/>
                  <a:gd name="connsiteY57" fmla="*/ 226219 h 947738"/>
                  <a:gd name="connsiteX58" fmla="*/ 1512094 w 1774031"/>
                  <a:gd name="connsiteY58" fmla="*/ 247650 h 947738"/>
                  <a:gd name="connsiteX59" fmla="*/ 1500188 w 1774031"/>
                  <a:gd name="connsiteY59" fmla="*/ 288132 h 947738"/>
                  <a:gd name="connsiteX60" fmla="*/ 1512094 w 1774031"/>
                  <a:gd name="connsiteY60" fmla="*/ 364332 h 947738"/>
                  <a:gd name="connsiteX61" fmla="*/ 1524000 w 1774031"/>
                  <a:gd name="connsiteY61" fmla="*/ 452438 h 947738"/>
                  <a:gd name="connsiteX62" fmla="*/ 1526381 w 1774031"/>
                  <a:gd name="connsiteY62" fmla="*/ 490538 h 947738"/>
                  <a:gd name="connsiteX63" fmla="*/ 1552575 w 1774031"/>
                  <a:gd name="connsiteY63" fmla="*/ 559594 h 947738"/>
                  <a:gd name="connsiteX64" fmla="*/ 1559719 w 1774031"/>
                  <a:gd name="connsiteY64" fmla="*/ 607219 h 947738"/>
                  <a:gd name="connsiteX65" fmla="*/ 1574006 w 1774031"/>
                  <a:gd name="connsiteY65" fmla="*/ 664369 h 947738"/>
                  <a:gd name="connsiteX66" fmla="*/ 1638300 w 1774031"/>
                  <a:gd name="connsiteY66" fmla="*/ 723900 h 947738"/>
                  <a:gd name="connsiteX67" fmla="*/ 1674019 w 1774031"/>
                  <a:gd name="connsiteY67" fmla="*/ 759619 h 947738"/>
                  <a:gd name="connsiteX68" fmla="*/ 1712119 w 1774031"/>
                  <a:gd name="connsiteY68" fmla="*/ 788194 h 947738"/>
                  <a:gd name="connsiteX69" fmla="*/ 1750219 w 1774031"/>
                  <a:gd name="connsiteY69" fmla="*/ 804863 h 947738"/>
                  <a:gd name="connsiteX70" fmla="*/ 1774031 w 1774031"/>
                  <a:gd name="connsiteY70" fmla="*/ 812007 h 947738"/>
                  <a:gd name="connsiteX71" fmla="*/ 1747838 w 1774031"/>
                  <a:gd name="connsiteY71" fmla="*/ 869157 h 947738"/>
                  <a:gd name="connsiteX72" fmla="*/ 1716881 w 1774031"/>
                  <a:gd name="connsiteY72" fmla="*/ 876300 h 947738"/>
                  <a:gd name="connsiteX73" fmla="*/ 1690688 w 1774031"/>
                  <a:gd name="connsiteY73" fmla="*/ 904875 h 947738"/>
                  <a:gd name="connsiteX74" fmla="*/ 1654969 w 1774031"/>
                  <a:gd name="connsiteY74" fmla="*/ 873919 h 947738"/>
                  <a:gd name="connsiteX75" fmla="*/ 1621631 w 1774031"/>
                  <a:gd name="connsiteY75" fmla="*/ 831057 h 947738"/>
                  <a:gd name="connsiteX76" fmla="*/ 1595438 w 1774031"/>
                  <a:gd name="connsiteY76" fmla="*/ 850107 h 947738"/>
                  <a:gd name="connsiteX77" fmla="*/ 1576388 w 1774031"/>
                  <a:gd name="connsiteY77" fmla="*/ 809625 h 947738"/>
                  <a:gd name="connsiteX78" fmla="*/ 1502569 w 1774031"/>
                  <a:gd name="connsiteY78" fmla="*/ 835819 h 947738"/>
                  <a:gd name="connsiteX79" fmla="*/ 1466850 w 1774031"/>
                  <a:gd name="connsiteY79" fmla="*/ 838200 h 947738"/>
                  <a:gd name="connsiteX80" fmla="*/ 1452563 w 1774031"/>
                  <a:gd name="connsiteY80" fmla="*/ 838200 h 947738"/>
                  <a:gd name="connsiteX81" fmla="*/ 1407319 w 1774031"/>
                  <a:gd name="connsiteY81" fmla="*/ 947738 h 947738"/>
                  <a:gd name="connsiteX82" fmla="*/ 1338263 w 1774031"/>
                  <a:gd name="connsiteY82" fmla="*/ 909638 h 947738"/>
                  <a:gd name="connsiteX83" fmla="*/ 1231106 w 1774031"/>
                  <a:gd name="connsiteY83" fmla="*/ 871538 h 947738"/>
                  <a:gd name="connsiteX84" fmla="*/ 1233488 w 1774031"/>
                  <a:gd name="connsiteY84" fmla="*/ 821532 h 947738"/>
                  <a:gd name="connsiteX85" fmla="*/ 1209675 w 1774031"/>
                  <a:gd name="connsiteY85" fmla="*/ 809625 h 947738"/>
                  <a:gd name="connsiteX86" fmla="*/ 1262063 w 1774031"/>
                  <a:gd name="connsiteY86" fmla="*/ 695325 h 947738"/>
                  <a:gd name="connsiteX87" fmla="*/ 1183481 w 1774031"/>
                  <a:gd name="connsiteY87" fmla="*/ 711994 h 947738"/>
                  <a:gd name="connsiteX88" fmla="*/ 1185863 w 1774031"/>
                  <a:gd name="connsiteY88" fmla="*/ 669132 h 947738"/>
                  <a:gd name="connsiteX89" fmla="*/ 1131094 w 1774031"/>
                  <a:gd name="connsiteY89" fmla="*/ 669132 h 947738"/>
                  <a:gd name="connsiteX90" fmla="*/ 1095375 w 1774031"/>
                  <a:gd name="connsiteY90" fmla="*/ 626269 h 947738"/>
                  <a:gd name="connsiteX91" fmla="*/ 1078706 w 1774031"/>
                  <a:gd name="connsiteY91" fmla="*/ 619125 h 947738"/>
                  <a:gd name="connsiteX92" fmla="*/ 1050131 w 1774031"/>
                  <a:gd name="connsiteY92" fmla="*/ 645319 h 947738"/>
                  <a:gd name="connsiteX93" fmla="*/ 1009650 w 1774031"/>
                  <a:gd name="connsiteY93" fmla="*/ 669132 h 947738"/>
                  <a:gd name="connsiteX94" fmla="*/ 981075 w 1774031"/>
                  <a:gd name="connsiteY94" fmla="*/ 681038 h 947738"/>
                  <a:gd name="connsiteX95" fmla="*/ 1004888 w 1774031"/>
                  <a:gd name="connsiteY95" fmla="*/ 707232 h 947738"/>
                  <a:gd name="connsiteX96" fmla="*/ 985838 w 1774031"/>
                  <a:gd name="connsiteY96" fmla="*/ 702469 h 947738"/>
                  <a:gd name="connsiteX97" fmla="*/ 947738 w 1774031"/>
                  <a:gd name="connsiteY97" fmla="*/ 702469 h 947738"/>
                  <a:gd name="connsiteX98" fmla="*/ 947738 w 1774031"/>
                  <a:gd name="connsiteY98" fmla="*/ 702469 h 947738"/>
                  <a:gd name="connsiteX99" fmla="*/ 885825 w 1774031"/>
                  <a:gd name="connsiteY99" fmla="*/ 673894 h 947738"/>
                  <a:gd name="connsiteX100" fmla="*/ 847725 w 1774031"/>
                  <a:gd name="connsiteY100" fmla="*/ 728663 h 947738"/>
                  <a:gd name="connsiteX101" fmla="*/ 747713 w 1774031"/>
                  <a:gd name="connsiteY101" fmla="*/ 661988 h 947738"/>
                  <a:gd name="connsiteX102" fmla="*/ 704850 w 1774031"/>
                  <a:gd name="connsiteY102" fmla="*/ 657225 h 947738"/>
                  <a:gd name="connsiteX103" fmla="*/ 681038 w 1774031"/>
                  <a:gd name="connsiteY103" fmla="*/ 671513 h 947738"/>
                  <a:gd name="connsiteX104" fmla="*/ 647700 w 1774031"/>
                  <a:gd name="connsiteY104" fmla="*/ 633413 h 947738"/>
                  <a:gd name="connsiteX105" fmla="*/ 623888 w 1774031"/>
                  <a:gd name="connsiteY105" fmla="*/ 600075 h 947738"/>
                  <a:gd name="connsiteX106" fmla="*/ 573881 w 1774031"/>
                  <a:gd name="connsiteY106" fmla="*/ 566738 h 947738"/>
                  <a:gd name="connsiteX107" fmla="*/ 514350 w 1774031"/>
                  <a:gd name="connsiteY107" fmla="*/ 561975 h 947738"/>
                  <a:gd name="connsiteX108" fmla="*/ 431006 w 1774031"/>
                  <a:gd name="connsiteY108" fmla="*/ 521494 h 947738"/>
                  <a:gd name="connsiteX109" fmla="*/ 414338 w 1774031"/>
                  <a:gd name="connsiteY109" fmla="*/ 471488 h 947738"/>
                  <a:gd name="connsiteX110" fmla="*/ 404813 w 1774031"/>
                  <a:gd name="connsiteY110" fmla="*/ 423863 h 947738"/>
                  <a:gd name="connsiteX111" fmla="*/ 314325 w 1774031"/>
                  <a:gd name="connsiteY111" fmla="*/ 421482 h 947738"/>
                  <a:gd name="connsiteX112" fmla="*/ 292894 w 1774031"/>
                  <a:gd name="connsiteY112" fmla="*/ 461963 h 947738"/>
                  <a:gd name="connsiteX113" fmla="*/ 276225 w 1774031"/>
                  <a:gd name="connsiteY113" fmla="*/ 483394 h 947738"/>
                  <a:gd name="connsiteX114" fmla="*/ 233363 w 1774031"/>
                  <a:gd name="connsiteY114" fmla="*/ 495300 h 947738"/>
                  <a:gd name="connsiteX115" fmla="*/ 219075 w 1774031"/>
                  <a:gd name="connsiteY115" fmla="*/ 435769 h 947738"/>
                  <a:gd name="connsiteX116" fmla="*/ 133350 w 1774031"/>
                  <a:gd name="connsiteY116" fmla="*/ 454819 h 947738"/>
                  <a:gd name="connsiteX117" fmla="*/ 152400 w 1774031"/>
                  <a:gd name="connsiteY117" fmla="*/ 409575 h 947738"/>
                  <a:gd name="connsiteX118" fmla="*/ 164306 w 1774031"/>
                  <a:gd name="connsiteY118" fmla="*/ 369094 h 947738"/>
                  <a:gd name="connsiteX119" fmla="*/ 116681 w 1774031"/>
                  <a:gd name="connsiteY119" fmla="*/ 328613 h 947738"/>
                  <a:gd name="connsiteX120" fmla="*/ 64294 w 1774031"/>
                  <a:gd name="connsiteY120" fmla="*/ 340519 h 947738"/>
                  <a:gd name="connsiteX121" fmla="*/ 11906 w 1774031"/>
                  <a:gd name="connsiteY121" fmla="*/ 311944 h 94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1774031" h="947738">
                    <a:moveTo>
                      <a:pt x="11906" y="311944"/>
                    </a:moveTo>
                    <a:lnTo>
                      <a:pt x="0" y="292894"/>
                    </a:lnTo>
                    <a:lnTo>
                      <a:pt x="16669" y="264319"/>
                    </a:lnTo>
                    <a:lnTo>
                      <a:pt x="52388" y="266700"/>
                    </a:lnTo>
                    <a:lnTo>
                      <a:pt x="52388" y="266700"/>
                    </a:lnTo>
                    <a:lnTo>
                      <a:pt x="83344" y="242888"/>
                    </a:lnTo>
                    <a:lnTo>
                      <a:pt x="54769" y="211932"/>
                    </a:lnTo>
                    <a:lnTo>
                      <a:pt x="85725" y="180975"/>
                    </a:lnTo>
                    <a:lnTo>
                      <a:pt x="95250" y="142875"/>
                    </a:lnTo>
                    <a:lnTo>
                      <a:pt x="64294" y="135732"/>
                    </a:lnTo>
                    <a:lnTo>
                      <a:pt x="76200" y="90488"/>
                    </a:lnTo>
                    <a:lnTo>
                      <a:pt x="121444" y="33338"/>
                    </a:lnTo>
                    <a:lnTo>
                      <a:pt x="133350" y="16669"/>
                    </a:lnTo>
                    <a:lnTo>
                      <a:pt x="145256" y="4763"/>
                    </a:lnTo>
                    <a:lnTo>
                      <a:pt x="178594" y="2382"/>
                    </a:lnTo>
                    <a:lnTo>
                      <a:pt x="180975" y="21432"/>
                    </a:lnTo>
                    <a:lnTo>
                      <a:pt x="204788" y="33338"/>
                    </a:lnTo>
                    <a:lnTo>
                      <a:pt x="235744" y="33338"/>
                    </a:lnTo>
                    <a:lnTo>
                      <a:pt x="271463" y="23813"/>
                    </a:lnTo>
                    <a:lnTo>
                      <a:pt x="295275" y="11907"/>
                    </a:lnTo>
                    <a:lnTo>
                      <a:pt x="297656" y="23813"/>
                    </a:lnTo>
                    <a:lnTo>
                      <a:pt x="328613" y="23813"/>
                    </a:lnTo>
                    <a:lnTo>
                      <a:pt x="328613" y="23813"/>
                    </a:lnTo>
                    <a:lnTo>
                      <a:pt x="371475" y="0"/>
                    </a:lnTo>
                    <a:lnTo>
                      <a:pt x="376238" y="28575"/>
                    </a:lnTo>
                    <a:lnTo>
                      <a:pt x="411956" y="2382"/>
                    </a:lnTo>
                    <a:lnTo>
                      <a:pt x="440531" y="23813"/>
                    </a:lnTo>
                    <a:lnTo>
                      <a:pt x="445294" y="50007"/>
                    </a:lnTo>
                    <a:lnTo>
                      <a:pt x="466725" y="66675"/>
                    </a:lnTo>
                    <a:lnTo>
                      <a:pt x="514350" y="59532"/>
                    </a:lnTo>
                    <a:lnTo>
                      <a:pt x="514350" y="83344"/>
                    </a:lnTo>
                    <a:lnTo>
                      <a:pt x="545306" y="85725"/>
                    </a:lnTo>
                    <a:cubicBezTo>
                      <a:pt x="551656" y="91281"/>
                      <a:pt x="557403" y="97614"/>
                      <a:pt x="564356" y="102394"/>
                    </a:cubicBezTo>
                    <a:cubicBezTo>
                      <a:pt x="570206" y="106416"/>
                      <a:pt x="583406" y="111919"/>
                      <a:pt x="583406" y="111919"/>
                    </a:cubicBezTo>
                    <a:lnTo>
                      <a:pt x="602456" y="119063"/>
                    </a:lnTo>
                    <a:lnTo>
                      <a:pt x="647700" y="142875"/>
                    </a:lnTo>
                    <a:lnTo>
                      <a:pt x="700088" y="164307"/>
                    </a:lnTo>
                    <a:lnTo>
                      <a:pt x="750094" y="121444"/>
                    </a:lnTo>
                    <a:lnTo>
                      <a:pt x="766763" y="109538"/>
                    </a:lnTo>
                    <a:lnTo>
                      <a:pt x="785813" y="135732"/>
                    </a:lnTo>
                    <a:lnTo>
                      <a:pt x="807244" y="152400"/>
                    </a:lnTo>
                    <a:lnTo>
                      <a:pt x="873919" y="157163"/>
                    </a:lnTo>
                    <a:lnTo>
                      <a:pt x="907256" y="135732"/>
                    </a:lnTo>
                    <a:lnTo>
                      <a:pt x="969169" y="138113"/>
                    </a:lnTo>
                    <a:lnTo>
                      <a:pt x="992981" y="145257"/>
                    </a:lnTo>
                    <a:cubicBezTo>
                      <a:pt x="1017569" y="147989"/>
                      <a:pt x="1007225" y="147638"/>
                      <a:pt x="1023938" y="147638"/>
                    </a:cubicBezTo>
                    <a:lnTo>
                      <a:pt x="1066800" y="133350"/>
                    </a:lnTo>
                    <a:lnTo>
                      <a:pt x="1131094" y="142875"/>
                    </a:lnTo>
                    <a:lnTo>
                      <a:pt x="1176338" y="161925"/>
                    </a:lnTo>
                    <a:lnTo>
                      <a:pt x="1200150" y="192882"/>
                    </a:lnTo>
                    <a:lnTo>
                      <a:pt x="1264444" y="157163"/>
                    </a:lnTo>
                    <a:lnTo>
                      <a:pt x="1314450" y="130969"/>
                    </a:lnTo>
                    <a:lnTo>
                      <a:pt x="1354931" y="138113"/>
                    </a:lnTo>
                    <a:lnTo>
                      <a:pt x="1409700" y="138113"/>
                    </a:lnTo>
                    <a:lnTo>
                      <a:pt x="1438275" y="157163"/>
                    </a:lnTo>
                    <a:lnTo>
                      <a:pt x="1495425" y="183357"/>
                    </a:lnTo>
                    <a:lnTo>
                      <a:pt x="1524000" y="157163"/>
                    </a:lnTo>
                    <a:lnTo>
                      <a:pt x="1540669" y="226219"/>
                    </a:lnTo>
                    <a:lnTo>
                      <a:pt x="1512094" y="247650"/>
                    </a:lnTo>
                    <a:lnTo>
                      <a:pt x="1500188" y="288132"/>
                    </a:lnTo>
                    <a:lnTo>
                      <a:pt x="1512094" y="364332"/>
                    </a:lnTo>
                    <a:lnTo>
                      <a:pt x="1524000" y="452438"/>
                    </a:lnTo>
                    <a:lnTo>
                      <a:pt x="1526381" y="490538"/>
                    </a:lnTo>
                    <a:lnTo>
                      <a:pt x="1552575" y="559594"/>
                    </a:lnTo>
                    <a:lnTo>
                      <a:pt x="1559719" y="607219"/>
                    </a:lnTo>
                    <a:lnTo>
                      <a:pt x="1574006" y="664369"/>
                    </a:lnTo>
                    <a:lnTo>
                      <a:pt x="1638300" y="723900"/>
                    </a:lnTo>
                    <a:lnTo>
                      <a:pt x="1674019" y="759619"/>
                    </a:lnTo>
                    <a:lnTo>
                      <a:pt x="1712119" y="788194"/>
                    </a:lnTo>
                    <a:lnTo>
                      <a:pt x="1750219" y="804863"/>
                    </a:lnTo>
                    <a:lnTo>
                      <a:pt x="1774031" y="812007"/>
                    </a:lnTo>
                    <a:lnTo>
                      <a:pt x="1747838" y="869157"/>
                    </a:lnTo>
                    <a:lnTo>
                      <a:pt x="1716881" y="876300"/>
                    </a:lnTo>
                    <a:lnTo>
                      <a:pt x="1690688" y="904875"/>
                    </a:lnTo>
                    <a:lnTo>
                      <a:pt x="1654969" y="873919"/>
                    </a:lnTo>
                    <a:lnTo>
                      <a:pt x="1621631" y="831057"/>
                    </a:lnTo>
                    <a:lnTo>
                      <a:pt x="1595438" y="850107"/>
                    </a:lnTo>
                    <a:lnTo>
                      <a:pt x="1576388" y="809625"/>
                    </a:lnTo>
                    <a:lnTo>
                      <a:pt x="1502569" y="835819"/>
                    </a:lnTo>
                    <a:lnTo>
                      <a:pt x="1466850" y="838200"/>
                    </a:lnTo>
                    <a:lnTo>
                      <a:pt x="1452563" y="838200"/>
                    </a:lnTo>
                    <a:lnTo>
                      <a:pt x="1407319" y="947738"/>
                    </a:lnTo>
                    <a:lnTo>
                      <a:pt x="1338263" y="909638"/>
                    </a:lnTo>
                    <a:lnTo>
                      <a:pt x="1231106" y="871538"/>
                    </a:lnTo>
                    <a:lnTo>
                      <a:pt x="1233488" y="821532"/>
                    </a:lnTo>
                    <a:lnTo>
                      <a:pt x="1209675" y="809625"/>
                    </a:lnTo>
                    <a:lnTo>
                      <a:pt x="1262063" y="695325"/>
                    </a:lnTo>
                    <a:lnTo>
                      <a:pt x="1183481" y="711994"/>
                    </a:lnTo>
                    <a:lnTo>
                      <a:pt x="1185863" y="669132"/>
                    </a:lnTo>
                    <a:lnTo>
                      <a:pt x="1131094" y="669132"/>
                    </a:lnTo>
                    <a:lnTo>
                      <a:pt x="1095375" y="626269"/>
                    </a:lnTo>
                    <a:lnTo>
                      <a:pt x="1078706" y="619125"/>
                    </a:lnTo>
                    <a:lnTo>
                      <a:pt x="1050131" y="645319"/>
                    </a:lnTo>
                    <a:lnTo>
                      <a:pt x="1009650" y="669132"/>
                    </a:lnTo>
                    <a:lnTo>
                      <a:pt x="981075" y="681038"/>
                    </a:lnTo>
                    <a:lnTo>
                      <a:pt x="1004888" y="707232"/>
                    </a:lnTo>
                    <a:lnTo>
                      <a:pt x="985838" y="702469"/>
                    </a:lnTo>
                    <a:lnTo>
                      <a:pt x="947738" y="702469"/>
                    </a:lnTo>
                    <a:lnTo>
                      <a:pt x="947738" y="702469"/>
                    </a:lnTo>
                    <a:lnTo>
                      <a:pt x="885825" y="673894"/>
                    </a:lnTo>
                    <a:lnTo>
                      <a:pt x="847725" y="728663"/>
                    </a:lnTo>
                    <a:lnTo>
                      <a:pt x="747713" y="661988"/>
                    </a:lnTo>
                    <a:lnTo>
                      <a:pt x="704850" y="657225"/>
                    </a:lnTo>
                    <a:lnTo>
                      <a:pt x="681038" y="671513"/>
                    </a:lnTo>
                    <a:lnTo>
                      <a:pt x="647700" y="633413"/>
                    </a:lnTo>
                    <a:lnTo>
                      <a:pt x="623888" y="600075"/>
                    </a:lnTo>
                    <a:lnTo>
                      <a:pt x="573881" y="566738"/>
                    </a:lnTo>
                    <a:lnTo>
                      <a:pt x="514350" y="561975"/>
                    </a:lnTo>
                    <a:lnTo>
                      <a:pt x="431006" y="521494"/>
                    </a:lnTo>
                    <a:lnTo>
                      <a:pt x="414338" y="471488"/>
                    </a:lnTo>
                    <a:lnTo>
                      <a:pt x="404813" y="423863"/>
                    </a:lnTo>
                    <a:lnTo>
                      <a:pt x="314325" y="421482"/>
                    </a:lnTo>
                    <a:lnTo>
                      <a:pt x="292894" y="461963"/>
                    </a:lnTo>
                    <a:lnTo>
                      <a:pt x="276225" y="483394"/>
                    </a:lnTo>
                    <a:lnTo>
                      <a:pt x="233363" y="495300"/>
                    </a:lnTo>
                    <a:lnTo>
                      <a:pt x="219075" y="435769"/>
                    </a:lnTo>
                    <a:lnTo>
                      <a:pt x="133350" y="454819"/>
                    </a:lnTo>
                    <a:lnTo>
                      <a:pt x="152400" y="409575"/>
                    </a:lnTo>
                    <a:lnTo>
                      <a:pt x="164306" y="369094"/>
                    </a:lnTo>
                    <a:lnTo>
                      <a:pt x="116681" y="328613"/>
                    </a:lnTo>
                    <a:lnTo>
                      <a:pt x="64294" y="340519"/>
                    </a:lnTo>
                    <a:lnTo>
                      <a:pt x="11906" y="31194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0" name="Figura a mano libera 239"/>
              <p:cNvSpPr/>
              <p:nvPr/>
            </p:nvSpPr>
            <p:spPr bwMode="auto">
              <a:xfrm>
                <a:off x="1081057" y="1071265"/>
                <a:ext cx="436140" cy="262327"/>
              </a:xfrm>
              <a:custGeom>
                <a:avLst/>
                <a:gdLst>
                  <a:gd name="connsiteX0" fmla="*/ 121444 w 542925"/>
                  <a:gd name="connsiteY0" fmla="*/ 335756 h 335756"/>
                  <a:gd name="connsiteX1" fmla="*/ 135731 w 542925"/>
                  <a:gd name="connsiteY1" fmla="*/ 304800 h 335756"/>
                  <a:gd name="connsiteX2" fmla="*/ 195262 w 542925"/>
                  <a:gd name="connsiteY2" fmla="*/ 330994 h 335756"/>
                  <a:gd name="connsiteX3" fmla="*/ 242887 w 542925"/>
                  <a:gd name="connsiteY3" fmla="*/ 295275 h 335756"/>
                  <a:gd name="connsiteX4" fmla="*/ 335756 w 542925"/>
                  <a:gd name="connsiteY4" fmla="*/ 264319 h 335756"/>
                  <a:gd name="connsiteX5" fmla="*/ 404812 w 542925"/>
                  <a:gd name="connsiteY5" fmla="*/ 302419 h 335756"/>
                  <a:gd name="connsiteX6" fmla="*/ 483394 w 542925"/>
                  <a:gd name="connsiteY6" fmla="*/ 269081 h 335756"/>
                  <a:gd name="connsiteX7" fmla="*/ 521494 w 542925"/>
                  <a:gd name="connsiteY7" fmla="*/ 269081 h 335756"/>
                  <a:gd name="connsiteX8" fmla="*/ 535781 w 542925"/>
                  <a:gd name="connsiteY8" fmla="*/ 247650 h 335756"/>
                  <a:gd name="connsiteX9" fmla="*/ 526256 w 542925"/>
                  <a:gd name="connsiteY9" fmla="*/ 195263 h 335756"/>
                  <a:gd name="connsiteX10" fmla="*/ 542925 w 542925"/>
                  <a:gd name="connsiteY10" fmla="*/ 188119 h 335756"/>
                  <a:gd name="connsiteX11" fmla="*/ 511969 w 542925"/>
                  <a:gd name="connsiteY11" fmla="*/ 135731 h 335756"/>
                  <a:gd name="connsiteX12" fmla="*/ 519112 w 542925"/>
                  <a:gd name="connsiteY12" fmla="*/ 71438 h 335756"/>
                  <a:gd name="connsiteX13" fmla="*/ 521494 w 542925"/>
                  <a:gd name="connsiteY13" fmla="*/ 50006 h 335756"/>
                  <a:gd name="connsiteX14" fmla="*/ 500062 w 542925"/>
                  <a:gd name="connsiteY14" fmla="*/ 52388 h 335756"/>
                  <a:gd name="connsiteX15" fmla="*/ 452437 w 542925"/>
                  <a:gd name="connsiteY15" fmla="*/ 50006 h 335756"/>
                  <a:gd name="connsiteX16" fmla="*/ 445294 w 542925"/>
                  <a:gd name="connsiteY16" fmla="*/ 54769 h 335756"/>
                  <a:gd name="connsiteX17" fmla="*/ 426244 w 542925"/>
                  <a:gd name="connsiteY17" fmla="*/ 21431 h 335756"/>
                  <a:gd name="connsiteX18" fmla="*/ 404812 w 542925"/>
                  <a:gd name="connsiteY18" fmla="*/ 4763 h 335756"/>
                  <a:gd name="connsiteX19" fmla="*/ 364331 w 542925"/>
                  <a:gd name="connsiteY19" fmla="*/ 0 h 335756"/>
                  <a:gd name="connsiteX20" fmla="*/ 333375 w 542925"/>
                  <a:gd name="connsiteY20" fmla="*/ 30956 h 335756"/>
                  <a:gd name="connsiteX21" fmla="*/ 288131 w 542925"/>
                  <a:gd name="connsiteY21" fmla="*/ 42863 h 335756"/>
                  <a:gd name="connsiteX22" fmla="*/ 280987 w 542925"/>
                  <a:gd name="connsiteY22" fmla="*/ 64294 h 335756"/>
                  <a:gd name="connsiteX23" fmla="*/ 247650 w 542925"/>
                  <a:gd name="connsiteY23" fmla="*/ 30956 h 335756"/>
                  <a:gd name="connsiteX24" fmla="*/ 230981 w 542925"/>
                  <a:gd name="connsiteY24" fmla="*/ 54769 h 335756"/>
                  <a:gd name="connsiteX25" fmla="*/ 204787 w 542925"/>
                  <a:gd name="connsiteY25" fmla="*/ 76200 h 335756"/>
                  <a:gd name="connsiteX26" fmla="*/ 178594 w 542925"/>
                  <a:gd name="connsiteY26" fmla="*/ 78581 h 335756"/>
                  <a:gd name="connsiteX27" fmla="*/ 183356 w 542925"/>
                  <a:gd name="connsiteY27" fmla="*/ 54769 h 335756"/>
                  <a:gd name="connsiteX28" fmla="*/ 138112 w 542925"/>
                  <a:gd name="connsiteY28" fmla="*/ 64294 h 335756"/>
                  <a:gd name="connsiteX29" fmla="*/ 126206 w 542925"/>
                  <a:gd name="connsiteY29" fmla="*/ 88106 h 335756"/>
                  <a:gd name="connsiteX30" fmla="*/ 126206 w 542925"/>
                  <a:gd name="connsiteY30" fmla="*/ 52388 h 335756"/>
                  <a:gd name="connsiteX31" fmla="*/ 123825 w 542925"/>
                  <a:gd name="connsiteY31" fmla="*/ 28575 h 335756"/>
                  <a:gd name="connsiteX32" fmla="*/ 95250 w 542925"/>
                  <a:gd name="connsiteY32" fmla="*/ 45244 h 335756"/>
                  <a:gd name="connsiteX33" fmla="*/ 90487 w 542925"/>
                  <a:gd name="connsiteY33" fmla="*/ 64294 h 335756"/>
                  <a:gd name="connsiteX34" fmla="*/ 35719 w 542925"/>
                  <a:gd name="connsiteY34" fmla="*/ 69056 h 335756"/>
                  <a:gd name="connsiteX35" fmla="*/ 19050 w 542925"/>
                  <a:gd name="connsiteY35" fmla="*/ 83344 h 335756"/>
                  <a:gd name="connsiteX36" fmla="*/ 0 w 542925"/>
                  <a:gd name="connsiteY36" fmla="*/ 128588 h 335756"/>
                  <a:gd name="connsiteX37" fmla="*/ 16669 w 542925"/>
                  <a:gd name="connsiteY37" fmla="*/ 161925 h 335756"/>
                  <a:gd name="connsiteX38" fmla="*/ 50006 w 542925"/>
                  <a:gd name="connsiteY38" fmla="*/ 202406 h 335756"/>
                  <a:gd name="connsiteX39" fmla="*/ 76200 w 542925"/>
                  <a:gd name="connsiteY39" fmla="*/ 200025 h 335756"/>
                  <a:gd name="connsiteX40" fmla="*/ 88106 w 542925"/>
                  <a:gd name="connsiteY40" fmla="*/ 223838 h 335756"/>
                  <a:gd name="connsiteX41" fmla="*/ 69056 w 542925"/>
                  <a:gd name="connsiteY41" fmla="*/ 233363 h 335756"/>
                  <a:gd name="connsiteX42" fmla="*/ 52387 w 542925"/>
                  <a:gd name="connsiteY42" fmla="*/ 250031 h 335756"/>
                  <a:gd name="connsiteX43" fmla="*/ 121444 w 542925"/>
                  <a:gd name="connsiteY43" fmla="*/ 335756 h 335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42925" h="335756">
                    <a:moveTo>
                      <a:pt x="121444" y="335756"/>
                    </a:moveTo>
                    <a:lnTo>
                      <a:pt x="135731" y="304800"/>
                    </a:lnTo>
                    <a:lnTo>
                      <a:pt x="195262" y="330994"/>
                    </a:lnTo>
                    <a:lnTo>
                      <a:pt x="242887" y="295275"/>
                    </a:lnTo>
                    <a:lnTo>
                      <a:pt x="335756" y="264319"/>
                    </a:lnTo>
                    <a:lnTo>
                      <a:pt x="404812" y="302419"/>
                    </a:lnTo>
                    <a:lnTo>
                      <a:pt x="483394" y="269081"/>
                    </a:lnTo>
                    <a:lnTo>
                      <a:pt x="521494" y="269081"/>
                    </a:lnTo>
                    <a:lnTo>
                      <a:pt x="535781" y="247650"/>
                    </a:lnTo>
                    <a:lnTo>
                      <a:pt x="526256" y="195263"/>
                    </a:lnTo>
                    <a:lnTo>
                      <a:pt x="542925" y="188119"/>
                    </a:lnTo>
                    <a:lnTo>
                      <a:pt x="511969" y="135731"/>
                    </a:lnTo>
                    <a:lnTo>
                      <a:pt x="519112" y="71438"/>
                    </a:lnTo>
                    <a:lnTo>
                      <a:pt x="521494" y="50006"/>
                    </a:lnTo>
                    <a:lnTo>
                      <a:pt x="500062" y="52388"/>
                    </a:lnTo>
                    <a:lnTo>
                      <a:pt x="452437" y="50006"/>
                    </a:lnTo>
                    <a:lnTo>
                      <a:pt x="445294" y="54769"/>
                    </a:lnTo>
                    <a:lnTo>
                      <a:pt x="426244" y="21431"/>
                    </a:lnTo>
                    <a:lnTo>
                      <a:pt x="404812" y="4763"/>
                    </a:lnTo>
                    <a:lnTo>
                      <a:pt x="364331" y="0"/>
                    </a:lnTo>
                    <a:lnTo>
                      <a:pt x="333375" y="30956"/>
                    </a:lnTo>
                    <a:lnTo>
                      <a:pt x="288131" y="42863"/>
                    </a:lnTo>
                    <a:lnTo>
                      <a:pt x="280987" y="64294"/>
                    </a:lnTo>
                    <a:lnTo>
                      <a:pt x="247650" y="30956"/>
                    </a:lnTo>
                    <a:lnTo>
                      <a:pt x="230981" y="54769"/>
                    </a:lnTo>
                    <a:lnTo>
                      <a:pt x="204787" y="76200"/>
                    </a:lnTo>
                    <a:lnTo>
                      <a:pt x="178594" y="78581"/>
                    </a:lnTo>
                    <a:lnTo>
                      <a:pt x="183356" y="54769"/>
                    </a:lnTo>
                    <a:lnTo>
                      <a:pt x="138112" y="64294"/>
                    </a:lnTo>
                    <a:lnTo>
                      <a:pt x="126206" y="88106"/>
                    </a:lnTo>
                    <a:lnTo>
                      <a:pt x="126206" y="52388"/>
                    </a:lnTo>
                    <a:lnTo>
                      <a:pt x="123825" y="28575"/>
                    </a:lnTo>
                    <a:lnTo>
                      <a:pt x="95250" y="45244"/>
                    </a:lnTo>
                    <a:lnTo>
                      <a:pt x="90487" y="64294"/>
                    </a:lnTo>
                    <a:lnTo>
                      <a:pt x="35719" y="69056"/>
                    </a:lnTo>
                    <a:lnTo>
                      <a:pt x="19050" y="83344"/>
                    </a:lnTo>
                    <a:lnTo>
                      <a:pt x="0" y="128588"/>
                    </a:lnTo>
                    <a:lnTo>
                      <a:pt x="16669" y="161925"/>
                    </a:lnTo>
                    <a:lnTo>
                      <a:pt x="50006" y="202406"/>
                    </a:lnTo>
                    <a:lnTo>
                      <a:pt x="76200" y="200025"/>
                    </a:lnTo>
                    <a:lnTo>
                      <a:pt x="88106" y="223838"/>
                    </a:lnTo>
                    <a:lnTo>
                      <a:pt x="69056" y="233363"/>
                    </a:lnTo>
                    <a:lnTo>
                      <a:pt x="52387" y="250031"/>
                    </a:lnTo>
                    <a:lnTo>
                      <a:pt x="121444" y="3357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1" name="Figura a mano libera 240"/>
              <p:cNvSpPr/>
              <p:nvPr/>
            </p:nvSpPr>
            <p:spPr bwMode="auto">
              <a:xfrm>
                <a:off x="980181" y="855836"/>
                <a:ext cx="1017657" cy="1197324"/>
              </a:xfrm>
              <a:custGeom>
                <a:avLst/>
                <a:gdLst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381125 w 1624012"/>
                  <a:gd name="connsiteY98" fmla="*/ 0 h 1533525"/>
                  <a:gd name="connsiteX99" fmla="*/ 1419225 w 1624012"/>
                  <a:gd name="connsiteY99" fmla="*/ 11906 h 1533525"/>
                  <a:gd name="connsiteX100" fmla="*/ 1440656 w 1624012"/>
                  <a:gd name="connsiteY100" fmla="*/ 7144 h 1533525"/>
                  <a:gd name="connsiteX101" fmla="*/ 1438275 w 1624012"/>
                  <a:gd name="connsiteY101" fmla="*/ 69056 h 1533525"/>
                  <a:gd name="connsiteX102" fmla="*/ 1440656 w 1624012"/>
                  <a:gd name="connsiteY102" fmla="*/ 104775 h 1533525"/>
                  <a:gd name="connsiteX103" fmla="*/ 1490662 w 1624012"/>
                  <a:gd name="connsiteY103" fmla="*/ 142875 h 1533525"/>
                  <a:gd name="connsiteX104" fmla="*/ 1543050 w 1624012"/>
                  <a:gd name="connsiteY104" fmla="*/ 147638 h 1533525"/>
                  <a:gd name="connsiteX105" fmla="*/ 1547812 w 1624012"/>
                  <a:gd name="connsiteY105" fmla="*/ 121444 h 1533525"/>
                  <a:gd name="connsiteX106" fmla="*/ 1574006 w 1624012"/>
                  <a:gd name="connsiteY106" fmla="*/ 121444 h 1533525"/>
                  <a:gd name="connsiteX107" fmla="*/ 1624012 w 1624012"/>
                  <a:gd name="connsiteY107" fmla="*/ 109538 h 1533525"/>
                  <a:gd name="connsiteX108" fmla="*/ 1057275 w 1624012"/>
                  <a:gd name="connsiteY108" fmla="*/ 264319 h 1533525"/>
                  <a:gd name="connsiteX109" fmla="*/ 1062037 w 1624012"/>
                  <a:gd name="connsiteY109" fmla="*/ 304800 h 1533525"/>
                  <a:gd name="connsiteX110" fmla="*/ 995362 w 1624012"/>
                  <a:gd name="connsiteY110" fmla="*/ 352425 h 1533525"/>
                  <a:gd name="connsiteX111" fmla="*/ 973931 w 1624012"/>
                  <a:gd name="connsiteY111" fmla="*/ 383381 h 1533525"/>
                  <a:gd name="connsiteX112" fmla="*/ 1000125 w 1624012"/>
                  <a:gd name="connsiteY112" fmla="*/ 428625 h 1533525"/>
                  <a:gd name="connsiteX113" fmla="*/ 983456 w 1624012"/>
                  <a:gd name="connsiteY113" fmla="*/ 466725 h 1533525"/>
                  <a:gd name="connsiteX114" fmla="*/ 1000125 w 1624012"/>
                  <a:gd name="connsiteY114" fmla="*/ 519113 h 1533525"/>
                  <a:gd name="connsiteX115" fmla="*/ 1033462 w 1624012"/>
                  <a:gd name="connsiteY115" fmla="*/ 519113 h 1533525"/>
                  <a:gd name="connsiteX116" fmla="*/ 1019175 w 1624012"/>
                  <a:gd name="connsiteY116" fmla="*/ 552450 h 1533525"/>
                  <a:gd name="connsiteX117" fmla="*/ 1035843 w 1624012"/>
                  <a:gd name="connsiteY117" fmla="*/ 590550 h 1533525"/>
                  <a:gd name="connsiteX118" fmla="*/ 1035843 w 1624012"/>
                  <a:gd name="connsiteY118" fmla="*/ 607219 h 1533525"/>
                  <a:gd name="connsiteX119" fmla="*/ 1045368 w 1624012"/>
                  <a:gd name="connsiteY119" fmla="*/ 645319 h 1533525"/>
                  <a:gd name="connsiteX120" fmla="*/ 1064418 w 1624012"/>
                  <a:gd name="connsiteY120" fmla="*/ 645319 h 1533525"/>
                  <a:gd name="connsiteX121" fmla="*/ 1078706 w 1624012"/>
                  <a:gd name="connsiteY121" fmla="*/ 666750 h 1533525"/>
                  <a:gd name="connsiteX122" fmla="*/ 1085850 w 1624012"/>
                  <a:gd name="connsiteY122" fmla="*/ 688181 h 1533525"/>
                  <a:gd name="connsiteX123" fmla="*/ 1076325 w 1624012"/>
                  <a:gd name="connsiteY123" fmla="*/ 719138 h 1533525"/>
                  <a:gd name="connsiteX124" fmla="*/ 1021556 w 1624012"/>
                  <a:gd name="connsiteY124" fmla="*/ 714375 h 1533525"/>
                  <a:gd name="connsiteX125" fmla="*/ 1002506 w 1624012"/>
                  <a:gd name="connsiteY125" fmla="*/ 721519 h 1533525"/>
                  <a:gd name="connsiteX126" fmla="*/ 995362 w 1624012"/>
                  <a:gd name="connsiteY126" fmla="*/ 726281 h 1533525"/>
                  <a:gd name="connsiteX127" fmla="*/ 995362 w 1624012"/>
                  <a:gd name="connsiteY127" fmla="*/ 726281 h 1533525"/>
                  <a:gd name="connsiteX128" fmla="*/ 923925 w 1624012"/>
                  <a:gd name="connsiteY128" fmla="*/ 721519 h 1533525"/>
                  <a:gd name="connsiteX129" fmla="*/ 940593 w 1624012"/>
                  <a:gd name="connsiteY129" fmla="*/ 778669 h 1533525"/>
                  <a:gd name="connsiteX130" fmla="*/ 938212 w 1624012"/>
                  <a:gd name="connsiteY130" fmla="*/ 847725 h 1533525"/>
                  <a:gd name="connsiteX131" fmla="*/ 954881 w 1624012"/>
                  <a:gd name="connsiteY131" fmla="*/ 871538 h 1533525"/>
                  <a:gd name="connsiteX132" fmla="*/ 997743 w 1624012"/>
                  <a:gd name="connsiteY132" fmla="*/ 919163 h 1533525"/>
                  <a:gd name="connsiteX133" fmla="*/ 1012031 w 1624012"/>
                  <a:gd name="connsiteY133" fmla="*/ 954881 h 1533525"/>
                  <a:gd name="connsiteX134" fmla="*/ 1031081 w 1624012"/>
                  <a:gd name="connsiteY134" fmla="*/ 954881 h 1533525"/>
                  <a:gd name="connsiteX135" fmla="*/ 1071562 w 1624012"/>
                  <a:gd name="connsiteY135" fmla="*/ 940594 h 1533525"/>
                  <a:gd name="connsiteX136" fmla="*/ 1102518 w 1624012"/>
                  <a:gd name="connsiteY136" fmla="*/ 933450 h 1533525"/>
                  <a:gd name="connsiteX137" fmla="*/ 1159668 w 1624012"/>
                  <a:gd name="connsiteY137" fmla="*/ 997744 h 1533525"/>
                  <a:gd name="connsiteX138" fmla="*/ 1178718 w 1624012"/>
                  <a:gd name="connsiteY138" fmla="*/ 1052513 h 1533525"/>
                  <a:gd name="connsiteX139" fmla="*/ 1190625 w 1624012"/>
                  <a:gd name="connsiteY139" fmla="*/ 1081088 h 1533525"/>
                  <a:gd name="connsiteX140" fmla="*/ 1212056 w 1624012"/>
                  <a:gd name="connsiteY140" fmla="*/ 1109663 h 1533525"/>
                  <a:gd name="connsiteX141" fmla="*/ 1231106 w 1624012"/>
                  <a:gd name="connsiteY141" fmla="*/ 1102519 h 1533525"/>
                  <a:gd name="connsiteX142" fmla="*/ 1231106 w 1624012"/>
                  <a:gd name="connsiteY142" fmla="*/ 1131094 h 1533525"/>
                  <a:gd name="connsiteX143" fmla="*/ 1233487 w 1624012"/>
                  <a:gd name="connsiteY143" fmla="*/ 1145381 h 1533525"/>
                  <a:gd name="connsiteX144" fmla="*/ 1266825 w 1624012"/>
                  <a:gd name="connsiteY144" fmla="*/ 1181100 h 1533525"/>
                  <a:gd name="connsiteX145" fmla="*/ 1233487 w 1624012"/>
                  <a:gd name="connsiteY145" fmla="*/ 1181100 h 1533525"/>
                  <a:gd name="connsiteX146" fmla="*/ 1228725 w 1624012"/>
                  <a:gd name="connsiteY146" fmla="*/ 1223963 h 1533525"/>
                  <a:gd name="connsiteX147" fmla="*/ 1226343 w 1624012"/>
                  <a:gd name="connsiteY147" fmla="*/ 1243013 h 1533525"/>
                  <a:gd name="connsiteX148" fmla="*/ 1216818 w 1624012"/>
                  <a:gd name="connsiteY148" fmla="*/ 1264444 h 1533525"/>
                  <a:gd name="connsiteX149" fmla="*/ 1190625 w 1624012"/>
                  <a:gd name="connsiteY149" fmla="*/ 1238250 h 1533525"/>
                  <a:gd name="connsiteX150" fmla="*/ 1157287 w 1624012"/>
                  <a:gd name="connsiteY150" fmla="*/ 1209675 h 1533525"/>
                  <a:gd name="connsiteX151" fmla="*/ 1131093 w 1624012"/>
                  <a:gd name="connsiteY151" fmla="*/ 1185863 h 1533525"/>
                  <a:gd name="connsiteX152" fmla="*/ 1107281 w 1624012"/>
                  <a:gd name="connsiteY152" fmla="*/ 1219200 h 1533525"/>
                  <a:gd name="connsiteX153" fmla="*/ 1104900 w 1624012"/>
                  <a:gd name="connsiteY153" fmla="*/ 1264444 h 1533525"/>
                  <a:gd name="connsiteX154" fmla="*/ 1062037 w 1624012"/>
                  <a:gd name="connsiteY154" fmla="*/ 1259681 h 1533525"/>
                  <a:gd name="connsiteX155" fmla="*/ 1026318 w 1624012"/>
                  <a:gd name="connsiteY155" fmla="*/ 1288256 h 1533525"/>
                  <a:gd name="connsiteX156" fmla="*/ 1007268 w 1624012"/>
                  <a:gd name="connsiteY156" fmla="*/ 1240631 h 1533525"/>
                  <a:gd name="connsiteX157" fmla="*/ 947737 w 1624012"/>
                  <a:gd name="connsiteY157" fmla="*/ 1231106 h 1533525"/>
                  <a:gd name="connsiteX158" fmla="*/ 921543 w 1624012"/>
                  <a:gd name="connsiteY158" fmla="*/ 1297781 h 1533525"/>
                  <a:gd name="connsiteX159" fmla="*/ 885825 w 1624012"/>
                  <a:gd name="connsiteY159" fmla="*/ 1278731 h 1533525"/>
                  <a:gd name="connsiteX160" fmla="*/ 816768 w 1624012"/>
                  <a:gd name="connsiteY160" fmla="*/ 1295400 h 1533525"/>
                  <a:gd name="connsiteX161" fmla="*/ 757237 w 1624012"/>
                  <a:gd name="connsiteY161" fmla="*/ 1259681 h 1533525"/>
                  <a:gd name="connsiteX162" fmla="*/ 742950 w 1624012"/>
                  <a:gd name="connsiteY162" fmla="*/ 1312069 h 1533525"/>
                  <a:gd name="connsiteX163" fmla="*/ 704850 w 1624012"/>
                  <a:gd name="connsiteY163" fmla="*/ 1345406 h 1533525"/>
                  <a:gd name="connsiteX164" fmla="*/ 692943 w 1624012"/>
                  <a:gd name="connsiteY164" fmla="*/ 1366838 h 1533525"/>
                  <a:gd name="connsiteX165" fmla="*/ 671512 w 1624012"/>
                  <a:gd name="connsiteY165" fmla="*/ 1509713 h 1533525"/>
                  <a:gd name="connsiteX166" fmla="*/ 633412 w 1624012"/>
                  <a:gd name="connsiteY166" fmla="*/ 1490663 h 1533525"/>
                  <a:gd name="connsiteX167" fmla="*/ 614362 w 1624012"/>
                  <a:gd name="connsiteY167" fmla="*/ 1504950 h 1533525"/>
                  <a:gd name="connsiteX168" fmla="*/ 581025 w 1624012"/>
                  <a:gd name="connsiteY168" fmla="*/ 1531144 h 1533525"/>
                  <a:gd name="connsiteX169" fmla="*/ 523875 w 1624012"/>
                  <a:gd name="connsiteY169" fmla="*/ 1502569 h 1533525"/>
                  <a:gd name="connsiteX170" fmla="*/ 514350 w 1624012"/>
                  <a:gd name="connsiteY170" fmla="*/ 1490663 h 1533525"/>
                  <a:gd name="connsiteX171" fmla="*/ 483393 w 1624012"/>
                  <a:gd name="connsiteY171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381125 w 1624012"/>
                  <a:gd name="connsiteY98" fmla="*/ 0 h 1533525"/>
                  <a:gd name="connsiteX99" fmla="*/ 1419225 w 1624012"/>
                  <a:gd name="connsiteY99" fmla="*/ 11906 h 1533525"/>
                  <a:gd name="connsiteX100" fmla="*/ 1438275 w 1624012"/>
                  <a:gd name="connsiteY100" fmla="*/ 69056 h 1533525"/>
                  <a:gd name="connsiteX101" fmla="*/ 1440656 w 1624012"/>
                  <a:gd name="connsiteY101" fmla="*/ 104775 h 1533525"/>
                  <a:gd name="connsiteX102" fmla="*/ 1490662 w 1624012"/>
                  <a:gd name="connsiteY102" fmla="*/ 142875 h 1533525"/>
                  <a:gd name="connsiteX103" fmla="*/ 1543050 w 1624012"/>
                  <a:gd name="connsiteY103" fmla="*/ 147638 h 1533525"/>
                  <a:gd name="connsiteX104" fmla="*/ 1547812 w 1624012"/>
                  <a:gd name="connsiteY104" fmla="*/ 121444 h 1533525"/>
                  <a:gd name="connsiteX105" fmla="*/ 1574006 w 1624012"/>
                  <a:gd name="connsiteY105" fmla="*/ 121444 h 1533525"/>
                  <a:gd name="connsiteX106" fmla="*/ 1624012 w 1624012"/>
                  <a:gd name="connsiteY106" fmla="*/ 109538 h 1533525"/>
                  <a:gd name="connsiteX107" fmla="*/ 1057275 w 1624012"/>
                  <a:gd name="connsiteY107" fmla="*/ 264319 h 1533525"/>
                  <a:gd name="connsiteX108" fmla="*/ 1062037 w 1624012"/>
                  <a:gd name="connsiteY108" fmla="*/ 304800 h 1533525"/>
                  <a:gd name="connsiteX109" fmla="*/ 995362 w 1624012"/>
                  <a:gd name="connsiteY109" fmla="*/ 352425 h 1533525"/>
                  <a:gd name="connsiteX110" fmla="*/ 973931 w 1624012"/>
                  <a:gd name="connsiteY110" fmla="*/ 383381 h 1533525"/>
                  <a:gd name="connsiteX111" fmla="*/ 1000125 w 1624012"/>
                  <a:gd name="connsiteY111" fmla="*/ 428625 h 1533525"/>
                  <a:gd name="connsiteX112" fmla="*/ 983456 w 1624012"/>
                  <a:gd name="connsiteY112" fmla="*/ 466725 h 1533525"/>
                  <a:gd name="connsiteX113" fmla="*/ 1000125 w 1624012"/>
                  <a:gd name="connsiteY113" fmla="*/ 519113 h 1533525"/>
                  <a:gd name="connsiteX114" fmla="*/ 1033462 w 1624012"/>
                  <a:gd name="connsiteY114" fmla="*/ 519113 h 1533525"/>
                  <a:gd name="connsiteX115" fmla="*/ 1019175 w 1624012"/>
                  <a:gd name="connsiteY115" fmla="*/ 552450 h 1533525"/>
                  <a:gd name="connsiteX116" fmla="*/ 1035843 w 1624012"/>
                  <a:gd name="connsiteY116" fmla="*/ 590550 h 1533525"/>
                  <a:gd name="connsiteX117" fmla="*/ 1035843 w 1624012"/>
                  <a:gd name="connsiteY117" fmla="*/ 607219 h 1533525"/>
                  <a:gd name="connsiteX118" fmla="*/ 1045368 w 1624012"/>
                  <a:gd name="connsiteY118" fmla="*/ 645319 h 1533525"/>
                  <a:gd name="connsiteX119" fmla="*/ 1064418 w 1624012"/>
                  <a:gd name="connsiteY119" fmla="*/ 645319 h 1533525"/>
                  <a:gd name="connsiteX120" fmla="*/ 1078706 w 1624012"/>
                  <a:gd name="connsiteY120" fmla="*/ 666750 h 1533525"/>
                  <a:gd name="connsiteX121" fmla="*/ 1085850 w 1624012"/>
                  <a:gd name="connsiteY121" fmla="*/ 688181 h 1533525"/>
                  <a:gd name="connsiteX122" fmla="*/ 1076325 w 1624012"/>
                  <a:gd name="connsiteY122" fmla="*/ 719138 h 1533525"/>
                  <a:gd name="connsiteX123" fmla="*/ 1021556 w 1624012"/>
                  <a:gd name="connsiteY123" fmla="*/ 714375 h 1533525"/>
                  <a:gd name="connsiteX124" fmla="*/ 1002506 w 1624012"/>
                  <a:gd name="connsiteY124" fmla="*/ 721519 h 1533525"/>
                  <a:gd name="connsiteX125" fmla="*/ 995362 w 1624012"/>
                  <a:gd name="connsiteY125" fmla="*/ 726281 h 1533525"/>
                  <a:gd name="connsiteX126" fmla="*/ 995362 w 1624012"/>
                  <a:gd name="connsiteY126" fmla="*/ 726281 h 1533525"/>
                  <a:gd name="connsiteX127" fmla="*/ 923925 w 1624012"/>
                  <a:gd name="connsiteY127" fmla="*/ 721519 h 1533525"/>
                  <a:gd name="connsiteX128" fmla="*/ 940593 w 1624012"/>
                  <a:gd name="connsiteY128" fmla="*/ 778669 h 1533525"/>
                  <a:gd name="connsiteX129" fmla="*/ 938212 w 1624012"/>
                  <a:gd name="connsiteY129" fmla="*/ 847725 h 1533525"/>
                  <a:gd name="connsiteX130" fmla="*/ 954881 w 1624012"/>
                  <a:gd name="connsiteY130" fmla="*/ 871538 h 1533525"/>
                  <a:gd name="connsiteX131" fmla="*/ 997743 w 1624012"/>
                  <a:gd name="connsiteY131" fmla="*/ 919163 h 1533525"/>
                  <a:gd name="connsiteX132" fmla="*/ 1012031 w 1624012"/>
                  <a:gd name="connsiteY132" fmla="*/ 954881 h 1533525"/>
                  <a:gd name="connsiteX133" fmla="*/ 1031081 w 1624012"/>
                  <a:gd name="connsiteY133" fmla="*/ 954881 h 1533525"/>
                  <a:gd name="connsiteX134" fmla="*/ 1071562 w 1624012"/>
                  <a:gd name="connsiteY134" fmla="*/ 940594 h 1533525"/>
                  <a:gd name="connsiteX135" fmla="*/ 1102518 w 1624012"/>
                  <a:gd name="connsiteY135" fmla="*/ 933450 h 1533525"/>
                  <a:gd name="connsiteX136" fmla="*/ 1159668 w 1624012"/>
                  <a:gd name="connsiteY136" fmla="*/ 997744 h 1533525"/>
                  <a:gd name="connsiteX137" fmla="*/ 1178718 w 1624012"/>
                  <a:gd name="connsiteY137" fmla="*/ 1052513 h 1533525"/>
                  <a:gd name="connsiteX138" fmla="*/ 1190625 w 1624012"/>
                  <a:gd name="connsiteY138" fmla="*/ 1081088 h 1533525"/>
                  <a:gd name="connsiteX139" fmla="*/ 1212056 w 1624012"/>
                  <a:gd name="connsiteY139" fmla="*/ 1109663 h 1533525"/>
                  <a:gd name="connsiteX140" fmla="*/ 1231106 w 1624012"/>
                  <a:gd name="connsiteY140" fmla="*/ 1102519 h 1533525"/>
                  <a:gd name="connsiteX141" fmla="*/ 1231106 w 1624012"/>
                  <a:gd name="connsiteY141" fmla="*/ 1131094 h 1533525"/>
                  <a:gd name="connsiteX142" fmla="*/ 1233487 w 1624012"/>
                  <a:gd name="connsiteY142" fmla="*/ 1145381 h 1533525"/>
                  <a:gd name="connsiteX143" fmla="*/ 1266825 w 1624012"/>
                  <a:gd name="connsiteY143" fmla="*/ 1181100 h 1533525"/>
                  <a:gd name="connsiteX144" fmla="*/ 1233487 w 1624012"/>
                  <a:gd name="connsiteY144" fmla="*/ 1181100 h 1533525"/>
                  <a:gd name="connsiteX145" fmla="*/ 1228725 w 1624012"/>
                  <a:gd name="connsiteY145" fmla="*/ 1223963 h 1533525"/>
                  <a:gd name="connsiteX146" fmla="*/ 1226343 w 1624012"/>
                  <a:gd name="connsiteY146" fmla="*/ 1243013 h 1533525"/>
                  <a:gd name="connsiteX147" fmla="*/ 1216818 w 1624012"/>
                  <a:gd name="connsiteY147" fmla="*/ 1264444 h 1533525"/>
                  <a:gd name="connsiteX148" fmla="*/ 1190625 w 1624012"/>
                  <a:gd name="connsiteY148" fmla="*/ 1238250 h 1533525"/>
                  <a:gd name="connsiteX149" fmla="*/ 1157287 w 1624012"/>
                  <a:gd name="connsiteY149" fmla="*/ 1209675 h 1533525"/>
                  <a:gd name="connsiteX150" fmla="*/ 1131093 w 1624012"/>
                  <a:gd name="connsiteY150" fmla="*/ 1185863 h 1533525"/>
                  <a:gd name="connsiteX151" fmla="*/ 1107281 w 1624012"/>
                  <a:gd name="connsiteY151" fmla="*/ 1219200 h 1533525"/>
                  <a:gd name="connsiteX152" fmla="*/ 1104900 w 1624012"/>
                  <a:gd name="connsiteY152" fmla="*/ 1264444 h 1533525"/>
                  <a:gd name="connsiteX153" fmla="*/ 1062037 w 1624012"/>
                  <a:gd name="connsiteY153" fmla="*/ 1259681 h 1533525"/>
                  <a:gd name="connsiteX154" fmla="*/ 1026318 w 1624012"/>
                  <a:gd name="connsiteY154" fmla="*/ 1288256 h 1533525"/>
                  <a:gd name="connsiteX155" fmla="*/ 1007268 w 1624012"/>
                  <a:gd name="connsiteY155" fmla="*/ 1240631 h 1533525"/>
                  <a:gd name="connsiteX156" fmla="*/ 947737 w 1624012"/>
                  <a:gd name="connsiteY156" fmla="*/ 1231106 h 1533525"/>
                  <a:gd name="connsiteX157" fmla="*/ 921543 w 1624012"/>
                  <a:gd name="connsiteY157" fmla="*/ 1297781 h 1533525"/>
                  <a:gd name="connsiteX158" fmla="*/ 885825 w 1624012"/>
                  <a:gd name="connsiteY158" fmla="*/ 1278731 h 1533525"/>
                  <a:gd name="connsiteX159" fmla="*/ 816768 w 1624012"/>
                  <a:gd name="connsiteY159" fmla="*/ 1295400 h 1533525"/>
                  <a:gd name="connsiteX160" fmla="*/ 757237 w 1624012"/>
                  <a:gd name="connsiteY160" fmla="*/ 1259681 h 1533525"/>
                  <a:gd name="connsiteX161" fmla="*/ 742950 w 1624012"/>
                  <a:gd name="connsiteY161" fmla="*/ 1312069 h 1533525"/>
                  <a:gd name="connsiteX162" fmla="*/ 704850 w 1624012"/>
                  <a:gd name="connsiteY162" fmla="*/ 1345406 h 1533525"/>
                  <a:gd name="connsiteX163" fmla="*/ 692943 w 1624012"/>
                  <a:gd name="connsiteY163" fmla="*/ 1366838 h 1533525"/>
                  <a:gd name="connsiteX164" fmla="*/ 671512 w 1624012"/>
                  <a:gd name="connsiteY164" fmla="*/ 1509713 h 1533525"/>
                  <a:gd name="connsiteX165" fmla="*/ 633412 w 1624012"/>
                  <a:gd name="connsiteY165" fmla="*/ 1490663 h 1533525"/>
                  <a:gd name="connsiteX166" fmla="*/ 614362 w 1624012"/>
                  <a:gd name="connsiteY166" fmla="*/ 1504950 h 1533525"/>
                  <a:gd name="connsiteX167" fmla="*/ 581025 w 1624012"/>
                  <a:gd name="connsiteY167" fmla="*/ 1531144 h 1533525"/>
                  <a:gd name="connsiteX168" fmla="*/ 523875 w 1624012"/>
                  <a:gd name="connsiteY168" fmla="*/ 1502569 h 1533525"/>
                  <a:gd name="connsiteX169" fmla="*/ 514350 w 1624012"/>
                  <a:gd name="connsiteY169" fmla="*/ 1490663 h 1533525"/>
                  <a:gd name="connsiteX170" fmla="*/ 483393 w 1624012"/>
                  <a:gd name="connsiteY170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419225 w 1624012"/>
                  <a:gd name="connsiteY98" fmla="*/ 11906 h 1533525"/>
                  <a:gd name="connsiteX99" fmla="*/ 1438275 w 1624012"/>
                  <a:gd name="connsiteY99" fmla="*/ 69056 h 1533525"/>
                  <a:gd name="connsiteX100" fmla="*/ 1440656 w 1624012"/>
                  <a:gd name="connsiteY100" fmla="*/ 104775 h 1533525"/>
                  <a:gd name="connsiteX101" fmla="*/ 1490662 w 1624012"/>
                  <a:gd name="connsiteY101" fmla="*/ 142875 h 1533525"/>
                  <a:gd name="connsiteX102" fmla="*/ 1543050 w 1624012"/>
                  <a:gd name="connsiteY102" fmla="*/ 147638 h 1533525"/>
                  <a:gd name="connsiteX103" fmla="*/ 1547812 w 1624012"/>
                  <a:gd name="connsiteY103" fmla="*/ 121444 h 1533525"/>
                  <a:gd name="connsiteX104" fmla="*/ 1574006 w 1624012"/>
                  <a:gd name="connsiteY104" fmla="*/ 121444 h 1533525"/>
                  <a:gd name="connsiteX105" fmla="*/ 1624012 w 1624012"/>
                  <a:gd name="connsiteY105" fmla="*/ 109538 h 1533525"/>
                  <a:gd name="connsiteX106" fmla="*/ 1057275 w 1624012"/>
                  <a:gd name="connsiteY106" fmla="*/ 264319 h 1533525"/>
                  <a:gd name="connsiteX107" fmla="*/ 1062037 w 1624012"/>
                  <a:gd name="connsiteY107" fmla="*/ 304800 h 1533525"/>
                  <a:gd name="connsiteX108" fmla="*/ 995362 w 1624012"/>
                  <a:gd name="connsiteY108" fmla="*/ 352425 h 1533525"/>
                  <a:gd name="connsiteX109" fmla="*/ 973931 w 1624012"/>
                  <a:gd name="connsiteY109" fmla="*/ 383381 h 1533525"/>
                  <a:gd name="connsiteX110" fmla="*/ 1000125 w 1624012"/>
                  <a:gd name="connsiteY110" fmla="*/ 428625 h 1533525"/>
                  <a:gd name="connsiteX111" fmla="*/ 983456 w 1624012"/>
                  <a:gd name="connsiteY111" fmla="*/ 466725 h 1533525"/>
                  <a:gd name="connsiteX112" fmla="*/ 1000125 w 1624012"/>
                  <a:gd name="connsiteY112" fmla="*/ 519113 h 1533525"/>
                  <a:gd name="connsiteX113" fmla="*/ 1033462 w 1624012"/>
                  <a:gd name="connsiteY113" fmla="*/ 519113 h 1533525"/>
                  <a:gd name="connsiteX114" fmla="*/ 1019175 w 1624012"/>
                  <a:gd name="connsiteY114" fmla="*/ 552450 h 1533525"/>
                  <a:gd name="connsiteX115" fmla="*/ 1035843 w 1624012"/>
                  <a:gd name="connsiteY115" fmla="*/ 590550 h 1533525"/>
                  <a:gd name="connsiteX116" fmla="*/ 1035843 w 1624012"/>
                  <a:gd name="connsiteY116" fmla="*/ 607219 h 1533525"/>
                  <a:gd name="connsiteX117" fmla="*/ 1045368 w 1624012"/>
                  <a:gd name="connsiteY117" fmla="*/ 645319 h 1533525"/>
                  <a:gd name="connsiteX118" fmla="*/ 1064418 w 1624012"/>
                  <a:gd name="connsiteY118" fmla="*/ 645319 h 1533525"/>
                  <a:gd name="connsiteX119" fmla="*/ 1078706 w 1624012"/>
                  <a:gd name="connsiteY119" fmla="*/ 666750 h 1533525"/>
                  <a:gd name="connsiteX120" fmla="*/ 1085850 w 1624012"/>
                  <a:gd name="connsiteY120" fmla="*/ 688181 h 1533525"/>
                  <a:gd name="connsiteX121" fmla="*/ 1076325 w 1624012"/>
                  <a:gd name="connsiteY121" fmla="*/ 719138 h 1533525"/>
                  <a:gd name="connsiteX122" fmla="*/ 1021556 w 1624012"/>
                  <a:gd name="connsiteY122" fmla="*/ 714375 h 1533525"/>
                  <a:gd name="connsiteX123" fmla="*/ 1002506 w 1624012"/>
                  <a:gd name="connsiteY123" fmla="*/ 721519 h 1533525"/>
                  <a:gd name="connsiteX124" fmla="*/ 995362 w 1624012"/>
                  <a:gd name="connsiteY124" fmla="*/ 726281 h 1533525"/>
                  <a:gd name="connsiteX125" fmla="*/ 995362 w 1624012"/>
                  <a:gd name="connsiteY125" fmla="*/ 726281 h 1533525"/>
                  <a:gd name="connsiteX126" fmla="*/ 923925 w 1624012"/>
                  <a:gd name="connsiteY126" fmla="*/ 721519 h 1533525"/>
                  <a:gd name="connsiteX127" fmla="*/ 940593 w 1624012"/>
                  <a:gd name="connsiteY127" fmla="*/ 778669 h 1533525"/>
                  <a:gd name="connsiteX128" fmla="*/ 938212 w 1624012"/>
                  <a:gd name="connsiteY128" fmla="*/ 847725 h 1533525"/>
                  <a:gd name="connsiteX129" fmla="*/ 954881 w 1624012"/>
                  <a:gd name="connsiteY129" fmla="*/ 871538 h 1533525"/>
                  <a:gd name="connsiteX130" fmla="*/ 997743 w 1624012"/>
                  <a:gd name="connsiteY130" fmla="*/ 919163 h 1533525"/>
                  <a:gd name="connsiteX131" fmla="*/ 1012031 w 1624012"/>
                  <a:gd name="connsiteY131" fmla="*/ 954881 h 1533525"/>
                  <a:gd name="connsiteX132" fmla="*/ 1031081 w 1624012"/>
                  <a:gd name="connsiteY132" fmla="*/ 954881 h 1533525"/>
                  <a:gd name="connsiteX133" fmla="*/ 1071562 w 1624012"/>
                  <a:gd name="connsiteY133" fmla="*/ 940594 h 1533525"/>
                  <a:gd name="connsiteX134" fmla="*/ 1102518 w 1624012"/>
                  <a:gd name="connsiteY134" fmla="*/ 933450 h 1533525"/>
                  <a:gd name="connsiteX135" fmla="*/ 1159668 w 1624012"/>
                  <a:gd name="connsiteY135" fmla="*/ 997744 h 1533525"/>
                  <a:gd name="connsiteX136" fmla="*/ 1178718 w 1624012"/>
                  <a:gd name="connsiteY136" fmla="*/ 1052513 h 1533525"/>
                  <a:gd name="connsiteX137" fmla="*/ 1190625 w 1624012"/>
                  <a:gd name="connsiteY137" fmla="*/ 1081088 h 1533525"/>
                  <a:gd name="connsiteX138" fmla="*/ 1212056 w 1624012"/>
                  <a:gd name="connsiteY138" fmla="*/ 1109663 h 1533525"/>
                  <a:gd name="connsiteX139" fmla="*/ 1231106 w 1624012"/>
                  <a:gd name="connsiteY139" fmla="*/ 1102519 h 1533525"/>
                  <a:gd name="connsiteX140" fmla="*/ 1231106 w 1624012"/>
                  <a:gd name="connsiteY140" fmla="*/ 1131094 h 1533525"/>
                  <a:gd name="connsiteX141" fmla="*/ 1233487 w 1624012"/>
                  <a:gd name="connsiteY141" fmla="*/ 1145381 h 1533525"/>
                  <a:gd name="connsiteX142" fmla="*/ 1266825 w 1624012"/>
                  <a:gd name="connsiteY142" fmla="*/ 1181100 h 1533525"/>
                  <a:gd name="connsiteX143" fmla="*/ 1233487 w 1624012"/>
                  <a:gd name="connsiteY143" fmla="*/ 1181100 h 1533525"/>
                  <a:gd name="connsiteX144" fmla="*/ 1228725 w 1624012"/>
                  <a:gd name="connsiteY144" fmla="*/ 1223963 h 1533525"/>
                  <a:gd name="connsiteX145" fmla="*/ 1226343 w 1624012"/>
                  <a:gd name="connsiteY145" fmla="*/ 1243013 h 1533525"/>
                  <a:gd name="connsiteX146" fmla="*/ 1216818 w 1624012"/>
                  <a:gd name="connsiteY146" fmla="*/ 1264444 h 1533525"/>
                  <a:gd name="connsiteX147" fmla="*/ 1190625 w 1624012"/>
                  <a:gd name="connsiteY147" fmla="*/ 1238250 h 1533525"/>
                  <a:gd name="connsiteX148" fmla="*/ 1157287 w 1624012"/>
                  <a:gd name="connsiteY148" fmla="*/ 1209675 h 1533525"/>
                  <a:gd name="connsiteX149" fmla="*/ 1131093 w 1624012"/>
                  <a:gd name="connsiteY149" fmla="*/ 1185863 h 1533525"/>
                  <a:gd name="connsiteX150" fmla="*/ 1107281 w 1624012"/>
                  <a:gd name="connsiteY150" fmla="*/ 1219200 h 1533525"/>
                  <a:gd name="connsiteX151" fmla="*/ 1104900 w 1624012"/>
                  <a:gd name="connsiteY151" fmla="*/ 1264444 h 1533525"/>
                  <a:gd name="connsiteX152" fmla="*/ 1062037 w 1624012"/>
                  <a:gd name="connsiteY152" fmla="*/ 1259681 h 1533525"/>
                  <a:gd name="connsiteX153" fmla="*/ 1026318 w 1624012"/>
                  <a:gd name="connsiteY153" fmla="*/ 1288256 h 1533525"/>
                  <a:gd name="connsiteX154" fmla="*/ 1007268 w 1624012"/>
                  <a:gd name="connsiteY154" fmla="*/ 1240631 h 1533525"/>
                  <a:gd name="connsiteX155" fmla="*/ 947737 w 1624012"/>
                  <a:gd name="connsiteY155" fmla="*/ 1231106 h 1533525"/>
                  <a:gd name="connsiteX156" fmla="*/ 921543 w 1624012"/>
                  <a:gd name="connsiteY156" fmla="*/ 1297781 h 1533525"/>
                  <a:gd name="connsiteX157" fmla="*/ 885825 w 1624012"/>
                  <a:gd name="connsiteY157" fmla="*/ 1278731 h 1533525"/>
                  <a:gd name="connsiteX158" fmla="*/ 816768 w 1624012"/>
                  <a:gd name="connsiteY158" fmla="*/ 1295400 h 1533525"/>
                  <a:gd name="connsiteX159" fmla="*/ 757237 w 1624012"/>
                  <a:gd name="connsiteY159" fmla="*/ 1259681 h 1533525"/>
                  <a:gd name="connsiteX160" fmla="*/ 742950 w 1624012"/>
                  <a:gd name="connsiteY160" fmla="*/ 1312069 h 1533525"/>
                  <a:gd name="connsiteX161" fmla="*/ 704850 w 1624012"/>
                  <a:gd name="connsiteY161" fmla="*/ 1345406 h 1533525"/>
                  <a:gd name="connsiteX162" fmla="*/ 692943 w 1624012"/>
                  <a:gd name="connsiteY162" fmla="*/ 1366838 h 1533525"/>
                  <a:gd name="connsiteX163" fmla="*/ 671512 w 1624012"/>
                  <a:gd name="connsiteY163" fmla="*/ 1509713 h 1533525"/>
                  <a:gd name="connsiteX164" fmla="*/ 633412 w 1624012"/>
                  <a:gd name="connsiteY164" fmla="*/ 1490663 h 1533525"/>
                  <a:gd name="connsiteX165" fmla="*/ 614362 w 1624012"/>
                  <a:gd name="connsiteY165" fmla="*/ 1504950 h 1533525"/>
                  <a:gd name="connsiteX166" fmla="*/ 581025 w 1624012"/>
                  <a:gd name="connsiteY166" fmla="*/ 1531144 h 1533525"/>
                  <a:gd name="connsiteX167" fmla="*/ 523875 w 1624012"/>
                  <a:gd name="connsiteY167" fmla="*/ 1502569 h 1533525"/>
                  <a:gd name="connsiteX168" fmla="*/ 514350 w 1624012"/>
                  <a:gd name="connsiteY168" fmla="*/ 1490663 h 1533525"/>
                  <a:gd name="connsiteX169" fmla="*/ 483393 w 1624012"/>
                  <a:gd name="connsiteY169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438275 w 1624012"/>
                  <a:gd name="connsiteY98" fmla="*/ 69056 h 1533525"/>
                  <a:gd name="connsiteX99" fmla="*/ 1440656 w 1624012"/>
                  <a:gd name="connsiteY99" fmla="*/ 104775 h 1533525"/>
                  <a:gd name="connsiteX100" fmla="*/ 1490662 w 1624012"/>
                  <a:gd name="connsiteY100" fmla="*/ 142875 h 1533525"/>
                  <a:gd name="connsiteX101" fmla="*/ 1543050 w 1624012"/>
                  <a:gd name="connsiteY101" fmla="*/ 147638 h 1533525"/>
                  <a:gd name="connsiteX102" fmla="*/ 1547812 w 1624012"/>
                  <a:gd name="connsiteY102" fmla="*/ 121444 h 1533525"/>
                  <a:gd name="connsiteX103" fmla="*/ 1574006 w 1624012"/>
                  <a:gd name="connsiteY103" fmla="*/ 121444 h 1533525"/>
                  <a:gd name="connsiteX104" fmla="*/ 1624012 w 1624012"/>
                  <a:gd name="connsiteY104" fmla="*/ 109538 h 1533525"/>
                  <a:gd name="connsiteX105" fmla="*/ 1057275 w 1624012"/>
                  <a:gd name="connsiteY105" fmla="*/ 264319 h 1533525"/>
                  <a:gd name="connsiteX106" fmla="*/ 1062037 w 1624012"/>
                  <a:gd name="connsiteY106" fmla="*/ 304800 h 1533525"/>
                  <a:gd name="connsiteX107" fmla="*/ 995362 w 1624012"/>
                  <a:gd name="connsiteY107" fmla="*/ 352425 h 1533525"/>
                  <a:gd name="connsiteX108" fmla="*/ 973931 w 1624012"/>
                  <a:gd name="connsiteY108" fmla="*/ 383381 h 1533525"/>
                  <a:gd name="connsiteX109" fmla="*/ 1000125 w 1624012"/>
                  <a:gd name="connsiteY109" fmla="*/ 428625 h 1533525"/>
                  <a:gd name="connsiteX110" fmla="*/ 983456 w 1624012"/>
                  <a:gd name="connsiteY110" fmla="*/ 466725 h 1533525"/>
                  <a:gd name="connsiteX111" fmla="*/ 1000125 w 1624012"/>
                  <a:gd name="connsiteY111" fmla="*/ 519113 h 1533525"/>
                  <a:gd name="connsiteX112" fmla="*/ 1033462 w 1624012"/>
                  <a:gd name="connsiteY112" fmla="*/ 519113 h 1533525"/>
                  <a:gd name="connsiteX113" fmla="*/ 1019175 w 1624012"/>
                  <a:gd name="connsiteY113" fmla="*/ 552450 h 1533525"/>
                  <a:gd name="connsiteX114" fmla="*/ 1035843 w 1624012"/>
                  <a:gd name="connsiteY114" fmla="*/ 590550 h 1533525"/>
                  <a:gd name="connsiteX115" fmla="*/ 1035843 w 1624012"/>
                  <a:gd name="connsiteY115" fmla="*/ 607219 h 1533525"/>
                  <a:gd name="connsiteX116" fmla="*/ 1045368 w 1624012"/>
                  <a:gd name="connsiteY116" fmla="*/ 645319 h 1533525"/>
                  <a:gd name="connsiteX117" fmla="*/ 1064418 w 1624012"/>
                  <a:gd name="connsiteY117" fmla="*/ 645319 h 1533525"/>
                  <a:gd name="connsiteX118" fmla="*/ 1078706 w 1624012"/>
                  <a:gd name="connsiteY118" fmla="*/ 666750 h 1533525"/>
                  <a:gd name="connsiteX119" fmla="*/ 1085850 w 1624012"/>
                  <a:gd name="connsiteY119" fmla="*/ 688181 h 1533525"/>
                  <a:gd name="connsiteX120" fmla="*/ 1076325 w 1624012"/>
                  <a:gd name="connsiteY120" fmla="*/ 719138 h 1533525"/>
                  <a:gd name="connsiteX121" fmla="*/ 1021556 w 1624012"/>
                  <a:gd name="connsiteY121" fmla="*/ 714375 h 1533525"/>
                  <a:gd name="connsiteX122" fmla="*/ 1002506 w 1624012"/>
                  <a:gd name="connsiteY122" fmla="*/ 721519 h 1533525"/>
                  <a:gd name="connsiteX123" fmla="*/ 995362 w 1624012"/>
                  <a:gd name="connsiteY123" fmla="*/ 726281 h 1533525"/>
                  <a:gd name="connsiteX124" fmla="*/ 995362 w 1624012"/>
                  <a:gd name="connsiteY124" fmla="*/ 726281 h 1533525"/>
                  <a:gd name="connsiteX125" fmla="*/ 923925 w 1624012"/>
                  <a:gd name="connsiteY125" fmla="*/ 721519 h 1533525"/>
                  <a:gd name="connsiteX126" fmla="*/ 940593 w 1624012"/>
                  <a:gd name="connsiteY126" fmla="*/ 778669 h 1533525"/>
                  <a:gd name="connsiteX127" fmla="*/ 938212 w 1624012"/>
                  <a:gd name="connsiteY127" fmla="*/ 847725 h 1533525"/>
                  <a:gd name="connsiteX128" fmla="*/ 954881 w 1624012"/>
                  <a:gd name="connsiteY128" fmla="*/ 871538 h 1533525"/>
                  <a:gd name="connsiteX129" fmla="*/ 997743 w 1624012"/>
                  <a:gd name="connsiteY129" fmla="*/ 919163 h 1533525"/>
                  <a:gd name="connsiteX130" fmla="*/ 1012031 w 1624012"/>
                  <a:gd name="connsiteY130" fmla="*/ 954881 h 1533525"/>
                  <a:gd name="connsiteX131" fmla="*/ 1031081 w 1624012"/>
                  <a:gd name="connsiteY131" fmla="*/ 954881 h 1533525"/>
                  <a:gd name="connsiteX132" fmla="*/ 1071562 w 1624012"/>
                  <a:gd name="connsiteY132" fmla="*/ 940594 h 1533525"/>
                  <a:gd name="connsiteX133" fmla="*/ 1102518 w 1624012"/>
                  <a:gd name="connsiteY133" fmla="*/ 933450 h 1533525"/>
                  <a:gd name="connsiteX134" fmla="*/ 1159668 w 1624012"/>
                  <a:gd name="connsiteY134" fmla="*/ 997744 h 1533525"/>
                  <a:gd name="connsiteX135" fmla="*/ 1178718 w 1624012"/>
                  <a:gd name="connsiteY135" fmla="*/ 1052513 h 1533525"/>
                  <a:gd name="connsiteX136" fmla="*/ 1190625 w 1624012"/>
                  <a:gd name="connsiteY136" fmla="*/ 1081088 h 1533525"/>
                  <a:gd name="connsiteX137" fmla="*/ 1212056 w 1624012"/>
                  <a:gd name="connsiteY137" fmla="*/ 1109663 h 1533525"/>
                  <a:gd name="connsiteX138" fmla="*/ 1231106 w 1624012"/>
                  <a:gd name="connsiteY138" fmla="*/ 1102519 h 1533525"/>
                  <a:gd name="connsiteX139" fmla="*/ 1231106 w 1624012"/>
                  <a:gd name="connsiteY139" fmla="*/ 1131094 h 1533525"/>
                  <a:gd name="connsiteX140" fmla="*/ 1233487 w 1624012"/>
                  <a:gd name="connsiteY140" fmla="*/ 1145381 h 1533525"/>
                  <a:gd name="connsiteX141" fmla="*/ 1266825 w 1624012"/>
                  <a:gd name="connsiteY141" fmla="*/ 1181100 h 1533525"/>
                  <a:gd name="connsiteX142" fmla="*/ 1233487 w 1624012"/>
                  <a:gd name="connsiteY142" fmla="*/ 1181100 h 1533525"/>
                  <a:gd name="connsiteX143" fmla="*/ 1228725 w 1624012"/>
                  <a:gd name="connsiteY143" fmla="*/ 1223963 h 1533525"/>
                  <a:gd name="connsiteX144" fmla="*/ 1226343 w 1624012"/>
                  <a:gd name="connsiteY144" fmla="*/ 1243013 h 1533525"/>
                  <a:gd name="connsiteX145" fmla="*/ 1216818 w 1624012"/>
                  <a:gd name="connsiteY145" fmla="*/ 1264444 h 1533525"/>
                  <a:gd name="connsiteX146" fmla="*/ 1190625 w 1624012"/>
                  <a:gd name="connsiteY146" fmla="*/ 1238250 h 1533525"/>
                  <a:gd name="connsiteX147" fmla="*/ 1157287 w 1624012"/>
                  <a:gd name="connsiteY147" fmla="*/ 1209675 h 1533525"/>
                  <a:gd name="connsiteX148" fmla="*/ 1131093 w 1624012"/>
                  <a:gd name="connsiteY148" fmla="*/ 1185863 h 1533525"/>
                  <a:gd name="connsiteX149" fmla="*/ 1107281 w 1624012"/>
                  <a:gd name="connsiteY149" fmla="*/ 1219200 h 1533525"/>
                  <a:gd name="connsiteX150" fmla="*/ 1104900 w 1624012"/>
                  <a:gd name="connsiteY150" fmla="*/ 1264444 h 1533525"/>
                  <a:gd name="connsiteX151" fmla="*/ 1062037 w 1624012"/>
                  <a:gd name="connsiteY151" fmla="*/ 1259681 h 1533525"/>
                  <a:gd name="connsiteX152" fmla="*/ 1026318 w 1624012"/>
                  <a:gd name="connsiteY152" fmla="*/ 1288256 h 1533525"/>
                  <a:gd name="connsiteX153" fmla="*/ 1007268 w 1624012"/>
                  <a:gd name="connsiteY153" fmla="*/ 1240631 h 1533525"/>
                  <a:gd name="connsiteX154" fmla="*/ 947737 w 1624012"/>
                  <a:gd name="connsiteY154" fmla="*/ 1231106 h 1533525"/>
                  <a:gd name="connsiteX155" fmla="*/ 921543 w 1624012"/>
                  <a:gd name="connsiteY155" fmla="*/ 1297781 h 1533525"/>
                  <a:gd name="connsiteX156" fmla="*/ 885825 w 1624012"/>
                  <a:gd name="connsiteY156" fmla="*/ 1278731 h 1533525"/>
                  <a:gd name="connsiteX157" fmla="*/ 816768 w 1624012"/>
                  <a:gd name="connsiteY157" fmla="*/ 1295400 h 1533525"/>
                  <a:gd name="connsiteX158" fmla="*/ 757237 w 1624012"/>
                  <a:gd name="connsiteY158" fmla="*/ 1259681 h 1533525"/>
                  <a:gd name="connsiteX159" fmla="*/ 742950 w 1624012"/>
                  <a:gd name="connsiteY159" fmla="*/ 1312069 h 1533525"/>
                  <a:gd name="connsiteX160" fmla="*/ 704850 w 1624012"/>
                  <a:gd name="connsiteY160" fmla="*/ 1345406 h 1533525"/>
                  <a:gd name="connsiteX161" fmla="*/ 692943 w 1624012"/>
                  <a:gd name="connsiteY161" fmla="*/ 1366838 h 1533525"/>
                  <a:gd name="connsiteX162" fmla="*/ 671512 w 1624012"/>
                  <a:gd name="connsiteY162" fmla="*/ 1509713 h 1533525"/>
                  <a:gd name="connsiteX163" fmla="*/ 633412 w 1624012"/>
                  <a:gd name="connsiteY163" fmla="*/ 1490663 h 1533525"/>
                  <a:gd name="connsiteX164" fmla="*/ 614362 w 1624012"/>
                  <a:gd name="connsiteY164" fmla="*/ 1504950 h 1533525"/>
                  <a:gd name="connsiteX165" fmla="*/ 581025 w 1624012"/>
                  <a:gd name="connsiteY165" fmla="*/ 1531144 h 1533525"/>
                  <a:gd name="connsiteX166" fmla="*/ 523875 w 1624012"/>
                  <a:gd name="connsiteY166" fmla="*/ 1502569 h 1533525"/>
                  <a:gd name="connsiteX167" fmla="*/ 514350 w 1624012"/>
                  <a:gd name="connsiteY167" fmla="*/ 1490663 h 1533525"/>
                  <a:gd name="connsiteX168" fmla="*/ 483393 w 1624012"/>
                  <a:gd name="connsiteY168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38275 w 1624012"/>
                  <a:gd name="connsiteY97" fmla="*/ 69056 h 1533525"/>
                  <a:gd name="connsiteX98" fmla="*/ 1440656 w 1624012"/>
                  <a:gd name="connsiteY98" fmla="*/ 104775 h 1533525"/>
                  <a:gd name="connsiteX99" fmla="*/ 1490662 w 1624012"/>
                  <a:gd name="connsiteY99" fmla="*/ 142875 h 1533525"/>
                  <a:gd name="connsiteX100" fmla="*/ 1543050 w 1624012"/>
                  <a:gd name="connsiteY100" fmla="*/ 147638 h 1533525"/>
                  <a:gd name="connsiteX101" fmla="*/ 1547812 w 1624012"/>
                  <a:gd name="connsiteY101" fmla="*/ 121444 h 1533525"/>
                  <a:gd name="connsiteX102" fmla="*/ 1574006 w 1624012"/>
                  <a:gd name="connsiteY102" fmla="*/ 121444 h 1533525"/>
                  <a:gd name="connsiteX103" fmla="*/ 1624012 w 1624012"/>
                  <a:gd name="connsiteY103" fmla="*/ 109538 h 1533525"/>
                  <a:gd name="connsiteX104" fmla="*/ 1057275 w 1624012"/>
                  <a:gd name="connsiteY104" fmla="*/ 264319 h 1533525"/>
                  <a:gd name="connsiteX105" fmla="*/ 1062037 w 1624012"/>
                  <a:gd name="connsiteY105" fmla="*/ 304800 h 1533525"/>
                  <a:gd name="connsiteX106" fmla="*/ 995362 w 1624012"/>
                  <a:gd name="connsiteY106" fmla="*/ 352425 h 1533525"/>
                  <a:gd name="connsiteX107" fmla="*/ 973931 w 1624012"/>
                  <a:gd name="connsiteY107" fmla="*/ 383381 h 1533525"/>
                  <a:gd name="connsiteX108" fmla="*/ 1000125 w 1624012"/>
                  <a:gd name="connsiteY108" fmla="*/ 428625 h 1533525"/>
                  <a:gd name="connsiteX109" fmla="*/ 983456 w 1624012"/>
                  <a:gd name="connsiteY109" fmla="*/ 466725 h 1533525"/>
                  <a:gd name="connsiteX110" fmla="*/ 1000125 w 1624012"/>
                  <a:gd name="connsiteY110" fmla="*/ 519113 h 1533525"/>
                  <a:gd name="connsiteX111" fmla="*/ 1033462 w 1624012"/>
                  <a:gd name="connsiteY111" fmla="*/ 519113 h 1533525"/>
                  <a:gd name="connsiteX112" fmla="*/ 1019175 w 1624012"/>
                  <a:gd name="connsiteY112" fmla="*/ 552450 h 1533525"/>
                  <a:gd name="connsiteX113" fmla="*/ 1035843 w 1624012"/>
                  <a:gd name="connsiteY113" fmla="*/ 590550 h 1533525"/>
                  <a:gd name="connsiteX114" fmla="*/ 1035843 w 1624012"/>
                  <a:gd name="connsiteY114" fmla="*/ 607219 h 1533525"/>
                  <a:gd name="connsiteX115" fmla="*/ 1045368 w 1624012"/>
                  <a:gd name="connsiteY115" fmla="*/ 645319 h 1533525"/>
                  <a:gd name="connsiteX116" fmla="*/ 1064418 w 1624012"/>
                  <a:gd name="connsiteY116" fmla="*/ 645319 h 1533525"/>
                  <a:gd name="connsiteX117" fmla="*/ 1078706 w 1624012"/>
                  <a:gd name="connsiteY117" fmla="*/ 666750 h 1533525"/>
                  <a:gd name="connsiteX118" fmla="*/ 1085850 w 1624012"/>
                  <a:gd name="connsiteY118" fmla="*/ 688181 h 1533525"/>
                  <a:gd name="connsiteX119" fmla="*/ 1076325 w 1624012"/>
                  <a:gd name="connsiteY119" fmla="*/ 719138 h 1533525"/>
                  <a:gd name="connsiteX120" fmla="*/ 1021556 w 1624012"/>
                  <a:gd name="connsiteY120" fmla="*/ 714375 h 1533525"/>
                  <a:gd name="connsiteX121" fmla="*/ 1002506 w 1624012"/>
                  <a:gd name="connsiteY121" fmla="*/ 721519 h 1533525"/>
                  <a:gd name="connsiteX122" fmla="*/ 995362 w 1624012"/>
                  <a:gd name="connsiteY122" fmla="*/ 726281 h 1533525"/>
                  <a:gd name="connsiteX123" fmla="*/ 995362 w 1624012"/>
                  <a:gd name="connsiteY123" fmla="*/ 726281 h 1533525"/>
                  <a:gd name="connsiteX124" fmla="*/ 923925 w 1624012"/>
                  <a:gd name="connsiteY124" fmla="*/ 721519 h 1533525"/>
                  <a:gd name="connsiteX125" fmla="*/ 940593 w 1624012"/>
                  <a:gd name="connsiteY125" fmla="*/ 778669 h 1533525"/>
                  <a:gd name="connsiteX126" fmla="*/ 938212 w 1624012"/>
                  <a:gd name="connsiteY126" fmla="*/ 847725 h 1533525"/>
                  <a:gd name="connsiteX127" fmla="*/ 954881 w 1624012"/>
                  <a:gd name="connsiteY127" fmla="*/ 871538 h 1533525"/>
                  <a:gd name="connsiteX128" fmla="*/ 997743 w 1624012"/>
                  <a:gd name="connsiteY128" fmla="*/ 919163 h 1533525"/>
                  <a:gd name="connsiteX129" fmla="*/ 1012031 w 1624012"/>
                  <a:gd name="connsiteY129" fmla="*/ 954881 h 1533525"/>
                  <a:gd name="connsiteX130" fmla="*/ 1031081 w 1624012"/>
                  <a:gd name="connsiteY130" fmla="*/ 954881 h 1533525"/>
                  <a:gd name="connsiteX131" fmla="*/ 1071562 w 1624012"/>
                  <a:gd name="connsiteY131" fmla="*/ 940594 h 1533525"/>
                  <a:gd name="connsiteX132" fmla="*/ 1102518 w 1624012"/>
                  <a:gd name="connsiteY132" fmla="*/ 933450 h 1533525"/>
                  <a:gd name="connsiteX133" fmla="*/ 1159668 w 1624012"/>
                  <a:gd name="connsiteY133" fmla="*/ 997744 h 1533525"/>
                  <a:gd name="connsiteX134" fmla="*/ 1178718 w 1624012"/>
                  <a:gd name="connsiteY134" fmla="*/ 1052513 h 1533525"/>
                  <a:gd name="connsiteX135" fmla="*/ 1190625 w 1624012"/>
                  <a:gd name="connsiteY135" fmla="*/ 1081088 h 1533525"/>
                  <a:gd name="connsiteX136" fmla="*/ 1212056 w 1624012"/>
                  <a:gd name="connsiteY136" fmla="*/ 1109663 h 1533525"/>
                  <a:gd name="connsiteX137" fmla="*/ 1231106 w 1624012"/>
                  <a:gd name="connsiteY137" fmla="*/ 1102519 h 1533525"/>
                  <a:gd name="connsiteX138" fmla="*/ 1231106 w 1624012"/>
                  <a:gd name="connsiteY138" fmla="*/ 1131094 h 1533525"/>
                  <a:gd name="connsiteX139" fmla="*/ 1233487 w 1624012"/>
                  <a:gd name="connsiteY139" fmla="*/ 1145381 h 1533525"/>
                  <a:gd name="connsiteX140" fmla="*/ 1266825 w 1624012"/>
                  <a:gd name="connsiteY140" fmla="*/ 1181100 h 1533525"/>
                  <a:gd name="connsiteX141" fmla="*/ 1233487 w 1624012"/>
                  <a:gd name="connsiteY141" fmla="*/ 1181100 h 1533525"/>
                  <a:gd name="connsiteX142" fmla="*/ 1228725 w 1624012"/>
                  <a:gd name="connsiteY142" fmla="*/ 1223963 h 1533525"/>
                  <a:gd name="connsiteX143" fmla="*/ 1226343 w 1624012"/>
                  <a:gd name="connsiteY143" fmla="*/ 1243013 h 1533525"/>
                  <a:gd name="connsiteX144" fmla="*/ 1216818 w 1624012"/>
                  <a:gd name="connsiteY144" fmla="*/ 1264444 h 1533525"/>
                  <a:gd name="connsiteX145" fmla="*/ 1190625 w 1624012"/>
                  <a:gd name="connsiteY145" fmla="*/ 1238250 h 1533525"/>
                  <a:gd name="connsiteX146" fmla="*/ 1157287 w 1624012"/>
                  <a:gd name="connsiteY146" fmla="*/ 1209675 h 1533525"/>
                  <a:gd name="connsiteX147" fmla="*/ 1131093 w 1624012"/>
                  <a:gd name="connsiteY147" fmla="*/ 1185863 h 1533525"/>
                  <a:gd name="connsiteX148" fmla="*/ 1107281 w 1624012"/>
                  <a:gd name="connsiteY148" fmla="*/ 1219200 h 1533525"/>
                  <a:gd name="connsiteX149" fmla="*/ 1104900 w 1624012"/>
                  <a:gd name="connsiteY149" fmla="*/ 1264444 h 1533525"/>
                  <a:gd name="connsiteX150" fmla="*/ 1062037 w 1624012"/>
                  <a:gd name="connsiteY150" fmla="*/ 1259681 h 1533525"/>
                  <a:gd name="connsiteX151" fmla="*/ 1026318 w 1624012"/>
                  <a:gd name="connsiteY151" fmla="*/ 1288256 h 1533525"/>
                  <a:gd name="connsiteX152" fmla="*/ 1007268 w 1624012"/>
                  <a:gd name="connsiteY152" fmla="*/ 1240631 h 1533525"/>
                  <a:gd name="connsiteX153" fmla="*/ 947737 w 1624012"/>
                  <a:gd name="connsiteY153" fmla="*/ 1231106 h 1533525"/>
                  <a:gd name="connsiteX154" fmla="*/ 921543 w 1624012"/>
                  <a:gd name="connsiteY154" fmla="*/ 1297781 h 1533525"/>
                  <a:gd name="connsiteX155" fmla="*/ 885825 w 1624012"/>
                  <a:gd name="connsiteY155" fmla="*/ 1278731 h 1533525"/>
                  <a:gd name="connsiteX156" fmla="*/ 816768 w 1624012"/>
                  <a:gd name="connsiteY156" fmla="*/ 1295400 h 1533525"/>
                  <a:gd name="connsiteX157" fmla="*/ 757237 w 1624012"/>
                  <a:gd name="connsiteY157" fmla="*/ 1259681 h 1533525"/>
                  <a:gd name="connsiteX158" fmla="*/ 742950 w 1624012"/>
                  <a:gd name="connsiteY158" fmla="*/ 1312069 h 1533525"/>
                  <a:gd name="connsiteX159" fmla="*/ 704850 w 1624012"/>
                  <a:gd name="connsiteY159" fmla="*/ 1345406 h 1533525"/>
                  <a:gd name="connsiteX160" fmla="*/ 692943 w 1624012"/>
                  <a:gd name="connsiteY160" fmla="*/ 1366838 h 1533525"/>
                  <a:gd name="connsiteX161" fmla="*/ 671512 w 1624012"/>
                  <a:gd name="connsiteY161" fmla="*/ 1509713 h 1533525"/>
                  <a:gd name="connsiteX162" fmla="*/ 633412 w 1624012"/>
                  <a:gd name="connsiteY162" fmla="*/ 1490663 h 1533525"/>
                  <a:gd name="connsiteX163" fmla="*/ 614362 w 1624012"/>
                  <a:gd name="connsiteY163" fmla="*/ 1504950 h 1533525"/>
                  <a:gd name="connsiteX164" fmla="*/ 581025 w 1624012"/>
                  <a:gd name="connsiteY164" fmla="*/ 1531144 h 1533525"/>
                  <a:gd name="connsiteX165" fmla="*/ 523875 w 1624012"/>
                  <a:gd name="connsiteY165" fmla="*/ 1502569 h 1533525"/>
                  <a:gd name="connsiteX166" fmla="*/ 514350 w 1624012"/>
                  <a:gd name="connsiteY166" fmla="*/ 1490663 h 1533525"/>
                  <a:gd name="connsiteX167" fmla="*/ 483393 w 1624012"/>
                  <a:gd name="connsiteY167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40656 w 1624012"/>
                  <a:gd name="connsiteY97" fmla="*/ 104775 h 1533525"/>
                  <a:gd name="connsiteX98" fmla="*/ 1490662 w 1624012"/>
                  <a:gd name="connsiteY98" fmla="*/ 142875 h 1533525"/>
                  <a:gd name="connsiteX99" fmla="*/ 1543050 w 1624012"/>
                  <a:gd name="connsiteY99" fmla="*/ 147638 h 1533525"/>
                  <a:gd name="connsiteX100" fmla="*/ 1547812 w 1624012"/>
                  <a:gd name="connsiteY100" fmla="*/ 121444 h 1533525"/>
                  <a:gd name="connsiteX101" fmla="*/ 1574006 w 1624012"/>
                  <a:gd name="connsiteY101" fmla="*/ 121444 h 1533525"/>
                  <a:gd name="connsiteX102" fmla="*/ 1624012 w 1624012"/>
                  <a:gd name="connsiteY102" fmla="*/ 109538 h 1533525"/>
                  <a:gd name="connsiteX103" fmla="*/ 1057275 w 1624012"/>
                  <a:gd name="connsiteY103" fmla="*/ 264319 h 1533525"/>
                  <a:gd name="connsiteX104" fmla="*/ 1062037 w 1624012"/>
                  <a:gd name="connsiteY104" fmla="*/ 304800 h 1533525"/>
                  <a:gd name="connsiteX105" fmla="*/ 995362 w 1624012"/>
                  <a:gd name="connsiteY105" fmla="*/ 352425 h 1533525"/>
                  <a:gd name="connsiteX106" fmla="*/ 973931 w 1624012"/>
                  <a:gd name="connsiteY106" fmla="*/ 383381 h 1533525"/>
                  <a:gd name="connsiteX107" fmla="*/ 1000125 w 1624012"/>
                  <a:gd name="connsiteY107" fmla="*/ 428625 h 1533525"/>
                  <a:gd name="connsiteX108" fmla="*/ 983456 w 1624012"/>
                  <a:gd name="connsiteY108" fmla="*/ 466725 h 1533525"/>
                  <a:gd name="connsiteX109" fmla="*/ 1000125 w 1624012"/>
                  <a:gd name="connsiteY109" fmla="*/ 519113 h 1533525"/>
                  <a:gd name="connsiteX110" fmla="*/ 1033462 w 1624012"/>
                  <a:gd name="connsiteY110" fmla="*/ 519113 h 1533525"/>
                  <a:gd name="connsiteX111" fmla="*/ 1019175 w 1624012"/>
                  <a:gd name="connsiteY111" fmla="*/ 552450 h 1533525"/>
                  <a:gd name="connsiteX112" fmla="*/ 1035843 w 1624012"/>
                  <a:gd name="connsiteY112" fmla="*/ 590550 h 1533525"/>
                  <a:gd name="connsiteX113" fmla="*/ 1035843 w 1624012"/>
                  <a:gd name="connsiteY113" fmla="*/ 607219 h 1533525"/>
                  <a:gd name="connsiteX114" fmla="*/ 1045368 w 1624012"/>
                  <a:gd name="connsiteY114" fmla="*/ 645319 h 1533525"/>
                  <a:gd name="connsiteX115" fmla="*/ 1064418 w 1624012"/>
                  <a:gd name="connsiteY115" fmla="*/ 645319 h 1533525"/>
                  <a:gd name="connsiteX116" fmla="*/ 1078706 w 1624012"/>
                  <a:gd name="connsiteY116" fmla="*/ 666750 h 1533525"/>
                  <a:gd name="connsiteX117" fmla="*/ 1085850 w 1624012"/>
                  <a:gd name="connsiteY117" fmla="*/ 688181 h 1533525"/>
                  <a:gd name="connsiteX118" fmla="*/ 1076325 w 1624012"/>
                  <a:gd name="connsiteY118" fmla="*/ 719138 h 1533525"/>
                  <a:gd name="connsiteX119" fmla="*/ 1021556 w 1624012"/>
                  <a:gd name="connsiteY119" fmla="*/ 714375 h 1533525"/>
                  <a:gd name="connsiteX120" fmla="*/ 1002506 w 1624012"/>
                  <a:gd name="connsiteY120" fmla="*/ 721519 h 1533525"/>
                  <a:gd name="connsiteX121" fmla="*/ 995362 w 1624012"/>
                  <a:gd name="connsiteY121" fmla="*/ 726281 h 1533525"/>
                  <a:gd name="connsiteX122" fmla="*/ 995362 w 1624012"/>
                  <a:gd name="connsiteY122" fmla="*/ 726281 h 1533525"/>
                  <a:gd name="connsiteX123" fmla="*/ 923925 w 1624012"/>
                  <a:gd name="connsiteY123" fmla="*/ 721519 h 1533525"/>
                  <a:gd name="connsiteX124" fmla="*/ 940593 w 1624012"/>
                  <a:gd name="connsiteY124" fmla="*/ 778669 h 1533525"/>
                  <a:gd name="connsiteX125" fmla="*/ 938212 w 1624012"/>
                  <a:gd name="connsiteY125" fmla="*/ 847725 h 1533525"/>
                  <a:gd name="connsiteX126" fmla="*/ 954881 w 1624012"/>
                  <a:gd name="connsiteY126" fmla="*/ 871538 h 1533525"/>
                  <a:gd name="connsiteX127" fmla="*/ 997743 w 1624012"/>
                  <a:gd name="connsiteY127" fmla="*/ 919163 h 1533525"/>
                  <a:gd name="connsiteX128" fmla="*/ 1012031 w 1624012"/>
                  <a:gd name="connsiteY128" fmla="*/ 954881 h 1533525"/>
                  <a:gd name="connsiteX129" fmla="*/ 1031081 w 1624012"/>
                  <a:gd name="connsiteY129" fmla="*/ 954881 h 1533525"/>
                  <a:gd name="connsiteX130" fmla="*/ 1071562 w 1624012"/>
                  <a:gd name="connsiteY130" fmla="*/ 940594 h 1533525"/>
                  <a:gd name="connsiteX131" fmla="*/ 1102518 w 1624012"/>
                  <a:gd name="connsiteY131" fmla="*/ 933450 h 1533525"/>
                  <a:gd name="connsiteX132" fmla="*/ 1159668 w 1624012"/>
                  <a:gd name="connsiteY132" fmla="*/ 997744 h 1533525"/>
                  <a:gd name="connsiteX133" fmla="*/ 1178718 w 1624012"/>
                  <a:gd name="connsiteY133" fmla="*/ 1052513 h 1533525"/>
                  <a:gd name="connsiteX134" fmla="*/ 1190625 w 1624012"/>
                  <a:gd name="connsiteY134" fmla="*/ 1081088 h 1533525"/>
                  <a:gd name="connsiteX135" fmla="*/ 1212056 w 1624012"/>
                  <a:gd name="connsiteY135" fmla="*/ 1109663 h 1533525"/>
                  <a:gd name="connsiteX136" fmla="*/ 1231106 w 1624012"/>
                  <a:gd name="connsiteY136" fmla="*/ 1102519 h 1533525"/>
                  <a:gd name="connsiteX137" fmla="*/ 1231106 w 1624012"/>
                  <a:gd name="connsiteY137" fmla="*/ 1131094 h 1533525"/>
                  <a:gd name="connsiteX138" fmla="*/ 1233487 w 1624012"/>
                  <a:gd name="connsiteY138" fmla="*/ 1145381 h 1533525"/>
                  <a:gd name="connsiteX139" fmla="*/ 1266825 w 1624012"/>
                  <a:gd name="connsiteY139" fmla="*/ 1181100 h 1533525"/>
                  <a:gd name="connsiteX140" fmla="*/ 1233487 w 1624012"/>
                  <a:gd name="connsiteY140" fmla="*/ 1181100 h 1533525"/>
                  <a:gd name="connsiteX141" fmla="*/ 1228725 w 1624012"/>
                  <a:gd name="connsiteY141" fmla="*/ 1223963 h 1533525"/>
                  <a:gd name="connsiteX142" fmla="*/ 1226343 w 1624012"/>
                  <a:gd name="connsiteY142" fmla="*/ 1243013 h 1533525"/>
                  <a:gd name="connsiteX143" fmla="*/ 1216818 w 1624012"/>
                  <a:gd name="connsiteY143" fmla="*/ 1264444 h 1533525"/>
                  <a:gd name="connsiteX144" fmla="*/ 1190625 w 1624012"/>
                  <a:gd name="connsiteY144" fmla="*/ 1238250 h 1533525"/>
                  <a:gd name="connsiteX145" fmla="*/ 1157287 w 1624012"/>
                  <a:gd name="connsiteY145" fmla="*/ 1209675 h 1533525"/>
                  <a:gd name="connsiteX146" fmla="*/ 1131093 w 1624012"/>
                  <a:gd name="connsiteY146" fmla="*/ 1185863 h 1533525"/>
                  <a:gd name="connsiteX147" fmla="*/ 1107281 w 1624012"/>
                  <a:gd name="connsiteY147" fmla="*/ 1219200 h 1533525"/>
                  <a:gd name="connsiteX148" fmla="*/ 1104900 w 1624012"/>
                  <a:gd name="connsiteY148" fmla="*/ 1264444 h 1533525"/>
                  <a:gd name="connsiteX149" fmla="*/ 1062037 w 1624012"/>
                  <a:gd name="connsiteY149" fmla="*/ 1259681 h 1533525"/>
                  <a:gd name="connsiteX150" fmla="*/ 1026318 w 1624012"/>
                  <a:gd name="connsiteY150" fmla="*/ 1288256 h 1533525"/>
                  <a:gd name="connsiteX151" fmla="*/ 1007268 w 1624012"/>
                  <a:gd name="connsiteY151" fmla="*/ 1240631 h 1533525"/>
                  <a:gd name="connsiteX152" fmla="*/ 947737 w 1624012"/>
                  <a:gd name="connsiteY152" fmla="*/ 1231106 h 1533525"/>
                  <a:gd name="connsiteX153" fmla="*/ 921543 w 1624012"/>
                  <a:gd name="connsiteY153" fmla="*/ 1297781 h 1533525"/>
                  <a:gd name="connsiteX154" fmla="*/ 885825 w 1624012"/>
                  <a:gd name="connsiteY154" fmla="*/ 1278731 h 1533525"/>
                  <a:gd name="connsiteX155" fmla="*/ 816768 w 1624012"/>
                  <a:gd name="connsiteY155" fmla="*/ 1295400 h 1533525"/>
                  <a:gd name="connsiteX156" fmla="*/ 757237 w 1624012"/>
                  <a:gd name="connsiteY156" fmla="*/ 1259681 h 1533525"/>
                  <a:gd name="connsiteX157" fmla="*/ 742950 w 1624012"/>
                  <a:gd name="connsiteY157" fmla="*/ 1312069 h 1533525"/>
                  <a:gd name="connsiteX158" fmla="*/ 704850 w 1624012"/>
                  <a:gd name="connsiteY158" fmla="*/ 1345406 h 1533525"/>
                  <a:gd name="connsiteX159" fmla="*/ 692943 w 1624012"/>
                  <a:gd name="connsiteY159" fmla="*/ 1366838 h 1533525"/>
                  <a:gd name="connsiteX160" fmla="*/ 671512 w 1624012"/>
                  <a:gd name="connsiteY160" fmla="*/ 1509713 h 1533525"/>
                  <a:gd name="connsiteX161" fmla="*/ 633412 w 1624012"/>
                  <a:gd name="connsiteY161" fmla="*/ 1490663 h 1533525"/>
                  <a:gd name="connsiteX162" fmla="*/ 614362 w 1624012"/>
                  <a:gd name="connsiteY162" fmla="*/ 1504950 h 1533525"/>
                  <a:gd name="connsiteX163" fmla="*/ 581025 w 1624012"/>
                  <a:gd name="connsiteY163" fmla="*/ 1531144 h 1533525"/>
                  <a:gd name="connsiteX164" fmla="*/ 523875 w 1624012"/>
                  <a:gd name="connsiteY164" fmla="*/ 1502569 h 1533525"/>
                  <a:gd name="connsiteX165" fmla="*/ 514350 w 1624012"/>
                  <a:gd name="connsiteY165" fmla="*/ 1490663 h 1533525"/>
                  <a:gd name="connsiteX166" fmla="*/ 483393 w 1624012"/>
                  <a:gd name="connsiteY166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90662 w 1624012"/>
                  <a:gd name="connsiteY97" fmla="*/ 142875 h 1533525"/>
                  <a:gd name="connsiteX98" fmla="*/ 1543050 w 1624012"/>
                  <a:gd name="connsiteY98" fmla="*/ 147638 h 1533525"/>
                  <a:gd name="connsiteX99" fmla="*/ 1547812 w 1624012"/>
                  <a:gd name="connsiteY99" fmla="*/ 121444 h 1533525"/>
                  <a:gd name="connsiteX100" fmla="*/ 1574006 w 1624012"/>
                  <a:gd name="connsiteY100" fmla="*/ 121444 h 1533525"/>
                  <a:gd name="connsiteX101" fmla="*/ 1624012 w 1624012"/>
                  <a:gd name="connsiteY101" fmla="*/ 109538 h 1533525"/>
                  <a:gd name="connsiteX102" fmla="*/ 1057275 w 1624012"/>
                  <a:gd name="connsiteY102" fmla="*/ 264319 h 1533525"/>
                  <a:gd name="connsiteX103" fmla="*/ 1062037 w 1624012"/>
                  <a:gd name="connsiteY103" fmla="*/ 304800 h 1533525"/>
                  <a:gd name="connsiteX104" fmla="*/ 995362 w 1624012"/>
                  <a:gd name="connsiteY104" fmla="*/ 352425 h 1533525"/>
                  <a:gd name="connsiteX105" fmla="*/ 973931 w 1624012"/>
                  <a:gd name="connsiteY105" fmla="*/ 383381 h 1533525"/>
                  <a:gd name="connsiteX106" fmla="*/ 1000125 w 1624012"/>
                  <a:gd name="connsiteY106" fmla="*/ 428625 h 1533525"/>
                  <a:gd name="connsiteX107" fmla="*/ 983456 w 1624012"/>
                  <a:gd name="connsiteY107" fmla="*/ 466725 h 1533525"/>
                  <a:gd name="connsiteX108" fmla="*/ 1000125 w 1624012"/>
                  <a:gd name="connsiteY108" fmla="*/ 519113 h 1533525"/>
                  <a:gd name="connsiteX109" fmla="*/ 1033462 w 1624012"/>
                  <a:gd name="connsiteY109" fmla="*/ 519113 h 1533525"/>
                  <a:gd name="connsiteX110" fmla="*/ 1019175 w 1624012"/>
                  <a:gd name="connsiteY110" fmla="*/ 552450 h 1533525"/>
                  <a:gd name="connsiteX111" fmla="*/ 1035843 w 1624012"/>
                  <a:gd name="connsiteY111" fmla="*/ 590550 h 1533525"/>
                  <a:gd name="connsiteX112" fmla="*/ 1035843 w 1624012"/>
                  <a:gd name="connsiteY112" fmla="*/ 607219 h 1533525"/>
                  <a:gd name="connsiteX113" fmla="*/ 1045368 w 1624012"/>
                  <a:gd name="connsiteY113" fmla="*/ 645319 h 1533525"/>
                  <a:gd name="connsiteX114" fmla="*/ 1064418 w 1624012"/>
                  <a:gd name="connsiteY114" fmla="*/ 645319 h 1533525"/>
                  <a:gd name="connsiteX115" fmla="*/ 1078706 w 1624012"/>
                  <a:gd name="connsiteY115" fmla="*/ 666750 h 1533525"/>
                  <a:gd name="connsiteX116" fmla="*/ 1085850 w 1624012"/>
                  <a:gd name="connsiteY116" fmla="*/ 688181 h 1533525"/>
                  <a:gd name="connsiteX117" fmla="*/ 1076325 w 1624012"/>
                  <a:gd name="connsiteY117" fmla="*/ 719138 h 1533525"/>
                  <a:gd name="connsiteX118" fmla="*/ 1021556 w 1624012"/>
                  <a:gd name="connsiteY118" fmla="*/ 714375 h 1533525"/>
                  <a:gd name="connsiteX119" fmla="*/ 1002506 w 1624012"/>
                  <a:gd name="connsiteY119" fmla="*/ 721519 h 1533525"/>
                  <a:gd name="connsiteX120" fmla="*/ 995362 w 1624012"/>
                  <a:gd name="connsiteY120" fmla="*/ 726281 h 1533525"/>
                  <a:gd name="connsiteX121" fmla="*/ 995362 w 1624012"/>
                  <a:gd name="connsiteY121" fmla="*/ 726281 h 1533525"/>
                  <a:gd name="connsiteX122" fmla="*/ 923925 w 1624012"/>
                  <a:gd name="connsiteY122" fmla="*/ 721519 h 1533525"/>
                  <a:gd name="connsiteX123" fmla="*/ 940593 w 1624012"/>
                  <a:gd name="connsiteY123" fmla="*/ 778669 h 1533525"/>
                  <a:gd name="connsiteX124" fmla="*/ 938212 w 1624012"/>
                  <a:gd name="connsiteY124" fmla="*/ 847725 h 1533525"/>
                  <a:gd name="connsiteX125" fmla="*/ 954881 w 1624012"/>
                  <a:gd name="connsiteY125" fmla="*/ 871538 h 1533525"/>
                  <a:gd name="connsiteX126" fmla="*/ 997743 w 1624012"/>
                  <a:gd name="connsiteY126" fmla="*/ 919163 h 1533525"/>
                  <a:gd name="connsiteX127" fmla="*/ 1012031 w 1624012"/>
                  <a:gd name="connsiteY127" fmla="*/ 954881 h 1533525"/>
                  <a:gd name="connsiteX128" fmla="*/ 1031081 w 1624012"/>
                  <a:gd name="connsiteY128" fmla="*/ 954881 h 1533525"/>
                  <a:gd name="connsiteX129" fmla="*/ 1071562 w 1624012"/>
                  <a:gd name="connsiteY129" fmla="*/ 940594 h 1533525"/>
                  <a:gd name="connsiteX130" fmla="*/ 1102518 w 1624012"/>
                  <a:gd name="connsiteY130" fmla="*/ 933450 h 1533525"/>
                  <a:gd name="connsiteX131" fmla="*/ 1159668 w 1624012"/>
                  <a:gd name="connsiteY131" fmla="*/ 997744 h 1533525"/>
                  <a:gd name="connsiteX132" fmla="*/ 1178718 w 1624012"/>
                  <a:gd name="connsiteY132" fmla="*/ 1052513 h 1533525"/>
                  <a:gd name="connsiteX133" fmla="*/ 1190625 w 1624012"/>
                  <a:gd name="connsiteY133" fmla="*/ 1081088 h 1533525"/>
                  <a:gd name="connsiteX134" fmla="*/ 1212056 w 1624012"/>
                  <a:gd name="connsiteY134" fmla="*/ 1109663 h 1533525"/>
                  <a:gd name="connsiteX135" fmla="*/ 1231106 w 1624012"/>
                  <a:gd name="connsiteY135" fmla="*/ 1102519 h 1533525"/>
                  <a:gd name="connsiteX136" fmla="*/ 1231106 w 1624012"/>
                  <a:gd name="connsiteY136" fmla="*/ 1131094 h 1533525"/>
                  <a:gd name="connsiteX137" fmla="*/ 1233487 w 1624012"/>
                  <a:gd name="connsiteY137" fmla="*/ 1145381 h 1533525"/>
                  <a:gd name="connsiteX138" fmla="*/ 1266825 w 1624012"/>
                  <a:gd name="connsiteY138" fmla="*/ 1181100 h 1533525"/>
                  <a:gd name="connsiteX139" fmla="*/ 1233487 w 1624012"/>
                  <a:gd name="connsiteY139" fmla="*/ 1181100 h 1533525"/>
                  <a:gd name="connsiteX140" fmla="*/ 1228725 w 1624012"/>
                  <a:gd name="connsiteY140" fmla="*/ 1223963 h 1533525"/>
                  <a:gd name="connsiteX141" fmla="*/ 1226343 w 1624012"/>
                  <a:gd name="connsiteY141" fmla="*/ 1243013 h 1533525"/>
                  <a:gd name="connsiteX142" fmla="*/ 1216818 w 1624012"/>
                  <a:gd name="connsiteY142" fmla="*/ 1264444 h 1533525"/>
                  <a:gd name="connsiteX143" fmla="*/ 1190625 w 1624012"/>
                  <a:gd name="connsiteY143" fmla="*/ 1238250 h 1533525"/>
                  <a:gd name="connsiteX144" fmla="*/ 1157287 w 1624012"/>
                  <a:gd name="connsiteY144" fmla="*/ 1209675 h 1533525"/>
                  <a:gd name="connsiteX145" fmla="*/ 1131093 w 1624012"/>
                  <a:gd name="connsiteY145" fmla="*/ 1185863 h 1533525"/>
                  <a:gd name="connsiteX146" fmla="*/ 1107281 w 1624012"/>
                  <a:gd name="connsiteY146" fmla="*/ 1219200 h 1533525"/>
                  <a:gd name="connsiteX147" fmla="*/ 1104900 w 1624012"/>
                  <a:gd name="connsiteY147" fmla="*/ 1264444 h 1533525"/>
                  <a:gd name="connsiteX148" fmla="*/ 1062037 w 1624012"/>
                  <a:gd name="connsiteY148" fmla="*/ 1259681 h 1533525"/>
                  <a:gd name="connsiteX149" fmla="*/ 1026318 w 1624012"/>
                  <a:gd name="connsiteY149" fmla="*/ 1288256 h 1533525"/>
                  <a:gd name="connsiteX150" fmla="*/ 1007268 w 1624012"/>
                  <a:gd name="connsiteY150" fmla="*/ 1240631 h 1533525"/>
                  <a:gd name="connsiteX151" fmla="*/ 947737 w 1624012"/>
                  <a:gd name="connsiteY151" fmla="*/ 1231106 h 1533525"/>
                  <a:gd name="connsiteX152" fmla="*/ 921543 w 1624012"/>
                  <a:gd name="connsiteY152" fmla="*/ 1297781 h 1533525"/>
                  <a:gd name="connsiteX153" fmla="*/ 885825 w 1624012"/>
                  <a:gd name="connsiteY153" fmla="*/ 1278731 h 1533525"/>
                  <a:gd name="connsiteX154" fmla="*/ 816768 w 1624012"/>
                  <a:gd name="connsiteY154" fmla="*/ 1295400 h 1533525"/>
                  <a:gd name="connsiteX155" fmla="*/ 757237 w 1624012"/>
                  <a:gd name="connsiteY155" fmla="*/ 1259681 h 1533525"/>
                  <a:gd name="connsiteX156" fmla="*/ 742950 w 1624012"/>
                  <a:gd name="connsiteY156" fmla="*/ 1312069 h 1533525"/>
                  <a:gd name="connsiteX157" fmla="*/ 704850 w 1624012"/>
                  <a:gd name="connsiteY157" fmla="*/ 1345406 h 1533525"/>
                  <a:gd name="connsiteX158" fmla="*/ 692943 w 1624012"/>
                  <a:gd name="connsiteY158" fmla="*/ 1366838 h 1533525"/>
                  <a:gd name="connsiteX159" fmla="*/ 671512 w 1624012"/>
                  <a:gd name="connsiteY159" fmla="*/ 1509713 h 1533525"/>
                  <a:gd name="connsiteX160" fmla="*/ 633412 w 1624012"/>
                  <a:gd name="connsiteY160" fmla="*/ 1490663 h 1533525"/>
                  <a:gd name="connsiteX161" fmla="*/ 614362 w 1624012"/>
                  <a:gd name="connsiteY161" fmla="*/ 1504950 h 1533525"/>
                  <a:gd name="connsiteX162" fmla="*/ 581025 w 1624012"/>
                  <a:gd name="connsiteY162" fmla="*/ 1531144 h 1533525"/>
                  <a:gd name="connsiteX163" fmla="*/ 523875 w 1624012"/>
                  <a:gd name="connsiteY163" fmla="*/ 1502569 h 1533525"/>
                  <a:gd name="connsiteX164" fmla="*/ 514350 w 1624012"/>
                  <a:gd name="connsiteY164" fmla="*/ 1490663 h 1533525"/>
                  <a:gd name="connsiteX165" fmla="*/ 483393 w 1624012"/>
                  <a:gd name="connsiteY165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543050 w 1624012"/>
                  <a:gd name="connsiteY97" fmla="*/ 147638 h 1533525"/>
                  <a:gd name="connsiteX98" fmla="*/ 1547812 w 1624012"/>
                  <a:gd name="connsiteY98" fmla="*/ 121444 h 1533525"/>
                  <a:gd name="connsiteX99" fmla="*/ 1574006 w 1624012"/>
                  <a:gd name="connsiteY99" fmla="*/ 121444 h 1533525"/>
                  <a:gd name="connsiteX100" fmla="*/ 1624012 w 1624012"/>
                  <a:gd name="connsiteY100" fmla="*/ 109538 h 1533525"/>
                  <a:gd name="connsiteX101" fmla="*/ 1057275 w 1624012"/>
                  <a:gd name="connsiteY101" fmla="*/ 264319 h 1533525"/>
                  <a:gd name="connsiteX102" fmla="*/ 1062037 w 1624012"/>
                  <a:gd name="connsiteY102" fmla="*/ 304800 h 1533525"/>
                  <a:gd name="connsiteX103" fmla="*/ 995362 w 1624012"/>
                  <a:gd name="connsiteY103" fmla="*/ 352425 h 1533525"/>
                  <a:gd name="connsiteX104" fmla="*/ 973931 w 1624012"/>
                  <a:gd name="connsiteY104" fmla="*/ 383381 h 1533525"/>
                  <a:gd name="connsiteX105" fmla="*/ 1000125 w 1624012"/>
                  <a:gd name="connsiteY105" fmla="*/ 428625 h 1533525"/>
                  <a:gd name="connsiteX106" fmla="*/ 983456 w 1624012"/>
                  <a:gd name="connsiteY106" fmla="*/ 466725 h 1533525"/>
                  <a:gd name="connsiteX107" fmla="*/ 1000125 w 1624012"/>
                  <a:gd name="connsiteY107" fmla="*/ 519113 h 1533525"/>
                  <a:gd name="connsiteX108" fmla="*/ 1033462 w 1624012"/>
                  <a:gd name="connsiteY108" fmla="*/ 519113 h 1533525"/>
                  <a:gd name="connsiteX109" fmla="*/ 1019175 w 1624012"/>
                  <a:gd name="connsiteY109" fmla="*/ 552450 h 1533525"/>
                  <a:gd name="connsiteX110" fmla="*/ 1035843 w 1624012"/>
                  <a:gd name="connsiteY110" fmla="*/ 590550 h 1533525"/>
                  <a:gd name="connsiteX111" fmla="*/ 1035843 w 1624012"/>
                  <a:gd name="connsiteY111" fmla="*/ 607219 h 1533525"/>
                  <a:gd name="connsiteX112" fmla="*/ 1045368 w 1624012"/>
                  <a:gd name="connsiteY112" fmla="*/ 645319 h 1533525"/>
                  <a:gd name="connsiteX113" fmla="*/ 1064418 w 1624012"/>
                  <a:gd name="connsiteY113" fmla="*/ 645319 h 1533525"/>
                  <a:gd name="connsiteX114" fmla="*/ 1078706 w 1624012"/>
                  <a:gd name="connsiteY114" fmla="*/ 666750 h 1533525"/>
                  <a:gd name="connsiteX115" fmla="*/ 1085850 w 1624012"/>
                  <a:gd name="connsiteY115" fmla="*/ 688181 h 1533525"/>
                  <a:gd name="connsiteX116" fmla="*/ 1076325 w 1624012"/>
                  <a:gd name="connsiteY116" fmla="*/ 719138 h 1533525"/>
                  <a:gd name="connsiteX117" fmla="*/ 1021556 w 1624012"/>
                  <a:gd name="connsiteY117" fmla="*/ 714375 h 1533525"/>
                  <a:gd name="connsiteX118" fmla="*/ 1002506 w 1624012"/>
                  <a:gd name="connsiteY118" fmla="*/ 721519 h 1533525"/>
                  <a:gd name="connsiteX119" fmla="*/ 995362 w 1624012"/>
                  <a:gd name="connsiteY119" fmla="*/ 726281 h 1533525"/>
                  <a:gd name="connsiteX120" fmla="*/ 995362 w 1624012"/>
                  <a:gd name="connsiteY120" fmla="*/ 726281 h 1533525"/>
                  <a:gd name="connsiteX121" fmla="*/ 923925 w 1624012"/>
                  <a:gd name="connsiteY121" fmla="*/ 721519 h 1533525"/>
                  <a:gd name="connsiteX122" fmla="*/ 940593 w 1624012"/>
                  <a:gd name="connsiteY122" fmla="*/ 778669 h 1533525"/>
                  <a:gd name="connsiteX123" fmla="*/ 938212 w 1624012"/>
                  <a:gd name="connsiteY123" fmla="*/ 847725 h 1533525"/>
                  <a:gd name="connsiteX124" fmla="*/ 954881 w 1624012"/>
                  <a:gd name="connsiteY124" fmla="*/ 871538 h 1533525"/>
                  <a:gd name="connsiteX125" fmla="*/ 997743 w 1624012"/>
                  <a:gd name="connsiteY125" fmla="*/ 919163 h 1533525"/>
                  <a:gd name="connsiteX126" fmla="*/ 1012031 w 1624012"/>
                  <a:gd name="connsiteY126" fmla="*/ 954881 h 1533525"/>
                  <a:gd name="connsiteX127" fmla="*/ 1031081 w 1624012"/>
                  <a:gd name="connsiteY127" fmla="*/ 954881 h 1533525"/>
                  <a:gd name="connsiteX128" fmla="*/ 1071562 w 1624012"/>
                  <a:gd name="connsiteY128" fmla="*/ 940594 h 1533525"/>
                  <a:gd name="connsiteX129" fmla="*/ 1102518 w 1624012"/>
                  <a:gd name="connsiteY129" fmla="*/ 933450 h 1533525"/>
                  <a:gd name="connsiteX130" fmla="*/ 1159668 w 1624012"/>
                  <a:gd name="connsiteY130" fmla="*/ 997744 h 1533525"/>
                  <a:gd name="connsiteX131" fmla="*/ 1178718 w 1624012"/>
                  <a:gd name="connsiteY131" fmla="*/ 1052513 h 1533525"/>
                  <a:gd name="connsiteX132" fmla="*/ 1190625 w 1624012"/>
                  <a:gd name="connsiteY132" fmla="*/ 1081088 h 1533525"/>
                  <a:gd name="connsiteX133" fmla="*/ 1212056 w 1624012"/>
                  <a:gd name="connsiteY133" fmla="*/ 1109663 h 1533525"/>
                  <a:gd name="connsiteX134" fmla="*/ 1231106 w 1624012"/>
                  <a:gd name="connsiteY134" fmla="*/ 1102519 h 1533525"/>
                  <a:gd name="connsiteX135" fmla="*/ 1231106 w 1624012"/>
                  <a:gd name="connsiteY135" fmla="*/ 1131094 h 1533525"/>
                  <a:gd name="connsiteX136" fmla="*/ 1233487 w 1624012"/>
                  <a:gd name="connsiteY136" fmla="*/ 1145381 h 1533525"/>
                  <a:gd name="connsiteX137" fmla="*/ 1266825 w 1624012"/>
                  <a:gd name="connsiteY137" fmla="*/ 1181100 h 1533525"/>
                  <a:gd name="connsiteX138" fmla="*/ 1233487 w 1624012"/>
                  <a:gd name="connsiteY138" fmla="*/ 1181100 h 1533525"/>
                  <a:gd name="connsiteX139" fmla="*/ 1228725 w 1624012"/>
                  <a:gd name="connsiteY139" fmla="*/ 1223963 h 1533525"/>
                  <a:gd name="connsiteX140" fmla="*/ 1226343 w 1624012"/>
                  <a:gd name="connsiteY140" fmla="*/ 1243013 h 1533525"/>
                  <a:gd name="connsiteX141" fmla="*/ 1216818 w 1624012"/>
                  <a:gd name="connsiteY141" fmla="*/ 1264444 h 1533525"/>
                  <a:gd name="connsiteX142" fmla="*/ 1190625 w 1624012"/>
                  <a:gd name="connsiteY142" fmla="*/ 1238250 h 1533525"/>
                  <a:gd name="connsiteX143" fmla="*/ 1157287 w 1624012"/>
                  <a:gd name="connsiteY143" fmla="*/ 1209675 h 1533525"/>
                  <a:gd name="connsiteX144" fmla="*/ 1131093 w 1624012"/>
                  <a:gd name="connsiteY144" fmla="*/ 1185863 h 1533525"/>
                  <a:gd name="connsiteX145" fmla="*/ 1107281 w 1624012"/>
                  <a:gd name="connsiteY145" fmla="*/ 1219200 h 1533525"/>
                  <a:gd name="connsiteX146" fmla="*/ 1104900 w 1624012"/>
                  <a:gd name="connsiteY146" fmla="*/ 1264444 h 1533525"/>
                  <a:gd name="connsiteX147" fmla="*/ 1062037 w 1624012"/>
                  <a:gd name="connsiteY147" fmla="*/ 1259681 h 1533525"/>
                  <a:gd name="connsiteX148" fmla="*/ 1026318 w 1624012"/>
                  <a:gd name="connsiteY148" fmla="*/ 1288256 h 1533525"/>
                  <a:gd name="connsiteX149" fmla="*/ 1007268 w 1624012"/>
                  <a:gd name="connsiteY149" fmla="*/ 1240631 h 1533525"/>
                  <a:gd name="connsiteX150" fmla="*/ 947737 w 1624012"/>
                  <a:gd name="connsiteY150" fmla="*/ 1231106 h 1533525"/>
                  <a:gd name="connsiteX151" fmla="*/ 921543 w 1624012"/>
                  <a:gd name="connsiteY151" fmla="*/ 1297781 h 1533525"/>
                  <a:gd name="connsiteX152" fmla="*/ 885825 w 1624012"/>
                  <a:gd name="connsiteY152" fmla="*/ 1278731 h 1533525"/>
                  <a:gd name="connsiteX153" fmla="*/ 816768 w 1624012"/>
                  <a:gd name="connsiteY153" fmla="*/ 1295400 h 1533525"/>
                  <a:gd name="connsiteX154" fmla="*/ 757237 w 1624012"/>
                  <a:gd name="connsiteY154" fmla="*/ 1259681 h 1533525"/>
                  <a:gd name="connsiteX155" fmla="*/ 742950 w 1624012"/>
                  <a:gd name="connsiteY155" fmla="*/ 1312069 h 1533525"/>
                  <a:gd name="connsiteX156" fmla="*/ 704850 w 1624012"/>
                  <a:gd name="connsiteY156" fmla="*/ 1345406 h 1533525"/>
                  <a:gd name="connsiteX157" fmla="*/ 692943 w 1624012"/>
                  <a:gd name="connsiteY157" fmla="*/ 1366838 h 1533525"/>
                  <a:gd name="connsiteX158" fmla="*/ 671512 w 1624012"/>
                  <a:gd name="connsiteY158" fmla="*/ 1509713 h 1533525"/>
                  <a:gd name="connsiteX159" fmla="*/ 633412 w 1624012"/>
                  <a:gd name="connsiteY159" fmla="*/ 1490663 h 1533525"/>
                  <a:gd name="connsiteX160" fmla="*/ 614362 w 1624012"/>
                  <a:gd name="connsiteY160" fmla="*/ 1504950 h 1533525"/>
                  <a:gd name="connsiteX161" fmla="*/ 581025 w 1624012"/>
                  <a:gd name="connsiteY161" fmla="*/ 1531144 h 1533525"/>
                  <a:gd name="connsiteX162" fmla="*/ 523875 w 1624012"/>
                  <a:gd name="connsiteY162" fmla="*/ 1502569 h 1533525"/>
                  <a:gd name="connsiteX163" fmla="*/ 514350 w 1624012"/>
                  <a:gd name="connsiteY163" fmla="*/ 1490663 h 1533525"/>
                  <a:gd name="connsiteX164" fmla="*/ 483393 w 1624012"/>
                  <a:gd name="connsiteY164" fmla="*/ 1533525 h 1533525"/>
                  <a:gd name="connsiteX0" fmla="*/ 483393 w 1574006"/>
                  <a:gd name="connsiteY0" fmla="*/ 1533525 h 1533525"/>
                  <a:gd name="connsiteX1" fmla="*/ 459581 w 1574006"/>
                  <a:gd name="connsiteY1" fmla="*/ 1481138 h 1533525"/>
                  <a:gd name="connsiteX2" fmla="*/ 438150 w 1574006"/>
                  <a:gd name="connsiteY2" fmla="*/ 1471613 h 1533525"/>
                  <a:gd name="connsiteX3" fmla="*/ 400050 w 1574006"/>
                  <a:gd name="connsiteY3" fmla="*/ 1485900 h 1533525"/>
                  <a:gd name="connsiteX4" fmla="*/ 338137 w 1574006"/>
                  <a:gd name="connsiteY4" fmla="*/ 1490663 h 1533525"/>
                  <a:gd name="connsiteX5" fmla="*/ 330993 w 1574006"/>
                  <a:gd name="connsiteY5" fmla="*/ 1497806 h 1533525"/>
                  <a:gd name="connsiteX6" fmla="*/ 271462 w 1574006"/>
                  <a:gd name="connsiteY6" fmla="*/ 1471613 h 1533525"/>
                  <a:gd name="connsiteX7" fmla="*/ 219075 w 1574006"/>
                  <a:gd name="connsiteY7" fmla="*/ 1443038 h 1533525"/>
                  <a:gd name="connsiteX8" fmla="*/ 138112 w 1574006"/>
                  <a:gd name="connsiteY8" fmla="*/ 1402556 h 1533525"/>
                  <a:gd name="connsiteX9" fmla="*/ 95250 w 1574006"/>
                  <a:gd name="connsiteY9" fmla="*/ 1316831 h 1533525"/>
                  <a:gd name="connsiteX10" fmla="*/ 80962 w 1574006"/>
                  <a:gd name="connsiteY10" fmla="*/ 1288256 h 1533525"/>
                  <a:gd name="connsiteX11" fmla="*/ 104775 w 1574006"/>
                  <a:gd name="connsiteY11" fmla="*/ 1266825 h 1533525"/>
                  <a:gd name="connsiteX12" fmla="*/ 76200 w 1574006"/>
                  <a:gd name="connsiteY12" fmla="*/ 1212056 h 1533525"/>
                  <a:gd name="connsiteX13" fmla="*/ 109537 w 1574006"/>
                  <a:gd name="connsiteY13" fmla="*/ 1193006 h 1533525"/>
                  <a:gd name="connsiteX14" fmla="*/ 140493 w 1574006"/>
                  <a:gd name="connsiteY14" fmla="*/ 1143000 h 1533525"/>
                  <a:gd name="connsiteX15" fmla="*/ 123825 w 1574006"/>
                  <a:gd name="connsiteY15" fmla="*/ 1107281 h 1533525"/>
                  <a:gd name="connsiteX16" fmla="*/ 178593 w 1574006"/>
                  <a:gd name="connsiteY16" fmla="*/ 1107281 h 1533525"/>
                  <a:gd name="connsiteX17" fmla="*/ 192881 w 1574006"/>
                  <a:gd name="connsiteY17" fmla="*/ 1109663 h 1533525"/>
                  <a:gd name="connsiteX18" fmla="*/ 159543 w 1574006"/>
                  <a:gd name="connsiteY18" fmla="*/ 1064419 h 1533525"/>
                  <a:gd name="connsiteX19" fmla="*/ 169068 w 1574006"/>
                  <a:gd name="connsiteY19" fmla="*/ 1014413 h 1533525"/>
                  <a:gd name="connsiteX20" fmla="*/ 123825 w 1574006"/>
                  <a:gd name="connsiteY20" fmla="*/ 997744 h 1533525"/>
                  <a:gd name="connsiteX21" fmla="*/ 61912 w 1574006"/>
                  <a:gd name="connsiteY21" fmla="*/ 954881 h 1533525"/>
                  <a:gd name="connsiteX22" fmla="*/ 45243 w 1574006"/>
                  <a:gd name="connsiteY22" fmla="*/ 938213 h 1533525"/>
                  <a:gd name="connsiteX23" fmla="*/ 64293 w 1574006"/>
                  <a:gd name="connsiteY23" fmla="*/ 909638 h 1533525"/>
                  <a:gd name="connsiteX24" fmla="*/ 47625 w 1574006"/>
                  <a:gd name="connsiteY24" fmla="*/ 897731 h 1533525"/>
                  <a:gd name="connsiteX25" fmla="*/ 47625 w 1574006"/>
                  <a:gd name="connsiteY25" fmla="*/ 881063 h 1533525"/>
                  <a:gd name="connsiteX26" fmla="*/ 26193 w 1574006"/>
                  <a:gd name="connsiteY26" fmla="*/ 881063 h 1533525"/>
                  <a:gd name="connsiteX27" fmla="*/ 7143 w 1574006"/>
                  <a:gd name="connsiteY27" fmla="*/ 847725 h 1533525"/>
                  <a:gd name="connsiteX28" fmla="*/ 0 w 1574006"/>
                  <a:gd name="connsiteY28" fmla="*/ 816769 h 1533525"/>
                  <a:gd name="connsiteX29" fmla="*/ 54768 w 1574006"/>
                  <a:gd name="connsiteY29" fmla="*/ 800100 h 1533525"/>
                  <a:gd name="connsiteX30" fmla="*/ 76200 w 1574006"/>
                  <a:gd name="connsiteY30" fmla="*/ 788194 h 1533525"/>
                  <a:gd name="connsiteX31" fmla="*/ 128587 w 1574006"/>
                  <a:gd name="connsiteY31" fmla="*/ 821531 h 1533525"/>
                  <a:gd name="connsiteX32" fmla="*/ 126206 w 1574006"/>
                  <a:gd name="connsiteY32" fmla="*/ 800100 h 1533525"/>
                  <a:gd name="connsiteX33" fmla="*/ 164306 w 1574006"/>
                  <a:gd name="connsiteY33" fmla="*/ 795338 h 1533525"/>
                  <a:gd name="connsiteX34" fmla="*/ 173831 w 1574006"/>
                  <a:gd name="connsiteY34" fmla="*/ 759619 h 1533525"/>
                  <a:gd name="connsiteX35" fmla="*/ 235743 w 1574006"/>
                  <a:gd name="connsiteY35" fmla="*/ 764381 h 1533525"/>
                  <a:gd name="connsiteX36" fmla="*/ 235743 w 1574006"/>
                  <a:gd name="connsiteY36" fmla="*/ 764381 h 1533525"/>
                  <a:gd name="connsiteX37" fmla="*/ 245268 w 1574006"/>
                  <a:gd name="connsiteY37" fmla="*/ 704850 h 1533525"/>
                  <a:gd name="connsiteX38" fmla="*/ 276225 w 1574006"/>
                  <a:gd name="connsiteY38" fmla="*/ 666750 h 1533525"/>
                  <a:gd name="connsiteX39" fmla="*/ 292893 w 1574006"/>
                  <a:gd name="connsiteY39" fmla="*/ 638175 h 1533525"/>
                  <a:gd name="connsiteX40" fmla="*/ 245268 w 1574006"/>
                  <a:gd name="connsiteY40" fmla="*/ 602456 h 1533525"/>
                  <a:gd name="connsiteX41" fmla="*/ 264318 w 1574006"/>
                  <a:gd name="connsiteY41" fmla="*/ 585788 h 1533525"/>
                  <a:gd name="connsiteX42" fmla="*/ 311943 w 1574006"/>
                  <a:gd name="connsiteY42" fmla="*/ 602456 h 1533525"/>
                  <a:gd name="connsiteX43" fmla="*/ 369093 w 1574006"/>
                  <a:gd name="connsiteY43" fmla="*/ 573881 h 1533525"/>
                  <a:gd name="connsiteX44" fmla="*/ 457200 w 1574006"/>
                  <a:gd name="connsiteY44" fmla="*/ 545306 h 1533525"/>
                  <a:gd name="connsiteX45" fmla="*/ 538162 w 1574006"/>
                  <a:gd name="connsiteY45" fmla="*/ 578644 h 1533525"/>
                  <a:gd name="connsiteX46" fmla="*/ 614362 w 1574006"/>
                  <a:gd name="connsiteY46" fmla="*/ 550069 h 1533525"/>
                  <a:gd name="connsiteX47" fmla="*/ 650081 w 1574006"/>
                  <a:gd name="connsiteY47" fmla="*/ 552450 h 1533525"/>
                  <a:gd name="connsiteX48" fmla="*/ 654843 w 1574006"/>
                  <a:gd name="connsiteY48" fmla="*/ 523875 h 1533525"/>
                  <a:gd name="connsiteX49" fmla="*/ 654843 w 1574006"/>
                  <a:gd name="connsiteY49" fmla="*/ 490538 h 1533525"/>
                  <a:gd name="connsiteX50" fmla="*/ 669131 w 1574006"/>
                  <a:gd name="connsiteY50" fmla="*/ 469106 h 1533525"/>
                  <a:gd name="connsiteX51" fmla="*/ 652462 w 1574006"/>
                  <a:gd name="connsiteY51" fmla="*/ 450056 h 1533525"/>
                  <a:gd name="connsiteX52" fmla="*/ 642937 w 1574006"/>
                  <a:gd name="connsiteY52" fmla="*/ 411956 h 1533525"/>
                  <a:gd name="connsiteX53" fmla="*/ 642937 w 1574006"/>
                  <a:gd name="connsiteY53" fmla="*/ 330994 h 1533525"/>
                  <a:gd name="connsiteX54" fmla="*/ 633412 w 1574006"/>
                  <a:gd name="connsiteY54" fmla="*/ 319088 h 1533525"/>
                  <a:gd name="connsiteX55" fmla="*/ 664368 w 1574006"/>
                  <a:gd name="connsiteY55" fmla="*/ 285750 h 1533525"/>
                  <a:gd name="connsiteX56" fmla="*/ 721518 w 1574006"/>
                  <a:gd name="connsiteY56" fmla="*/ 292894 h 1533525"/>
                  <a:gd name="connsiteX57" fmla="*/ 733425 w 1574006"/>
                  <a:gd name="connsiteY57" fmla="*/ 264319 h 1533525"/>
                  <a:gd name="connsiteX58" fmla="*/ 731043 w 1574006"/>
                  <a:gd name="connsiteY58" fmla="*/ 228600 h 1533525"/>
                  <a:gd name="connsiteX59" fmla="*/ 790575 w 1574006"/>
                  <a:gd name="connsiteY59" fmla="*/ 192881 h 1533525"/>
                  <a:gd name="connsiteX60" fmla="*/ 804862 w 1574006"/>
                  <a:gd name="connsiteY60" fmla="*/ 166688 h 1533525"/>
                  <a:gd name="connsiteX61" fmla="*/ 778668 w 1574006"/>
                  <a:gd name="connsiteY61" fmla="*/ 128588 h 1533525"/>
                  <a:gd name="connsiteX62" fmla="*/ 771525 w 1574006"/>
                  <a:gd name="connsiteY62" fmla="*/ 104775 h 1533525"/>
                  <a:gd name="connsiteX63" fmla="*/ 823912 w 1574006"/>
                  <a:gd name="connsiteY63" fmla="*/ 97631 h 1533525"/>
                  <a:gd name="connsiteX64" fmla="*/ 869156 w 1574006"/>
                  <a:gd name="connsiteY64" fmla="*/ 52388 h 1533525"/>
                  <a:gd name="connsiteX65" fmla="*/ 890587 w 1574006"/>
                  <a:gd name="connsiteY65" fmla="*/ 23813 h 1533525"/>
                  <a:gd name="connsiteX66" fmla="*/ 923925 w 1574006"/>
                  <a:gd name="connsiteY66" fmla="*/ 9525 h 1533525"/>
                  <a:gd name="connsiteX67" fmla="*/ 971550 w 1574006"/>
                  <a:gd name="connsiteY67" fmla="*/ 0 h 1533525"/>
                  <a:gd name="connsiteX68" fmla="*/ 971550 w 1574006"/>
                  <a:gd name="connsiteY68" fmla="*/ 40481 h 1533525"/>
                  <a:gd name="connsiteX69" fmla="*/ 950118 w 1574006"/>
                  <a:gd name="connsiteY69" fmla="*/ 80963 h 1533525"/>
                  <a:gd name="connsiteX70" fmla="*/ 950118 w 1574006"/>
                  <a:gd name="connsiteY70" fmla="*/ 140494 h 1533525"/>
                  <a:gd name="connsiteX71" fmla="*/ 969168 w 1574006"/>
                  <a:gd name="connsiteY71" fmla="*/ 161925 h 1533525"/>
                  <a:gd name="connsiteX72" fmla="*/ 1007268 w 1574006"/>
                  <a:gd name="connsiteY72" fmla="*/ 188119 h 1533525"/>
                  <a:gd name="connsiteX73" fmla="*/ 1019175 w 1574006"/>
                  <a:gd name="connsiteY73" fmla="*/ 216694 h 1533525"/>
                  <a:gd name="connsiteX74" fmla="*/ 1004887 w 1574006"/>
                  <a:gd name="connsiteY74" fmla="*/ 226219 h 1533525"/>
                  <a:gd name="connsiteX75" fmla="*/ 1057275 w 1574006"/>
                  <a:gd name="connsiteY75" fmla="*/ 250031 h 1533525"/>
                  <a:gd name="connsiteX76" fmla="*/ 1073943 w 1574006"/>
                  <a:gd name="connsiteY76" fmla="*/ 228600 h 1533525"/>
                  <a:gd name="connsiteX77" fmla="*/ 1083468 w 1574006"/>
                  <a:gd name="connsiteY77" fmla="*/ 252413 h 1533525"/>
                  <a:gd name="connsiteX78" fmla="*/ 1116806 w 1574006"/>
                  <a:gd name="connsiteY78" fmla="*/ 252413 h 1533525"/>
                  <a:gd name="connsiteX79" fmla="*/ 1123950 w 1574006"/>
                  <a:gd name="connsiteY79" fmla="*/ 257175 h 1533525"/>
                  <a:gd name="connsiteX80" fmla="*/ 1116806 w 1574006"/>
                  <a:gd name="connsiteY80" fmla="*/ 276225 h 1533525"/>
                  <a:gd name="connsiteX81" fmla="*/ 1088231 w 1574006"/>
                  <a:gd name="connsiteY81" fmla="*/ 309563 h 1533525"/>
                  <a:gd name="connsiteX82" fmla="*/ 1123950 w 1574006"/>
                  <a:gd name="connsiteY82" fmla="*/ 333375 h 1533525"/>
                  <a:gd name="connsiteX83" fmla="*/ 1135856 w 1574006"/>
                  <a:gd name="connsiteY83" fmla="*/ 347663 h 1533525"/>
                  <a:gd name="connsiteX84" fmla="*/ 1135856 w 1574006"/>
                  <a:gd name="connsiteY84" fmla="*/ 376238 h 1533525"/>
                  <a:gd name="connsiteX85" fmla="*/ 1119187 w 1574006"/>
                  <a:gd name="connsiteY85" fmla="*/ 411956 h 1533525"/>
                  <a:gd name="connsiteX86" fmla="*/ 1162050 w 1574006"/>
                  <a:gd name="connsiteY86" fmla="*/ 423863 h 1533525"/>
                  <a:gd name="connsiteX87" fmla="*/ 1233487 w 1574006"/>
                  <a:gd name="connsiteY87" fmla="*/ 416719 h 1533525"/>
                  <a:gd name="connsiteX88" fmla="*/ 1223962 w 1574006"/>
                  <a:gd name="connsiteY88" fmla="*/ 385763 h 1533525"/>
                  <a:gd name="connsiteX89" fmla="*/ 1188243 w 1574006"/>
                  <a:gd name="connsiteY89" fmla="*/ 347663 h 1533525"/>
                  <a:gd name="connsiteX90" fmla="*/ 1181100 w 1574006"/>
                  <a:gd name="connsiteY90" fmla="*/ 333375 h 1533525"/>
                  <a:gd name="connsiteX91" fmla="*/ 1207293 w 1574006"/>
                  <a:gd name="connsiteY91" fmla="*/ 326231 h 1533525"/>
                  <a:gd name="connsiteX92" fmla="*/ 1200150 w 1574006"/>
                  <a:gd name="connsiteY92" fmla="*/ 302419 h 1533525"/>
                  <a:gd name="connsiteX93" fmla="*/ 1223962 w 1574006"/>
                  <a:gd name="connsiteY93" fmla="*/ 283369 h 1533525"/>
                  <a:gd name="connsiteX94" fmla="*/ 1250156 w 1574006"/>
                  <a:gd name="connsiteY94" fmla="*/ 242888 h 1533525"/>
                  <a:gd name="connsiteX95" fmla="*/ 1302543 w 1574006"/>
                  <a:gd name="connsiteY95" fmla="*/ 211931 h 1533525"/>
                  <a:gd name="connsiteX96" fmla="*/ 1350168 w 1574006"/>
                  <a:gd name="connsiteY96" fmla="*/ 123825 h 1533525"/>
                  <a:gd name="connsiteX97" fmla="*/ 1543050 w 1574006"/>
                  <a:gd name="connsiteY97" fmla="*/ 147638 h 1533525"/>
                  <a:gd name="connsiteX98" fmla="*/ 1547812 w 1574006"/>
                  <a:gd name="connsiteY98" fmla="*/ 121444 h 1533525"/>
                  <a:gd name="connsiteX99" fmla="*/ 1574006 w 1574006"/>
                  <a:gd name="connsiteY99" fmla="*/ 121444 h 1533525"/>
                  <a:gd name="connsiteX100" fmla="*/ 1057275 w 1574006"/>
                  <a:gd name="connsiteY100" fmla="*/ 264319 h 1533525"/>
                  <a:gd name="connsiteX101" fmla="*/ 1062037 w 1574006"/>
                  <a:gd name="connsiteY101" fmla="*/ 304800 h 1533525"/>
                  <a:gd name="connsiteX102" fmla="*/ 995362 w 1574006"/>
                  <a:gd name="connsiteY102" fmla="*/ 352425 h 1533525"/>
                  <a:gd name="connsiteX103" fmla="*/ 973931 w 1574006"/>
                  <a:gd name="connsiteY103" fmla="*/ 383381 h 1533525"/>
                  <a:gd name="connsiteX104" fmla="*/ 1000125 w 1574006"/>
                  <a:gd name="connsiteY104" fmla="*/ 428625 h 1533525"/>
                  <a:gd name="connsiteX105" fmla="*/ 983456 w 1574006"/>
                  <a:gd name="connsiteY105" fmla="*/ 466725 h 1533525"/>
                  <a:gd name="connsiteX106" fmla="*/ 1000125 w 1574006"/>
                  <a:gd name="connsiteY106" fmla="*/ 519113 h 1533525"/>
                  <a:gd name="connsiteX107" fmla="*/ 1033462 w 1574006"/>
                  <a:gd name="connsiteY107" fmla="*/ 519113 h 1533525"/>
                  <a:gd name="connsiteX108" fmla="*/ 1019175 w 1574006"/>
                  <a:gd name="connsiteY108" fmla="*/ 552450 h 1533525"/>
                  <a:gd name="connsiteX109" fmla="*/ 1035843 w 1574006"/>
                  <a:gd name="connsiteY109" fmla="*/ 590550 h 1533525"/>
                  <a:gd name="connsiteX110" fmla="*/ 1035843 w 1574006"/>
                  <a:gd name="connsiteY110" fmla="*/ 607219 h 1533525"/>
                  <a:gd name="connsiteX111" fmla="*/ 1045368 w 1574006"/>
                  <a:gd name="connsiteY111" fmla="*/ 645319 h 1533525"/>
                  <a:gd name="connsiteX112" fmla="*/ 1064418 w 1574006"/>
                  <a:gd name="connsiteY112" fmla="*/ 645319 h 1533525"/>
                  <a:gd name="connsiteX113" fmla="*/ 1078706 w 1574006"/>
                  <a:gd name="connsiteY113" fmla="*/ 666750 h 1533525"/>
                  <a:gd name="connsiteX114" fmla="*/ 1085850 w 1574006"/>
                  <a:gd name="connsiteY114" fmla="*/ 688181 h 1533525"/>
                  <a:gd name="connsiteX115" fmla="*/ 1076325 w 1574006"/>
                  <a:gd name="connsiteY115" fmla="*/ 719138 h 1533525"/>
                  <a:gd name="connsiteX116" fmla="*/ 1021556 w 1574006"/>
                  <a:gd name="connsiteY116" fmla="*/ 714375 h 1533525"/>
                  <a:gd name="connsiteX117" fmla="*/ 1002506 w 1574006"/>
                  <a:gd name="connsiteY117" fmla="*/ 721519 h 1533525"/>
                  <a:gd name="connsiteX118" fmla="*/ 995362 w 1574006"/>
                  <a:gd name="connsiteY118" fmla="*/ 726281 h 1533525"/>
                  <a:gd name="connsiteX119" fmla="*/ 995362 w 1574006"/>
                  <a:gd name="connsiteY119" fmla="*/ 726281 h 1533525"/>
                  <a:gd name="connsiteX120" fmla="*/ 923925 w 1574006"/>
                  <a:gd name="connsiteY120" fmla="*/ 721519 h 1533525"/>
                  <a:gd name="connsiteX121" fmla="*/ 940593 w 1574006"/>
                  <a:gd name="connsiteY121" fmla="*/ 778669 h 1533525"/>
                  <a:gd name="connsiteX122" fmla="*/ 938212 w 1574006"/>
                  <a:gd name="connsiteY122" fmla="*/ 847725 h 1533525"/>
                  <a:gd name="connsiteX123" fmla="*/ 954881 w 1574006"/>
                  <a:gd name="connsiteY123" fmla="*/ 871538 h 1533525"/>
                  <a:gd name="connsiteX124" fmla="*/ 997743 w 1574006"/>
                  <a:gd name="connsiteY124" fmla="*/ 919163 h 1533525"/>
                  <a:gd name="connsiteX125" fmla="*/ 1012031 w 1574006"/>
                  <a:gd name="connsiteY125" fmla="*/ 954881 h 1533525"/>
                  <a:gd name="connsiteX126" fmla="*/ 1031081 w 1574006"/>
                  <a:gd name="connsiteY126" fmla="*/ 954881 h 1533525"/>
                  <a:gd name="connsiteX127" fmla="*/ 1071562 w 1574006"/>
                  <a:gd name="connsiteY127" fmla="*/ 940594 h 1533525"/>
                  <a:gd name="connsiteX128" fmla="*/ 1102518 w 1574006"/>
                  <a:gd name="connsiteY128" fmla="*/ 933450 h 1533525"/>
                  <a:gd name="connsiteX129" fmla="*/ 1159668 w 1574006"/>
                  <a:gd name="connsiteY129" fmla="*/ 997744 h 1533525"/>
                  <a:gd name="connsiteX130" fmla="*/ 1178718 w 1574006"/>
                  <a:gd name="connsiteY130" fmla="*/ 1052513 h 1533525"/>
                  <a:gd name="connsiteX131" fmla="*/ 1190625 w 1574006"/>
                  <a:gd name="connsiteY131" fmla="*/ 1081088 h 1533525"/>
                  <a:gd name="connsiteX132" fmla="*/ 1212056 w 1574006"/>
                  <a:gd name="connsiteY132" fmla="*/ 1109663 h 1533525"/>
                  <a:gd name="connsiteX133" fmla="*/ 1231106 w 1574006"/>
                  <a:gd name="connsiteY133" fmla="*/ 1102519 h 1533525"/>
                  <a:gd name="connsiteX134" fmla="*/ 1231106 w 1574006"/>
                  <a:gd name="connsiteY134" fmla="*/ 1131094 h 1533525"/>
                  <a:gd name="connsiteX135" fmla="*/ 1233487 w 1574006"/>
                  <a:gd name="connsiteY135" fmla="*/ 1145381 h 1533525"/>
                  <a:gd name="connsiteX136" fmla="*/ 1266825 w 1574006"/>
                  <a:gd name="connsiteY136" fmla="*/ 1181100 h 1533525"/>
                  <a:gd name="connsiteX137" fmla="*/ 1233487 w 1574006"/>
                  <a:gd name="connsiteY137" fmla="*/ 1181100 h 1533525"/>
                  <a:gd name="connsiteX138" fmla="*/ 1228725 w 1574006"/>
                  <a:gd name="connsiteY138" fmla="*/ 1223963 h 1533525"/>
                  <a:gd name="connsiteX139" fmla="*/ 1226343 w 1574006"/>
                  <a:gd name="connsiteY139" fmla="*/ 1243013 h 1533525"/>
                  <a:gd name="connsiteX140" fmla="*/ 1216818 w 1574006"/>
                  <a:gd name="connsiteY140" fmla="*/ 1264444 h 1533525"/>
                  <a:gd name="connsiteX141" fmla="*/ 1190625 w 1574006"/>
                  <a:gd name="connsiteY141" fmla="*/ 1238250 h 1533525"/>
                  <a:gd name="connsiteX142" fmla="*/ 1157287 w 1574006"/>
                  <a:gd name="connsiteY142" fmla="*/ 1209675 h 1533525"/>
                  <a:gd name="connsiteX143" fmla="*/ 1131093 w 1574006"/>
                  <a:gd name="connsiteY143" fmla="*/ 1185863 h 1533525"/>
                  <a:gd name="connsiteX144" fmla="*/ 1107281 w 1574006"/>
                  <a:gd name="connsiteY144" fmla="*/ 1219200 h 1533525"/>
                  <a:gd name="connsiteX145" fmla="*/ 1104900 w 1574006"/>
                  <a:gd name="connsiteY145" fmla="*/ 1264444 h 1533525"/>
                  <a:gd name="connsiteX146" fmla="*/ 1062037 w 1574006"/>
                  <a:gd name="connsiteY146" fmla="*/ 1259681 h 1533525"/>
                  <a:gd name="connsiteX147" fmla="*/ 1026318 w 1574006"/>
                  <a:gd name="connsiteY147" fmla="*/ 1288256 h 1533525"/>
                  <a:gd name="connsiteX148" fmla="*/ 1007268 w 1574006"/>
                  <a:gd name="connsiteY148" fmla="*/ 1240631 h 1533525"/>
                  <a:gd name="connsiteX149" fmla="*/ 947737 w 1574006"/>
                  <a:gd name="connsiteY149" fmla="*/ 1231106 h 1533525"/>
                  <a:gd name="connsiteX150" fmla="*/ 921543 w 1574006"/>
                  <a:gd name="connsiteY150" fmla="*/ 1297781 h 1533525"/>
                  <a:gd name="connsiteX151" fmla="*/ 885825 w 1574006"/>
                  <a:gd name="connsiteY151" fmla="*/ 1278731 h 1533525"/>
                  <a:gd name="connsiteX152" fmla="*/ 816768 w 1574006"/>
                  <a:gd name="connsiteY152" fmla="*/ 1295400 h 1533525"/>
                  <a:gd name="connsiteX153" fmla="*/ 757237 w 1574006"/>
                  <a:gd name="connsiteY153" fmla="*/ 1259681 h 1533525"/>
                  <a:gd name="connsiteX154" fmla="*/ 742950 w 1574006"/>
                  <a:gd name="connsiteY154" fmla="*/ 1312069 h 1533525"/>
                  <a:gd name="connsiteX155" fmla="*/ 704850 w 1574006"/>
                  <a:gd name="connsiteY155" fmla="*/ 1345406 h 1533525"/>
                  <a:gd name="connsiteX156" fmla="*/ 692943 w 1574006"/>
                  <a:gd name="connsiteY156" fmla="*/ 1366838 h 1533525"/>
                  <a:gd name="connsiteX157" fmla="*/ 671512 w 1574006"/>
                  <a:gd name="connsiteY157" fmla="*/ 1509713 h 1533525"/>
                  <a:gd name="connsiteX158" fmla="*/ 633412 w 1574006"/>
                  <a:gd name="connsiteY158" fmla="*/ 1490663 h 1533525"/>
                  <a:gd name="connsiteX159" fmla="*/ 614362 w 1574006"/>
                  <a:gd name="connsiteY159" fmla="*/ 1504950 h 1533525"/>
                  <a:gd name="connsiteX160" fmla="*/ 581025 w 1574006"/>
                  <a:gd name="connsiteY160" fmla="*/ 1531144 h 1533525"/>
                  <a:gd name="connsiteX161" fmla="*/ 523875 w 1574006"/>
                  <a:gd name="connsiteY161" fmla="*/ 1502569 h 1533525"/>
                  <a:gd name="connsiteX162" fmla="*/ 514350 w 1574006"/>
                  <a:gd name="connsiteY162" fmla="*/ 1490663 h 1533525"/>
                  <a:gd name="connsiteX163" fmla="*/ 483393 w 1574006"/>
                  <a:gd name="connsiteY163" fmla="*/ 1533525 h 1533525"/>
                  <a:gd name="connsiteX0" fmla="*/ 483393 w 1547812"/>
                  <a:gd name="connsiteY0" fmla="*/ 1533525 h 1533525"/>
                  <a:gd name="connsiteX1" fmla="*/ 459581 w 1547812"/>
                  <a:gd name="connsiteY1" fmla="*/ 1481138 h 1533525"/>
                  <a:gd name="connsiteX2" fmla="*/ 438150 w 1547812"/>
                  <a:gd name="connsiteY2" fmla="*/ 1471613 h 1533525"/>
                  <a:gd name="connsiteX3" fmla="*/ 400050 w 1547812"/>
                  <a:gd name="connsiteY3" fmla="*/ 1485900 h 1533525"/>
                  <a:gd name="connsiteX4" fmla="*/ 338137 w 1547812"/>
                  <a:gd name="connsiteY4" fmla="*/ 1490663 h 1533525"/>
                  <a:gd name="connsiteX5" fmla="*/ 330993 w 1547812"/>
                  <a:gd name="connsiteY5" fmla="*/ 1497806 h 1533525"/>
                  <a:gd name="connsiteX6" fmla="*/ 271462 w 1547812"/>
                  <a:gd name="connsiteY6" fmla="*/ 1471613 h 1533525"/>
                  <a:gd name="connsiteX7" fmla="*/ 219075 w 1547812"/>
                  <a:gd name="connsiteY7" fmla="*/ 1443038 h 1533525"/>
                  <a:gd name="connsiteX8" fmla="*/ 138112 w 1547812"/>
                  <a:gd name="connsiteY8" fmla="*/ 1402556 h 1533525"/>
                  <a:gd name="connsiteX9" fmla="*/ 95250 w 1547812"/>
                  <a:gd name="connsiteY9" fmla="*/ 1316831 h 1533525"/>
                  <a:gd name="connsiteX10" fmla="*/ 80962 w 1547812"/>
                  <a:gd name="connsiteY10" fmla="*/ 1288256 h 1533525"/>
                  <a:gd name="connsiteX11" fmla="*/ 104775 w 1547812"/>
                  <a:gd name="connsiteY11" fmla="*/ 1266825 h 1533525"/>
                  <a:gd name="connsiteX12" fmla="*/ 76200 w 1547812"/>
                  <a:gd name="connsiteY12" fmla="*/ 1212056 h 1533525"/>
                  <a:gd name="connsiteX13" fmla="*/ 109537 w 1547812"/>
                  <a:gd name="connsiteY13" fmla="*/ 1193006 h 1533525"/>
                  <a:gd name="connsiteX14" fmla="*/ 140493 w 1547812"/>
                  <a:gd name="connsiteY14" fmla="*/ 1143000 h 1533525"/>
                  <a:gd name="connsiteX15" fmla="*/ 123825 w 1547812"/>
                  <a:gd name="connsiteY15" fmla="*/ 1107281 h 1533525"/>
                  <a:gd name="connsiteX16" fmla="*/ 178593 w 1547812"/>
                  <a:gd name="connsiteY16" fmla="*/ 1107281 h 1533525"/>
                  <a:gd name="connsiteX17" fmla="*/ 192881 w 1547812"/>
                  <a:gd name="connsiteY17" fmla="*/ 1109663 h 1533525"/>
                  <a:gd name="connsiteX18" fmla="*/ 159543 w 1547812"/>
                  <a:gd name="connsiteY18" fmla="*/ 1064419 h 1533525"/>
                  <a:gd name="connsiteX19" fmla="*/ 169068 w 1547812"/>
                  <a:gd name="connsiteY19" fmla="*/ 1014413 h 1533525"/>
                  <a:gd name="connsiteX20" fmla="*/ 123825 w 1547812"/>
                  <a:gd name="connsiteY20" fmla="*/ 997744 h 1533525"/>
                  <a:gd name="connsiteX21" fmla="*/ 61912 w 1547812"/>
                  <a:gd name="connsiteY21" fmla="*/ 954881 h 1533525"/>
                  <a:gd name="connsiteX22" fmla="*/ 45243 w 1547812"/>
                  <a:gd name="connsiteY22" fmla="*/ 938213 h 1533525"/>
                  <a:gd name="connsiteX23" fmla="*/ 64293 w 1547812"/>
                  <a:gd name="connsiteY23" fmla="*/ 909638 h 1533525"/>
                  <a:gd name="connsiteX24" fmla="*/ 47625 w 1547812"/>
                  <a:gd name="connsiteY24" fmla="*/ 897731 h 1533525"/>
                  <a:gd name="connsiteX25" fmla="*/ 47625 w 1547812"/>
                  <a:gd name="connsiteY25" fmla="*/ 881063 h 1533525"/>
                  <a:gd name="connsiteX26" fmla="*/ 26193 w 1547812"/>
                  <a:gd name="connsiteY26" fmla="*/ 881063 h 1533525"/>
                  <a:gd name="connsiteX27" fmla="*/ 7143 w 1547812"/>
                  <a:gd name="connsiteY27" fmla="*/ 847725 h 1533525"/>
                  <a:gd name="connsiteX28" fmla="*/ 0 w 1547812"/>
                  <a:gd name="connsiteY28" fmla="*/ 816769 h 1533525"/>
                  <a:gd name="connsiteX29" fmla="*/ 54768 w 1547812"/>
                  <a:gd name="connsiteY29" fmla="*/ 800100 h 1533525"/>
                  <a:gd name="connsiteX30" fmla="*/ 76200 w 1547812"/>
                  <a:gd name="connsiteY30" fmla="*/ 788194 h 1533525"/>
                  <a:gd name="connsiteX31" fmla="*/ 128587 w 1547812"/>
                  <a:gd name="connsiteY31" fmla="*/ 821531 h 1533525"/>
                  <a:gd name="connsiteX32" fmla="*/ 126206 w 1547812"/>
                  <a:gd name="connsiteY32" fmla="*/ 800100 h 1533525"/>
                  <a:gd name="connsiteX33" fmla="*/ 164306 w 1547812"/>
                  <a:gd name="connsiteY33" fmla="*/ 795338 h 1533525"/>
                  <a:gd name="connsiteX34" fmla="*/ 173831 w 1547812"/>
                  <a:gd name="connsiteY34" fmla="*/ 759619 h 1533525"/>
                  <a:gd name="connsiteX35" fmla="*/ 235743 w 1547812"/>
                  <a:gd name="connsiteY35" fmla="*/ 764381 h 1533525"/>
                  <a:gd name="connsiteX36" fmla="*/ 235743 w 1547812"/>
                  <a:gd name="connsiteY36" fmla="*/ 764381 h 1533525"/>
                  <a:gd name="connsiteX37" fmla="*/ 245268 w 1547812"/>
                  <a:gd name="connsiteY37" fmla="*/ 704850 h 1533525"/>
                  <a:gd name="connsiteX38" fmla="*/ 276225 w 1547812"/>
                  <a:gd name="connsiteY38" fmla="*/ 666750 h 1533525"/>
                  <a:gd name="connsiteX39" fmla="*/ 292893 w 1547812"/>
                  <a:gd name="connsiteY39" fmla="*/ 638175 h 1533525"/>
                  <a:gd name="connsiteX40" fmla="*/ 245268 w 1547812"/>
                  <a:gd name="connsiteY40" fmla="*/ 602456 h 1533525"/>
                  <a:gd name="connsiteX41" fmla="*/ 264318 w 1547812"/>
                  <a:gd name="connsiteY41" fmla="*/ 585788 h 1533525"/>
                  <a:gd name="connsiteX42" fmla="*/ 311943 w 1547812"/>
                  <a:gd name="connsiteY42" fmla="*/ 602456 h 1533525"/>
                  <a:gd name="connsiteX43" fmla="*/ 369093 w 1547812"/>
                  <a:gd name="connsiteY43" fmla="*/ 573881 h 1533525"/>
                  <a:gd name="connsiteX44" fmla="*/ 457200 w 1547812"/>
                  <a:gd name="connsiteY44" fmla="*/ 545306 h 1533525"/>
                  <a:gd name="connsiteX45" fmla="*/ 538162 w 1547812"/>
                  <a:gd name="connsiteY45" fmla="*/ 578644 h 1533525"/>
                  <a:gd name="connsiteX46" fmla="*/ 614362 w 1547812"/>
                  <a:gd name="connsiteY46" fmla="*/ 550069 h 1533525"/>
                  <a:gd name="connsiteX47" fmla="*/ 650081 w 1547812"/>
                  <a:gd name="connsiteY47" fmla="*/ 552450 h 1533525"/>
                  <a:gd name="connsiteX48" fmla="*/ 654843 w 1547812"/>
                  <a:gd name="connsiteY48" fmla="*/ 523875 h 1533525"/>
                  <a:gd name="connsiteX49" fmla="*/ 654843 w 1547812"/>
                  <a:gd name="connsiteY49" fmla="*/ 490538 h 1533525"/>
                  <a:gd name="connsiteX50" fmla="*/ 669131 w 1547812"/>
                  <a:gd name="connsiteY50" fmla="*/ 469106 h 1533525"/>
                  <a:gd name="connsiteX51" fmla="*/ 652462 w 1547812"/>
                  <a:gd name="connsiteY51" fmla="*/ 450056 h 1533525"/>
                  <a:gd name="connsiteX52" fmla="*/ 642937 w 1547812"/>
                  <a:gd name="connsiteY52" fmla="*/ 411956 h 1533525"/>
                  <a:gd name="connsiteX53" fmla="*/ 642937 w 1547812"/>
                  <a:gd name="connsiteY53" fmla="*/ 330994 h 1533525"/>
                  <a:gd name="connsiteX54" fmla="*/ 633412 w 1547812"/>
                  <a:gd name="connsiteY54" fmla="*/ 319088 h 1533525"/>
                  <a:gd name="connsiteX55" fmla="*/ 664368 w 1547812"/>
                  <a:gd name="connsiteY55" fmla="*/ 285750 h 1533525"/>
                  <a:gd name="connsiteX56" fmla="*/ 721518 w 1547812"/>
                  <a:gd name="connsiteY56" fmla="*/ 292894 h 1533525"/>
                  <a:gd name="connsiteX57" fmla="*/ 733425 w 1547812"/>
                  <a:gd name="connsiteY57" fmla="*/ 264319 h 1533525"/>
                  <a:gd name="connsiteX58" fmla="*/ 731043 w 1547812"/>
                  <a:gd name="connsiteY58" fmla="*/ 228600 h 1533525"/>
                  <a:gd name="connsiteX59" fmla="*/ 790575 w 1547812"/>
                  <a:gd name="connsiteY59" fmla="*/ 192881 h 1533525"/>
                  <a:gd name="connsiteX60" fmla="*/ 804862 w 1547812"/>
                  <a:gd name="connsiteY60" fmla="*/ 166688 h 1533525"/>
                  <a:gd name="connsiteX61" fmla="*/ 778668 w 1547812"/>
                  <a:gd name="connsiteY61" fmla="*/ 128588 h 1533525"/>
                  <a:gd name="connsiteX62" fmla="*/ 771525 w 1547812"/>
                  <a:gd name="connsiteY62" fmla="*/ 104775 h 1533525"/>
                  <a:gd name="connsiteX63" fmla="*/ 823912 w 1547812"/>
                  <a:gd name="connsiteY63" fmla="*/ 97631 h 1533525"/>
                  <a:gd name="connsiteX64" fmla="*/ 869156 w 1547812"/>
                  <a:gd name="connsiteY64" fmla="*/ 52388 h 1533525"/>
                  <a:gd name="connsiteX65" fmla="*/ 890587 w 1547812"/>
                  <a:gd name="connsiteY65" fmla="*/ 23813 h 1533525"/>
                  <a:gd name="connsiteX66" fmla="*/ 923925 w 1547812"/>
                  <a:gd name="connsiteY66" fmla="*/ 9525 h 1533525"/>
                  <a:gd name="connsiteX67" fmla="*/ 971550 w 1547812"/>
                  <a:gd name="connsiteY67" fmla="*/ 0 h 1533525"/>
                  <a:gd name="connsiteX68" fmla="*/ 971550 w 1547812"/>
                  <a:gd name="connsiteY68" fmla="*/ 40481 h 1533525"/>
                  <a:gd name="connsiteX69" fmla="*/ 950118 w 1547812"/>
                  <a:gd name="connsiteY69" fmla="*/ 80963 h 1533525"/>
                  <a:gd name="connsiteX70" fmla="*/ 950118 w 1547812"/>
                  <a:gd name="connsiteY70" fmla="*/ 140494 h 1533525"/>
                  <a:gd name="connsiteX71" fmla="*/ 969168 w 1547812"/>
                  <a:gd name="connsiteY71" fmla="*/ 161925 h 1533525"/>
                  <a:gd name="connsiteX72" fmla="*/ 1007268 w 1547812"/>
                  <a:gd name="connsiteY72" fmla="*/ 188119 h 1533525"/>
                  <a:gd name="connsiteX73" fmla="*/ 1019175 w 1547812"/>
                  <a:gd name="connsiteY73" fmla="*/ 216694 h 1533525"/>
                  <a:gd name="connsiteX74" fmla="*/ 1004887 w 1547812"/>
                  <a:gd name="connsiteY74" fmla="*/ 226219 h 1533525"/>
                  <a:gd name="connsiteX75" fmla="*/ 1057275 w 1547812"/>
                  <a:gd name="connsiteY75" fmla="*/ 250031 h 1533525"/>
                  <a:gd name="connsiteX76" fmla="*/ 1073943 w 1547812"/>
                  <a:gd name="connsiteY76" fmla="*/ 228600 h 1533525"/>
                  <a:gd name="connsiteX77" fmla="*/ 1083468 w 1547812"/>
                  <a:gd name="connsiteY77" fmla="*/ 252413 h 1533525"/>
                  <a:gd name="connsiteX78" fmla="*/ 1116806 w 1547812"/>
                  <a:gd name="connsiteY78" fmla="*/ 252413 h 1533525"/>
                  <a:gd name="connsiteX79" fmla="*/ 1123950 w 1547812"/>
                  <a:gd name="connsiteY79" fmla="*/ 257175 h 1533525"/>
                  <a:gd name="connsiteX80" fmla="*/ 1116806 w 1547812"/>
                  <a:gd name="connsiteY80" fmla="*/ 276225 h 1533525"/>
                  <a:gd name="connsiteX81" fmla="*/ 1088231 w 1547812"/>
                  <a:gd name="connsiteY81" fmla="*/ 309563 h 1533525"/>
                  <a:gd name="connsiteX82" fmla="*/ 1123950 w 1547812"/>
                  <a:gd name="connsiteY82" fmla="*/ 333375 h 1533525"/>
                  <a:gd name="connsiteX83" fmla="*/ 1135856 w 1547812"/>
                  <a:gd name="connsiteY83" fmla="*/ 347663 h 1533525"/>
                  <a:gd name="connsiteX84" fmla="*/ 1135856 w 1547812"/>
                  <a:gd name="connsiteY84" fmla="*/ 376238 h 1533525"/>
                  <a:gd name="connsiteX85" fmla="*/ 1119187 w 1547812"/>
                  <a:gd name="connsiteY85" fmla="*/ 411956 h 1533525"/>
                  <a:gd name="connsiteX86" fmla="*/ 1162050 w 1547812"/>
                  <a:gd name="connsiteY86" fmla="*/ 423863 h 1533525"/>
                  <a:gd name="connsiteX87" fmla="*/ 1233487 w 1547812"/>
                  <a:gd name="connsiteY87" fmla="*/ 416719 h 1533525"/>
                  <a:gd name="connsiteX88" fmla="*/ 1223962 w 1547812"/>
                  <a:gd name="connsiteY88" fmla="*/ 385763 h 1533525"/>
                  <a:gd name="connsiteX89" fmla="*/ 1188243 w 1547812"/>
                  <a:gd name="connsiteY89" fmla="*/ 347663 h 1533525"/>
                  <a:gd name="connsiteX90" fmla="*/ 1181100 w 1547812"/>
                  <a:gd name="connsiteY90" fmla="*/ 333375 h 1533525"/>
                  <a:gd name="connsiteX91" fmla="*/ 1207293 w 1547812"/>
                  <a:gd name="connsiteY91" fmla="*/ 326231 h 1533525"/>
                  <a:gd name="connsiteX92" fmla="*/ 1200150 w 1547812"/>
                  <a:gd name="connsiteY92" fmla="*/ 302419 h 1533525"/>
                  <a:gd name="connsiteX93" fmla="*/ 1223962 w 1547812"/>
                  <a:gd name="connsiteY93" fmla="*/ 283369 h 1533525"/>
                  <a:gd name="connsiteX94" fmla="*/ 1250156 w 1547812"/>
                  <a:gd name="connsiteY94" fmla="*/ 242888 h 1533525"/>
                  <a:gd name="connsiteX95" fmla="*/ 1302543 w 1547812"/>
                  <a:gd name="connsiteY95" fmla="*/ 211931 h 1533525"/>
                  <a:gd name="connsiteX96" fmla="*/ 1350168 w 1547812"/>
                  <a:gd name="connsiteY96" fmla="*/ 123825 h 1533525"/>
                  <a:gd name="connsiteX97" fmla="*/ 1543050 w 1547812"/>
                  <a:gd name="connsiteY97" fmla="*/ 147638 h 1533525"/>
                  <a:gd name="connsiteX98" fmla="*/ 1547812 w 1547812"/>
                  <a:gd name="connsiteY98" fmla="*/ 121444 h 1533525"/>
                  <a:gd name="connsiteX99" fmla="*/ 1057275 w 1547812"/>
                  <a:gd name="connsiteY99" fmla="*/ 264319 h 1533525"/>
                  <a:gd name="connsiteX100" fmla="*/ 1062037 w 1547812"/>
                  <a:gd name="connsiteY100" fmla="*/ 304800 h 1533525"/>
                  <a:gd name="connsiteX101" fmla="*/ 995362 w 1547812"/>
                  <a:gd name="connsiteY101" fmla="*/ 352425 h 1533525"/>
                  <a:gd name="connsiteX102" fmla="*/ 973931 w 1547812"/>
                  <a:gd name="connsiteY102" fmla="*/ 383381 h 1533525"/>
                  <a:gd name="connsiteX103" fmla="*/ 1000125 w 1547812"/>
                  <a:gd name="connsiteY103" fmla="*/ 428625 h 1533525"/>
                  <a:gd name="connsiteX104" fmla="*/ 983456 w 1547812"/>
                  <a:gd name="connsiteY104" fmla="*/ 466725 h 1533525"/>
                  <a:gd name="connsiteX105" fmla="*/ 1000125 w 1547812"/>
                  <a:gd name="connsiteY105" fmla="*/ 519113 h 1533525"/>
                  <a:gd name="connsiteX106" fmla="*/ 1033462 w 1547812"/>
                  <a:gd name="connsiteY106" fmla="*/ 519113 h 1533525"/>
                  <a:gd name="connsiteX107" fmla="*/ 1019175 w 1547812"/>
                  <a:gd name="connsiteY107" fmla="*/ 552450 h 1533525"/>
                  <a:gd name="connsiteX108" fmla="*/ 1035843 w 1547812"/>
                  <a:gd name="connsiteY108" fmla="*/ 590550 h 1533525"/>
                  <a:gd name="connsiteX109" fmla="*/ 1035843 w 1547812"/>
                  <a:gd name="connsiteY109" fmla="*/ 607219 h 1533525"/>
                  <a:gd name="connsiteX110" fmla="*/ 1045368 w 1547812"/>
                  <a:gd name="connsiteY110" fmla="*/ 645319 h 1533525"/>
                  <a:gd name="connsiteX111" fmla="*/ 1064418 w 1547812"/>
                  <a:gd name="connsiteY111" fmla="*/ 645319 h 1533525"/>
                  <a:gd name="connsiteX112" fmla="*/ 1078706 w 1547812"/>
                  <a:gd name="connsiteY112" fmla="*/ 666750 h 1533525"/>
                  <a:gd name="connsiteX113" fmla="*/ 1085850 w 1547812"/>
                  <a:gd name="connsiteY113" fmla="*/ 688181 h 1533525"/>
                  <a:gd name="connsiteX114" fmla="*/ 1076325 w 1547812"/>
                  <a:gd name="connsiteY114" fmla="*/ 719138 h 1533525"/>
                  <a:gd name="connsiteX115" fmla="*/ 1021556 w 1547812"/>
                  <a:gd name="connsiteY115" fmla="*/ 714375 h 1533525"/>
                  <a:gd name="connsiteX116" fmla="*/ 1002506 w 1547812"/>
                  <a:gd name="connsiteY116" fmla="*/ 721519 h 1533525"/>
                  <a:gd name="connsiteX117" fmla="*/ 995362 w 1547812"/>
                  <a:gd name="connsiteY117" fmla="*/ 726281 h 1533525"/>
                  <a:gd name="connsiteX118" fmla="*/ 995362 w 1547812"/>
                  <a:gd name="connsiteY118" fmla="*/ 726281 h 1533525"/>
                  <a:gd name="connsiteX119" fmla="*/ 923925 w 1547812"/>
                  <a:gd name="connsiteY119" fmla="*/ 721519 h 1533525"/>
                  <a:gd name="connsiteX120" fmla="*/ 940593 w 1547812"/>
                  <a:gd name="connsiteY120" fmla="*/ 778669 h 1533525"/>
                  <a:gd name="connsiteX121" fmla="*/ 938212 w 1547812"/>
                  <a:gd name="connsiteY121" fmla="*/ 847725 h 1533525"/>
                  <a:gd name="connsiteX122" fmla="*/ 954881 w 1547812"/>
                  <a:gd name="connsiteY122" fmla="*/ 871538 h 1533525"/>
                  <a:gd name="connsiteX123" fmla="*/ 997743 w 1547812"/>
                  <a:gd name="connsiteY123" fmla="*/ 919163 h 1533525"/>
                  <a:gd name="connsiteX124" fmla="*/ 1012031 w 1547812"/>
                  <a:gd name="connsiteY124" fmla="*/ 954881 h 1533525"/>
                  <a:gd name="connsiteX125" fmla="*/ 1031081 w 1547812"/>
                  <a:gd name="connsiteY125" fmla="*/ 954881 h 1533525"/>
                  <a:gd name="connsiteX126" fmla="*/ 1071562 w 1547812"/>
                  <a:gd name="connsiteY126" fmla="*/ 940594 h 1533525"/>
                  <a:gd name="connsiteX127" fmla="*/ 1102518 w 1547812"/>
                  <a:gd name="connsiteY127" fmla="*/ 933450 h 1533525"/>
                  <a:gd name="connsiteX128" fmla="*/ 1159668 w 1547812"/>
                  <a:gd name="connsiteY128" fmla="*/ 997744 h 1533525"/>
                  <a:gd name="connsiteX129" fmla="*/ 1178718 w 1547812"/>
                  <a:gd name="connsiteY129" fmla="*/ 1052513 h 1533525"/>
                  <a:gd name="connsiteX130" fmla="*/ 1190625 w 1547812"/>
                  <a:gd name="connsiteY130" fmla="*/ 1081088 h 1533525"/>
                  <a:gd name="connsiteX131" fmla="*/ 1212056 w 1547812"/>
                  <a:gd name="connsiteY131" fmla="*/ 1109663 h 1533525"/>
                  <a:gd name="connsiteX132" fmla="*/ 1231106 w 1547812"/>
                  <a:gd name="connsiteY132" fmla="*/ 1102519 h 1533525"/>
                  <a:gd name="connsiteX133" fmla="*/ 1231106 w 1547812"/>
                  <a:gd name="connsiteY133" fmla="*/ 1131094 h 1533525"/>
                  <a:gd name="connsiteX134" fmla="*/ 1233487 w 1547812"/>
                  <a:gd name="connsiteY134" fmla="*/ 1145381 h 1533525"/>
                  <a:gd name="connsiteX135" fmla="*/ 1266825 w 1547812"/>
                  <a:gd name="connsiteY135" fmla="*/ 1181100 h 1533525"/>
                  <a:gd name="connsiteX136" fmla="*/ 1233487 w 1547812"/>
                  <a:gd name="connsiteY136" fmla="*/ 1181100 h 1533525"/>
                  <a:gd name="connsiteX137" fmla="*/ 1228725 w 1547812"/>
                  <a:gd name="connsiteY137" fmla="*/ 1223963 h 1533525"/>
                  <a:gd name="connsiteX138" fmla="*/ 1226343 w 1547812"/>
                  <a:gd name="connsiteY138" fmla="*/ 1243013 h 1533525"/>
                  <a:gd name="connsiteX139" fmla="*/ 1216818 w 1547812"/>
                  <a:gd name="connsiteY139" fmla="*/ 1264444 h 1533525"/>
                  <a:gd name="connsiteX140" fmla="*/ 1190625 w 1547812"/>
                  <a:gd name="connsiteY140" fmla="*/ 1238250 h 1533525"/>
                  <a:gd name="connsiteX141" fmla="*/ 1157287 w 1547812"/>
                  <a:gd name="connsiteY141" fmla="*/ 1209675 h 1533525"/>
                  <a:gd name="connsiteX142" fmla="*/ 1131093 w 1547812"/>
                  <a:gd name="connsiteY142" fmla="*/ 1185863 h 1533525"/>
                  <a:gd name="connsiteX143" fmla="*/ 1107281 w 1547812"/>
                  <a:gd name="connsiteY143" fmla="*/ 1219200 h 1533525"/>
                  <a:gd name="connsiteX144" fmla="*/ 1104900 w 1547812"/>
                  <a:gd name="connsiteY144" fmla="*/ 1264444 h 1533525"/>
                  <a:gd name="connsiteX145" fmla="*/ 1062037 w 1547812"/>
                  <a:gd name="connsiteY145" fmla="*/ 1259681 h 1533525"/>
                  <a:gd name="connsiteX146" fmla="*/ 1026318 w 1547812"/>
                  <a:gd name="connsiteY146" fmla="*/ 1288256 h 1533525"/>
                  <a:gd name="connsiteX147" fmla="*/ 1007268 w 1547812"/>
                  <a:gd name="connsiteY147" fmla="*/ 1240631 h 1533525"/>
                  <a:gd name="connsiteX148" fmla="*/ 947737 w 1547812"/>
                  <a:gd name="connsiteY148" fmla="*/ 1231106 h 1533525"/>
                  <a:gd name="connsiteX149" fmla="*/ 921543 w 1547812"/>
                  <a:gd name="connsiteY149" fmla="*/ 1297781 h 1533525"/>
                  <a:gd name="connsiteX150" fmla="*/ 885825 w 1547812"/>
                  <a:gd name="connsiteY150" fmla="*/ 1278731 h 1533525"/>
                  <a:gd name="connsiteX151" fmla="*/ 816768 w 1547812"/>
                  <a:gd name="connsiteY151" fmla="*/ 1295400 h 1533525"/>
                  <a:gd name="connsiteX152" fmla="*/ 757237 w 1547812"/>
                  <a:gd name="connsiteY152" fmla="*/ 1259681 h 1533525"/>
                  <a:gd name="connsiteX153" fmla="*/ 742950 w 1547812"/>
                  <a:gd name="connsiteY153" fmla="*/ 1312069 h 1533525"/>
                  <a:gd name="connsiteX154" fmla="*/ 704850 w 1547812"/>
                  <a:gd name="connsiteY154" fmla="*/ 1345406 h 1533525"/>
                  <a:gd name="connsiteX155" fmla="*/ 692943 w 1547812"/>
                  <a:gd name="connsiteY155" fmla="*/ 1366838 h 1533525"/>
                  <a:gd name="connsiteX156" fmla="*/ 671512 w 1547812"/>
                  <a:gd name="connsiteY156" fmla="*/ 1509713 h 1533525"/>
                  <a:gd name="connsiteX157" fmla="*/ 633412 w 1547812"/>
                  <a:gd name="connsiteY157" fmla="*/ 1490663 h 1533525"/>
                  <a:gd name="connsiteX158" fmla="*/ 614362 w 1547812"/>
                  <a:gd name="connsiteY158" fmla="*/ 1504950 h 1533525"/>
                  <a:gd name="connsiteX159" fmla="*/ 581025 w 1547812"/>
                  <a:gd name="connsiteY159" fmla="*/ 1531144 h 1533525"/>
                  <a:gd name="connsiteX160" fmla="*/ 523875 w 1547812"/>
                  <a:gd name="connsiteY160" fmla="*/ 1502569 h 1533525"/>
                  <a:gd name="connsiteX161" fmla="*/ 514350 w 1547812"/>
                  <a:gd name="connsiteY161" fmla="*/ 1490663 h 1533525"/>
                  <a:gd name="connsiteX162" fmla="*/ 483393 w 1547812"/>
                  <a:gd name="connsiteY162" fmla="*/ 1533525 h 1533525"/>
                  <a:gd name="connsiteX0" fmla="*/ 483393 w 1543050"/>
                  <a:gd name="connsiteY0" fmla="*/ 1533525 h 1533525"/>
                  <a:gd name="connsiteX1" fmla="*/ 459581 w 1543050"/>
                  <a:gd name="connsiteY1" fmla="*/ 1481138 h 1533525"/>
                  <a:gd name="connsiteX2" fmla="*/ 438150 w 1543050"/>
                  <a:gd name="connsiteY2" fmla="*/ 1471613 h 1533525"/>
                  <a:gd name="connsiteX3" fmla="*/ 400050 w 1543050"/>
                  <a:gd name="connsiteY3" fmla="*/ 1485900 h 1533525"/>
                  <a:gd name="connsiteX4" fmla="*/ 338137 w 1543050"/>
                  <a:gd name="connsiteY4" fmla="*/ 1490663 h 1533525"/>
                  <a:gd name="connsiteX5" fmla="*/ 330993 w 1543050"/>
                  <a:gd name="connsiteY5" fmla="*/ 1497806 h 1533525"/>
                  <a:gd name="connsiteX6" fmla="*/ 271462 w 1543050"/>
                  <a:gd name="connsiteY6" fmla="*/ 1471613 h 1533525"/>
                  <a:gd name="connsiteX7" fmla="*/ 219075 w 1543050"/>
                  <a:gd name="connsiteY7" fmla="*/ 1443038 h 1533525"/>
                  <a:gd name="connsiteX8" fmla="*/ 138112 w 1543050"/>
                  <a:gd name="connsiteY8" fmla="*/ 1402556 h 1533525"/>
                  <a:gd name="connsiteX9" fmla="*/ 95250 w 1543050"/>
                  <a:gd name="connsiteY9" fmla="*/ 1316831 h 1533525"/>
                  <a:gd name="connsiteX10" fmla="*/ 80962 w 1543050"/>
                  <a:gd name="connsiteY10" fmla="*/ 1288256 h 1533525"/>
                  <a:gd name="connsiteX11" fmla="*/ 104775 w 1543050"/>
                  <a:gd name="connsiteY11" fmla="*/ 1266825 h 1533525"/>
                  <a:gd name="connsiteX12" fmla="*/ 76200 w 1543050"/>
                  <a:gd name="connsiteY12" fmla="*/ 1212056 h 1533525"/>
                  <a:gd name="connsiteX13" fmla="*/ 109537 w 1543050"/>
                  <a:gd name="connsiteY13" fmla="*/ 1193006 h 1533525"/>
                  <a:gd name="connsiteX14" fmla="*/ 140493 w 1543050"/>
                  <a:gd name="connsiteY14" fmla="*/ 1143000 h 1533525"/>
                  <a:gd name="connsiteX15" fmla="*/ 123825 w 1543050"/>
                  <a:gd name="connsiteY15" fmla="*/ 1107281 h 1533525"/>
                  <a:gd name="connsiteX16" fmla="*/ 178593 w 1543050"/>
                  <a:gd name="connsiteY16" fmla="*/ 1107281 h 1533525"/>
                  <a:gd name="connsiteX17" fmla="*/ 192881 w 1543050"/>
                  <a:gd name="connsiteY17" fmla="*/ 1109663 h 1533525"/>
                  <a:gd name="connsiteX18" fmla="*/ 159543 w 1543050"/>
                  <a:gd name="connsiteY18" fmla="*/ 1064419 h 1533525"/>
                  <a:gd name="connsiteX19" fmla="*/ 169068 w 1543050"/>
                  <a:gd name="connsiteY19" fmla="*/ 1014413 h 1533525"/>
                  <a:gd name="connsiteX20" fmla="*/ 123825 w 1543050"/>
                  <a:gd name="connsiteY20" fmla="*/ 997744 h 1533525"/>
                  <a:gd name="connsiteX21" fmla="*/ 61912 w 1543050"/>
                  <a:gd name="connsiteY21" fmla="*/ 954881 h 1533525"/>
                  <a:gd name="connsiteX22" fmla="*/ 45243 w 1543050"/>
                  <a:gd name="connsiteY22" fmla="*/ 938213 h 1533525"/>
                  <a:gd name="connsiteX23" fmla="*/ 64293 w 1543050"/>
                  <a:gd name="connsiteY23" fmla="*/ 909638 h 1533525"/>
                  <a:gd name="connsiteX24" fmla="*/ 47625 w 1543050"/>
                  <a:gd name="connsiteY24" fmla="*/ 897731 h 1533525"/>
                  <a:gd name="connsiteX25" fmla="*/ 47625 w 1543050"/>
                  <a:gd name="connsiteY25" fmla="*/ 881063 h 1533525"/>
                  <a:gd name="connsiteX26" fmla="*/ 26193 w 1543050"/>
                  <a:gd name="connsiteY26" fmla="*/ 881063 h 1533525"/>
                  <a:gd name="connsiteX27" fmla="*/ 7143 w 1543050"/>
                  <a:gd name="connsiteY27" fmla="*/ 847725 h 1533525"/>
                  <a:gd name="connsiteX28" fmla="*/ 0 w 1543050"/>
                  <a:gd name="connsiteY28" fmla="*/ 816769 h 1533525"/>
                  <a:gd name="connsiteX29" fmla="*/ 54768 w 1543050"/>
                  <a:gd name="connsiteY29" fmla="*/ 800100 h 1533525"/>
                  <a:gd name="connsiteX30" fmla="*/ 76200 w 1543050"/>
                  <a:gd name="connsiteY30" fmla="*/ 788194 h 1533525"/>
                  <a:gd name="connsiteX31" fmla="*/ 128587 w 1543050"/>
                  <a:gd name="connsiteY31" fmla="*/ 821531 h 1533525"/>
                  <a:gd name="connsiteX32" fmla="*/ 126206 w 1543050"/>
                  <a:gd name="connsiteY32" fmla="*/ 800100 h 1533525"/>
                  <a:gd name="connsiteX33" fmla="*/ 164306 w 1543050"/>
                  <a:gd name="connsiteY33" fmla="*/ 795338 h 1533525"/>
                  <a:gd name="connsiteX34" fmla="*/ 173831 w 1543050"/>
                  <a:gd name="connsiteY34" fmla="*/ 759619 h 1533525"/>
                  <a:gd name="connsiteX35" fmla="*/ 235743 w 1543050"/>
                  <a:gd name="connsiteY35" fmla="*/ 764381 h 1533525"/>
                  <a:gd name="connsiteX36" fmla="*/ 235743 w 1543050"/>
                  <a:gd name="connsiteY36" fmla="*/ 764381 h 1533525"/>
                  <a:gd name="connsiteX37" fmla="*/ 245268 w 1543050"/>
                  <a:gd name="connsiteY37" fmla="*/ 704850 h 1533525"/>
                  <a:gd name="connsiteX38" fmla="*/ 276225 w 1543050"/>
                  <a:gd name="connsiteY38" fmla="*/ 666750 h 1533525"/>
                  <a:gd name="connsiteX39" fmla="*/ 292893 w 1543050"/>
                  <a:gd name="connsiteY39" fmla="*/ 638175 h 1533525"/>
                  <a:gd name="connsiteX40" fmla="*/ 245268 w 1543050"/>
                  <a:gd name="connsiteY40" fmla="*/ 602456 h 1533525"/>
                  <a:gd name="connsiteX41" fmla="*/ 264318 w 1543050"/>
                  <a:gd name="connsiteY41" fmla="*/ 585788 h 1533525"/>
                  <a:gd name="connsiteX42" fmla="*/ 311943 w 1543050"/>
                  <a:gd name="connsiteY42" fmla="*/ 602456 h 1533525"/>
                  <a:gd name="connsiteX43" fmla="*/ 369093 w 1543050"/>
                  <a:gd name="connsiteY43" fmla="*/ 573881 h 1533525"/>
                  <a:gd name="connsiteX44" fmla="*/ 457200 w 1543050"/>
                  <a:gd name="connsiteY44" fmla="*/ 545306 h 1533525"/>
                  <a:gd name="connsiteX45" fmla="*/ 538162 w 1543050"/>
                  <a:gd name="connsiteY45" fmla="*/ 578644 h 1533525"/>
                  <a:gd name="connsiteX46" fmla="*/ 614362 w 1543050"/>
                  <a:gd name="connsiteY46" fmla="*/ 550069 h 1533525"/>
                  <a:gd name="connsiteX47" fmla="*/ 650081 w 1543050"/>
                  <a:gd name="connsiteY47" fmla="*/ 552450 h 1533525"/>
                  <a:gd name="connsiteX48" fmla="*/ 654843 w 1543050"/>
                  <a:gd name="connsiteY48" fmla="*/ 523875 h 1533525"/>
                  <a:gd name="connsiteX49" fmla="*/ 654843 w 1543050"/>
                  <a:gd name="connsiteY49" fmla="*/ 490538 h 1533525"/>
                  <a:gd name="connsiteX50" fmla="*/ 669131 w 1543050"/>
                  <a:gd name="connsiteY50" fmla="*/ 469106 h 1533525"/>
                  <a:gd name="connsiteX51" fmla="*/ 652462 w 1543050"/>
                  <a:gd name="connsiteY51" fmla="*/ 450056 h 1533525"/>
                  <a:gd name="connsiteX52" fmla="*/ 642937 w 1543050"/>
                  <a:gd name="connsiteY52" fmla="*/ 411956 h 1533525"/>
                  <a:gd name="connsiteX53" fmla="*/ 642937 w 1543050"/>
                  <a:gd name="connsiteY53" fmla="*/ 330994 h 1533525"/>
                  <a:gd name="connsiteX54" fmla="*/ 633412 w 1543050"/>
                  <a:gd name="connsiteY54" fmla="*/ 319088 h 1533525"/>
                  <a:gd name="connsiteX55" fmla="*/ 664368 w 1543050"/>
                  <a:gd name="connsiteY55" fmla="*/ 285750 h 1533525"/>
                  <a:gd name="connsiteX56" fmla="*/ 721518 w 1543050"/>
                  <a:gd name="connsiteY56" fmla="*/ 292894 h 1533525"/>
                  <a:gd name="connsiteX57" fmla="*/ 733425 w 1543050"/>
                  <a:gd name="connsiteY57" fmla="*/ 264319 h 1533525"/>
                  <a:gd name="connsiteX58" fmla="*/ 731043 w 1543050"/>
                  <a:gd name="connsiteY58" fmla="*/ 228600 h 1533525"/>
                  <a:gd name="connsiteX59" fmla="*/ 790575 w 1543050"/>
                  <a:gd name="connsiteY59" fmla="*/ 192881 h 1533525"/>
                  <a:gd name="connsiteX60" fmla="*/ 804862 w 1543050"/>
                  <a:gd name="connsiteY60" fmla="*/ 166688 h 1533525"/>
                  <a:gd name="connsiteX61" fmla="*/ 778668 w 1543050"/>
                  <a:gd name="connsiteY61" fmla="*/ 128588 h 1533525"/>
                  <a:gd name="connsiteX62" fmla="*/ 771525 w 1543050"/>
                  <a:gd name="connsiteY62" fmla="*/ 104775 h 1533525"/>
                  <a:gd name="connsiteX63" fmla="*/ 823912 w 1543050"/>
                  <a:gd name="connsiteY63" fmla="*/ 97631 h 1533525"/>
                  <a:gd name="connsiteX64" fmla="*/ 869156 w 1543050"/>
                  <a:gd name="connsiteY64" fmla="*/ 52388 h 1533525"/>
                  <a:gd name="connsiteX65" fmla="*/ 890587 w 1543050"/>
                  <a:gd name="connsiteY65" fmla="*/ 23813 h 1533525"/>
                  <a:gd name="connsiteX66" fmla="*/ 923925 w 1543050"/>
                  <a:gd name="connsiteY66" fmla="*/ 9525 h 1533525"/>
                  <a:gd name="connsiteX67" fmla="*/ 971550 w 1543050"/>
                  <a:gd name="connsiteY67" fmla="*/ 0 h 1533525"/>
                  <a:gd name="connsiteX68" fmla="*/ 971550 w 1543050"/>
                  <a:gd name="connsiteY68" fmla="*/ 40481 h 1533525"/>
                  <a:gd name="connsiteX69" fmla="*/ 950118 w 1543050"/>
                  <a:gd name="connsiteY69" fmla="*/ 80963 h 1533525"/>
                  <a:gd name="connsiteX70" fmla="*/ 950118 w 1543050"/>
                  <a:gd name="connsiteY70" fmla="*/ 140494 h 1533525"/>
                  <a:gd name="connsiteX71" fmla="*/ 969168 w 1543050"/>
                  <a:gd name="connsiteY71" fmla="*/ 161925 h 1533525"/>
                  <a:gd name="connsiteX72" fmla="*/ 1007268 w 1543050"/>
                  <a:gd name="connsiteY72" fmla="*/ 188119 h 1533525"/>
                  <a:gd name="connsiteX73" fmla="*/ 1019175 w 1543050"/>
                  <a:gd name="connsiteY73" fmla="*/ 216694 h 1533525"/>
                  <a:gd name="connsiteX74" fmla="*/ 1004887 w 1543050"/>
                  <a:gd name="connsiteY74" fmla="*/ 226219 h 1533525"/>
                  <a:gd name="connsiteX75" fmla="*/ 1057275 w 1543050"/>
                  <a:gd name="connsiteY75" fmla="*/ 250031 h 1533525"/>
                  <a:gd name="connsiteX76" fmla="*/ 1073943 w 1543050"/>
                  <a:gd name="connsiteY76" fmla="*/ 228600 h 1533525"/>
                  <a:gd name="connsiteX77" fmla="*/ 1083468 w 1543050"/>
                  <a:gd name="connsiteY77" fmla="*/ 252413 h 1533525"/>
                  <a:gd name="connsiteX78" fmla="*/ 1116806 w 1543050"/>
                  <a:gd name="connsiteY78" fmla="*/ 252413 h 1533525"/>
                  <a:gd name="connsiteX79" fmla="*/ 1123950 w 1543050"/>
                  <a:gd name="connsiteY79" fmla="*/ 257175 h 1533525"/>
                  <a:gd name="connsiteX80" fmla="*/ 1116806 w 1543050"/>
                  <a:gd name="connsiteY80" fmla="*/ 276225 h 1533525"/>
                  <a:gd name="connsiteX81" fmla="*/ 1088231 w 1543050"/>
                  <a:gd name="connsiteY81" fmla="*/ 309563 h 1533525"/>
                  <a:gd name="connsiteX82" fmla="*/ 1123950 w 1543050"/>
                  <a:gd name="connsiteY82" fmla="*/ 333375 h 1533525"/>
                  <a:gd name="connsiteX83" fmla="*/ 1135856 w 1543050"/>
                  <a:gd name="connsiteY83" fmla="*/ 347663 h 1533525"/>
                  <a:gd name="connsiteX84" fmla="*/ 1135856 w 1543050"/>
                  <a:gd name="connsiteY84" fmla="*/ 376238 h 1533525"/>
                  <a:gd name="connsiteX85" fmla="*/ 1119187 w 1543050"/>
                  <a:gd name="connsiteY85" fmla="*/ 411956 h 1533525"/>
                  <a:gd name="connsiteX86" fmla="*/ 1162050 w 1543050"/>
                  <a:gd name="connsiteY86" fmla="*/ 423863 h 1533525"/>
                  <a:gd name="connsiteX87" fmla="*/ 1233487 w 1543050"/>
                  <a:gd name="connsiteY87" fmla="*/ 416719 h 1533525"/>
                  <a:gd name="connsiteX88" fmla="*/ 1223962 w 1543050"/>
                  <a:gd name="connsiteY88" fmla="*/ 385763 h 1533525"/>
                  <a:gd name="connsiteX89" fmla="*/ 1188243 w 1543050"/>
                  <a:gd name="connsiteY89" fmla="*/ 347663 h 1533525"/>
                  <a:gd name="connsiteX90" fmla="*/ 1181100 w 1543050"/>
                  <a:gd name="connsiteY90" fmla="*/ 333375 h 1533525"/>
                  <a:gd name="connsiteX91" fmla="*/ 1207293 w 1543050"/>
                  <a:gd name="connsiteY91" fmla="*/ 326231 h 1533525"/>
                  <a:gd name="connsiteX92" fmla="*/ 1200150 w 1543050"/>
                  <a:gd name="connsiteY92" fmla="*/ 302419 h 1533525"/>
                  <a:gd name="connsiteX93" fmla="*/ 1223962 w 1543050"/>
                  <a:gd name="connsiteY93" fmla="*/ 283369 h 1533525"/>
                  <a:gd name="connsiteX94" fmla="*/ 1250156 w 1543050"/>
                  <a:gd name="connsiteY94" fmla="*/ 242888 h 1533525"/>
                  <a:gd name="connsiteX95" fmla="*/ 1302543 w 1543050"/>
                  <a:gd name="connsiteY95" fmla="*/ 211931 h 1533525"/>
                  <a:gd name="connsiteX96" fmla="*/ 1350168 w 1543050"/>
                  <a:gd name="connsiteY96" fmla="*/ 123825 h 1533525"/>
                  <a:gd name="connsiteX97" fmla="*/ 1543050 w 1543050"/>
                  <a:gd name="connsiteY97" fmla="*/ 147638 h 1533525"/>
                  <a:gd name="connsiteX98" fmla="*/ 1057275 w 1543050"/>
                  <a:gd name="connsiteY98" fmla="*/ 264319 h 1533525"/>
                  <a:gd name="connsiteX99" fmla="*/ 1062037 w 1543050"/>
                  <a:gd name="connsiteY99" fmla="*/ 304800 h 1533525"/>
                  <a:gd name="connsiteX100" fmla="*/ 995362 w 1543050"/>
                  <a:gd name="connsiteY100" fmla="*/ 352425 h 1533525"/>
                  <a:gd name="connsiteX101" fmla="*/ 973931 w 1543050"/>
                  <a:gd name="connsiteY101" fmla="*/ 383381 h 1533525"/>
                  <a:gd name="connsiteX102" fmla="*/ 1000125 w 1543050"/>
                  <a:gd name="connsiteY102" fmla="*/ 428625 h 1533525"/>
                  <a:gd name="connsiteX103" fmla="*/ 983456 w 1543050"/>
                  <a:gd name="connsiteY103" fmla="*/ 466725 h 1533525"/>
                  <a:gd name="connsiteX104" fmla="*/ 1000125 w 1543050"/>
                  <a:gd name="connsiteY104" fmla="*/ 519113 h 1533525"/>
                  <a:gd name="connsiteX105" fmla="*/ 1033462 w 1543050"/>
                  <a:gd name="connsiteY105" fmla="*/ 519113 h 1533525"/>
                  <a:gd name="connsiteX106" fmla="*/ 1019175 w 1543050"/>
                  <a:gd name="connsiteY106" fmla="*/ 552450 h 1533525"/>
                  <a:gd name="connsiteX107" fmla="*/ 1035843 w 1543050"/>
                  <a:gd name="connsiteY107" fmla="*/ 590550 h 1533525"/>
                  <a:gd name="connsiteX108" fmla="*/ 1035843 w 1543050"/>
                  <a:gd name="connsiteY108" fmla="*/ 607219 h 1533525"/>
                  <a:gd name="connsiteX109" fmla="*/ 1045368 w 1543050"/>
                  <a:gd name="connsiteY109" fmla="*/ 645319 h 1533525"/>
                  <a:gd name="connsiteX110" fmla="*/ 1064418 w 1543050"/>
                  <a:gd name="connsiteY110" fmla="*/ 645319 h 1533525"/>
                  <a:gd name="connsiteX111" fmla="*/ 1078706 w 1543050"/>
                  <a:gd name="connsiteY111" fmla="*/ 666750 h 1533525"/>
                  <a:gd name="connsiteX112" fmla="*/ 1085850 w 1543050"/>
                  <a:gd name="connsiteY112" fmla="*/ 688181 h 1533525"/>
                  <a:gd name="connsiteX113" fmla="*/ 1076325 w 1543050"/>
                  <a:gd name="connsiteY113" fmla="*/ 719138 h 1533525"/>
                  <a:gd name="connsiteX114" fmla="*/ 1021556 w 1543050"/>
                  <a:gd name="connsiteY114" fmla="*/ 714375 h 1533525"/>
                  <a:gd name="connsiteX115" fmla="*/ 1002506 w 1543050"/>
                  <a:gd name="connsiteY115" fmla="*/ 721519 h 1533525"/>
                  <a:gd name="connsiteX116" fmla="*/ 995362 w 1543050"/>
                  <a:gd name="connsiteY116" fmla="*/ 726281 h 1533525"/>
                  <a:gd name="connsiteX117" fmla="*/ 995362 w 1543050"/>
                  <a:gd name="connsiteY117" fmla="*/ 726281 h 1533525"/>
                  <a:gd name="connsiteX118" fmla="*/ 923925 w 1543050"/>
                  <a:gd name="connsiteY118" fmla="*/ 721519 h 1533525"/>
                  <a:gd name="connsiteX119" fmla="*/ 940593 w 1543050"/>
                  <a:gd name="connsiteY119" fmla="*/ 778669 h 1533525"/>
                  <a:gd name="connsiteX120" fmla="*/ 938212 w 1543050"/>
                  <a:gd name="connsiteY120" fmla="*/ 847725 h 1533525"/>
                  <a:gd name="connsiteX121" fmla="*/ 954881 w 1543050"/>
                  <a:gd name="connsiteY121" fmla="*/ 871538 h 1533525"/>
                  <a:gd name="connsiteX122" fmla="*/ 997743 w 1543050"/>
                  <a:gd name="connsiteY122" fmla="*/ 919163 h 1533525"/>
                  <a:gd name="connsiteX123" fmla="*/ 1012031 w 1543050"/>
                  <a:gd name="connsiteY123" fmla="*/ 954881 h 1533525"/>
                  <a:gd name="connsiteX124" fmla="*/ 1031081 w 1543050"/>
                  <a:gd name="connsiteY124" fmla="*/ 954881 h 1533525"/>
                  <a:gd name="connsiteX125" fmla="*/ 1071562 w 1543050"/>
                  <a:gd name="connsiteY125" fmla="*/ 940594 h 1533525"/>
                  <a:gd name="connsiteX126" fmla="*/ 1102518 w 1543050"/>
                  <a:gd name="connsiteY126" fmla="*/ 933450 h 1533525"/>
                  <a:gd name="connsiteX127" fmla="*/ 1159668 w 1543050"/>
                  <a:gd name="connsiteY127" fmla="*/ 997744 h 1533525"/>
                  <a:gd name="connsiteX128" fmla="*/ 1178718 w 1543050"/>
                  <a:gd name="connsiteY128" fmla="*/ 1052513 h 1533525"/>
                  <a:gd name="connsiteX129" fmla="*/ 1190625 w 1543050"/>
                  <a:gd name="connsiteY129" fmla="*/ 1081088 h 1533525"/>
                  <a:gd name="connsiteX130" fmla="*/ 1212056 w 1543050"/>
                  <a:gd name="connsiteY130" fmla="*/ 1109663 h 1533525"/>
                  <a:gd name="connsiteX131" fmla="*/ 1231106 w 1543050"/>
                  <a:gd name="connsiteY131" fmla="*/ 1102519 h 1533525"/>
                  <a:gd name="connsiteX132" fmla="*/ 1231106 w 1543050"/>
                  <a:gd name="connsiteY132" fmla="*/ 1131094 h 1533525"/>
                  <a:gd name="connsiteX133" fmla="*/ 1233487 w 1543050"/>
                  <a:gd name="connsiteY133" fmla="*/ 1145381 h 1533525"/>
                  <a:gd name="connsiteX134" fmla="*/ 1266825 w 1543050"/>
                  <a:gd name="connsiteY134" fmla="*/ 1181100 h 1533525"/>
                  <a:gd name="connsiteX135" fmla="*/ 1233487 w 1543050"/>
                  <a:gd name="connsiteY135" fmla="*/ 1181100 h 1533525"/>
                  <a:gd name="connsiteX136" fmla="*/ 1228725 w 1543050"/>
                  <a:gd name="connsiteY136" fmla="*/ 1223963 h 1533525"/>
                  <a:gd name="connsiteX137" fmla="*/ 1226343 w 1543050"/>
                  <a:gd name="connsiteY137" fmla="*/ 1243013 h 1533525"/>
                  <a:gd name="connsiteX138" fmla="*/ 1216818 w 1543050"/>
                  <a:gd name="connsiteY138" fmla="*/ 1264444 h 1533525"/>
                  <a:gd name="connsiteX139" fmla="*/ 1190625 w 1543050"/>
                  <a:gd name="connsiteY139" fmla="*/ 1238250 h 1533525"/>
                  <a:gd name="connsiteX140" fmla="*/ 1157287 w 1543050"/>
                  <a:gd name="connsiteY140" fmla="*/ 1209675 h 1533525"/>
                  <a:gd name="connsiteX141" fmla="*/ 1131093 w 1543050"/>
                  <a:gd name="connsiteY141" fmla="*/ 1185863 h 1533525"/>
                  <a:gd name="connsiteX142" fmla="*/ 1107281 w 1543050"/>
                  <a:gd name="connsiteY142" fmla="*/ 1219200 h 1533525"/>
                  <a:gd name="connsiteX143" fmla="*/ 1104900 w 1543050"/>
                  <a:gd name="connsiteY143" fmla="*/ 1264444 h 1533525"/>
                  <a:gd name="connsiteX144" fmla="*/ 1062037 w 1543050"/>
                  <a:gd name="connsiteY144" fmla="*/ 1259681 h 1533525"/>
                  <a:gd name="connsiteX145" fmla="*/ 1026318 w 1543050"/>
                  <a:gd name="connsiteY145" fmla="*/ 1288256 h 1533525"/>
                  <a:gd name="connsiteX146" fmla="*/ 1007268 w 1543050"/>
                  <a:gd name="connsiteY146" fmla="*/ 1240631 h 1533525"/>
                  <a:gd name="connsiteX147" fmla="*/ 947737 w 1543050"/>
                  <a:gd name="connsiteY147" fmla="*/ 1231106 h 1533525"/>
                  <a:gd name="connsiteX148" fmla="*/ 921543 w 1543050"/>
                  <a:gd name="connsiteY148" fmla="*/ 1297781 h 1533525"/>
                  <a:gd name="connsiteX149" fmla="*/ 885825 w 1543050"/>
                  <a:gd name="connsiteY149" fmla="*/ 1278731 h 1533525"/>
                  <a:gd name="connsiteX150" fmla="*/ 816768 w 1543050"/>
                  <a:gd name="connsiteY150" fmla="*/ 1295400 h 1533525"/>
                  <a:gd name="connsiteX151" fmla="*/ 757237 w 1543050"/>
                  <a:gd name="connsiteY151" fmla="*/ 1259681 h 1533525"/>
                  <a:gd name="connsiteX152" fmla="*/ 742950 w 1543050"/>
                  <a:gd name="connsiteY152" fmla="*/ 1312069 h 1533525"/>
                  <a:gd name="connsiteX153" fmla="*/ 704850 w 1543050"/>
                  <a:gd name="connsiteY153" fmla="*/ 1345406 h 1533525"/>
                  <a:gd name="connsiteX154" fmla="*/ 692943 w 1543050"/>
                  <a:gd name="connsiteY154" fmla="*/ 1366838 h 1533525"/>
                  <a:gd name="connsiteX155" fmla="*/ 671512 w 1543050"/>
                  <a:gd name="connsiteY155" fmla="*/ 1509713 h 1533525"/>
                  <a:gd name="connsiteX156" fmla="*/ 633412 w 1543050"/>
                  <a:gd name="connsiteY156" fmla="*/ 1490663 h 1533525"/>
                  <a:gd name="connsiteX157" fmla="*/ 614362 w 1543050"/>
                  <a:gd name="connsiteY157" fmla="*/ 1504950 h 1533525"/>
                  <a:gd name="connsiteX158" fmla="*/ 581025 w 1543050"/>
                  <a:gd name="connsiteY158" fmla="*/ 1531144 h 1533525"/>
                  <a:gd name="connsiteX159" fmla="*/ 523875 w 1543050"/>
                  <a:gd name="connsiteY159" fmla="*/ 1502569 h 1533525"/>
                  <a:gd name="connsiteX160" fmla="*/ 514350 w 1543050"/>
                  <a:gd name="connsiteY160" fmla="*/ 1490663 h 1533525"/>
                  <a:gd name="connsiteX161" fmla="*/ 483393 w 1543050"/>
                  <a:gd name="connsiteY161" fmla="*/ 1533525 h 1533525"/>
                  <a:gd name="connsiteX0" fmla="*/ 483393 w 1350168"/>
                  <a:gd name="connsiteY0" fmla="*/ 1533525 h 1533525"/>
                  <a:gd name="connsiteX1" fmla="*/ 459581 w 1350168"/>
                  <a:gd name="connsiteY1" fmla="*/ 1481138 h 1533525"/>
                  <a:gd name="connsiteX2" fmla="*/ 438150 w 1350168"/>
                  <a:gd name="connsiteY2" fmla="*/ 1471613 h 1533525"/>
                  <a:gd name="connsiteX3" fmla="*/ 400050 w 1350168"/>
                  <a:gd name="connsiteY3" fmla="*/ 1485900 h 1533525"/>
                  <a:gd name="connsiteX4" fmla="*/ 338137 w 1350168"/>
                  <a:gd name="connsiteY4" fmla="*/ 1490663 h 1533525"/>
                  <a:gd name="connsiteX5" fmla="*/ 330993 w 1350168"/>
                  <a:gd name="connsiteY5" fmla="*/ 1497806 h 1533525"/>
                  <a:gd name="connsiteX6" fmla="*/ 271462 w 1350168"/>
                  <a:gd name="connsiteY6" fmla="*/ 1471613 h 1533525"/>
                  <a:gd name="connsiteX7" fmla="*/ 219075 w 1350168"/>
                  <a:gd name="connsiteY7" fmla="*/ 1443038 h 1533525"/>
                  <a:gd name="connsiteX8" fmla="*/ 138112 w 1350168"/>
                  <a:gd name="connsiteY8" fmla="*/ 1402556 h 1533525"/>
                  <a:gd name="connsiteX9" fmla="*/ 95250 w 1350168"/>
                  <a:gd name="connsiteY9" fmla="*/ 1316831 h 1533525"/>
                  <a:gd name="connsiteX10" fmla="*/ 80962 w 1350168"/>
                  <a:gd name="connsiteY10" fmla="*/ 1288256 h 1533525"/>
                  <a:gd name="connsiteX11" fmla="*/ 104775 w 1350168"/>
                  <a:gd name="connsiteY11" fmla="*/ 1266825 h 1533525"/>
                  <a:gd name="connsiteX12" fmla="*/ 76200 w 1350168"/>
                  <a:gd name="connsiteY12" fmla="*/ 1212056 h 1533525"/>
                  <a:gd name="connsiteX13" fmla="*/ 109537 w 1350168"/>
                  <a:gd name="connsiteY13" fmla="*/ 1193006 h 1533525"/>
                  <a:gd name="connsiteX14" fmla="*/ 140493 w 1350168"/>
                  <a:gd name="connsiteY14" fmla="*/ 1143000 h 1533525"/>
                  <a:gd name="connsiteX15" fmla="*/ 123825 w 1350168"/>
                  <a:gd name="connsiteY15" fmla="*/ 1107281 h 1533525"/>
                  <a:gd name="connsiteX16" fmla="*/ 178593 w 1350168"/>
                  <a:gd name="connsiteY16" fmla="*/ 1107281 h 1533525"/>
                  <a:gd name="connsiteX17" fmla="*/ 192881 w 1350168"/>
                  <a:gd name="connsiteY17" fmla="*/ 1109663 h 1533525"/>
                  <a:gd name="connsiteX18" fmla="*/ 159543 w 1350168"/>
                  <a:gd name="connsiteY18" fmla="*/ 1064419 h 1533525"/>
                  <a:gd name="connsiteX19" fmla="*/ 169068 w 1350168"/>
                  <a:gd name="connsiteY19" fmla="*/ 1014413 h 1533525"/>
                  <a:gd name="connsiteX20" fmla="*/ 123825 w 1350168"/>
                  <a:gd name="connsiteY20" fmla="*/ 997744 h 1533525"/>
                  <a:gd name="connsiteX21" fmla="*/ 61912 w 1350168"/>
                  <a:gd name="connsiteY21" fmla="*/ 954881 h 1533525"/>
                  <a:gd name="connsiteX22" fmla="*/ 45243 w 1350168"/>
                  <a:gd name="connsiteY22" fmla="*/ 938213 h 1533525"/>
                  <a:gd name="connsiteX23" fmla="*/ 64293 w 1350168"/>
                  <a:gd name="connsiteY23" fmla="*/ 909638 h 1533525"/>
                  <a:gd name="connsiteX24" fmla="*/ 47625 w 1350168"/>
                  <a:gd name="connsiteY24" fmla="*/ 897731 h 1533525"/>
                  <a:gd name="connsiteX25" fmla="*/ 47625 w 1350168"/>
                  <a:gd name="connsiteY25" fmla="*/ 881063 h 1533525"/>
                  <a:gd name="connsiteX26" fmla="*/ 26193 w 1350168"/>
                  <a:gd name="connsiteY26" fmla="*/ 881063 h 1533525"/>
                  <a:gd name="connsiteX27" fmla="*/ 7143 w 1350168"/>
                  <a:gd name="connsiteY27" fmla="*/ 847725 h 1533525"/>
                  <a:gd name="connsiteX28" fmla="*/ 0 w 1350168"/>
                  <a:gd name="connsiteY28" fmla="*/ 816769 h 1533525"/>
                  <a:gd name="connsiteX29" fmla="*/ 54768 w 1350168"/>
                  <a:gd name="connsiteY29" fmla="*/ 800100 h 1533525"/>
                  <a:gd name="connsiteX30" fmla="*/ 76200 w 1350168"/>
                  <a:gd name="connsiteY30" fmla="*/ 788194 h 1533525"/>
                  <a:gd name="connsiteX31" fmla="*/ 128587 w 1350168"/>
                  <a:gd name="connsiteY31" fmla="*/ 821531 h 1533525"/>
                  <a:gd name="connsiteX32" fmla="*/ 126206 w 1350168"/>
                  <a:gd name="connsiteY32" fmla="*/ 800100 h 1533525"/>
                  <a:gd name="connsiteX33" fmla="*/ 164306 w 1350168"/>
                  <a:gd name="connsiteY33" fmla="*/ 795338 h 1533525"/>
                  <a:gd name="connsiteX34" fmla="*/ 173831 w 1350168"/>
                  <a:gd name="connsiteY34" fmla="*/ 759619 h 1533525"/>
                  <a:gd name="connsiteX35" fmla="*/ 235743 w 1350168"/>
                  <a:gd name="connsiteY35" fmla="*/ 764381 h 1533525"/>
                  <a:gd name="connsiteX36" fmla="*/ 235743 w 1350168"/>
                  <a:gd name="connsiteY36" fmla="*/ 764381 h 1533525"/>
                  <a:gd name="connsiteX37" fmla="*/ 245268 w 1350168"/>
                  <a:gd name="connsiteY37" fmla="*/ 704850 h 1533525"/>
                  <a:gd name="connsiteX38" fmla="*/ 276225 w 1350168"/>
                  <a:gd name="connsiteY38" fmla="*/ 666750 h 1533525"/>
                  <a:gd name="connsiteX39" fmla="*/ 292893 w 1350168"/>
                  <a:gd name="connsiteY39" fmla="*/ 638175 h 1533525"/>
                  <a:gd name="connsiteX40" fmla="*/ 245268 w 1350168"/>
                  <a:gd name="connsiteY40" fmla="*/ 602456 h 1533525"/>
                  <a:gd name="connsiteX41" fmla="*/ 264318 w 1350168"/>
                  <a:gd name="connsiteY41" fmla="*/ 585788 h 1533525"/>
                  <a:gd name="connsiteX42" fmla="*/ 311943 w 1350168"/>
                  <a:gd name="connsiteY42" fmla="*/ 602456 h 1533525"/>
                  <a:gd name="connsiteX43" fmla="*/ 369093 w 1350168"/>
                  <a:gd name="connsiteY43" fmla="*/ 573881 h 1533525"/>
                  <a:gd name="connsiteX44" fmla="*/ 457200 w 1350168"/>
                  <a:gd name="connsiteY44" fmla="*/ 545306 h 1533525"/>
                  <a:gd name="connsiteX45" fmla="*/ 538162 w 1350168"/>
                  <a:gd name="connsiteY45" fmla="*/ 578644 h 1533525"/>
                  <a:gd name="connsiteX46" fmla="*/ 614362 w 1350168"/>
                  <a:gd name="connsiteY46" fmla="*/ 550069 h 1533525"/>
                  <a:gd name="connsiteX47" fmla="*/ 650081 w 1350168"/>
                  <a:gd name="connsiteY47" fmla="*/ 552450 h 1533525"/>
                  <a:gd name="connsiteX48" fmla="*/ 654843 w 1350168"/>
                  <a:gd name="connsiteY48" fmla="*/ 523875 h 1533525"/>
                  <a:gd name="connsiteX49" fmla="*/ 654843 w 1350168"/>
                  <a:gd name="connsiteY49" fmla="*/ 490538 h 1533525"/>
                  <a:gd name="connsiteX50" fmla="*/ 669131 w 1350168"/>
                  <a:gd name="connsiteY50" fmla="*/ 469106 h 1533525"/>
                  <a:gd name="connsiteX51" fmla="*/ 652462 w 1350168"/>
                  <a:gd name="connsiteY51" fmla="*/ 450056 h 1533525"/>
                  <a:gd name="connsiteX52" fmla="*/ 642937 w 1350168"/>
                  <a:gd name="connsiteY52" fmla="*/ 411956 h 1533525"/>
                  <a:gd name="connsiteX53" fmla="*/ 642937 w 1350168"/>
                  <a:gd name="connsiteY53" fmla="*/ 330994 h 1533525"/>
                  <a:gd name="connsiteX54" fmla="*/ 633412 w 1350168"/>
                  <a:gd name="connsiteY54" fmla="*/ 319088 h 1533525"/>
                  <a:gd name="connsiteX55" fmla="*/ 664368 w 1350168"/>
                  <a:gd name="connsiteY55" fmla="*/ 285750 h 1533525"/>
                  <a:gd name="connsiteX56" fmla="*/ 721518 w 1350168"/>
                  <a:gd name="connsiteY56" fmla="*/ 292894 h 1533525"/>
                  <a:gd name="connsiteX57" fmla="*/ 733425 w 1350168"/>
                  <a:gd name="connsiteY57" fmla="*/ 264319 h 1533525"/>
                  <a:gd name="connsiteX58" fmla="*/ 731043 w 1350168"/>
                  <a:gd name="connsiteY58" fmla="*/ 228600 h 1533525"/>
                  <a:gd name="connsiteX59" fmla="*/ 790575 w 1350168"/>
                  <a:gd name="connsiteY59" fmla="*/ 192881 h 1533525"/>
                  <a:gd name="connsiteX60" fmla="*/ 804862 w 1350168"/>
                  <a:gd name="connsiteY60" fmla="*/ 166688 h 1533525"/>
                  <a:gd name="connsiteX61" fmla="*/ 778668 w 1350168"/>
                  <a:gd name="connsiteY61" fmla="*/ 128588 h 1533525"/>
                  <a:gd name="connsiteX62" fmla="*/ 771525 w 1350168"/>
                  <a:gd name="connsiteY62" fmla="*/ 104775 h 1533525"/>
                  <a:gd name="connsiteX63" fmla="*/ 823912 w 1350168"/>
                  <a:gd name="connsiteY63" fmla="*/ 97631 h 1533525"/>
                  <a:gd name="connsiteX64" fmla="*/ 869156 w 1350168"/>
                  <a:gd name="connsiteY64" fmla="*/ 52388 h 1533525"/>
                  <a:gd name="connsiteX65" fmla="*/ 890587 w 1350168"/>
                  <a:gd name="connsiteY65" fmla="*/ 23813 h 1533525"/>
                  <a:gd name="connsiteX66" fmla="*/ 923925 w 1350168"/>
                  <a:gd name="connsiteY66" fmla="*/ 9525 h 1533525"/>
                  <a:gd name="connsiteX67" fmla="*/ 971550 w 1350168"/>
                  <a:gd name="connsiteY67" fmla="*/ 0 h 1533525"/>
                  <a:gd name="connsiteX68" fmla="*/ 971550 w 1350168"/>
                  <a:gd name="connsiteY68" fmla="*/ 40481 h 1533525"/>
                  <a:gd name="connsiteX69" fmla="*/ 950118 w 1350168"/>
                  <a:gd name="connsiteY69" fmla="*/ 80963 h 1533525"/>
                  <a:gd name="connsiteX70" fmla="*/ 950118 w 1350168"/>
                  <a:gd name="connsiteY70" fmla="*/ 140494 h 1533525"/>
                  <a:gd name="connsiteX71" fmla="*/ 969168 w 1350168"/>
                  <a:gd name="connsiteY71" fmla="*/ 161925 h 1533525"/>
                  <a:gd name="connsiteX72" fmla="*/ 1007268 w 1350168"/>
                  <a:gd name="connsiteY72" fmla="*/ 188119 h 1533525"/>
                  <a:gd name="connsiteX73" fmla="*/ 1019175 w 1350168"/>
                  <a:gd name="connsiteY73" fmla="*/ 216694 h 1533525"/>
                  <a:gd name="connsiteX74" fmla="*/ 1004887 w 1350168"/>
                  <a:gd name="connsiteY74" fmla="*/ 226219 h 1533525"/>
                  <a:gd name="connsiteX75" fmla="*/ 1057275 w 1350168"/>
                  <a:gd name="connsiteY75" fmla="*/ 250031 h 1533525"/>
                  <a:gd name="connsiteX76" fmla="*/ 1073943 w 1350168"/>
                  <a:gd name="connsiteY76" fmla="*/ 228600 h 1533525"/>
                  <a:gd name="connsiteX77" fmla="*/ 1083468 w 1350168"/>
                  <a:gd name="connsiteY77" fmla="*/ 252413 h 1533525"/>
                  <a:gd name="connsiteX78" fmla="*/ 1116806 w 1350168"/>
                  <a:gd name="connsiteY78" fmla="*/ 252413 h 1533525"/>
                  <a:gd name="connsiteX79" fmla="*/ 1123950 w 1350168"/>
                  <a:gd name="connsiteY79" fmla="*/ 257175 h 1533525"/>
                  <a:gd name="connsiteX80" fmla="*/ 1116806 w 1350168"/>
                  <a:gd name="connsiteY80" fmla="*/ 276225 h 1533525"/>
                  <a:gd name="connsiteX81" fmla="*/ 1088231 w 1350168"/>
                  <a:gd name="connsiteY81" fmla="*/ 309563 h 1533525"/>
                  <a:gd name="connsiteX82" fmla="*/ 1123950 w 1350168"/>
                  <a:gd name="connsiteY82" fmla="*/ 333375 h 1533525"/>
                  <a:gd name="connsiteX83" fmla="*/ 1135856 w 1350168"/>
                  <a:gd name="connsiteY83" fmla="*/ 347663 h 1533525"/>
                  <a:gd name="connsiteX84" fmla="*/ 1135856 w 1350168"/>
                  <a:gd name="connsiteY84" fmla="*/ 376238 h 1533525"/>
                  <a:gd name="connsiteX85" fmla="*/ 1119187 w 1350168"/>
                  <a:gd name="connsiteY85" fmla="*/ 411956 h 1533525"/>
                  <a:gd name="connsiteX86" fmla="*/ 1162050 w 1350168"/>
                  <a:gd name="connsiteY86" fmla="*/ 423863 h 1533525"/>
                  <a:gd name="connsiteX87" fmla="*/ 1233487 w 1350168"/>
                  <a:gd name="connsiteY87" fmla="*/ 416719 h 1533525"/>
                  <a:gd name="connsiteX88" fmla="*/ 1223962 w 1350168"/>
                  <a:gd name="connsiteY88" fmla="*/ 385763 h 1533525"/>
                  <a:gd name="connsiteX89" fmla="*/ 1188243 w 1350168"/>
                  <a:gd name="connsiteY89" fmla="*/ 347663 h 1533525"/>
                  <a:gd name="connsiteX90" fmla="*/ 1181100 w 1350168"/>
                  <a:gd name="connsiteY90" fmla="*/ 333375 h 1533525"/>
                  <a:gd name="connsiteX91" fmla="*/ 1207293 w 1350168"/>
                  <a:gd name="connsiteY91" fmla="*/ 326231 h 1533525"/>
                  <a:gd name="connsiteX92" fmla="*/ 1200150 w 1350168"/>
                  <a:gd name="connsiteY92" fmla="*/ 302419 h 1533525"/>
                  <a:gd name="connsiteX93" fmla="*/ 1223962 w 1350168"/>
                  <a:gd name="connsiteY93" fmla="*/ 283369 h 1533525"/>
                  <a:gd name="connsiteX94" fmla="*/ 1250156 w 1350168"/>
                  <a:gd name="connsiteY94" fmla="*/ 242888 h 1533525"/>
                  <a:gd name="connsiteX95" fmla="*/ 1302543 w 1350168"/>
                  <a:gd name="connsiteY95" fmla="*/ 211931 h 1533525"/>
                  <a:gd name="connsiteX96" fmla="*/ 1350168 w 1350168"/>
                  <a:gd name="connsiteY96" fmla="*/ 123825 h 1533525"/>
                  <a:gd name="connsiteX97" fmla="*/ 1057275 w 1350168"/>
                  <a:gd name="connsiteY97" fmla="*/ 264319 h 1533525"/>
                  <a:gd name="connsiteX98" fmla="*/ 1062037 w 1350168"/>
                  <a:gd name="connsiteY98" fmla="*/ 304800 h 1533525"/>
                  <a:gd name="connsiteX99" fmla="*/ 995362 w 1350168"/>
                  <a:gd name="connsiteY99" fmla="*/ 352425 h 1533525"/>
                  <a:gd name="connsiteX100" fmla="*/ 973931 w 1350168"/>
                  <a:gd name="connsiteY100" fmla="*/ 383381 h 1533525"/>
                  <a:gd name="connsiteX101" fmla="*/ 1000125 w 1350168"/>
                  <a:gd name="connsiteY101" fmla="*/ 428625 h 1533525"/>
                  <a:gd name="connsiteX102" fmla="*/ 983456 w 1350168"/>
                  <a:gd name="connsiteY102" fmla="*/ 466725 h 1533525"/>
                  <a:gd name="connsiteX103" fmla="*/ 1000125 w 1350168"/>
                  <a:gd name="connsiteY103" fmla="*/ 519113 h 1533525"/>
                  <a:gd name="connsiteX104" fmla="*/ 1033462 w 1350168"/>
                  <a:gd name="connsiteY104" fmla="*/ 519113 h 1533525"/>
                  <a:gd name="connsiteX105" fmla="*/ 1019175 w 1350168"/>
                  <a:gd name="connsiteY105" fmla="*/ 552450 h 1533525"/>
                  <a:gd name="connsiteX106" fmla="*/ 1035843 w 1350168"/>
                  <a:gd name="connsiteY106" fmla="*/ 590550 h 1533525"/>
                  <a:gd name="connsiteX107" fmla="*/ 1035843 w 1350168"/>
                  <a:gd name="connsiteY107" fmla="*/ 607219 h 1533525"/>
                  <a:gd name="connsiteX108" fmla="*/ 1045368 w 1350168"/>
                  <a:gd name="connsiteY108" fmla="*/ 645319 h 1533525"/>
                  <a:gd name="connsiteX109" fmla="*/ 1064418 w 1350168"/>
                  <a:gd name="connsiteY109" fmla="*/ 645319 h 1533525"/>
                  <a:gd name="connsiteX110" fmla="*/ 1078706 w 1350168"/>
                  <a:gd name="connsiteY110" fmla="*/ 666750 h 1533525"/>
                  <a:gd name="connsiteX111" fmla="*/ 1085850 w 1350168"/>
                  <a:gd name="connsiteY111" fmla="*/ 688181 h 1533525"/>
                  <a:gd name="connsiteX112" fmla="*/ 1076325 w 1350168"/>
                  <a:gd name="connsiteY112" fmla="*/ 719138 h 1533525"/>
                  <a:gd name="connsiteX113" fmla="*/ 1021556 w 1350168"/>
                  <a:gd name="connsiteY113" fmla="*/ 714375 h 1533525"/>
                  <a:gd name="connsiteX114" fmla="*/ 1002506 w 1350168"/>
                  <a:gd name="connsiteY114" fmla="*/ 721519 h 1533525"/>
                  <a:gd name="connsiteX115" fmla="*/ 995362 w 1350168"/>
                  <a:gd name="connsiteY115" fmla="*/ 726281 h 1533525"/>
                  <a:gd name="connsiteX116" fmla="*/ 995362 w 1350168"/>
                  <a:gd name="connsiteY116" fmla="*/ 726281 h 1533525"/>
                  <a:gd name="connsiteX117" fmla="*/ 923925 w 1350168"/>
                  <a:gd name="connsiteY117" fmla="*/ 721519 h 1533525"/>
                  <a:gd name="connsiteX118" fmla="*/ 940593 w 1350168"/>
                  <a:gd name="connsiteY118" fmla="*/ 778669 h 1533525"/>
                  <a:gd name="connsiteX119" fmla="*/ 938212 w 1350168"/>
                  <a:gd name="connsiteY119" fmla="*/ 847725 h 1533525"/>
                  <a:gd name="connsiteX120" fmla="*/ 954881 w 1350168"/>
                  <a:gd name="connsiteY120" fmla="*/ 871538 h 1533525"/>
                  <a:gd name="connsiteX121" fmla="*/ 997743 w 1350168"/>
                  <a:gd name="connsiteY121" fmla="*/ 919163 h 1533525"/>
                  <a:gd name="connsiteX122" fmla="*/ 1012031 w 1350168"/>
                  <a:gd name="connsiteY122" fmla="*/ 954881 h 1533525"/>
                  <a:gd name="connsiteX123" fmla="*/ 1031081 w 1350168"/>
                  <a:gd name="connsiteY123" fmla="*/ 954881 h 1533525"/>
                  <a:gd name="connsiteX124" fmla="*/ 1071562 w 1350168"/>
                  <a:gd name="connsiteY124" fmla="*/ 940594 h 1533525"/>
                  <a:gd name="connsiteX125" fmla="*/ 1102518 w 1350168"/>
                  <a:gd name="connsiteY125" fmla="*/ 933450 h 1533525"/>
                  <a:gd name="connsiteX126" fmla="*/ 1159668 w 1350168"/>
                  <a:gd name="connsiteY126" fmla="*/ 997744 h 1533525"/>
                  <a:gd name="connsiteX127" fmla="*/ 1178718 w 1350168"/>
                  <a:gd name="connsiteY127" fmla="*/ 1052513 h 1533525"/>
                  <a:gd name="connsiteX128" fmla="*/ 1190625 w 1350168"/>
                  <a:gd name="connsiteY128" fmla="*/ 1081088 h 1533525"/>
                  <a:gd name="connsiteX129" fmla="*/ 1212056 w 1350168"/>
                  <a:gd name="connsiteY129" fmla="*/ 1109663 h 1533525"/>
                  <a:gd name="connsiteX130" fmla="*/ 1231106 w 1350168"/>
                  <a:gd name="connsiteY130" fmla="*/ 1102519 h 1533525"/>
                  <a:gd name="connsiteX131" fmla="*/ 1231106 w 1350168"/>
                  <a:gd name="connsiteY131" fmla="*/ 1131094 h 1533525"/>
                  <a:gd name="connsiteX132" fmla="*/ 1233487 w 1350168"/>
                  <a:gd name="connsiteY132" fmla="*/ 1145381 h 1533525"/>
                  <a:gd name="connsiteX133" fmla="*/ 1266825 w 1350168"/>
                  <a:gd name="connsiteY133" fmla="*/ 1181100 h 1533525"/>
                  <a:gd name="connsiteX134" fmla="*/ 1233487 w 1350168"/>
                  <a:gd name="connsiteY134" fmla="*/ 1181100 h 1533525"/>
                  <a:gd name="connsiteX135" fmla="*/ 1228725 w 1350168"/>
                  <a:gd name="connsiteY135" fmla="*/ 1223963 h 1533525"/>
                  <a:gd name="connsiteX136" fmla="*/ 1226343 w 1350168"/>
                  <a:gd name="connsiteY136" fmla="*/ 1243013 h 1533525"/>
                  <a:gd name="connsiteX137" fmla="*/ 1216818 w 1350168"/>
                  <a:gd name="connsiteY137" fmla="*/ 1264444 h 1533525"/>
                  <a:gd name="connsiteX138" fmla="*/ 1190625 w 1350168"/>
                  <a:gd name="connsiteY138" fmla="*/ 1238250 h 1533525"/>
                  <a:gd name="connsiteX139" fmla="*/ 1157287 w 1350168"/>
                  <a:gd name="connsiteY139" fmla="*/ 1209675 h 1533525"/>
                  <a:gd name="connsiteX140" fmla="*/ 1131093 w 1350168"/>
                  <a:gd name="connsiteY140" fmla="*/ 1185863 h 1533525"/>
                  <a:gd name="connsiteX141" fmla="*/ 1107281 w 1350168"/>
                  <a:gd name="connsiteY141" fmla="*/ 1219200 h 1533525"/>
                  <a:gd name="connsiteX142" fmla="*/ 1104900 w 1350168"/>
                  <a:gd name="connsiteY142" fmla="*/ 1264444 h 1533525"/>
                  <a:gd name="connsiteX143" fmla="*/ 1062037 w 1350168"/>
                  <a:gd name="connsiteY143" fmla="*/ 1259681 h 1533525"/>
                  <a:gd name="connsiteX144" fmla="*/ 1026318 w 1350168"/>
                  <a:gd name="connsiteY144" fmla="*/ 1288256 h 1533525"/>
                  <a:gd name="connsiteX145" fmla="*/ 1007268 w 1350168"/>
                  <a:gd name="connsiteY145" fmla="*/ 1240631 h 1533525"/>
                  <a:gd name="connsiteX146" fmla="*/ 947737 w 1350168"/>
                  <a:gd name="connsiteY146" fmla="*/ 1231106 h 1533525"/>
                  <a:gd name="connsiteX147" fmla="*/ 921543 w 1350168"/>
                  <a:gd name="connsiteY147" fmla="*/ 1297781 h 1533525"/>
                  <a:gd name="connsiteX148" fmla="*/ 885825 w 1350168"/>
                  <a:gd name="connsiteY148" fmla="*/ 1278731 h 1533525"/>
                  <a:gd name="connsiteX149" fmla="*/ 816768 w 1350168"/>
                  <a:gd name="connsiteY149" fmla="*/ 1295400 h 1533525"/>
                  <a:gd name="connsiteX150" fmla="*/ 757237 w 1350168"/>
                  <a:gd name="connsiteY150" fmla="*/ 1259681 h 1533525"/>
                  <a:gd name="connsiteX151" fmla="*/ 742950 w 1350168"/>
                  <a:gd name="connsiteY151" fmla="*/ 1312069 h 1533525"/>
                  <a:gd name="connsiteX152" fmla="*/ 704850 w 1350168"/>
                  <a:gd name="connsiteY152" fmla="*/ 1345406 h 1533525"/>
                  <a:gd name="connsiteX153" fmla="*/ 692943 w 1350168"/>
                  <a:gd name="connsiteY153" fmla="*/ 1366838 h 1533525"/>
                  <a:gd name="connsiteX154" fmla="*/ 671512 w 1350168"/>
                  <a:gd name="connsiteY154" fmla="*/ 1509713 h 1533525"/>
                  <a:gd name="connsiteX155" fmla="*/ 633412 w 1350168"/>
                  <a:gd name="connsiteY155" fmla="*/ 1490663 h 1533525"/>
                  <a:gd name="connsiteX156" fmla="*/ 614362 w 1350168"/>
                  <a:gd name="connsiteY156" fmla="*/ 1504950 h 1533525"/>
                  <a:gd name="connsiteX157" fmla="*/ 581025 w 1350168"/>
                  <a:gd name="connsiteY157" fmla="*/ 1531144 h 1533525"/>
                  <a:gd name="connsiteX158" fmla="*/ 523875 w 1350168"/>
                  <a:gd name="connsiteY158" fmla="*/ 1502569 h 1533525"/>
                  <a:gd name="connsiteX159" fmla="*/ 514350 w 1350168"/>
                  <a:gd name="connsiteY159" fmla="*/ 1490663 h 1533525"/>
                  <a:gd name="connsiteX160" fmla="*/ 483393 w 1350168"/>
                  <a:gd name="connsiteY160" fmla="*/ 1533525 h 1533525"/>
                  <a:gd name="connsiteX0" fmla="*/ 483393 w 1302543"/>
                  <a:gd name="connsiteY0" fmla="*/ 1533525 h 1533525"/>
                  <a:gd name="connsiteX1" fmla="*/ 459581 w 1302543"/>
                  <a:gd name="connsiteY1" fmla="*/ 1481138 h 1533525"/>
                  <a:gd name="connsiteX2" fmla="*/ 438150 w 1302543"/>
                  <a:gd name="connsiteY2" fmla="*/ 1471613 h 1533525"/>
                  <a:gd name="connsiteX3" fmla="*/ 400050 w 1302543"/>
                  <a:gd name="connsiteY3" fmla="*/ 1485900 h 1533525"/>
                  <a:gd name="connsiteX4" fmla="*/ 338137 w 1302543"/>
                  <a:gd name="connsiteY4" fmla="*/ 1490663 h 1533525"/>
                  <a:gd name="connsiteX5" fmla="*/ 330993 w 1302543"/>
                  <a:gd name="connsiteY5" fmla="*/ 1497806 h 1533525"/>
                  <a:gd name="connsiteX6" fmla="*/ 271462 w 1302543"/>
                  <a:gd name="connsiteY6" fmla="*/ 1471613 h 1533525"/>
                  <a:gd name="connsiteX7" fmla="*/ 219075 w 1302543"/>
                  <a:gd name="connsiteY7" fmla="*/ 1443038 h 1533525"/>
                  <a:gd name="connsiteX8" fmla="*/ 138112 w 1302543"/>
                  <a:gd name="connsiteY8" fmla="*/ 1402556 h 1533525"/>
                  <a:gd name="connsiteX9" fmla="*/ 95250 w 1302543"/>
                  <a:gd name="connsiteY9" fmla="*/ 1316831 h 1533525"/>
                  <a:gd name="connsiteX10" fmla="*/ 80962 w 1302543"/>
                  <a:gd name="connsiteY10" fmla="*/ 1288256 h 1533525"/>
                  <a:gd name="connsiteX11" fmla="*/ 104775 w 1302543"/>
                  <a:gd name="connsiteY11" fmla="*/ 1266825 h 1533525"/>
                  <a:gd name="connsiteX12" fmla="*/ 76200 w 1302543"/>
                  <a:gd name="connsiteY12" fmla="*/ 1212056 h 1533525"/>
                  <a:gd name="connsiteX13" fmla="*/ 109537 w 1302543"/>
                  <a:gd name="connsiteY13" fmla="*/ 1193006 h 1533525"/>
                  <a:gd name="connsiteX14" fmla="*/ 140493 w 1302543"/>
                  <a:gd name="connsiteY14" fmla="*/ 1143000 h 1533525"/>
                  <a:gd name="connsiteX15" fmla="*/ 123825 w 1302543"/>
                  <a:gd name="connsiteY15" fmla="*/ 1107281 h 1533525"/>
                  <a:gd name="connsiteX16" fmla="*/ 178593 w 1302543"/>
                  <a:gd name="connsiteY16" fmla="*/ 1107281 h 1533525"/>
                  <a:gd name="connsiteX17" fmla="*/ 192881 w 1302543"/>
                  <a:gd name="connsiteY17" fmla="*/ 1109663 h 1533525"/>
                  <a:gd name="connsiteX18" fmla="*/ 159543 w 1302543"/>
                  <a:gd name="connsiteY18" fmla="*/ 1064419 h 1533525"/>
                  <a:gd name="connsiteX19" fmla="*/ 169068 w 1302543"/>
                  <a:gd name="connsiteY19" fmla="*/ 1014413 h 1533525"/>
                  <a:gd name="connsiteX20" fmla="*/ 123825 w 1302543"/>
                  <a:gd name="connsiteY20" fmla="*/ 997744 h 1533525"/>
                  <a:gd name="connsiteX21" fmla="*/ 61912 w 1302543"/>
                  <a:gd name="connsiteY21" fmla="*/ 954881 h 1533525"/>
                  <a:gd name="connsiteX22" fmla="*/ 45243 w 1302543"/>
                  <a:gd name="connsiteY22" fmla="*/ 938213 h 1533525"/>
                  <a:gd name="connsiteX23" fmla="*/ 64293 w 1302543"/>
                  <a:gd name="connsiteY23" fmla="*/ 909638 h 1533525"/>
                  <a:gd name="connsiteX24" fmla="*/ 47625 w 1302543"/>
                  <a:gd name="connsiteY24" fmla="*/ 897731 h 1533525"/>
                  <a:gd name="connsiteX25" fmla="*/ 47625 w 1302543"/>
                  <a:gd name="connsiteY25" fmla="*/ 881063 h 1533525"/>
                  <a:gd name="connsiteX26" fmla="*/ 26193 w 1302543"/>
                  <a:gd name="connsiteY26" fmla="*/ 881063 h 1533525"/>
                  <a:gd name="connsiteX27" fmla="*/ 7143 w 1302543"/>
                  <a:gd name="connsiteY27" fmla="*/ 847725 h 1533525"/>
                  <a:gd name="connsiteX28" fmla="*/ 0 w 1302543"/>
                  <a:gd name="connsiteY28" fmla="*/ 816769 h 1533525"/>
                  <a:gd name="connsiteX29" fmla="*/ 54768 w 1302543"/>
                  <a:gd name="connsiteY29" fmla="*/ 800100 h 1533525"/>
                  <a:gd name="connsiteX30" fmla="*/ 76200 w 1302543"/>
                  <a:gd name="connsiteY30" fmla="*/ 788194 h 1533525"/>
                  <a:gd name="connsiteX31" fmla="*/ 128587 w 1302543"/>
                  <a:gd name="connsiteY31" fmla="*/ 821531 h 1533525"/>
                  <a:gd name="connsiteX32" fmla="*/ 126206 w 1302543"/>
                  <a:gd name="connsiteY32" fmla="*/ 800100 h 1533525"/>
                  <a:gd name="connsiteX33" fmla="*/ 164306 w 1302543"/>
                  <a:gd name="connsiteY33" fmla="*/ 795338 h 1533525"/>
                  <a:gd name="connsiteX34" fmla="*/ 173831 w 1302543"/>
                  <a:gd name="connsiteY34" fmla="*/ 759619 h 1533525"/>
                  <a:gd name="connsiteX35" fmla="*/ 235743 w 1302543"/>
                  <a:gd name="connsiteY35" fmla="*/ 764381 h 1533525"/>
                  <a:gd name="connsiteX36" fmla="*/ 235743 w 1302543"/>
                  <a:gd name="connsiteY36" fmla="*/ 764381 h 1533525"/>
                  <a:gd name="connsiteX37" fmla="*/ 245268 w 1302543"/>
                  <a:gd name="connsiteY37" fmla="*/ 704850 h 1533525"/>
                  <a:gd name="connsiteX38" fmla="*/ 276225 w 1302543"/>
                  <a:gd name="connsiteY38" fmla="*/ 666750 h 1533525"/>
                  <a:gd name="connsiteX39" fmla="*/ 292893 w 1302543"/>
                  <a:gd name="connsiteY39" fmla="*/ 638175 h 1533525"/>
                  <a:gd name="connsiteX40" fmla="*/ 245268 w 1302543"/>
                  <a:gd name="connsiteY40" fmla="*/ 602456 h 1533525"/>
                  <a:gd name="connsiteX41" fmla="*/ 264318 w 1302543"/>
                  <a:gd name="connsiteY41" fmla="*/ 585788 h 1533525"/>
                  <a:gd name="connsiteX42" fmla="*/ 311943 w 1302543"/>
                  <a:gd name="connsiteY42" fmla="*/ 602456 h 1533525"/>
                  <a:gd name="connsiteX43" fmla="*/ 369093 w 1302543"/>
                  <a:gd name="connsiteY43" fmla="*/ 573881 h 1533525"/>
                  <a:gd name="connsiteX44" fmla="*/ 457200 w 1302543"/>
                  <a:gd name="connsiteY44" fmla="*/ 545306 h 1533525"/>
                  <a:gd name="connsiteX45" fmla="*/ 538162 w 1302543"/>
                  <a:gd name="connsiteY45" fmla="*/ 578644 h 1533525"/>
                  <a:gd name="connsiteX46" fmla="*/ 614362 w 1302543"/>
                  <a:gd name="connsiteY46" fmla="*/ 550069 h 1533525"/>
                  <a:gd name="connsiteX47" fmla="*/ 650081 w 1302543"/>
                  <a:gd name="connsiteY47" fmla="*/ 552450 h 1533525"/>
                  <a:gd name="connsiteX48" fmla="*/ 654843 w 1302543"/>
                  <a:gd name="connsiteY48" fmla="*/ 523875 h 1533525"/>
                  <a:gd name="connsiteX49" fmla="*/ 654843 w 1302543"/>
                  <a:gd name="connsiteY49" fmla="*/ 490538 h 1533525"/>
                  <a:gd name="connsiteX50" fmla="*/ 669131 w 1302543"/>
                  <a:gd name="connsiteY50" fmla="*/ 469106 h 1533525"/>
                  <a:gd name="connsiteX51" fmla="*/ 652462 w 1302543"/>
                  <a:gd name="connsiteY51" fmla="*/ 450056 h 1533525"/>
                  <a:gd name="connsiteX52" fmla="*/ 642937 w 1302543"/>
                  <a:gd name="connsiteY52" fmla="*/ 411956 h 1533525"/>
                  <a:gd name="connsiteX53" fmla="*/ 642937 w 1302543"/>
                  <a:gd name="connsiteY53" fmla="*/ 330994 h 1533525"/>
                  <a:gd name="connsiteX54" fmla="*/ 633412 w 1302543"/>
                  <a:gd name="connsiteY54" fmla="*/ 319088 h 1533525"/>
                  <a:gd name="connsiteX55" fmla="*/ 664368 w 1302543"/>
                  <a:gd name="connsiteY55" fmla="*/ 285750 h 1533525"/>
                  <a:gd name="connsiteX56" fmla="*/ 721518 w 1302543"/>
                  <a:gd name="connsiteY56" fmla="*/ 292894 h 1533525"/>
                  <a:gd name="connsiteX57" fmla="*/ 733425 w 1302543"/>
                  <a:gd name="connsiteY57" fmla="*/ 264319 h 1533525"/>
                  <a:gd name="connsiteX58" fmla="*/ 731043 w 1302543"/>
                  <a:gd name="connsiteY58" fmla="*/ 228600 h 1533525"/>
                  <a:gd name="connsiteX59" fmla="*/ 790575 w 1302543"/>
                  <a:gd name="connsiteY59" fmla="*/ 192881 h 1533525"/>
                  <a:gd name="connsiteX60" fmla="*/ 804862 w 1302543"/>
                  <a:gd name="connsiteY60" fmla="*/ 166688 h 1533525"/>
                  <a:gd name="connsiteX61" fmla="*/ 778668 w 1302543"/>
                  <a:gd name="connsiteY61" fmla="*/ 128588 h 1533525"/>
                  <a:gd name="connsiteX62" fmla="*/ 771525 w 1302543"/>
                  <a:gd name="connsiteY62" fmla="*/ 104775 h 1533525"/>
                  <a:gd name="connsiteX63" fmla="*/ 823912 w 1302543"/>
                  <a:gd name="connsiteY63" fmla="*/ 97631 h 1533525"/>
                  <a:gd name="connsiteX64" fmla="*/ 869156 w 1302543"/>
                  <a:gd name="connsiteY64" fmla="*/ 52388 h 1533525"/>
                  <a:gd name="connsiteX65" fmla="*/ 890587 w 1302543"/>
                  <a:gd name="connsiteY65" fmla="*/ 23813 h 1533525"/>
                  <a:gd name="connsiteX66" fmla="*/ 923925 w 1302543"/>
                  <a:gd name="connsiteY66" fmla="*/ 9525 h 1533525"/>
                  <a:gd name="connsiteX67" fmla="*/ 971550 w 1302543"/>
                  <a:gd name="connsiteY67" fmla="*/ 0 h 1533525"/>
                  <a:gd name="connsiteX68" fmla="*/ 971550 w 1302543"/>
                  <a:gd name="connsiteY68" fmla="*/ 40481 h 1533525"/>
                  <a:gd name="connsiteX69" fmla="*/ 950118 w 1302543"/>
                  <a:gd name="connsiteY69" fmla="*/ 80963 h 1533525"/>
                  <a:gd name="connsiteX70" fmla="*/ 950118 w 1302543"/>
                  <a:gd name="connsiteY70" fmla="*/ 140494 h 1533525"/>
                  <a:gd name="connsiteX71" fmla="*/ 969168 w 1302543"/>
                  <a:gd name="connsiteY71" fmla="*/ 161925 h 1533525"/>
                  <a:gd name="connsiteX72" fmla="*/ 1007268 w 1302543"/>
                  <a:gd name="connsiteY72" fmla="*/ 188119 h 1533525"/>
                  <a:gd name="connsiteX73" fmla="*/ 1019175 w 1302543"/>
                  <a:gd name="connsiteY73" fmla="*/ 216694 h 1533525"/>
                  <a:gd name="connsiteX74" fmla="*/ 1004887 w 1302543"/>
                  <a:gd name="connsiteY74" fmla="*/ 226219 h 1533525"/>
                  <a:gd name="connsiteX75" fmla="*/ 1057275 w 1302543"/>
                  <a:gd name="connsiteY75" fmla="*/ 250031 h 1533525"/>
                  <a:gd name="connsiteX76" fmla="*/ 1073943 w 1302543"/>
                  <a:gd name="connsiteY76" fmla="*/ 228600 h 1533525"/>
                  <a:gd name="connsiteX77" fmla="*/ 1083468 w 1302543"/>
                  <a:gd name="connsiteY77" fmla="*/ 252413 h 1533525"/>
                  <a:gd name="connsiteX78" fmla="*/ 1116806 w 1302543"/>
                  <a:gd name="connsiteY78" fmla="*/ 252413 h 1533525"/>
                  <a:gd name="connsiteX79" fmla="*/ 1123950 w 1302543"/>
                  <a:gd name="connsiteY79" fmla="*/ 257175 h 1533525"/>
                  <a:gd name="connsiteX80" fmla="*/ 1116806 w 1302543"/>
                  <a:gd name="connsiteY80" fmla="*/ 276225 h 1533525"/>
                  <a:gd name="connsiteX81" fmla="*/ 1088231 w 1302543"/>
                  <a:gd name="connsiteY81" fmla="*/ 309563 h 1533525"/>
                  <a:gd name="connsiteX82" fmla="*/ 1123950 w 1302543"/>
                  <a:gd name="connsiteY82" fmla="*/ 333375 h 1533525"/>
                  <a:gd name="connsiteX83" fmla="*/ 1135856 w 1302543"/>
                  <a:gd name="connsiteY83" fmla="*/ 347663 h 1533525"/>
                  <a:gd name="connsiteX84" fmla="*/ 1135856 w 1302543"/>
                  <a:gd name="connsiteY84" fmla="*/ 376238 h 1533525"/>
                  <a:gd name="connsiteX85" fmla="*/ 1119187 w 1302543"/>
                  <a:gd name="connsiteY85" fmla="*/ 411956 h 1533525"/>
                  <a:gd name="connsiteX86" fmla="*/ 1162050 w 1302543"/>
                  <a:gd name="connsiteY86" fmla="*/ 423863 h 1533525"/>
                  <a:gd name="connsiteX87" fmla="*/ 1233487 w 1302543"/>
                  <a:gd name="connsiteY87" fmla="*/ 416719 h 1533525"/>
                  <a:gd name="connsiteX88" fmla="*/ 1223962 w 1302543"/>
                  <a:gd name="connsiteY88" fmla="*/ 385763 h 1533525"/>
                  <a:gd name="connsiteX89" fmla="*/ 1188243 w 1302543"/>
                  <a:gd name="connsiteY89" fmla="*/ 347663 h 1533525"/>
                  <a:gd name="connsiteX90" fmla="*/ 1181100 w 1302543"/>
                  <a:gd name="connsiteY90" fmla="*/ 333375 h 1533525"/>
                  <a:gd name="connsiteX91" fmla="*/ 1207293 w 1302543"/>
                  <a:gd name="connsiteY91" fmla="*/ 326231 h 1533525"/>
                  <a:gd name="connsiteX92" fmla="*/ 1200150 w 1302543"/>
                  <a:gd name="connsiteY92" fmla="*/ 302419 h 1533525"/>
                  <a:gd name="connsiteX93" fmla="*/ 1223962 w 1302543"/>
                  <a:gd name="connsiteY93" fmla="*/ 283369 h 1533525"/>
                  <a:gd name="connsiteX94" fmla="*/ 1250156 w 1302543"/>
                  <a:gd name="connsiteY94" fmla="*/ 242888 h 1533525"/>
                  <a:gd name="connsiteX95" fmla="*/ 1302543 w 1302543"/>
                  <a:gd name="connsiteY95" fmla="*/ 211931 h 1533525"/>
                  <a:gd name="connsiteX96" fmla="*/ 1057275 w 1302543"/>
                  <a:gd name="connsiteY96" fmla="*/ 264319 h 1533525"/>
                  <a:gd name="connsiteX97" fmla="*/ 1062037 w 1302543"/>
                  <a:gd name="connsiteY97" fmla="*/ 304800 h 1533525"/>
                  <a:gd name="connsiteX98" fmla="*/ 995362 w 1302543"/>
                  <a:gd name="connsiteY98" fmla="*/ 352425 h 1533525"/>
                  <a:gd name="connsiteX99" fmla="*/ 973931 w 1302543"/>
                  <a:gd name="connsiteY99" fmla="*/ 383381 h 1533525"/>
                  <a:gd name="connsiteX100" fmla="*/ 1000125 w 1302543"/>
                  <a:gd name="connsiteY100" fmla="*/ 428625 h 1533525"/>
                  <a:gd name="connsiteX101" fmla="*/ 983456 w 1302543"/>
                  <a:gd name="connsiteY101" fmla="*/ 466725 h 1533525"/>
                  <a:gd name="connsiteX102" fmla="*/ 1000125 w 1302543"/>
                  <a:gd name="connsiteY102" fmla="*/ 519113 h 1533525"/>
                  <a:gd name="connsiteX103" fmla="*/ 1033462 w 1302543"/>
                  <a:gd name="connsiteY103" fmla="*/ 519113 h 1533525"/>
                  <a:gd name="connsiteX104" fmla="*/ 1019175 w 1302543"/>
                  <a:gd name="connsiteY104" fmla="*/ 552450 h 1533525"/>
                  <a:gd name="connsiteX105" fmla="*/ 1035843 w 1302543"/>
                  <a:gd name="connsiteY105" fmla="*/ 590550 h 1533525"/>
                  <a:gd name="connsiteX106" fmla="*/ 1035843 w 1302543"/>
                  <a:gd name="connsiteY106" fmla="*/ 607219 h 1533525"/>
                  <a:gd name="connsiteX107" fmla="*/ 1045368 w 1302543"/>
                  <a:gd name="connsiteY107" fmla="*/ 645319 h 1533525"/>
                  <a:gd name="connsiteX108" fmla="*/ 1064418 w 1302543"/>
                  <a:gd name="connsiteY108" fmla="*/ 645319 h 1533525"/>
                  <a:gd name="connsiteX109" fmla="*/ 1078706 w 1302543"/>
                  <a:gd name="connsiteY109" fmla="*/ 666750 h 1533525"/>
                  <a:gd name="connsiteX110" fmla="*/ 1085850 w 1302543"/>
                  <a:gd name="connsiteY110" fmla="*/ 688181 h 1533525"/>
                  <a:gd name="connsiteX111" fmla="*/ 1076325 w 1302543"/>
                  <a:gd name="connsiteY111" fmla="*/ 719138 h 1533525"/>
                  <a:gd name="connsiteX112" fmla="*/ 1021556 w 1302543"/>
                  <a:gd name="connsiteY112" fmla="*/ 714375 h 1533525"/>
                  <a:gd name="connsiteX113" fmla="*/ 1002506 w 1302543"/>
                  <a:gd name="connsiteY113" fmla="*/ 721519 h 1533525"/>
                  <a:gd name="connsiteX114" fmla="*/ 995362 w 1302543"/>
                  <a:gd name="connsiteY114" fmla="*/ 726281 h 1533525"/>
                  <a:gd name="connsiteX115" fmla="*/ 995362 w 1302543"/>
                  <a:gd name="connsiteY115" fmla="*/ 726281 h 1533525"/>
                  <a:gd name="connsiteX116" fmla="*/ 923925 w 1302543"/>
                  <a:gd name="connsiteY116" fmla="*/ 721519 h 1533525"/>
                  <a:gd name="connsiteX117" fmla="*/ 940593 w 1302543"/>
                  <a:gd name="connsiteY117" fmla="*/ 778669 h 1533525"/>
                  <a:gd name="connsiteX118" fmla="*/ 938212 w 1302543"/>
                  <a:gd name="connsiteY118" fmla="*/ 847725 h 1533525"/>
                  <a:gd name="connsiteX119" fmla="*/ 954881 w 1302543"/>
                  <a:gd name="connsiteY119" fmla="*/ 871538 h 1533525"/>
                  <a:gd name="connsiteX120" fmla="*/ 997743 w 1302543"/>
                  <a:gd name="connsiteY120" fmla="*/ 919163 h 1533525"/>
                  <a:gd name="connsiteX121" fmla="*/ 1012031 w 1302543"/>
                  <a:gd name="connsiteY121" fmla="*/ 954881 h 1533525"/>
                  <a:gd name="connsiteX122" fmla="*/ 1031081 w 1302543"/>
                  <a:gd name="connsiteY122" fmla="*/ 954881 h 1533525"/>
                  <a:gd name="connsiteX123" fmla="*/ 1071562 w 1302543"/>
                  <a:gd name="connsiteY123" fmla="*/ 940594 h 1533525"/>
                  <a:gd name="connsiteX124" fmla="*/ 1102518 w 1302543"/>
                  <a:gd name="connsiteY124" fmla="*/ 933450 h 1533525"/>
                  <a:gd name="connsiteX125" fmla="*/ 1159668 w 1302543"/>
                  <a:gd name="connsiteY125" fmla="*/ 997744 h 1533525"/>
                  <a:gd name="connsiteX126" fmla="*/ 1178718 w 1302543"/>
                  <a:gd name="connsiteY126" fmla="*/ 1052513 h 1533525"/>
                  <a:gd name="connsiteX127" fmla="*/ 1190625 w 1302543"/>
                  <a:gd name="connsiteY127" fmla="*/ 1081088 h 1533525"/>
                  <a:gd name="connsiteX128" fmla="*/ 1212056 w 1302543"/>
                  <a:gd name="connsiteY128" fmla="*/ 1109663 h 1533525"/>
                  <a:gd name="connsiteX129" fmla="*/ 1231106 w 1302543"/>
                  <a:gd name="connsiteY129" fmla="*/ 1102519 h 1533525"/>
                  <a:gd name="connsiteX130" fmla="*/ 1231106 w 1302543"/>
                  <a:gd name="connsiteY130" fmla="*/ 1131094 h 1533525"/>
                  <a:gd name="connsiteX131" fmla="*/ 1233487 w 1302543"/>
                  <a:gd name="connsiteY131" fmla="*/ 1145381 h 1533525"/>
                  <a:gd name="connsiteX132" fmla="*/ 1266825 w 1302543"/>
                  <a:gd name="connsiteY132" fmla="*/ 1181100 h 1533525"/>
                  <a:gd name="connsiteX133" fmla="*/ 1233487 w 1302543"/>
                  <a:gd name="connsiteY133" fmla="*/ 1181100 h 1533525"/>
                  <a:gd name="connsiteX134" fmla="*/ 1228725 w 1302543"/>
                  <a:gd name="connsiteY134" fmla="*/ 1223963 h 1533525"/>
                  <a:gd name="connsiteX135" fmla="*/ 1226343 w 1302543"/>
                  <a:gd name="connsiteY135" fmla="*/ 1243013 h 1533525"/>
                  <a:gd name="connsiteX136" fmla="*/ 1216818 w 1302543"/>
                  <a:gd name="connsiteY136" fmla="*/ 1264444 h 1533525"/>
                  <a:gd name="connsiteX137" fmla="*/ 1190625 w 1302543"/>
                  <a:gd name="connsiteY137" fmla="*/ 1238250 h 1533525"/>
                  <a:gd name="connsiteX138" fmla="*/ 1157287 w 1302543"/>
                  <a:gd name="connsiteY138" fmla="*/ 1209675 h 1533525"/>
                  <a:gd name="connsiteX139" fmla="*/ 1131093 w 1302543"/>
                  <a:gd name="connsiteY139" fmla="*/ 1185863 h 1533525"/>
                  <a:gd name="connsiteX140" fmla="*/ 1107281 w 1302543"/>
                  <a:gd name="connsiteY140" fmla="*/ 1219200 h 1533525"/>
                  <a:gd name="connsiteX141" fmla="*/ 1104900 w 1302543"/>
                  <a:gd name="connsiteY141" fmla="*/ 1264444 h 1533525"/>
                  <a:gd name="connsiteX142" fmla="*/ 1062037 w 1302543"/>
                  <a:gd name="connsiteY142" fmla="*/ 1259681 h 1533525"/>
                  <a:gd name="connsiteX143" fmla="*/ 1026318 w 1302543"/>
                  <a:gd name="connsiteY143" fmla="*/ 1288256 h 1533525"/>
                  <a:gd name="connsiteX144" fmla="*/ 1007268 w 1302543"/>
                  <a:gd name="connsiteY144" fmla="*/ 1240631 h 1533525"/>
                  <a:gd name="connsiteX145" fmla="*/ 947737 w 1302543"/>
                  <a:gd name="connsiteY145" fmla="*/ 1231106 h 1533525"/>
                  <a:gd name="connsiteX146" fmla="*/ 921543 w 1302543"/>
                  <a:gd name="connsiteY146" fmla="*/ 1297781 h 1533525"/>
                  <a:gd name="connsiteX147" fmla="*/ 885825 w 1302543"/>
                  <a:gd name="connsiteY147" fmla="*/ 1278731 h 1533525"/>
                  <a:gd name="connsiteX148" fmla="*/ 816768 w 1302543"/>
                  <a:gd name="connsiteY148" fmla="*/ 1295400 h 1533525"/>
                  <a:gd name="connsiteX149" fmla="*/ 757237 w 1302543"/>
                  <a:gd name="connsiteY149" fmla="*/ 1259681 h 1533525"/>
                  <a:gd name="connsiteX150" fmla="*/ 742950 w 1302543"/>
                  <a:gd name="connsiteY150" fmla="*/ 1312069 h 1533525"/>
                  <a:gd name="connsiteX151" fmla="*/ 704850 w 1302543"/>
                  <a:gd name="connsiteY151" fmla="*/ 1345406 h 1533525"/>
                  <a:gd name="connsiteX152" fmla="*/ 692943 w 1302543"/>
                  <a:gd name="connsiteY152" fmla="*/ 1366838 h 1533525"/>
                  <a:gd name="connsiteX153" fmla="*/ 671512 w 1302543"/>
                  <a:gd name="connsiteY153" fmla="*/ 1509713 h 1533525"/>
                  <a:gd name="connsiteX154" fmla="*/ 633412 w 1302543"/>
                  <a:gd name="connsiteY154" fmla="*/ 1490663 h 1533525"/>
                  <a:gd name="connsiteX155" fmla="*/ 614362 w 1302543"/>
                  <a:gd name="connsiteY155" fmla="*/ 1504950 h 1533525"/>
                  <a:gd name="connsiteX156" fmla="*/ 581025 w 1302543"/>
                  <a:gd name="connsiteY156" fmla="*/ 1531144 h 1533525"/>
                  <a:gd name="connsiteX157" fmla="*/ 523875 w 1302543"/>
                  <a:gd name="connsiteY157" fmla="*/ 1502569 h 1533525"/>
                  <a:gd name="connsiteX158" fmla="*/ 514350 w 1302543"/>
                  <a:gd name="connsiteY158" fmla="*/ 1490663 h 1533525"/>
                  <a:gd name="connsiteX159" fmla="*/ 483393 w 1302543"/>
                  <a:gd name="connsiteY159" fmla="*/ 1533525 h 1533525"/>
                  <a:gd name="connsiteX0" fmla="*/ 1057275 w 1393983"/>
                  <a:gd name="connsiteY0" fmla="*/ 264319 h 1533525"/>
                  <a:gd name="connsiteX1" fmla="*/ 1062037 w 1393983"/>
                  <a:gd name="connsiteY1" fmla="*/ 304800 h 1533525"/>
                  <a:gd name="connsiteX2" fmla="*/ 995362 w 1393983"/>
                  <a:gd name="connsiteY2" fmla="*/ 352425 h 1533525"/>
                  <a:gd name="connsiteX3" fmla="*/ 973931 w 1393983"/>
                  <a:gd name="connsiteY3" fmla="*/ 383381 h 1533525"/>
                  <a:gd name="connsiteX4" fmla="*/ 1000125 w 1393983"/>
                  <a:gd name="connsiteY4" fmla="*/ 428625 h 1533525"/>
                  <a:gd name="connsiteX5" fmla="*/ 983456 w 1393983"/>
                  <a:gd name="connsiteY5" fmla="*/ 466725 h 1533525"/>
                  <a:gd name="connsiteX6" fmla="*/ 1000125 w 1393983"/>
                  <a:gd name="connsiteY6" fmla="*/ 519113 h 1533525"/>
                  <a:gd name="connsiteX7" fmla="*/ 1033462 w 1393983"/>
                  <a:gd name="connsiteY7" fmla="*/ 519113 h 1533525"/>
                  <a:gd name="connsiteX8" fmla="*/ 1019175 w 1393983"/>
                  <a:gd name="connsiteY8" fmla="*/ 552450 h 1533525"/>
                  <a:gd name="connsiteX9" fmla="*/ 1035843 w 1393983"/>
                  <a:gd name="connsiteY9" fmla="*/ 590550 h 1533525"/>
                  <a:gd name="connsiteX10" fmla="*/ 1035843 w 1393983"/>
                  <a:gd name="connsiteY10" fmla="*/ 607219 h 1533525"/>
                  <a:gd name="connsiteX11" fmla="*/ 1045368 w 1393983"/>
                  <a:gd name="connsiteY11" fmla="*/ 645319 h 1533525"/>
                  <a:gd name="connsiteX12" fmla="*/ 1064418 w 1393983"/>
                  <a:gd name="connsiteY12" fmla="*/ 645319 h 1533525"/>
                  <a:gd name="connsiteX13" fmla="*/ 1078706 w 1393983"/>
                  <a:gd name="connsiteY13" fmla="*/ 666750 h 1533525"/>
                  <a:gd name="connsiteX14" fmla="*/ 1085850 w 1393983"/>
                  <a:gd name="connsiteY14" fmla="*/ 688181 h 1533525"/>
                  <a:gd name="connsiteX15" fmla="*/ 1076325 w 1393983"/>
                  <a:gd name="connsiteY15" fmla="*/ 719138 h 1533525"/>
                  <a:gd name="connsiteX16" fmla="*/ 1021556 w 1393983"/>
                  <a:gd name="connsiteY16" fmla="*/ 714375 h 1533525"/>
                  <a:gd name="connsiteX17" fmla="*/ 1002506 w 1393983"/>
                  <a:gd name="connsiteY17" fmla="*/ 721519 h 1533525"/>
                  <a:gd name="connsiteX18" fmla="*/ 995362 w 1393983"/>
                  <a:gd name="connsiteY18" fmla="*/ 726281 h 1533525"/>
                  <a:gd name="connsiteX19" fmla="*/ 995362 w 1393983"/>
                  <a:gd name="connsiteY19" fmla="*/ 726281 h 1533525"/>
                  <a:gd name="connsiteX20" fmla="*/ 923925 w 1393983"/>
                  <a:gd name="connsiteY20" fmla="*/ 721519 h 1533525"/>
                  <a:gd name="connsiteX21" fmla="*/ 940593 w 1393983"/>
                  <a:gd name="connsiteY21" fmla="*/ 778669 h 1533525"/>
                  <a:gd name="connsiteX22" fmla="*/ 938212 w 1393983"/>
                  <a:gd name="connsiteY22" fmla="*/ 847725 h 1533525"/>
                  <a:gd name="connsiteX23" fmla="*/ 954881 w 1393983"/>
                  <a:gd name="connsiteY23" fmla="*/ 871538 h 1533525"/>
                  <a:gd name="connsiteX24" fmla="*/ 997743 w 1393983"/>
                  <a:gd name="connsiteY24" fmla="*/ 919163 h 1533525"/>
                  <a:gd name="connsiteX25" fmla="*/ 1012031 w 1393983"/>
                  <a:gd name="connsiteY25" fmla="*/ 954881 h 1533525"/>
                  <a:gd name="connsiteX26" fmla="*/ 1031081 w 1393983"/>
                  <a:gd name="connsiteY26" fmla="*/ 954881 h 1533525"/>
                  <a:gd name="connsiteX27" fmla="*/ 1071562 w 1393983"/>
                  <a:gd name="connsiteY27" fmla="*/ 940594 h 1533525"/>
                  <a:gd name="connsiteX28" fmla="*/ 1102518 w 1393983"/>
                  <a:gd name="connsiteY28" fmla="*/ 933450 h 1533525"/>
                  <a:gd name="connsiteX29" fmla="*/ 1159668 w 1393983"/>
                  <a:gd name="connsiteY29" fmla="*/ 997744 h 1533525"/>
                  <a:gd name="connsiteX30" fmla="*/ 1178718 w 1393983"/>
                  <a:gd name="connsiteY30" fmla="*/ 1052513 h 1533525"/>
                  <a:gd name="connsiteX31" fmla="*/ 1190625 w 1393983"/>
                  <a:gd name="connsiteY31" fmla="*/ 1081088 h 1533525"/>
                  <a:gd name="connsiteX32" fmla="*/ 1212056 w 1393983"/>
                  <a:gd name="connsiteY32" fmla="*/ 1109663 h 1533525"/>
                  <a:gd name="connsiteX33" fmla="*/ 1231106 w 1393983"/>
                  <a:gd name="connsiteY33" fmla="*/ 1102519 h 1533525"/>
                  <a:gd name="connsiteX34" fmla="*/ 1231106 w 1393983"/>
                  <a:gd name="connsiteY34" fmla="*/ 1131094 h 1533525"/>
                  <a:gd name="connsiteX35" fmla="*/ 1233487 w 1393983"/>
                  <a:gd name="connsiteY35" fmla="*/ 1145381 h 1533525"/>
                  <a:gd name="connsiteX36" fmla="*/ 1266825 w 1393983"/>
                  <a:gd name="connsiteY36" fmla="*/ 1181100 h 1533525"/>
                  <a:gd name="connsiteX37" fmla="*/ 1233487 w 1393983"/>
                  <a:gd name="connsiteY37" fmla="*/ 1181100 h 1533525"/>
                  <a:gd name="connsiteX38" fmla="*/ 1228725 w 1393983"/>
                  <a:gd name="connsiteY38" fmla="*/ 1223963 h 1533525"/>
                  <a:gd name="connsiteX39" fmla="*/ 1226343 w 1393983"/>
                  <a:gd name="connsiteY39" fmla="*/ 1243013 h 1533525"/>
                  <a:gd name="connsiteX40" fmla="*/ 1216818 w 1393983"/>
                  <a:gd name="connsiteY40" fmla="*/ 1264444 h 1533525"/>
                  <a:gd name="connsiteX41" fmla="*/ 1190625 w 1393983"/>
                  <a:gd name="connsiteY41" fmla="*/ 1238250 h 1533525"/>
                  <a:gd name="connsiteX42" fmla="*/ 1157287 w 1393983"/>
                  <a:gd name="connsiteY42" fmla="*/ 1209675 h 1533525"/>
                  <a:gd name="connsiteX43" fmla="*/ 1131093 w 1393983"/>
                  <a:gd name="connsiteY43" fmla="*/ 1185863 h 1533525"/>
                  <a:gd name="connsiteX44" fmla="*/ 1107281 w 1393983"/>
                  <a:gd name="connsiteY44" fmla="*/ 1219200 h 1533525"/>
                  <a:gd name="connsiteX45" fmla="*/ 1104900 w 1393983"/>
                  <a:gd name="connsiteY45" fmla="*/ 1264444 h 1533525"/>
                  <a:gd name="connsiteX46" fmla="*/ 1062037 w 1393983"/>
                  <a:gd name="connsiteY46" fmla="*/ 1259681 h 1533525"/>
                  <a:gd name="connsiteX47" fmla="*/ 1026318 w 1393983"/>
                  <a:gd name="connsiteY47" fmla="*/ 1288256 h 1533525"/>
                  <a:gd name="connsiteX48" fmla="*/ 1007268 w 1393983"/>
                  <a:gd name="connsiteY48" fmla="*/ 1240631 h 1533525"/>
                  <a:gd name="connsiteX49" fmla="*/ 947737 w 1393983"/>
                  <a:gd name="connsiteY49" fmla="*/ 1231106 h 1533525"/>
                  <a:gd name="connsiteX50" fmla="*/ 921543 w 1393983"/>
                  <a:gd name="connsiteY50" fmla="*/ 1297781 h 1533525"/>
                  <a:gd name="connsiteX51" fmla="*/ 885825 w 1393983"/>
                  <a:gd name="connsiteY51" fmla="*/ 1278731 h 1533525"/>
                  <a:gd name="connsiteX52" fmla="*/ 816768 w 1393983"/>
                  <a:gd name="connsiteY52" fmla="*/ 1295400 h 1533525"/>
                  <a:gd name="connsiteX53" fmla="*/ 757237 w 1393983"/>
                  <a:gd name="connsiteY53" fmla="*/ 1259681 h 1533525"/>
                  <a:gd name="connsiteX54" fmla="*/ 742950 w 1393983"/>
                  <a:gd name="connsiteY54" fmla="*/ 1312069 h 1533525"/>
                  <a:gd name="connsiteX55" fmla="*/ 704850 w 1393983"/>
                  <a:gd name="connsiteY55" fmla="*/ 1345406 h 1533525"/>
                  <a:gd name="connsiteX56" fmla="*/ 692943 w 1393983"/>
                  <a:gd name="connsiteY56" fmla="*/ 1366838 h 1533525"/>
                  <a:gd name="connsiteX57" fmla="*/ 671512 w 1393983"/>
                  <a:gd name="connsiteY57" fmla="*/ 1509713 h 1533525"/>
                  <a:gd name="connsiteX58" fmla="*/ 633412 w 1393983"/>
                  <a:gd name="connsiteY58" fmla="*/ 1490663 h 1533525"/>
                  <a:gd name="connsiteX59" fmla="*/ 614362 w 1393983"/>
                  <a:gd name="connsiteY59" fmla="*/ 1504950 h 1533525"/>
                  <a:gd name="connsiteX60" fmla="*/ 581025 w 1393983"/>
                  <a:gd name="connsiteY60" fmla="*/ 1531144 h 1533525"/>
                  <a:gd name="connsiteX61" fmla="*/ 523875 w 1393983"/>
                  <a:gd name="connsiteY61" fmla="*/ 1502569 h 1533525"/>
                  <a:gd name="connsiteX62" fmla="*/ 514350 w 1393983"/>
                  <a:gd name="connsiteY62" fmla="*/ 1490663 h 1533525"/>
                  <a:gd name="connsiteX63" fmla="*/ 483393 w 1393983"/>
                  <a:gd name="connsiteY63" fmla="*/ 1533525 h 1533525"/>
                  <a:gd name="connsiteX64" fmla="*/ 459581 w 1393983"/>
                  <a:gd name="connsiteY64" fmla="*/ 1481138 h 1533525"/>
                  <a:gd name="connsiteX65" fmla="*/ 438150 w 1393983"/>
                  <a:gd name="connsiteY65" fmla="*/ 1471613 h 1533525"/>
                  <a:gd name="connsiteX66" fmla="*/ 400050 w 1393983"/>
                  <a:gd name="connsiteY66" fmla="*/ 1485900 h 1533525"/>
                  <a:gd name="connsiteX67" fmla="*/ 338137 w 1393983"/>
                  <a:gd name="connsiteY67" fmla="*/ 1490663 h 1533525"/>
                  <a:gd name="connsiteX68" fmla="*/ 330993 w 1393983"/>
                  <a:gd name="connsiteY68" fmla="*/ 1497806 h 1533525"/>
                  <a:gd name="connsiteX69" fmla="*/ 271462 w 1393983"/>
                  <a:gd name="connsiteY69" fmla="*/ 1471613 h 1533525"/>
                  <a:gd name="connsiteX70" fmla="*/ 219075 w 1393983"/>
                  <a:gd name="connsiteY70" fmla="*/ 1443038 h 1533525"/>
                  <a:gd name="connsiteX71" fmla="*/ 138112 w 1393983"/>
                  <a:gd name="connsiteY71" fmla="*/ 1402556 h 1533525"/>
                  <a:gd name="connsiteX72" fmla="*/ 95250 w 1393983"/>
                  <a:gd name="connsiteY72" fmla="*/ 1316831 h 1533525"/>
                  <a:gd name="connsiteX73" fmla="*/ 80962 w 1393983"/>
                  <a:gd name="connsiteY73" fmla="*/ 1288256 h 1533525"/>
                  <a:gd name="connsiteX74" fmla="*/ 104775 w 1393983"/>
                  <a:gd name="connsiteY74" fmla="*/ 1266825 h 1533525"/>
                  <a:gd name="connsiteX75" fmla="*/ 76200 w 1393983"/>
                  <a:gd name="connsiteY75" fmla="*/ 1212056 h 1533525"/>
                  <a:gd name="connsiteX76" fmla="*/ 109537 w 1393983"/>
                  <a:gd name="connsiteY76" fmla="*/ 1193006 h 1533525"/>
                  <a:gd name="connsiteX77" fmla="*/ 140493 w 1393983"/>
                  <a:gd name="connsiteY77" fmla="*/ 1143000 h 1533525"/>
                  <a:gd name="connsiteX78" fmla="*/ 123825 w 1393983"/>
                  <a:gd name="connsiteY78" fmla="*/ 1107281 h 1533525"/>
                  <a:gd name="connsiteX79" fmla="*/ 178593 w 1393983"/>
                  <a:gd name="connsiteY79" fmla="*/ 1107281 h 1533525"/>
                  <a:gd name="connsiteX80" fmla="*/ 192881 w 1393983"/>
                  <a:gd name="connsiteY80" fmla="*/ 1109663 h 1533525"/>
                  <a:gd name="connsiteX81" fmla="*/ 159543 w 1393983"/>
                  <a:gd name="connsiteY81" fmla="*/ 1064419 h 1533525"/>
                  <a:gd name="connsiteX82" fmla="*/ 169068 w 1393983"/>
                  <a:gd name="connsiteY82" fmla="*/ 1014413 h 1533525"/>
                  <a:gd name="connsiteX83" fmla="*/ 123825 w 1393983"/>
                  <a:gd name="connsiteY83" fmla="*/ 997744 h 1533525"/>
                  <a:gd name="connsiteX84" fmla="*/ 61912 w 1393983"/>
                  <a:gd name="connsiteY84" fmla="*/ 954881 h 1533525"/>
                  <a:gd name="connsiteX85" fmla="*/ 45243 w 1393983"/>
                  <a:gd name="connsiteY85" fmla="*/ 938213 h 1533525"/>
                  <a:gd name="connsiteX86" fmla="*/ 64293 w 1393983"/>
                  <a:gd name="connsiteY86" fmla="*/ 909638 h 1533525"/>
                  <a:gd name="connsiteX87" fmla="*/ 47625 w 1393983"/>
                  <a:gd name="connsiteY87" fmla="*/ 897731 h 1533525"/>
                  <a:gd name="connsiteX88" fmla="*/ 47625 w 1393983"/>
                  <a:gd name="connsiteY88" fmla="*/ 881063 h 1533525"/>
                  <a:gd name="connsiteX89" fmla="*/ 26193 w 1393983"/>
                  <a:gd name="connsiteY89" fmla="*/ 881063 h 1533525"/>
                  <a:gd name="connsiteX90" fmla="*/ 7143 w 1393983"/>
                  <a:gd name="connsiteY90" fmla="*/ 847725 h 1533525"/>
                  <a:gd name="connsiteX91" fmla="*/ 0 w 1393983"/>
                  <a:gd name="connsiteY91" fmla="*/ 816769 h 1533525"/>
                  <a:gd name="connsiteX92" fmla="*/ 54768 w 1393983"/>
                  <a:gd name="connsiteY92" fmla="*/ 800100 h 1533525"/>
                  <a:gd name="connsiteX93" fmla="*/ 76200 w 1393983"/>
                  <a:gd name="connsiteY93" fmla="*/ 788194 h 1533525"/>
                  <a:gd name="connsiteX94" fmla="*/ 128587 w 1393983"/>
                  <a:gd name="connsiteY94" fmla="*/ 821531 h 1533525"/>
                  <a:gd name="connsiteX95" fmla="*/ 126206 w 1393983"/>
                  <a:gd name="connsiteY95" fmla="*/ 800100 h 1533525"/>
                  <a:gd name="connsiteX96" fmla="*/ 164306 w 1393983"/>
                  <a:gd name="connsiteY96" fmla="*/ 795338 h 1533525"/>
                  <a:gd name="connsiteX97" fmla="*/ 173831 w 1393983"/>
                  <a:gd name="connsiteY97" fmla="*/ 759619 h 1533525"/>
                  <a:gd name="connsiteX98" fmla="*/ 235743 w 1393983"/>
                  <a:gd name="connsiteY98" fmla="*/ 764381 h 1533525"/>
                  <a:gd name="connsiteX99" fmla="*/ 235743 w 1393983"/>
                  <a:gd name="connsiteY99" fmla="*/ 764381 h 1533525"/>
                  <a:gd name="connsiteX100" fmla="*/ 245268 w 1393983"/>
                  <a:gd name="connsiteY100" fmla="*/ 704850 h 1533525"/>
                  <a:gd name="connsiteX101" fmla="*/ 276225 w 1393983"/>
                  <a:gd name="connsiteY101" fmla="*/ 666750 h 1533525"/>
                  <a:gd name="connsiteX102" fmla="*/ 292893 w 1393983"/>
                  <a:gd name="connsiteY102" fmla="*/ 638175 h 1533525"/>
                  <a:gd name="connsiteX103" fmla="*/ 245268 w 1393983"/>
                  <a:gd name="connsiteY103" fmla="*/ 602456 h 1533525"/>
                  <a:gd name="connsiteX104" fmla="*/ 264318 w 1393983"/>
                  <a:gd name="connsiteY104" fmla="*/ 585788 h 1533525"/>
                  <a:gd name="connsiteX105" fmla="*/ 311943 w 1393983"/>
                  <a:gd name="connsiteY105" fmla="*/ 602456 h 1533525"/>
                  <a:gd name="connsiteX106" fmla="*/ 369093 w 1393983"/>
                  <a:gd name="connsiteY106" fmla="*/ 573881 h 1533525"/>
                  <a:gd name="connsiteX107" fmla="*/ 457200 w 1393983"/>
                  <a:gd name="connsiteY107" fmla="*/ 545306 h 1533525"/>
                  <a:gd name="connsiteX108" fmla="*/ 538162 w 1393983"/>
                  <a:gd name="connsiteY108" fmla="*/ 578644 h 1533525"/>
                  <a:gd name="connsiteX109" fmla="*/ 614362 w 1393983"/>
                  <a:gd name="connsiteY109" fmla="*/ 550069 h 1533525"/>
                  <a:gd name="connsiteX110" fmla="*/ 650081 w 1393983"/>
                  <a:gd name="connsiteY110" fmla="*/ 552450 h 1533525"/>
                  <a:gd name="connsiteX111" fmla="*/ 654843 w 1393983"/>
                  <a:gd name="connsiteY111" fmla="*/ 523875 h 1533525"/>
                  <a:gd name="connsiteX112" fmla="*/ 654843 w 1393983"/>
                  <a:gd name="connsiteY112" fmla="*/ 490538 h 1533525"/>
                  <a:gd name="connsiteX113" fmla="*/ 669131 w 1393983"/>
                  <a:gd name="connsiteY113" fmla="*/ 469106 h 1533525"/>
                  <a:gd name="connsiteX114" fmla="*/ 652462 w 1393983"/>
                  <a:gd name="connsiteY114" fmla="*/ 450056 h 1533525"/>
                  <a:gd name="connsiteX115" fmla="*/ 642937 w 1393983"/>
                  <a:gd name="connsiteY115" fmla="*/ 411956 h 1533525"/>
                  <a:gd name="connsiteX116" fmla="*/ 642937 w 1393983"/>
                  <a:gd name="connsiteY116" fmla="*/ 330994 h 1533525"/>
                  <a:gd name="connsiteX117" fmla="*/ 633412 w 1393983"/>
                  <a:gd name="connsiteY117" fmla="*/ 319088 h 1533525"/>
                  <a:gd name="connsiteX118" fmla="*/ 664368 w 1393983"/>
                  <a:gd name="connsiteY118" fmla="*/ 285750 h 1533525"/>
                  <a:gd name="connsiteX119" fmla="*/ 721518 w 1393983"/>
                  <a:gd name="connsiteY119" fmla="*/ 292894 h 1533525"/>
                  <a:gd name="connsiteX120" fmla="*/ 733425 w 1393983"/>
                  <a:gd name="connsiteY120" fmla="*/ 264319 h 1533525"/>
                  <a:gd name="connsiteX121" fmla="*/ 731043 w 1393983"/>
                  <a:gd name="connsiteY121" fmla="*/ 228600 h 1533525"/>
                  <a:gd name="connsiteX122" fmla="*/ 790575 w 1393983"/>
                  <a:gd name="connsiteY122" fmla="*/ 192881 h 1533525"/>
                  <a:gd name="connsiteX123" fmla="*/ 804862 w 1393983"/>
                  <a:gd name="connsiteY123" fmla="*/ 166688 h 1533525"/>
                  <a:gd name="connsiteX124" fmla="*/ 778668 w 1393983"/>
                  <a:gd name="connsiteY124" fmla="*/ 128588 h 1533525"/>
                  <a:gd name="connsiteX125" fmla="*/ 771525 w 1393983"/>
                  <a:gd name="connsiteY125" fmla="*/ 104775 h 1533525"/>
                  <a:gd name="connsiteX126" fmla="*/ 823912 w 1393983"/>
                  <a:gd name="connsiteY126" fmla="*/ 97631 h 1533525"/>
                  <a:gd name="connsiteX127" fmla="*/ 869156 w 1393983"/>
                  <a:gd name="connsiteY127" fmla="*/ 52388 h 1533525"/>
                  <a:gd name="connsiteX128" fmla="*/ 890587 w 1393983"/>
                  <a:gd name="connsiteY128" fmla="*/ 23813 h 1533525"/>
                  <a:gd name="connsiteX129" fmla="*/ 923925 w 1393983"/>
                  <a:gd name="connsiteY129" fmla="*/ 9525 h 1533525"/>
                  <a:gd name="connsiteX130" fmla="*/ 971550 w 1393983"/>
                  <a:gd name="connsiteY130" fmla="*/ 0 h 1533525"/>
                  <a:gd name="connsiteX131" fmla="*/ 971550 w 1393983"/>
                  <a:gd name="connsiteY131" fmla="*/ 40481 h 1533525"/>
                  <a:gd name="connsiteX132" fmla="*/ 950118 w 1393983"/>
                  <a:gd name="connsiteY132" fmla="*/ 80963 h 1533525"/>
                  <a:gd name="connsiteX133" fmla="*/ 950118 w 1393983"/>
                  <a:gd name="connsiteY133" fmla="*/ 140494 h 1533525"/>
                  <a:gd name="connsiteX134" fmla="*/ 969168 w 1393983"/>
                  <a:gd name="connsiteY134" fmla="*/ 161925 h 1533525"/>
                  <a:gd name="connsiteX135" fmla="*/ 1007268 w 1393983"/>
                  <a:gd name="connsiteY135" fmla="*/ 188119 h 1533525"/>
                  <a:gd name="connsiteX136" fmla="*/ 1019175 w 1393983"/>
                  <a:gd name="connsiteY136" fmla="*/ 216694 h 1533525"/>
                  <a:gd name="connsiteX137" fmla="*/ 1004887 w 1393983"/>
                  <a:gd name="connsiteY137" fmla="*/ 226219 h 1533525"/>
                  <a:gd name="connsiteX138" fmla="*/ 1057275 w 1393983"/>
                  <a:gd name="connsiteY138" fmla="*/ 250031 h 1533525"/>
                  <a:gd name="connsiteX139" fmla="*/ 1073943 w 1393983"/>
                  <a:gd name="connsiteY139" fmla="*/ 228600 h 1533525"/>
                  <a:gd name="connsiteX140" fmla="*/ 1083468 w 1393983"/>
                  <a:gd name="connsiteY140" fmla="*/ 252413 h 1533525"/>
                  <a:gd name="connsiteX141" fmla="*/ 1116806 w 1393983"/>
                  <a:gd name="connsiteY141" fmla="*/ 252413 h 1533525"/>
                  <a:gd name="connsiteX142" fmla="*/ 1123950 w 1393983"/>
                  <a:gd name="connsiteY142" fmla="*/ 257175 h 1533525"/>
                  <a:gd name="connsiteX143" fmla="*/ 1116806 w 1393983"/>
                  <a:gd name="connsiteY143" fmla="*/ 276225 h 1533525"/>
                  <a:gd name="connsiteX144" fmla="*/ 1088231 w 1393983"/>
                  <a:gd name="connsiteY144" fmla="*/ 309563 h 1533525"/>
                  <a:gd name="connsiteX145" fmla="*/ 1123950 w 1393983"/>
                  <a:gd name="connsiteY145" fmla="*/ 333375 h 1533525"/>
                  <a:gd name="connsiteX146" fmla="*/ 1135856 w 1393983"/>
                  <a:gd name="connsiteY146" fmla="*/ 347663 h 1533525"/>
                  <a:gd name="connsiteX147" fmla="*/ 1135856 w 1393983"/>
                  <a:gd name="connsiteY147" fmla="*/ 376238 h 1533525"/>
                  <a:gd name="connsiteX148" fmla="*/ 1119187 w 1393983"/>
                  <a:gd name="connsiteY148" fmla="*/ 411956 h 1533525"/>
                  <a:gd name="connsiteX149" fmla="*/ 1162050 w 1393983"/>
                  <a:gd name="connsiteY149" fmla="*/ 423863 h 1533525"/>
                  <a:gd name="connsiteX150" fmla="*/ 1233487 w 1393983"/>
                  <a:gd name="connsiteY150" fmla="*/ 416719 h 1533525"/>
                  <a:gd name="connsiteX151" fmla="*/ 1223962 w 1393983"/>
                  <a:gd name="connsiteY151" fmla="*/ 385763 h 1533525"/>
                  <a:gd name="connsiteX152" fmla="*/ 1188243 w 1393983"/>
                  <a:gd name="connsiteY152" fmla="*/ 347663 h 1533525"/>
                  <a:gd name="connsiteX153" fmla="*/ 1181100 w 1393983"/>
                  <a:gd name="connsiteY153" fmla="*/ 333375 h 1533525"/>
                  <a:gd name="connsiteX154" fmla="*/ 1207293 w 1393983"/>
                  <a:gd name="connsiteY154" fmla="*/ 326231 h 1533525"/>
                  <a:gd name="connsiteX155" fmla="*/ 1200150 w 1393983"/>
                  <a:gd name="connsiteY155" fmla="*/ 302419 h 1533525"/>
                  <a:gd name="connsiteX156" fmla="*/ 1223962 w 1393983"/>
                  <a:gd name="connsiteY156" fmla="*/ 283369 h 1533525"/>
                  <a:gd name="connsiteX157" fmla="*/ 1250156 w 1393983"/>
                  <a:gd name="connsiteY157" fmla="*/ 242888 h 1533525"/>
                  <a:gd name="connsiteX158" fmla="*/ 1393983 w 1393983"/>
                  <a:gd name="connsiteY158" fmla="*/ 303371 h 1533525"/>
                  <a:gd name="connsiteX0" fmla="*/ 1057275 w 1393983"/>
                  <a:gd name="connsiteY0" fmla="*/ 264319 h 1533525"/>
                  <a:gd name="connsiteX1" fmla="*/ 1062037 w 1393983"/>
                  <a:gd name="connsiteY1" fmla="*/ 304800 h 1533525"/>
                  <a:gd name="connsiteX2" fmla="*/ 995362 w 1393983"/>
                  <a:gd name="connsiteY2" fmla="*/ 352425 h 1533525"/>
                  <a:gd name="connsiteX3" fmla="*/ 973931 w 1393983"/>
                  <a:gd name="connsiteY3" fmla="*/ 383381 h 1533525"/>
                  <a:gd name="connsiteX4" fmla="*/ 1000125 w 1393983"/>
                  <a:gd name="connsiteY4" fmla="*/ 428625 h 1533525"/>
                  <a:gd name="connsiteX5" fmla="*/ 983456 w 1393983"/>
                  <a:gd name="connsiteY5" fmla="*/ 466725 h 1533525"/>
                  <a:gd name="connsiteX6" fmla="*/ 1000125 w 1393983"/>
                  <a:gd name="connsiteY6" fmla="*/ 519113 h 1533525"/>
                  <a:gd name="connsiteX7" fmla="*/ 1033462 w 1393983"/>
                  <a:gd name="connsiteY7" fmla="*/ 519113 h 1533525"/>
                  <a:gd name="connsiteX8" fmla="*/ 1019175 w 1393983"/>
                  <a:gd name="connsiteY8" fmla="*/ 552450 h 1533525"/>
                  <a:gd name="connsiteX9" fmla="*/ 1035843 w 1393983"/>
                  <a:gd name="connsiteY9" fmla="*/ 590550 h 1533525"/>
                  <a:gd name="connsiteX10" fmla="*/ 1035843 w 1393983"/>
                  <a:gd name="connsiteY10" fmla="*/ 607219 h 1533525"/>
                  <a:gd name="connsiteX11" fmla="*/ 1045368 w 1393983"/>
                  <a:gd name="connsiteY11" fmla="*/ 645319 h 1533525"/>
                  <a:gd name="connsiteX12" fmla="*/ 1064418 w 1393983"/>
                  <a:gd name="connsiteY12" fmla="*/ 645319 h 1533525"/>
                  <a:gd name="connsiteX13" fmla="*/ 1078706 w 1393983"/>
                  <a:gd name="connsiteY13" fmla="*/ 666750 h 1533525"/>
                  <a:gd name="connsiteX14" fmla="*/ 1085850 w 1393983"/>
                  <a:gd name="connsiteY14" fmla="*/ 688181 h 1533525"/>
                  <a:gd name="connsiteX15" fmla="*/ 1076325 w 1393983"/>
                  <a:gd name="connsiteY15" fmla="*/ 719138 h 1533525"/>
                  <a:gd name="connsiteX16" fmla="*/ 1021556 w 1393983"/>
                  <a:gd name="connsiteY16" fmla="*/ 714375 h 1533525"/>
                  <a:gd name="connsiteX17" fmla="*/ 1002506 w 1393983"/>
                  <a:gd name="connsiteY17" fmla="*/ 721519 h 1533525"/>
                  <a:gd name="connsiteX18" fmla="*/ 995362 w 1393983"/>
                  <a:gd name="connsiteY18" fmla="*/ 726281 h 1533525"/>
                  <a:gd name="connsiteX19" fmla="*/ 995362 w 1393983"/>
                  <a:gd name="connsiteY19" fmla="*/ 726281 h 1533525"/>
                  <a:gd name="connsiteX20" fmla="*/ 923925 w 1393983"/>
                  <a:gd name="connsiteY20" fmla="*/ 721519 h 1533525"/>
                  <a:gd name="connsiteX21" fmla="*/ 940593 w 1393983"/>
                  <a:gd name="connsiteY21" fmla="*/ 778669 h 1533525"/>
                  <a:gd name="connsiteX22" fmla="*/ 938212 w 1393983"/>
                  <a:gd name="connsiteY22" fmla="*/ 847725 h 1533525"/>
                  <a:gd name="connsiteX23" fmla="*/ 954881 w 1393983"/>
                  <a:gd name="connsiteY23" fmla="*/ 871538 h 1533525"/>
                  <a:gd name="connsiteX24" fmla="*/ 997743 w 1393983"/>
                  <a:gd name="connsiteY24" fmla="*/ 919163 h 1533525"/>
                  <a:gd name="connsiteX25" fmla="*/ 1012031 w 1393983"/>
                  <a:gd name="connsiteY25" fmla="*/ 954881 h 1533525"/>
                  <a:gd name="connsiteX26" fmla="*/ 1031081 w 1393983"/>
                  <a:gd name="connsiteY26" fmla="*/ 954881 h 1533525"/>
                  <a:gd name="connsiteX27" fmla="*/ 1071562 w 1393983"/>
                  <a:gd name="connsiteY27" fmla="*/ 940594 h 1533525"/>
                  <a:gd name="connsiteX28" fmla="*/ 1102518 w 1393983"/>
                  <a:gd name="connsiteY28" fmla="*/ 933450 h 1533525"/>
                  <a:gd name="connsiteX29" fmla="*/ 1159668 w 1393983"/>
                  <a:gd name="connsiteY29" fmla="*/ 997744 h 1533525"/>
                  <a:gd name="connsiteX30" fmla="*/ 1178718 w 1393983"/>
                  <a:gd name="connsiteY30" fmla="*/ 1052513 h 1533525"/>
                  <a:gd name="connsiteX31" fmla="*/ 1190625 w 1393983"/>
                  <a:gd name="connsiteY31" fmla="*/ 1081088 h 1533525"/>
                  <a:gd name="connsiteX32" fmla="*/ 1212056 w 1393983"/>
                  <a:gd name="connsiteY32" fmla="*/ 1109663 h 1533525"/>
                  <a:gd name="connsiteX33" fmla="*/ 1231106 w 1393983"/>
                  <a:gd name="connsiteY33" fmla="*/ 1102519 h 1533525"/>
                  <a:gd name="connsiteX34" fmla="*/ 1231106 w 1393983"/>
                  <a:gd name="connsiteY34" fmla="*/ 1131094 h 1533525"/>
                  <a:gd name="connsiteX35" fmla="*/ 1233487 w 1393983"/>
                  <a:gd name="connsiteY35" fmla="*/ 1145381 h 1533525"/>
                  <a:gd name="connsiteX36" fmla="*/ 1266825 w 1393983"/>
                  <a:gd name="connsiteY36" fmla="*/ 1181100 h 1533525"/>
                  <a:gd name="connsiteX37" fmla="*/ 1233487 w 1393983"/>
                  <a:gd name="connsiteY37" fmla="*/ 1181100 h 1533525"/>
                  <a:gd name="connsiteX38" fmla="*/ 1228725 w 1393983"/>
                  <a:gd name="connsiteY38" fmla="*/ 1223963 h 1533525"/>
                  <a:gd name="connsiteX39" fmla="*/ 1226343 w 1393983"/>
                  <a:gd name="connsiteY39" fmla="*/ 1243013 h 1533525"/>
                  <a:gd name="connsiteX40" fmla="*/ 1216818 w 1393983"/>
                  <a:gd name="connsiteY40" fmla="*/ 1264444 h 1533525"/>
                  <a:gd name="connsiteX41" fmla="*/ 1190625 w 1393983"/>
                  <a:gd name="connsiteY41" fmla="*/ 1238250 h 1533525"/>
                  <a:gd name="connsiteX42" fmla="*/ 1157287 w 1393983"/>
                  <a:gd name="connsiteY42" fmla="*/ 1209675 h 1533525"/>
                  <a:gd name="connsiteX43" fmla="*/ 1131093 w 1393983"/>
                  <a:gd name="connsiteY43" fmla="*/ 1185863 h 1533525"/>
                  <a:gd name="connsiteX44" fmla="*/ 1107281 w 1393983"/>
                  <a:gd name="connsiteY44" fmla="*/ 1219200 h 1533525"/>
                  <a:gd name="connsiteX45" fmla="*/ 1104900 w 1393983"/>
                  <a:gd name="connsiteY45" fmla="*/ 1264444 h 1533525"/>
                  <a:gd name="connsiteX46" fmla="*/ 1062037 w 1393983"/>
                  <a:gd name="connsiteY46" fmla="*/ 1259681 h 1533525"/>
                  <a:gd name="connsiteX47" fmla="*/ 1026318 w 1393983"/>
                  <a:gd name="connsiteY47" fmla="*/ 1288256 h 1533525"/>
                  <a:gd name="connsiteX48" fmla="*/ 1007268 w 1393983"/>
                  <a:gd name="connsiteY48" fmla="*/ 1240631 h 1533525"/>
                  <a:gd name="connsiteX49" fmla="*/ 947737 w 1393983"/>
                  <a:gd name="connsiteY49" fmla="*/ 1231106 h 1533525"/>
                  <a:gd name="connsiteX50" fmla="*/ 921543 w 1393983"/>
                  <a:gd name="connsiteY50" fmla="*/ 1297781 h 1533525"/>
                  <a:gd name="connsiteX51" fmla="*/ 885825 w 1393983"/>
                  <a:gd name="connsiteY51" fmla="*/ 1278731 h 1533525"/>
                  <a:gd name="connsiteX52" fmla="*/ 816768 w 1393983"/>
                  <a:gd name="connsiteY52" fmla="*/ 1295400 h 1533525"/>
                  <a:gd name="connsiteX53" fmla="*/ 757237 w 1393983"/>
                  <a:gd name="connsiteY53" fmla="*/ 1259681 h 1533525"/>
                  <a:gd name="connsiteX54" fmla="*/ 742950 w 1393983"/>
                  <a:gd name="connsiteY54" fmla="*/ 1312069 h 1533525"/>
                  <a:gd name="connsiteX55" fmla="*/ 704850 w 1393983"/>
                  <a:gd name="connsiteY55" fmla="*/ 1345406 h 1533525"/>
                  <a:gd name="connsiteX56" fmla="*/ 692943 w 1393983"/>
                  <a:gd name="connsiteY56" fmla="*/ 1366838 h 1533525"/>
                  <a:gd name="connsiteX57" fmla="*/ 671512 w 1393983"/>
                  <a:gd name="connsiteY57" fmla="*/ 1509713 h 1533525"/>
                  <a:gd name="connsiteX58" fmla="*/ 633412 w 1393983"/>
                  <a:gd name="connsiteY58" fmla="*/ 1490663 h 1533525"/>
                  <a:gd name="connsiteX59" fmla="*/ 614362 w 1393983"/>
                  <a:gd name="connsiteY59" fmla="*/ 1504950 h 1533525"/>
                  <a:gd name="connsiteX60" fmla="*/ 581025 w 1393983"/>
                  <a:gd name="connsiteY60" fmla="*/ 1531144 h 1533525"/>
                  <a:gd name="connsiteX61" fmla="*/ 523875 w 1393983"/>
                  <a:gd name="connsiteY61" fmla="*/ 1502569 h 1533525"/>
                  <a:gd name="connsiteX62" fmla="*/ 514350 w 1393983"/>
                  <a:gd name="connsiteY62" fmla="*/ 1490663 h 1533525"/>
                  <a:gd name="connsiteX63" fmla="*/ 483393 w 1393983"/>
                  <a:gd name="connsiteY63" fmla="*/ 1533525 h 1533525"/>
                  <a:gd name="connsiteX64" fmla="*/ 459581 w 1393983"/>
                  <a:gd name="connsiteY64" fmla="*/ 1481138 h 1533525"/>
                  <a:gd name="connsiteX65" fmla="*/ 438150 w 1393983"/>
                  <a:gd name="connsiteY65" fmla="*/ 1471613 h 1533525"/>
                  <a:gd name="connsiteX66" fmla="*/ 400050 w 1393983"/>
                  <a:gd name="connsiteY66" fmla="*/ 1485900 h 1533525"/>
                  <a:gd name="connsiteX67" fmla="*/ 338137 w 1393983"/>
                  <a:gd name="connsiteY67" fmla="*/ 1490663 h 1533525"/>
                  <a:gd name="connsiteX68" fmla="*/ 330993 w 1393983"/>
                  <a:gd name="connsiteY68" fmla="*/ 1497806 h 1533525"/>
                  <a:gd name="connsiteX69" fmla="*/ 271462 w 1393983"/>
                  <a:gd name="connsiteY69" fmla="*/ 1471613 h 1533525"/>
                  <a:gd name="connsiteX70" fmla="*/ 219075 w 1393983"/>
                  <a:gd name="connsiteY70" fmla="*/ 1443038 h 1533525"/>
                  <a:gd name="connsiteX71" fmla="*/ 138112 w 1393983"/>
                  <a:gd name="connsiteY71" fmla="*/ 1402556 h 1533525"/>
                  <a:gd name="connsiteX72" fmla="*/ 95250 w 1393983"/>
                  <a:gd name="connsiteY72" fmla="*/ 1316831 h 1533525"/>
                  <a:gd name="connsiteX73" fmla="*/ 80962 w 1393983"/>
                  <a:gd name="connsiteY73" fmla="*/ 1288256 h 1533525"/>
                  <a:gd name="connsiteX74" fmla="*/ 104775 w 1393983"/>
                  <a:gd name="connsiteY74" fmla="*/ 1266825 h 1533525"/>
                  <a:gd name="connsiteX75" fmla="*/ 76200 w 1393983"/>
                  <a:gd name="connsiteY75" fmla="*/ 1212056 h 1533525"/>
                  <a:gd name="connsiteX76" fmla="*/ 109537 w 1393983"/>
                  <a:gd name="connsiteY76" fmla="*/ 1193006 h 1533525"/>
                  <a:gd name="connsiteX77" fmla="*/ 140493 w 1393983"/>
                  <a:gd name="connsiteY77" fmla="*/ 1143000 h 1533525"/>
                  <a:gd name="connsiteX78" fmla="*/ 123825 w 1393983"/>
                  <a:gd name="connsiteY78" fmla="*/ 1107281 h 1533525"/>
                  <a:gd name="connsiteX79" fmla="*/ 178593 w 1393983"/>
                  <a:gd name="connsiteY79" fmla="*/ 1107281 h 1533525"/>
                  <a:gd name="connsiteX80" fmla="*/ 192881 w 1393983"/>
                  <a:gd name="connsiteY80" fmla="*/ 1109663 h 1533525"/>
                  <a:gd name="connsiteX81" fmla="*/ 159543 w 1393983"/>
                  <a:gd name="connsiteY81" fmla="*/ 1064419 h 1533525"/>
                  <a:gd name="connsiteX82" fmla="*/ 169068 w 1393983"/>
                  <a:gd name="connsiteY82" fmla="*/ 1014413 h 1533525"/>
                  <a:gd name="connsiteX83" fmla="*/ 123825 w 1393983"/>
                  <a:gd name="connsiteY83" fmla="*/ 997744 h 1533525"/>
                  <a:gd name="connsiteX84" fmla="*/ 61912 w 1393983"/>
                  <a:gd name="connsiteY84" fmla="*/ 954881 h 1533525"/>
                  <a:gd name="connsiteX85" fmla="*/ 45243 w 1393983"/>
                  <a:gd name="connsiteY85" fmla="*/ 938213 h 1533525"/>
                  <a:gd name="connsiteX86" fmla="*/ 64293 w 1393983"/>
                  <a:gd name="connsiteY86" fmla="*/ 909638 h 1533525"/>
                  <a:gd name="connsiteX87" fmla="*/ 47625 w 1393983"/>
                  <a:gd name="connsiteY87" fmla="*/ 897731 h 1533525"/>
                  <a:gd name="connsiteX88" fmla="*/ 47625 w 1393983"/>
                  <a:gd name="connsiteY88" fmla="*/ 881063 h 1533525"/>
                  <a:gd name="connsiteX89" fmla="*/ 26193 w 1393983"/>
                  <a:gd name="connsiteY89" fmla="*/ 881063 h 1533525"/>
                  <a:gd name="connsiteX90" fmla="*/ 7143 w 1393983"/>
                  <a:gd name="connsiteY90" fmla="*/ 847725 h 1533525"/>
                  <a:gd name="connsiteX91" fmla="*/ 0 w 1393983"/>
                  <a:gd name="connsiteY91" fmla="*/ 816769 h 1533525"/>
                  <a:gd name="connsiteX92" fmla="*/ 54768 w 1393983"/>
                  <a:gd name="connsiteY92" fmla="*/ 800100 h 1533525"/>
                  <a:gd name="connsiteX93" fmla="*/ 76200 w 1393983"/>
                  <a:gd name="connsiteY93" fmla="*/ 788194 h 1533525"/>
                  <a:gd name="connsiteX94" fmla="*/ 128587 w 1393983"/>
                  <a:gd name="connsiteY94" fmla="*/ 821531 h 1533525"/>
                  <a:gd name="connsiteX95" fmla="*/ 126206 w 1393983"/>
                  <a:gd name="connsiteY95" fmla="*/ 800100 h 1533525"/>
                  <a:gd name="connsiteX96" fmla="*/ 164306 w 1393983"/>
                  <a:gd name="connsiteY96" fmla="*/ 795338 h 1533525"/>
                  <a:gd name="connsiteX97" fmla="*/ 173831 w 1393983"/>
                  <a:gd name="connsiteY97" fmla="*/ 759619 h 1533525"/>
                  <a:gd name="connsiteX98" fmla="*/ 235743 w 1393983"/>
                  <a:gd name="connsiteY98" fmla="*/ 764381 h 1533525"/>
                  <a:gd name="connsiteX99" fmla="*/ 235743 w 1393983"/>
                  <a:gd name="connsiteY99" fmla="*/ 764381 h 1533525"/>
                  <a:gd name="connsiteX100" fmla="*/ 245268 w 1393983"/>
                  <a:gd name="connsiteY100" fmla="*/ 704850 h 1533525"/>
                  <a:gd name="connsiteX101" fmla="*/ 276225 w 1393983"/>
                  <a:gd name="connsiteY101" fmla="*/ 666750 h 1533525"/>
                  <a:gd name="connsiteX102" fmla="*/ 292893 w 1393983"/>
                  <a:gd name="connsiteY102" fmla="*/ 638175 h 1533525"/>
                  <a:gd name="connsiteX103" fmla="*/ 245268 w 1393983"/>
                  <a:gd name="connsiteY103" fmla="*/ 602456 h 1533525"/>
                  <a:gd name="connsiteX104" fmla="*/ 264318 w 1393983"/>
                  <a:gd name="connsiteY104" fmla="*/ 585788 h 1533525"/>
                  <a:gd name="connsiteX105" fmla="*/ 311943 w 1393983"/>
                  <a:gd name="connsiteY105" fmla="*/ 602456 h 1533525"/>
                  <a:gd name="connsiteX106" fmla="*/ 369093 w 1393983"/>
                  <a:gd name="connsiteY106" fmla="*/ 573881 h 1533525"/>
                  <a:gd name="connsiteX107" fmla="*/ 457200 w 1393983"/>
                  <a:gd name="connsiteY107" fmla="*/ 545306 h 1533525"/>
                  <a:gd name="connsiteX108" fmla="*/ 538162 w 1393983"/>
                  <a:gd name="connsiteY108" fmla="*/ 578644 h 1533525"/>
                  <a:gd name="connsiteX109" fmla="*/ 614362 w 1393983"/>
                  <a:gd name="connsiteY109" fmla="*/ 550069 h 1533525"/>
                  <a:gd name="connsiteX110" fmla="*/ 650081 w 1393983"/>
                  <a:gd name="connsiteY110" fmla="*/ 552450 h 1533525"/>
                  <a:gd name="connsiteX111" fmla="*/ 654843 w 1393983"/>
                  <a:gd name="connsiteY111" fmla="*/ 523875 h 1533525"/>
                  <a:gd name="connsiteX112" fmla="*/ 654843 w 1393983"/>
                  <a:gd name="connsiteY112" fmla="*/ 490538 h 1533525"/>
                  <a:gd name="connsiteX113" fmla="*/ 669131 w 1393983"/>
                  <a:gd name="connsiteY113" fmla="*/ 469106 h 1533525"/>
                  <a:gd name="connsiteX114" fmla="*/ 652462 w 1393983"/>
                  <a:gd name="connsiteY114" fmla="*/ 450056 h 1533525"/>
                  <a:gd name="connsiteX115" fmla="*/ 642937 w 1393983"/>
                  <a:gd name="connsiteY115" fmla="*/ 411956 h 1533525"/>
                  <a:gd name="connsiteX116" fmla="*/ 642937 w 1393983"/>
                  <a:gd name="connsiteY116" fmla="*/ 330994 h 1533525"/>
                  <a:gd name="connsiteX117" fmla="*/ 633412 w 1393983"/>
                  <a:gd name="connsiteY117" fmla="*/ 319088 h 1533525"/>
                  <a:gd name="connsiteX118" fmla="*/ 664368 w 1393983"/>
                  <a:gd name="connsiteY118" fmla="*/ 285750 h 1533525"/>
                  <a:gd name="connsiteX119" fmla="*/ 721518 w 1393983"/>
                  <a:gd name="connsiteY119" fmla="*/ 292894 h 1533525"/>
                  <a:gd name="connsiteX120" fmla="*/ 733425 w 1393983"/>
                  <a:gd name="connsiteY120" fmla="*/ 264319 h 1533525"/>
                  <a:gd name="connsiteX121" fmla="*/ 731043 w 1393983"/>
                  <a:gd name="connsiteY121" fmla="*/ 228600 h 1533525"/>
                  <a:gd name="connsiteX122" fmla="*/ 790575 w 1393983"/>
                  <a:gd name="connsiteY122" fmla="*/ 192881 h 1533525"/>
                  <a:gd name="connsiteX123" fmla="*/ 804862 w 1393983"/>
                  <a:gd name="connsiteY123" fmla="*/ 166688 h 1533525"/>
                  <a:gd name="connsiteX124" fmla="*/ 778668 w 1393983"/>
                  <a:gd name="connsiteY124" fmla="*/ 128588 h 1533525"/>
                  <a:gd name="connsiteX125" fmla="*/ 771525 w 1393983"/>
                  <a:gd name="connsiteY125" fmla="*/ 104775 h 1533525"/>
                  <a:gd name="connsiteX126" fmla="*/ 823912 w 1393983"/>
                  <a:gd name="connsiteY126" fmla="*/ 97631 h 1533525"/>
                  <a:gd name="connsiteX127" fmla="*/ 869156 w 1393983"/>
                  <a:gd name="connsiteY127" fmla="*/ 52388 h 1533525"/>
                  <a:gd name="connsiteX128" fmla="*/ 890587 w 1393983"/>
                  <a:gd name="connsiteY128" fmla="*/ 23813 h 1533525"/>
                  <a:gd name="connsiteX129" fmla="*/ 923925 w 1393983"/>
                  <a:gd name="connsiteY129" fmla="*/ 9525 h 1533525"/>
                  <a:gd name="connsiteX130" fmla="*/ 971550 w 1393983"/>
                  <a:gd name="connsiteY130" fmla="*/ 0 h 1533525"/>
                  <a:gd name="connsiteX131" fmla="*/ 971550 w 1393983"/>
                  <a:gd name="connsiteY131" fmla="*/ 40481 h 1533525"/>
                  <a:gd name="connsiteX132" fmla="*/ 950118 w 1393983"/>
                  <a:gd name="connsiteY132" fmla="*/ 80963 h 1533525"/>
                  <a:gd name="connsiteX133" fmla="*/ 950118 w 1393983"/>
                  <a:gd name="connsiteY133" fmla="*/ 140494 h 1533525"/>
                  <a:gd name="connsiteX134" fmla="*/ 969168 w 1393983"/>
                  <a:gd name="connsiteY134" fmla="*/ 161925 h 1533525"/>
                  <a:gd name="connsiteX135" fmla="*/ 1007268 w 1393983"/>
                  <a:gd name="connsiteY135" fmla="*/ 188119 h 1533525"/>
                  <a:gd name="connsiteX136" fmla="*/ 1019175 w 1393983"/>
                  <a:gd name="connsiteY136" fmla="*/ 216694 h 1533525"/>
                  <a:gd name="connsiteX137" fmla="*/ 1004887 w 1393983"/>
                  <a:gd name="connsiteY137" fmla="*/ 226219 h 1533525"/>
                  <a:gd name="connsiteX138" fmla="*/ 1057275 w 1393983"/>
                  <a:gd name="connsiteY138" fmla="*/ 250031 h 1533525"/>
                  <a:gd name="connsiteX139" fmla="*/ 1073943 w 1393983"/>
                  <a:gd name="connsiteY139" fmla="*/ 228600 h 1533525"/>
                  <a:gd name="connsiteX140" fmla="*/ 1083468 w 1393983"/>
                  <a:gd name="connsiteY140" fmla="*/ 252413 h 1533525"/>
                  <a:gd name="connsiteX141" fmla="*/ 1116806 w 1393983"/>
                  <a:gd name="connsiteY141" fmla="*/ 252413 h 1533525"/>
                  <a:gd name="connsiteX142" fmla="*/ 1123950 w 1393983"/>
                  <a:gd name="connsiteY142" fmla="*/ 257175 h 1533525"/>
                  <a:gd name="connsiteX143" fmla="*/ 1116806 w 1393983"/>
                  <a:gd name="connsiteY143" fmla="*/ 276225 h 1533525"/>
                  <a:gd name="connsiteX144" fmla="*/ 1088231 w 1393983"/>
                  <a:gd name="connsiteY144" fmla="*/ 309563 h 1533525"/>
                  <a:gd name="connsiteX145" fmla="*/ 1123950 w 1393983"/>
                  <a:gd name="connsiteY145" fmla="*/ 333375 h 1533525"/>
                  <a:gd name="connsiteX146" fmla="*/ 1135856 w 1393983"/>
                  <a:gd name="connsiteY146" fmla="*/ 347663 h 1533525"/>
                  <a:gd name="connsiteX147" fmla="*/ 1135856 w 1393983"/>
                  <a:gd name="connsiteY147" fmla="*/ 376238 h 1533525"/>
                  <a:gd name="connsiteX148" fmla="*/ 1119187 w 1393983"/>
                  <a:gd name="connsiteY148" fmla="*/ 411956 h 1533525"/>
                  <a:gd name="connsiteX149" fmla="*/ 1162050 w 1393983"/>
                  <a:gd name="connsiteY149" fmla="*/ 423863 h 1533525"/>
                  <a:gd name="connsiteX150" fmla="*/ 1233487 w 1393983"/>
                  <a:gd name="connsiteY150" fmla="*/ 416719 h 1533525"/>
                  <a:gd name="connsiteX151" fmla="*/ 1223962 w 1393983"/>
                  <a:gd name="connsiteY151" fmla="*/ 385763 h 1533525"/>
                  <a:gd name="connsiteX152" fmla="*/ 1188243 w 1393983"/>
                  <a:gd name="connsiteY152" fmla="*/ 347663 h 1533525"/>
                  <a:gd name="connsiteX153" fmla="*/ 1181100 w 1393983"/>
                  <a:gd name="connsiteY153" fmla="*/ 333375 h 1533525"/>
                  <a:gd name="connsiteX154" fmla="*/ 1207293 w 1393983"/>
                  <a:gd name="connsiteY154" fmla="*/ 326231 h 1533525"/>
                  <a:gd name="connsiteX155" fmla="*/ 1200150 w 1393983"/>
                  <a:gd name="connsiteY155" fmla="*/ 302419 h 1533525"/>
                  <a:gd name="connsiteX156" fmla="*/ 1223962 w 1393983"/>
                  <a:gd name="connsiteY156" fmla="*/ 283369 h 1533525"/>
                  <a:gd name="connsiteX157" fmla="*/ 1393983 w 1393983"/>
                  <a:gd name="connsiteY157" fmla="*/ 303371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155" fmla="*/ 1200150 w 1266825"/>
                  <a:gd name="connsiteY155" fmla="*/ 302419 h 1533525"/>
                  <a:gd name="connsiteX156" fmla="*/ 1223962 w 1266825"/>
                  <a:gd name="connsiteY156" fmla="*/ 28336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155" fmla="*/ 1200150 w 1266825"/>
                  <a:gd name="connsiteY155" fmla="*/ 30241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1266825" h="1533525">
                    <a:moveTo>
                      <a:pt x="1057275" y="264319"/>
                    </a:moveTo>
                    <a:lnTo>
                      <a:pt x="1062037" y="304800"/>
                    </a:lnTo>
                    <a:lnTo>
                      <a:pt x="995362" y="352425"/>
                    </a:lnTo>
                    <a:lnTo>
                      <a:pt x="973931" y="383381"/>
                    </a:lnTo>
                    <a:lnTo>
                      <a:pt x="1000125" y="428625"/>
                    </a:lnTo>
                    <a:lnTo>
                      <a:pt x="983456" y="466725"/>
                    </a:lnTo>
                    <a:lnTo>
                      <a:pt x="1000125" y="519113"/>
                    </a:lnTo>
                    <a:lnTo>
                      <a:pt x="1033462" y="519113"/>
                    </a:lnTo>
                    <a:lnTo>
                      <a:pt x="1019175" y="552450"/>
                    </a:lnTo>
                    <a:lnTo>
                      <a:pt x="1035843" y="590550"/>
                    </a:lnTo>
                    <a:lnTo>
                      <a:pt x="1035843" y="607219"/>
                    </a:lnTo>
                    <a:lnTo>
                      <a:pt x="1045368" y="645319"/>
                    </a:lnTo>
                    <a:lnTo>
                      <a:pt x="1064418" y="645319"/>
                    </a:lnTo>
                    <a:lnTo>
                      <a:pt x="1078706" y="666750"/>
                    </a:lnTo>
                    <a:lnTo>
                      <a:pt x="1085850" y="688181"/>
                    </a:lnTo>
                    <a:lnTo>
                      <a:pt x="1076325" y="719138"/>
                    </a:lnTo>
                    <a:lnTo>
                      <a:pt x="1021556" y="714375"/>
                    </a:lnTo>
                    <a:cubicBezTo>
                      <a:pt x="1015206" y="716756"/>
                      <a:pt x="1008680" y="718713"/>
                      <a:pt x="1002506" y="721519"/>
                    </a:cubicBezTo>
                    <a:cubicBezTo>
                      <a:pt x="999901" y="722703"/>
                      <a:pt x="995362" y="726281"/>
                      <a:pt x="995362" y="726281"/>
                    </a:cubicBezTo>
                    <a:lnTo>
                      <a:pt x="995362" y="726281"/>
                    </a:lnTo>
                    <a:lnTo>
                      <a:pt x="923925" y="721519"/>
                    </a:lnTo>
                    <a:lnTo>
                      <a:pt x="940593" y="778669"/>
                    </a:lnTo>
                    <a:cubicBezTo>
                      <a:pt x="939799" y="801688"/>
                      <a:pt x="939006" y="824706"/>
                      <a:pt x="938212" y="847725"/>
                    </a:cubicBezTo>
                    <a:lnTo>
                      <a:pt x="954881" y="871538"/>
                    </a:lnTo>
                    <a:lnTo>
                      <a:pt x="997743" y="919163"/>
                    </a:lnTo>
                    <a:lnTo>
                      <a:pt x="1012031" y="954881"/>
                    </a:lnTo>
                    <a:lnTo>
                      <a:pt x="1031081" y="954881"/>
                    </a:lnTo>
                    <a:lnTo>
                      <a:pt x="1071562" y="940594"/>
                    </a:lnTo>
                    <a:lnTo>
                      <a:pt x="1102518" y="933450"/>
                    </a:lnTo>
                    <a:lnTo>
                      <a:pt x="1159668" y="997744"/>
                    </a:lnTo>
                    <a:lnTo>
                      <a:pt x="1178718" y="1052513"/>
                    </a:lnTo>
                    <a:lnTo>
                      <a:pt x="1190625" y="1081088"/>
                    </a:lnTo>
                    <a:lnTo>
                      <a:pt x="1212056" y="1109663"/>
                    </a:lnTo>
                    <a:lnTo>
                      <a:pt x="1231106" y="1102519"/>
                    </a:lnTo>
                    <a:lnTo>
                      <a:pt x="1231106" y="1131094"/>
                    </a:lnTo>
                    <a:lnTo>
                      <a:pt x="1233487" y="1145381"/>
                    </a:lnTo>
                    <a:lnTo>
                      <a:pt x="1266825" y="1181100"/>
                    </a:lnTo>
                    <a:lnTo>
                      <a:pt x="1233487" y="1181100"/>
                    </a:lnTo>
                    <a:lnTo>
                      <a:pt x="1228725" y="1223963"/>
                    </a:lnTo>
                    <a:lnTo>
                      <a:pt x="1226343" y="1243013"/>
                    </a:lnTo>
                    <a:lnTo>
                      <a:pt x="1216818" y="1264444"/>
                    </a:lnTo>
                    <a:lnTo>
                      <a:pt x="1190625" y="1238250"/>
                    </a:lnTo>
                    <a:lnTo>
                      <a:pt x="1157287" y="1209675"/>
                    </a:lnTo>
                    <a:lnTo>
                      <a:pt x="1131093" y="1185863"/>
                    </a:lnTo>
                    <a:lnTo>
                      <a:pt x="1107281" y="1219200"/>
                    </a:lnTo>
                    <a:lnTo>
                      <a:pt x="1104900" y="1264444"/>
                    </a:lnTo>
                    <a:lnTo>
                      <a:pt x="1062037" y="1259681"/>
                    </a:lnTo>
                    <a:lnTo>
                      <a:pt x="1026318" y="1288256"/>
                    </a:lnTo>
                    <a:lnTo>
                      <a:pt x="1007268" y="1240631"/>
                    </a:lnTo>
                    <a:lnTo>
                      <a:pt x="947737" y="1231106"/>
                    </a:lnTo>
                    <a:lnTo>
                      <a:pt x="921543" y="1297781"/>
                    </a:lnTo>
                    <a:lnTo>
                      <a:pt x="885825" y="1278731"/>
                    </a:lnTo>
                    <a:lnTo>
                      <a:pt x="816768" y="1295400"/>
                    </a:lnTo>
                    <a:lnTo>
                      <a:pt x="757237" y="1259681"/>
                    </a:lnTo>
                    <a:lnTo>
                      <a:pt x="742950" y="1312069"/>
                    </a:lnTo>
                    <a:lnTo>
                      <a:pt x="704850" y="1345406"/>
                    </a:lnTo>
                    <a:lnTo>
                      <a:pt x="692943" y="1366838"/>
                    </a:lnTo>
                    <a:lnTo>
                      <a:pt x="671512" y="1509713"/>
                    </a:lnTo>
                    <a:lnTo>
                      <a:pt x="633412" y="1490663"/>
                    </a:lnTo>
                    <a:lnTo>
                      <a:pt x="614362" y="1504950"/>
                    </a:lnTo>
                    <a:lnTo>
                      <a:pt x="581025" y="1531144"/>
                    </a:lnTo>
                    <a:lnTo>
                      <a:pt x="523875" y="1502569"/>
                    </a:lnTo>
                    <a:lnTo>
                      <a:pt x="514350" y="1490663"/>
                    </a:lnTo>
                    <a:lnTo>
                      <a:pt x="483393" y="1533525"/>
                    </a:lnTo>
                    <a:lnTo>
                      <a:pt x="459581" y="1481138"/>
                    </a:lnTo>
                    <a:lnTo>
                      <a:pt x="438150" y="1471613"/>
                    </a:lnTo>
                    <a:lnTo>
                      <a:pt x="400050" y="1485900"/>
                    </a:lnTo>
                    <a:lnTo>
                      <a:pt x="338137" y="1490663"/>
                    </a:lnTo>
                    <a:lnTo>
                      <a:pt x="330993" y="1497806"/>
                    </a:lnTo>
                    <a:lnTo>
                      <a:pt x="271462" y="1471613"/>
                    </a:lnTo>
                    <a:lnTo>
                      <a:pt x="219075" y="1443038"/>
                    </a:lnTo>
                    <a:lnTo>
                      <a:pt x="138112" y="1402556"/>
                    </a:lnTo>
                    <a:lnTo>
                      <a:pt x="95250" y="1316831"/>
                    </a:lnTo>
                    <a:lnTo>
                      <a:pt x="80962" y="1288256"/>
                    </a:lnTo>
                    <a:lnTo>
                      <a:pt x="104775" y="1266825"/>
                    </a:lnTo>
                    <a:lnTo>
                      <a:pt x="76200" y="1212056"/>
                    </a:lnTo>
                    <a:lnTo>
                      <a:pt x="109537" y="1193006"/>
                    </a:lnTo>
                    <a:lnTo>
                      <a:pt x="140493" y="1143000"/>
                    </a:lnTo>
                    <a:lnTo>
                      <a:pt x="123825" y="1107281"/>
                    </a:lnTo>
                    <a:lnTo>
                      <a:pt x="178593" y="1107281"/>
                    </a:lnTo>
                    <a:lnTo>
                      <a:pt x="192881" y="1109663"/>
                    </a:lnTo>
                    <a:lnTo>
                      <a:pt x="159543" y="1064419"/>
                    </a:lnTo>
                    <a:lnTo>
                      <a:pt x="169068" y="1014413"/>
                    </a:lnTo>
                    <a:lnTo>
                      <a:pt x="123825" y="997744"/>
                    </a:lnTo>
                    <a:lnTo>
                      <a:pt x="61912" y="954881"/>
                    </a:lnTo>
                    <a:lnTo>
                      <a:pt x="45243" y="938213"/>
                    </a:lnTo>
                    <a:lnTo>
                      <a:pt x="64293" y="909638"/>
                    </a:lnTo>
                    <a:lnTo>
                      <a:pt x="47625" y="897731"/>
                    </a:lnTo>
                    <a:lnTo>
                      <a:pt x="47625" y="881063"/>
                    </a:lnTo>
                    <a:lnTo>
                      <a:pt x="26193" y="881063"/>
                    </a:lnTo>
                    <a:lnTo>
                      <a:pt x="7143" y="847725"/>
                    </a:lnTo>
                    <a:lnTo>
                      <a:pt x="0" y="816769"/>
                    </a:lnTo>
                    <a:lnTo>
                      <a:pt x="54768" y="800100"/>
                    </a:lnTo>
                    <a:lnTo>
                      <a:pt x="76200" y="788194"/>
                    </a:lnTo>
                    <a:lnTo>
                      <a:pt x="128587" y="821531"/>
                    </a:lnTo>
                    <a:lnTo>
                      <a:pt x="126206" y="800100"/>
                    </a:lnTo>
                    <a:lnTo>
                      <a:pt x="164306" y="795338"/>
                    </a:lnTo>
                    <a:lnTo>
                      <a:pt x="173831" y="759619"/>
                    </a:lnTo>
                    <a:lnTo>
                      <a:pt x="235743" y="764381"/>
                    </a:lnTo>
                    <a:lnTo>
                      <a:pt x="235743" y="764381"/>
                    </a:lnTo>
                    <a:lnTo>
                      <a:pt x="245268" y="704850"/>
                    </a:lnTo>
                    <a:lnTo>
                      <a:pt x="276225" y="666750"/>
                    </a:lnTo>
                    <a:lnTo>
                      <a:pt x="292893" y="638175"/>
                    </a:lnTo>
                    <a:lnTo>
                      <a:pt x="245268" y="602456"/>
                    </a:lnTo>
                    <a:lnTo>
                      <a:pt x="264318" y="585788"/>
                    </a:lnTo>
                    <a:lnTo>
                      <a:pt x="311943" y="602456"/>
                    </a:lnTo>
                    <a:lnTo>
                      <a:pt x="369093" y="573881"/>
                    </a:lnTo>
                    <a:lnTo>
                      <a:pt x="457200" y="545306"/>
                    </a:lnTo>
                    <a:lnTo>
                      <a:pt x="538162" y="578644"/>
                    </a:lnTo>
                    <a:lnTo>
                      <a:pt x="614362" y="550069"/>
                    </a:lnTo>
                    <a:lnTo>
                      <a:pt x="650081" y="552450"/>
                    </a:lnTo>
                    <a:lnTo>
                      <a:pt x="654843" y="523875"/>
                    </a:lnTo>
                    <a:lnTo>
                      <a:pt x="654843" y="490538"/>
                    </a:lnTo>
                    <a:lnTo>
                      <a:pt x="669131" y="469106"/>
                    </a:lnTo>
                    <a:lnTo>
                      <a:pt x="652462" y="450056"/>
                    </a:lnTo>
                    <a:lnTo>
                      <a:pt x="642937" y="411956"/>
                    </a:lnTo>
                    <a:lnTo>
                      <a:pt x="642937" y="330994"/>
                    </a:lnTo>
                    <a:lnTo>
                      <a:pt x="633412" y="319088"/>
                    </a:lnTo>
                    <a:lnTo>
                      <a:pt x="664368" y="285750"/>
                    </a:lnTo>
                    <a:lnTo>
                      <a:pt x="721518" y="292894"/>
                    </a:lnTo>
                    <a:lnTo>
                      <a:pt x="733425" y="264319"/>
                    </a:lnTo>
                    <a:lnTo>
                      <a:pt x="731043" y="228600"/>
                    </a:lnTo>
                    <a:lnTo>
                      <a:pt x="790575" y="192881"/>
                    </a:lnTo>
                    <a:lnTo>
                      <a:pt x="804862" y="166688"/>
                    </a:lnTo>
                    <a:lnTo>
                      <a:pt x="778668" y="128588"/>
                    </a:lnTo>
                    <a:lnTo>
                      <a:pt x="771525" y="104775"/>
                    </a:lnTo>
                    <a:lnTo>
                      <a:pt x="823912" y="97631"/>
                    </a:lnTo>
                    <a:lnTo>
                      <a:pt x="869156" y="52388"/>
                    </a:lnTo>
                    <a:lnTo>
                      <a:pt x="890587" y="23813"/>
                    </a:lnTo>
                    <a:lnTo>
                      <a:pt x="923925" y="9525"/>
                    </a:lnTo>
                    <a:lnTo>
                      <a:pt x="971550" y="0"/>
                    </a:lnTo>
                    <a:lnTo>
                      <a:pt x="971550" y="40481"/>
                    </a:lnTo>
                    <a:lnTo>
                      <a:pt x="950118" y="80963"/>
                    </a:lnTo>
                    <a:lnTo>
                      <a:pt x="950118" y="140494"/>
                    </a:lnTo>
                    <a:lnTo>
                      <a:pt x="969168" y="161925"/>
                    </a:lnTo>
                    <a:lnTo>
                      <a:pt x="1007268" y="188119"/>
                    </a:lnTo>
                    <a:lnTo>
                      <a:pt x="1019175" y="216694"/>
                    </a:lnTo>
                    <a:lnTo>
                      <a:pt x="1004887" y="226219"/>
                    </a:lnTo>
                    <a:lnTo>
                      <a:pt x="1057275" y="25003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2" name="Figura a mano libera 241"/>
              <p:cNvSpPr/>
              <p:nvPr/>
            </p:nvSpPr>
            <p:spPr bwMode="auto">
              <a:xfrm>
                <a:off x="1717463" y="811870"/>
                <a:ext cx="1121502" cy="974567"/>
              </a:xfrm>
              <a:custGeom>
                <a:avLst/>
                <a:gdLst>
                  <a:gd name="connsiteX0" fmla="*/ 147638 w 1395413"/>
                  <a:gd name="connsiteY0" fmla="*/ 302419 h 1247775"/>
                  <a:gd name="connsiteX1" fmla="*/ 204788 w 1395413"/>
                  <a:gd name="connsiteY1" fmla="*/ 314325 h 1247775"/>
                  <a:gd name="connsiteX2" fmla="*/ 216694 w 1395413"/>
                  <a:gd name="connsiteY2" fmla="*/ 335756 h 1247775"/>
                  <a:gd name="connsiteX3" fmla="*/ 180975 w 1395413"/>
                  <a:gd name="connsiteY3" fmla="*/ 369094 h 1247775"/>
                  <a:gd name="connsiteX4" fmla="*/ 233363 w 1395413"/>
                  <a:gd name="connsiteY4" fmla="*/ 402431 h 1247775"/>
                  <a:gd name="connsiteX5" fmla="*/ 221456 w 1395413"/>
                  <a:gd name="connsiteY5" fmla="*/ 431006 h 1247775"/>
                  <a:gd name="connsiteX6" fmla="*/ 202406 w 1395413"/>
                  <a:gd name="connsiteY6" fmla="*/ 461963 h 1247775"/>
                  <a:gd name="connsiteX7" fmla="*/ 252413 w 1395413"/>
                  <a:gd name="connsiteY7" fmla="*/ 488156 h 1247775"/>
                  <a:gd name="connsiteX8" fmla="*/ 304800 w 1395413"/>
                  <a:gd name="connsiteY8" fmla="*/ 471488 h 1247775"/>
                  <a:gd name="connsiteX9" fmla="*/ 307181 w 1395413"/>
                  <a:gd name="connsiteY9" fmla="*/ 450056 h 1247775"/>
                  <a:gd name="connsiteX10" fmla="*/ 290513 w 1395413"/>
                  <a:gd name="connsiteY10" fmla="*/ 421481 h 1247775"/>
                  <a:gd name="connsiteX11" fmla="*/ 257175 w 1395413"/>
                  <a:gd name="connsiteY11" fmla="*/ 400050 h 1247775"/>
                  <a:gd name="connsiteX12" fmla="*/ 292894 w 1395413"/>
                  <a:gd name="connsiteY12" fmla="*/ 383381 h 1247775"/>
                  <a:gd name="connsiteX13" fmla="*/ 271463 w 1395413"/>
                  <a:gd name="connsiteY13" fmla="*/ 342900 h 1247775"/>
                  <a:gd name="connsiteX14" fmla="*/ 321469 w 1395413"/>
                  <a:gd name="connsiteY14" fmla="*/ 338138 h 1247775"/>
                  <a:gd name="connsiteX15" fmla="*/ 321469 w 1395413"/>
                  <a:gd name="connsiteY15" fmla="*/ 297656 h 1247775"/>
                  <a:gd name="connsiteX16" fmla="*/ 411956 w 1395413"/>
                  <a:gd name="connsiteY16" fmla="*/ 219075 h 1247775"/>
                  <a:gd name="connsiteX17" fmla="*/ 423863 w 1395413"/>
                  <a:gd name="connsiteY17" fmla="*/ 147638 h 1247775"/>
                  <a:gd name="connsiteX18" fmla="*/ 433388 w 1395413"/>
                  <a:gd name="connsiteY18" fmla="*/ 109538 h 1247775"/>
                  <a:gd name="connsiteX19" fmla="*/ 414338 w 1395413"/>
                  <a:gd name="connsiteY19" fmla="*/ 92869 h 1247775"/>
                  <a:gd name="connsiteX20" fmla="*/ 433388 w 1395413"/>
                  <a:gd name="connsiteY20" fmla="*/ 71438 h 1247775"/>
                  <a:gd name="connsiteX21" fmla="*/ 440531 w 1395413"/>
                  <a:gd name="connsiteY21" fmla="*/ 54769 h 1247775"/>
                  <a:gd name="connsiteX22" fmla="*/ 483394 w 1395413"/>
                  <a:gd name="connsiteY22" fmla="*/ 61913 h 1247775"/>
                  <a:gd name="connsiteX23" fmla="*/ 483394 w 1395413"/>
                  <a:gd name="connsiteY23" fmla="*/ 80963 h 1247775"/>
                  <a:gd name="connsiteX24" fmla="*/ 521494 w 1395413"/>
                  <a:gd name="connsiteY24" fmla="*/ 71438 h 1247775"/>
                  <a:gd name="connsiteX25" fmla="*/ 526256 w 1395413"/>
                  <a:gd name="connsiteY25" fmla="*/ 100013 h 1247775"/>
                  <a:gd name="connsiteX26" fmla="*/ 507206 w 1395413"/>
                  <a:gd name="connsiteY26" fmla="*/ 128588 h 1247775"/>
                  <a:gd name="connsiteX27" fmla="*/ 564356 w 1395413"/>
                  <a:gd name="connsiteY27" fmla="*/ 190500 h 1247775"/>
                  <a:gd name="connsiteX28" fmla="*/ 626269 w 1395413"/>
                  <a:gd name="connsiteY28" fmla="*/ 204788 h 1247775"/>
                  <a:gd name="connsiteX29" fmla="*/ 635794 w 1395413"/>
                  <a:gd name="connsiteY29" fmla="*/ 173831 h 1247775"/>
                  <a:gd name="connsiteX30" fmla="*/ 671513 w 1395413"/>
                  <a:gd name="connsiteY30" fmla="*/ 173831 h 1247775"/>
                  <a:gd name="connsiteX31" fmla="*/ 726281 w 1395413"/>
                  <a:gd name="connsiteY31" fmla="*/ 164306 h 1247775"/>
                  <a:gd name="connsiteX32" fmla="*/ 738188 w 1395413"/>
                  <a:gd name="connsiteY32" fmla="*/ 157163 h 1247775"/>
                  <a:gd name="connsiteX33" fmla="*/ 738188 w 1395413"/>
                  <a:gd name="connsiteY33" fmla="*/ 157163 h 1247775"/>
                  <a:gd name="connsiteX34" fmla="*/ 766763 w 1395413"/>
                  <a:gd name="connsiteY34" fmla="*/ 183356 h 1247775"/>
                  <a:gd name="connsiteX35" fmla="*/ 752475 w 1395413"/>
                  <a:gd name="connsiteY35" fmla="*/ 207169 h 1247775"/>
                  <a:gd name="connsiteX36" fmla="*/ 778669 w 1395413"/>
                  <a:gd name="connsiteY36" fmla="*/ 233363 h 1247775"/>
                  <a:gd name="connsiteX37" fmla="*/ 778669 w 1395413"/>
                  <a:gd name="connsiteY37" fmla="*/ 252413 h 1247775"/>
                  <a:gd name="connsiteX38" fmla="*/ 778669 w 1395413"/>
                  <a:gd name="connsiteY38" fmla="*/ 252413 h 1247775"/>
                  <a:gd name="connsiteX39" fmla="*/ 862013 w 1395413"/>
                  <a:gd name="connsiteY39" fmla="*/ 257175 h 1247775"/>
                  <a:gd name="connsiteX40" fmla="*/ 826294 w 1395413"/>
                  <a:gd name="connsiteY40" fmla="*/ 197644 h 1247775"/>
                  <a:gd name="connsiteX41" fmla="*/ 833438 w 1395413"/>
                  <a:gd name="connsiteY41" fmla="*/ 169069 h 1247775"/>
                  <a:gd name="connsiteX42" fmla="*/ 845344 w 1395413"/>
                  <a:gd name="connsiteY42" fmla="*/ 130969 h 1247775"/>
                  <a:gd name="connsiteX43" fmla="*/ 788194 w 1395413"/>
                  <a:gd name="connsiteY43" fmla="*/ 123825 h 1247775"/>
                  <a:gd name="connsiteX44" fmla="*/ 792956 w 1395413"/>
                  <a:gd name="connsiteY44" fmla="*/ 57150 h 1247775"/>
                  <a:gd name="connsiteX45" fmla="*/ 812006 w 1395413"/>
                  <a:gd name="connsiteY45" fmla="*/ 26194 h 1247775"/>
                  <a:gd name="connsiteX46" fmla="*/ 866775 w 1395413"/>
                  <a:gd name="connsiteY46" fmla="*/ 0 h 1247775"/>
                  <a:gd name="connsiteX47" fmla="*/ 892969 w 1395413"/>
                  <a:gd name="connsiteY47" fmla="*/ 0 h 1247775"/>
                  <a:gd name="connsiteX48" fmla="*/ 895350 w 1395413"/>
                  <a:gd name="connsiteY48" fmla="*/ 40481 h 1247775"/>
                  <a:gd name="connsiteX49" fmla="*/ 976313 w 1395413"/>
                  <a:gd name="connsiteY49" fmla="*/ 66675 h 1247775"/>
                  <a:gd name="connsiteX50" fmla="*/ 1004888 w 1395413"/>
                  <a:gd name="connsiteY50" fmla="*/ 69056 h 1247775"/>
                  <a:gd name="connsiteX51" fmla="*/ 1019175 w 1395413"/>
                  <a:gd name="connsiteY51" fmla="*/ 102394 h 1247775"/>
                  <a:gd name="connsiteX52" fmla="*/ 1057275 w 1395413"/>
                  <a:gd name="connsiteY52" fmla="*/ 109538 h 1247775"/>
                  <a:gd name="connsiteX53" fmla="*/ 1064419 w 1395413"/>
                  <a:gd name="connsiteY53" fmla="*/ 161925 h 1247775"/>
                  <a:gd name="connsiteX54" fmla="*/ 1014413 w 1395413"/>
                  <a:gd name="connsiteY54" fmla="*/ 185738 h 1247775"/>
                  <a:gd name="connsiteX55" fmla="*/ 1040606 w 1395413"/>
                  <a:gd name="connsiteY55" fmla="*/ 240506 h 1247775"/>
                  <a:gd name="connsiteX56" fmla="*/ 1040606 w 1395413"/>
                  <a:gd name="connsiteY56" fmla="*/ 271463 h 1247775"/>
                  <a:gd name="connsiteX57" fmla="*/ 1031081 w 1395413"/>
                  <a:gd name="connsiteY57" fmla="*/ 304800 h 1247775"/>
                  <a:gd name="connsiteX58" fmla="*/ 1007269 w 1395413"/>
                  <a:gd name="connsiteY58" fmla="*/ 354806 h 1247775"/>
                  <a:gd name="connsiteX59" fmla="*/ 978694 w 1395413"/>
                  <a:gd name="connsiteY59" fmla="*/ 397669 h 1247775"/>
                  <a:gd name="connsiteX60" fmla="*/ 976313 w 1395413"/>
                  <a:gd name="connsiteY60" fmla="*/ 435769 h 1247775"/>
                  <a:gd name="connsiteX61" fmla="*/ 985838 w 1395413"/>
                  <a:gd name="connsiteY61" fmla="*/ 445294 h 1247775"/>
                  <a:gd name="connsiteX62" fmla="*/ 997744 w 1395413"/>
                  <a:gd name="connsiteY62" fmla="*/ 497681 h 1247775"/>
                  <a:gd name="connsiteX63" fmla="*/ 1028700 w 1395413"/>
                  <a:gd name="connsiteY63" fmla="*/ 545306 h 1247775"/>
                  <a:gd name="connsiteX64" fmla="*/ 1078706 w 1395413"/>
                  <a:gd name="connsiteY64" fmla="*/ 528638 h 1247775"/>
                  <a:gd name="connsiteX65" fmla="*/ 1178719 w 1395413"/>
                  <a:gd name="connsiteY65" fmla="*/ 538163 h 1247775"/>
                  <a:gd name="connsiteX66" fmla="*/ 1143000 w 1395413"/>
                  <a:gd name="connsiteY66" fmla="*/ 559594 h 1247775"/>
                  <a:gd name="connsiteX67" fmla="*/ 1102519 w 1395413"/>
                  <a:gd name="connsiteY67" fmla="*/ 609600 h 1247775"/>
                  <a:gd name="connsiteX68" fmla="*/ 1081088 w 1395413"/>
                  <a:gd name="connsiteY68" fmla="*/ 638175 h 1247775"/>
                  <a:gd name="connsiteX69" fmla="*/ 1050131 w 1395413"/>
                  <a:gd name="connsiteY69" fmla="*/ 683419 h 1247775"/>
                  <a:gd name="connsiteX70" fmla="*/ 1050131 w 1395413"/>
                  <a:gd name="connsiteY70" fmla="*/ 745331 h 1247775"/>
                  <a:gd name="connsiteX71" fmla="*/ 1057275 w 1395413"/>
                  <a:gd name="connsiteY71" fmla="*/ 783431 h 1247775"/>
                  <a:gd name="connsiteX72" fmla="*/ 1090613 w 1395413"/>
                  <a:gd name="connsiteY72" fmla="*/ 781050 h 1247775"/>
                  <a:gd name="connsiteX73" fmla="*/ 1069181 w 1395413"/>
                  <a:gd name="connsiteY73" fmla="*/ 828675 h 1247775"/>
                  <a:gd name="connsiteX74" fmla="*/ 1071563 w 1395413"/>
                  <a:gd name="connsiteY74" fmla="*/ 881063 h 1247775"/>
                  <a:gd name="connsiteX75" fmla="*/ 1092994 w 1395413"/>
                  <a:gd name="connsiteY75" fmla="*/ 881063 h 1247775"/>
                  <a:gd name="connsiteX76" fmla="*/ 1097756 w 1395413"/>
                  <a:gd name="connsiteY76" fmla="*/ 850106 h 1247775"/>
                  <a:gd name="connsiteX77" fmla="*/ 1171575 w 1395413"/>
                  <a:gd name="connsiteY77" fmla="*/ 928688 h 1247775"/>
                  <a:gd name="connsiteX78" fmla="*/ 1228725 w 1395413"/>
                  <a:gd name="connsiteY78" fmla="*/ 976313 h 1247775"/>
                  <a:gd name="connsiteX79" fmla="*/ 1223963 w 1395413"/>
                  <a:gd name="connsiteY79" fmla="*/ 1000125 h 1247775"/>
                  <a:gd name="connsiteX80" fmla="*/ 1252538 w 1395413"/>
                  <a:gd name="connsiteY80" fmla="*/ 1019175 h 1247775"/>
                  <a:gd name="connsiteX81" fmla="*/ 1288256 w 1395413"/>
                  <a:gd name="connsiteY81" fmla="*/ 1007269 h 1247775"/>
                  <a:gd name="connsiteX82" fmla="*/ 1307306 w 1395413"/>
                  <a:gd name="connsiteY82" fmla="*/ 1007269 h 1247775"/>
                  <a:gd name="connsiteX83" fmla="*/ 1321594 w 1395413"/>
                  <a:gd name="connsiteY83" fmla="*/ 1059656 h 1247775"/>
                  <a:gd name="connsiteX84" fmla="*/ 1395413 w 1395413"/>
                  <a:gd name="connsiteY84" fmla="*/ 1102519 h 1247775"/>
                  <a:gd name="connsiteX85" fmla="*/ 1364456 w 1395413"/>
                  <a:gd name="connsiteY85" fmla="*/ 1114425 h 1247775"/>
                  <a:gd name="connsiteX86" fmla="*/ 1314450 w 1395413"/>
                  <a:gd name="connsiteY86" fmla="*/ 1114425 h 1247775"/>
                  <a:gd name="connsiteX87" fmla="*/ 1254919 w 1395413"/>
                  <a:gd name="connsiteY87" fmla="*/ 1107281 h 1247775"/>
                  <a:gd name="connsiteX88" fmla="*/ 1216819 w 1395413"/>
                  <a:gd name="connsiteY88" fmla="*/ 1112044 h 1247775"/>
                  <a:gd name="connsiteX89" fmla="*/ 1181100 w 1395413"/>
                  <a:gd name="connsiteY89" fmla="*/ 1138238 h 1247775"/>
                  <a:gd name="connsiteX90" fmla="*/ 1116806 w 1395413"/>
                  <a:gd name="connsiteY90" fmla="*/ 1123950 h 1247775"/>
                  <a:gd name="connsiteX91" fmla="*/ 1071563 w 1395413"/>
                  <a:gd name="connsiteY91" fmla="*/ 1081088 h 1247775"/>
                  <a:gd name="connsiteX92" fmla="*/ 1012031 w 1395413"/>
                  <a:gd name="connsiteY92" fmla="*/ 1140619 h 1247775"/>
                  <a:gd name="connsiteX93" fmla="*/ 847725 w 1395413"/>
                  <a:gd name="connsiteY93" fmla="*/ 1066800 h 1247775"/>
                  <a:gd name="connsiteX94" fmla="*/ 823913 w 1395413"/>
                  <a:gd name="connsiteY94" fmla="*/ 1054894 h 1247775"/>
                  <a:gd name="connsiteX95" fmla="*/ 823913 w 1395413"/>
                  <a:gd name="connsiteY95" fmla="*/ 1038225 h 1247775"/>
                  <a:gd name="connsiteX96" fmla="*/ 776288 w 1395413"/>
                  <a:gd name="connsiteY96" fmla="*/ 1040606 h 1247775"/>
                  <a:gd name="connsiteX97" fmla="*/ 747713 w 1395413"/>
                  <a:gd name="connsiteY97" fmla="*/ 1023938 h 1247775"/>
                  <a:gd name="connsiteX98" fmla="*/ 752475 w 1395413"/>
                  <a:gd name="connsiteY98" fmla="*/ 997744 h 1247775"/>
                  <a:gd name="connsiteX99" fmla="*/ 740569 w 1395413"/>
                  <a:gd name="connsiteY99" fmla="*/ 971550 h 1247775"/>
                  <a:gd name="connsiteX100" fmla="*/ 678656 w 1395413"/>
                  <a:gd name="connsiteY100" fmla="*/ 1000125 h 1247775"/>
                  <a:gd name="connsiteX101" fmla="*/ 678656 w 1395413"/>
                  <a:gd name="connsiteY101" fmla="*/ 976313 h 1247775"/>
                  <a:gd name="connsiteX102" fmla="*/ 650081 w 1395413"/>
                  <a:gd name="connsiteY102" fmla="*/ 997744 h 1247775"/>
                  <a:gd name="connsiteX103" fmla="*/ 621506 w 1395413"/>
                  <a:gd name="connsiteY103" fmla="*/ 1000125 h 1247775"/>
                  <a:gd name="connsiteX104" fmla="*/ 602456 w 1395413"/>
                  <a:gd name="connsiteY104" fmla="*/ 997744 h 1247775"/>
                  <a:gd name="connsiteX105" fmla="*/ 600075 w 1395413"/>
                  <a:gd name="connsiteY105" fmla="*/ 978694 h 1247775"/>
                  <a:gd name="connsiteX106" fmla="*/ 578644 w 1395413"/>
                  <a:gd name="connsiteY106" fmla="*/ 1009650 h 1247775"/>
                  <a:gd name="connsiteX107" fmla="*/ 533400 w 1395413"/>
                  <a:gd name="connsiteY107" fmla="*/ 1012031 h 1247775"/>
                  <a:gd name="connsiteX108" fmla="*/ 490538 w 1395413"/>
                  <a:gd name="connsiteY108" fmla="*/ 1004888 h 1247775"/>
                  <a:gd name="connsiteX109" fmla="*/ 485775 w 1395413"/>
                  <a:gd name="connsiteY109" fmla="*/ 971550 h 1247775"/>
                  <a:gd name="connsiteX110" fmla="*/ 461963 w 1395413"/>
                  <a:gd name="connsiteY110" fmla="*/ 971550 h 1247775"/>
                  <a:gd name="connsiteX111" fmla="*/ 381000 w 1395413"/>
                  <a:gd name="connsiteY111" fmla="*/ 1047750 h 1247775"/>
                  <a:gd name="connsiteX112" fmla="*/ 381000 w 1395413"/>
                  <a:gd name="connsiteY112" fmla="*/ 1112044 h 1247775"/>
                  <a:gd name="connsiteX113" fmla="*/ 407194 w 1395413"/>
                  <a:gd name="connsiteY113" fmla="*/ 1126331 h 1247775"/>
                  <a:gd name="connsiteX114" fmla="*/ 383381 w 1395413"/>
                  <a:gd name="connsiteY114" fmla="*/ 1152525 h 1247775"/>
                  <a:gd name="connsiteX115" fmla="*/ 359569 w 1395413"/>
                  <a:gd name="connsiteY115" fmla="*/ 1188244 h 1247775"/>
                  <a:gd name="connsiteX116" fmla="*/ 392906 w 1395413"/>
                  <a:gd name="connsiteY116" fmla="*/ 1216819 h 1247775"/>
                  <a:gd name="connsiteX117" fmla="*/ 366713 w 1395413"/>
                  <a:gd name="connsiteY117" fmla="*/ 1247775 h 1247775"/>
                  <a:gd name="connsiteX118" fmla="*/ 314325 w 1395413"/>
                  <a:gd name="connsiteY118" fmla="*/ 1214438 h 1247775"/>
                  <a:gd name="connsiteX119" fmla="*/ 309563 w 1395413"/>
                  <a:gd name="connsiteY119" fmla="*/ 1152525 h 1247775"/>
                  <a:gd name="connsiteX120" fmla="*/ 280988 w 1395413"/>
                  <a:gd name="connsiteY120" fmla="*/ 1166813 h 1247775"/>
                  <a:gd name="connsiteX121" fmla="*/ 250031 w 1395413"/>
                  <a:gd name="connsiteY121" fmla="*/ 1054894 h 1247775"/>
                  <a:gd name="connsiteX122" fmla="*/ 190500 w 1395413"/>
                  <a:gd name="connsiteY122" fmla="*/ 978694 h 1247775"/>
                  <a:gd name="connsiteX123" fmla="*/ 92869 w 1395413"/>
                  <a:gd name="connsiteY123" fmla="*/ 1009650 h 1247775"/>
                  <a:gd name="connsiteX124" fmla="*/ 71438 w 1395413"/>
                  <a:gd name="connsiteY124" fmla="*/ 962025 h 1247775"/>
                  <a:gd name="connsiteX125" fmla="*/ 28575 w 1395413"/>
                  <a:gd name="connsiteY125" fmla="*/ 914400 h 1247775"/>
                  <a:gd name="connsiteX126" fmla="*/ 23813 w 1395413"/>
                  <a:gd name="connsiteY126" fmla="*/ 845344 h 1247775"/>
                  <a:gd name="connsiteX127" fmla="*/ 0 w 1395413"/>
                  <a:gd name="connsiteY127" fmla="*/ 776288 h 1247775"/>
                  <a:gd name="connsiteX128" fmla="*/ 71438 w 1395413"/>
                  <a:gd name="connsiteY128" fmla="*/ 783431 h 1247775"/>
                  <a:gd name="connsiteX129" fmla="*/ 121444 w 1395413"/>
                  <a:gd name="connsiteY129" fmla="*/ 776288 h 1247775"/>
                  <a:gd name="connsiteX130" fmla="*/ 159544 w 1395413"/>
                  <a:gd name="connsiteY130" fmla="*/ 776288 h 1247775"/>
                  <a:gd name="connsiteX131" fmla="*/ 173831 w 1395413"/>
                  <a:gd name="connsiteY131" fmla="*/ 745331 h 1247775"/>
                  <a:gd name="connsiteX132" fmla="*/ 154781 w 1395413"/>
                  <a:gd name="connsiteY132" fmla="*/ 704850 h 1247775"/>
                  <a:gd name="connsiteX133" fmla="*/ 133350 w 1395413"/>
                  <a:gd name="connsiteY133" fmla="*/ 704850 h 1247775"/>
                  <a:gd name="connsiteX134" fmla="*/ 123825 w 1395413"/>
                  <a:gd name="connsiteY134" fmla="*/ 642938 h 1247775"/>
                  <a:gd name="connsiteX135" fmla="*/ 95250 w 1395413"/>
                  <a:gd name="connsiteY135" fmla="*/ 621506 h 1247775"/>
                  <a:gd name="connsiteX136" fmla="*/ 133350 w 1395413"/>
                  <a:gd name="connsiteY136" fmla="*/ 573881 h 1247775"/>
                  <a:gd name="connsiteX137" fmla="*/ 83344 w 1395413"/>
                  <a:gd name="connsiteY137" fmla="*/ 573881 h 1247775"/>
                  <a:gd name="connsiteX138" fmla="*/ 59531 w 1395413"/>
                  <a:gd name="connsiteY138" fmla="*/ 550069 h 1247775"/>
                  <a:gd name="connsiteX139" fmla="*/ 83344 w 1395413"/>
                  <a:gd name="connsiteY139" fmla="*/ 478631 h 1247775"/>
                  <a:gd name="connsiteX140" fmla="*/ 54769 w 1395413"/>
                  <a:gd name="connsiteY140" fmla="*/ 440531 h 1247775"/>
                  <a:gd name="connsiteX141" fmla="*/ 97631 w 1395413"/>
                  <a:gd name="connsiteY141" fmla="*/ 395288 h 1247775"/>
                  <a:gd name="connsiteX142" fmla="*/ 147638 w 1395413"/>
                  <a:gd name="connsiteY142" fmla="*/ 373856 h 1247775"/>
                  <a:gd name="connsiteX143" fmla="*/ 147638 w 1395413"/>
                  <a:gd name="connsiteY143" fmla="*/ 302419 h 124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</a:cxnLst>
                <a:rect l="l" t="t" r="r" b="b"/>
                <a:pathLst>
                  <a:path w="1395413" h="1247775">
                    <a:moveTo>
                      <a:pt x="147638" y="302419"/>
                    </a:moveTo>
                    <a:lnTo>
                      <a:pt x="204788" y="314325"/>
                    </a:lnTo>
                    <a:lnTo>
                      <a:pt x="216694" y="335756"/>
                    </a:lnTo>
                    <a:lnTo>
                      <a:pt x="180975" y="369094"/>
                    </a:lnTo>
                    <a:lnTo>
                      <a:pt x="233363" y="402431"/>
                    </a:lnTo>
                    <a:lnTo>
                      <a:pt x="221456" y="431006"/>
                    </a:lnTo>
                    <a:lnTo>
                      <a:pt x="202406" y="461963"/>
                    </a:lnTo>
                    <a:lnTo>
                      <a:pt x="252413" y="488156"/>
                    </a:lnTo>
                    <a:lnTo>
                      <a:pt x="304800" y="471488"/>
                    </a:lnTo>
                    <a:lnTo>
                      <a:pt x="307181" y="450056"/>
                    </a:lnTo>
                    <a:lnTo>
                      <a:pt x="290513" y="421481"/>
                    </a:lnTo>
                    <a:lnTo>
                      <a:pt x="257175" y="400050"/>
                    </a:lnTo>
                    <a:lnTo>
                      <a:pt x="292894" y="383381"/>
                    </a:lnTo>
                    <a:lnTo>
                      <a:pt x="271463" y="342900"/>
                    </a:lnTo>
                    <a:lnTo>
                      <a:pt x="321469" y="338138"/>
                    </a:lnTo>
                    <a:lnTo>
                      <a:pt x="321469" y="297656"/>
                    </a:lnTo>
                    <a:lnTo>
                      <a:pt x="411956" y="219075"/>
                    </a:lnTo>
                    <a:lnTo>
                      <a:pt x="423863" y="147638"/>
                    </a:lnTo>
                    <a:lnTo>
                      <a:pt x="433388" y="109538"/>
                    </a:lnTo>
                    <a:lnTo>
                      <a:pt x="414338" y="92869"/>
                    </a:lnTo>
                    <a:lnTo>
                      <a:pt x="433388" y="71438"/>
                    </a:lnTo>
                    <a:lnTo>
                      <a:pt x="440531" y="54769"/>
                    </a:lnTo>
                    <a:lnTo>
                      <a:pt x="483394" y="61913"/>
                    </a:lnTo>
                    <a:lnTo>
                      <a:pt x="483394" y="80963"/>
                    </a:lnTo>
                    <a:lnTo>
                      <a:pt x="521494" y="71438"/>
                    </a:lnTo>
                    <a:lnTo>
                      <a:pt x="526256" y="100013"/>
                    </a:lnTo>
                    <a:lnTo>
                      <a:pt x="507206" y="128588"/>
                    </a:lnTo>
                    <a:lnTo>
                      <a:pt x="564356" y="190500"/>
                    </a:lnTo>
                    <a:lnTo>
                      <a:pt x="626269" y="204788"/>
                    </a:lnTo>
                    <a:lnTo>
                      <a:pt x="635794" y="173831"/>
                    </a:lnTo>
                    <a:lnTo>
                      <a:pt x="671513" y="173831"/>
                    </a:lnTo>
                    <a:lnTo>
                      <a:pt x="726281" y="164306"/>
                    </a:lnTo>
                    <a:lnTo>
                      <a:pt x="738188" y="157163"/>
                    </a:lnTo>
                    <a:lnTo>
                      <a:pt x="738188" y="157163"/>
                    </a:lnTo>
                    <a:lnTo>
                      <a:pt x="766763" y="183356"/>
                    </a:lnTo>
                    <a:lnTo>
                      <a:pt x="752475" y="207169"/>
                    </a:lnTo>
                    <a:lnTo>
                      <a:pt x="778669" y="233363"/>
                    </a:lnTo>
                    <a:lnTo>
                      <a:pt x="778669" y="252413"/>
                    </a:lnTo>
                    <a:lnTo>
                      <a:pt x="778669" y="252413"/>
                    </a:lnTo>
                    <a:lnTo>
                      <a:pt x="862013" y="257175"/>
                    </a:lnTo>
                    <a:lnTo>
                      <a:pt x="826294" y="197644"/>
                    </a:lnTo>
                    <a:lnTo>
                      <a:pt x="833438" y="169069"/>
                    </a:lnTo>
                    <a:lnTo>
                      <a:pt x="845344" y="130969"/>
                    </a:lnTo>
                    <a:lnTo>
                      <a:pt x="788194" y="123825"/>
                    </a:lnTo>
                    <a:lnTo>
                      <a:pt x="792956" y="57150"/>
                    </a:lnTo>
                    <a:lnTo>
                      <a:pt x="812006" y="26194"/>
                    </a:lnTo>
                    <a:lnTo>
                      <a:pt x="866775" y="0"/>
                    </a:lnTo>
                    <a:lnTo>
                      <a:pt x="892969" y="0"/>
                    </a:lnTo>
                    <a:lnTo>
                      <a:pt x="895350" y="40481"/>
                    </a:lnTo>
                    <a:lnTo>
                      <a:pt x="976313" y="66675"/>
                    </a:lnTo>
                    <a:lnTo>
                      <a:pt x="1004888" y="69056"/>
                    </a:lnTo>
                    <a:lnTo>
                      <a:pt x="1019175" y="102394"/>
                    </a:lnTo>
                    <a:lnTo>
                      <a:pt x="1057275" y="109538"/>
                    </a:lnTo>
                    <a:lnTo>
                      <a:pt x="1064419" y="161925"/>
                    </a:lnTo>
                    <a:lnTo>
                      <a:pt x="1014413" y="185738"/>
                    </a:lnTo>
                    <a:lnTo>
                      <a:pt x="1040606" y="240506"/>
                    </a:lnTo>
                    <a:lnTo>
                      <a:pt x="1040606" y="271463"/>
                    </a:lnTo>
                    <a:lnTo>
                      <a:pt x="1031081" y="304800"/>
                    </a:lnTo>
                    <a:lnTo>
                      <a:pt x="1007269" y="354806"/>
                    </a:lnTo>
                    <a:lnTo>
                      <a:pt x="978694" y="397669"/>
                    </a:lnTo>
                    <a:lnTo>
                      <a:pt x="976313" y="435769"/>
                    </a:lnTo>
                    <a:lnTo>
                      <a:pt x="985838" y="445294"/>
                    </a:lnTo>
                    <a:lnTo>
                      <a:pt x="997744" y="497681"/>
                    </a:lnTo>
                    <a:lnTo>
                      <a:pt x="1028700" y="545306"/>
                    </a:lnTo>
                    <a:lnTo>
                      <a:pt x="1078706" y="528638"/>
                    </a:lnTo>
                    <a:lnTo>
                      <a:pt x="1178719" y="538163"/>
                    </a:lnTo>
                    <a:lnTo>
                      <a:pt x="1143000" y="559594"/>
                    </a:lnTo>
                    <a:lnTo>
                      <a:pt x="1102519" y="609600"/>
                    </a:lnTo>
                    <a:lnTo>
                      <a:pt x="1081088" y="638175"/>
                    </a:lnTo>
                    <a:lnTo>
                      <a:pt x="1050131" y="683419"/>
                    </a:lnTo>
                    <a:lnTo>
                      <a:pt x="1050131" y="745331"/>
                    </a:lnTo>
                    <a:lnTo>
                      <a:pt x="1057275" y="783431"/>
                    </a:lnTo>
                    <a:lnTo>
                      <a:pt x="1090613" y="781050"/>
                    </a:lnTo>
                    <a:lnTo>
                      <a:pt x="1069181" y="828675"/>
                    </a:lnTo>
                    <a:lnTo>
                      <a:pt x="1071563" y="881063"/>
                    </a:lnTo>
                    <a:lnTo>
                      <a:pt x="1092994" y="881063"/>
                    </a:lnTo>
                    <a:lnTo>
                      <a:pt x="1097756" y="850106"/>
                    </a:lnTo>
                    <a:lnTo>
                      <a:pt x="1171575" y="928688"/>
                    </a:lnTo>
                    <a:lnTo>
                      <a:pt x="1228725" y="976313"/>
                    </a:lnTo>
                    <a:lnTo>
                      <a:pt x="1223963" y="1000125"/>
                    </a:lnTo>
                    <a:lnTo>
                      <a:pt x="1252538" y="1019175"/>
                    </a:lnTo>
                    <a:lnTo>
                      <a:pt x="1288256" y="1007269"/>
                    </a:lnTo>
                    <a:lnTo>
                      <a:pt x="1307306" y="1007269"/>
                    </a:lnTo>
                    <a:lnTo>
                      <a:pt x="1321594" y="1059656"/>
                    </a:lnTo>
                    <a:lnTo>
                      <a:pt x="1395413" y="1102519"/>
                    </a:lnTo>
                    <a:lnTo>
                      <a:pt x="1364456" y="1114425"/>
                    </a:lnTo>
                    <a:lnTo>
                      <a:pt x="1314450" y="1114425"/>
                    </a:lnTo>
                    <a:lnTo>
                      <a:pt x="1254919" y="1107281"/>
                    </a:lnTo>
                    <a:lnTo>
                      <a:pt x="1216819" y="1112044"/>
                    </a:lnTo>
                    <a:lnTo>
                      <a:pt x="1181100" y="1138238"/>
                    </a:lnTo>
                    <a:lnTo>
                      <a:pt x="1116806" y="1123950"/>
                    </a:lnTo>
                    <a:lnTo>
                      <a:pt x="1071563" y="1081088"/>
                    </a:lnTo>
                    <a:lnTo>
                      <a:pt x="1012031" y="1140619"/>
                    </a:lnTo>
                    <a:lnTo>
                      <a:pt x="847725" y="1066800"/>
                    </a:lnTo>
                    <a:lnTo>
                      <a:pt x="823913" y="1054894"/>
                    </a:lnTo>
                    <a:lnTo>
                      <a:pt x="823913" y="1038225"/>
                    </a:lnTo>
                    <a:lnTo>
                      <a:pt x="776288" y="1040606"/>
                    </a:lnTo>
                    <a:lnTo>
                      <a:pt x="747713" y="1023938"/>
                    </a:lnTo>
                    <a:lnTo>
                      <a:pt x="752475" y="997744"/>
                    </a:lnTo>
                    <a:lnTo>
                      <a:pt x="740569" y="971550"/>
                    </a:lnTo>
                    <a:lnTo>
                      <a:pt x="678656" y="1000125"/>
                    </a:lnTo>
                    <a:lnTo>
                      <a:pt x="678656" y="976313"/>
                    </a:lnTo>
                    <a:lnTo>
                      <a:pt x="650081" y="997744"/>
                    </a:lnTo>
                    <a:lnTo>
                      <a:pt x="621506" y="1000125"/>
                    </a:lnTo>
                    <a:lnTo>
                      <a:pt x="602456" y="997744"/>
                    </a:lnTo>
                    <a:lnTo>
                      <a:pt x="600075" y="978694"/>
                    </a:lnTo>
                    <a:lnTo>
                      <a:pt x="578644" y="1009650"/>
                    </a:lnTo>
                    <a:lnTo>
                      <a:pt x="533400" y="1012031"/>
                    </a:lnTo>
                    <a:lnTo>
                      <a:pt x="490538" y="1004888"/>
                    </a:lnTo>
                    <a:lnTo>
                      <a:pt x="485775" y="971550"/>
                    </a:lnTo>
                    <a:lnTo>
                      <a:pt x="461963" y="971550"/>
                    </a:lnTo>
                    <a:lnTo>
                      <a:pt x="381000" y="1047750"/>
                    </a:lnTo>
                    <a:lnTo>
                      <a:pt x="381000" y="1112044"/>
                    </a:lnTo>
                    <a:lnTo>
                      <a:pt x="407194" y="1126331"/>
                    </a:lnTo>
                    <a:lnTo>
                      <a:pt x="383381" y="1152525"/>
                    </a:lnTo>
                    <a:lnTo>
                      <a:pt x="359569" y="1188244"/>
                    </a:lnTo>
                    <a:lnTo>
                      <a:pt x="392906" y="1216819"/>
                    </a:lnTo>
                    <a:lnTo>
                      <a:pt x="366713" y="1247775"/>
                    </a:lnTo>
                    <a:lnTo>
                      <a:pt x="314325" y="1214438"/>
                    </a:lnTo>
                    <a:lnTo>
                      <a:pt x="309563" y="1152525"/>
                    </a:lnTo>
                    <a:lnTo>
                      <a:pt x="280988" y="1166813"/>
                    </a:lnTo>
                    <a:lnTo>
                      <a:pt x="250031" y="1054894"/>
                    </a:lnTo>
                    <a:lnTo>
                      <a:pt x="190500" y="978694"/>
                    </a:lnTo>
                    <a:lnTo>
                      <a:pt x="92869" y="1009650"/>
                    </a:lnTo>
                    <a:lnTo>
                      <a:pt x="71438" y="962025"/>
                    </a:lnTo>
                    <a:lnTo>
                      <a:pt x="28575" y="914400"/>
                    </a:lnTo>
                    <a:lnTo>
                      <a:pt x="23813" y="845344"/>
                    </a:lnTo>
                    <a:lnTo>
                      <a:pt x="0" y="776288"/>
                    </a:lnTo>
                    <a:lnTo>
                      <a:pt x="71438" y="783431"/>
                    </a:lnTo>
                    <a:lnTo>
                      <a:pt x="121444" y="776288"/>
                    </a:lnTo>
                    <a:lnTo>
                      <a:pt x="159544" y="776288"/>
                    </a:lnTo>
                    <a:lnTo>
                      <a:pt x="173831" y="745331"/>
                    </a:lnTo>
                    <a:lnTo>
                      <a:pt x="154781" y="704850"/>
                    </a:lnTo>
                    <a:lnTo>
                      <a:pt x="133350" y="704850"/>
                    </a:lnTo>
                    <a:lnTo>
                      <a:pt x="123825" y="642938"/>
                    </a:lnTo>
                    <a:lnTo>
                      <a:pt x="95250" y="621506"/>
                    </a:lnTo>
                    <a:lnTo>
                      <a:pt x="133350" y="573881"/>
                    </a:lnTo>
                    <a:lnTo>
                      <a:pt x="83344" y="573881"/>
                    </a:lnTo>
                    <a:lnTo>
                      <a:pt x="59531" y="550069"/>
                    </a:lnTo>
                    <a:lnTo>
                      <a:pt x="83344" y="478631"/>
                    </a:lnTo>
                    <a:lnTo>
                      <a:pt x="54769" y="440531"/>
                    </a:lnTo>
                    <a:lnTo>
                      <a:pt x="97631" y="395288"/>
                    </a:lnTo>
                    <a:lnTo>
                      <a:pt x="147638" y="373856"/>
                    </a:lnTo>
                    <a:lnTo>
                      <a:pt x="147638" y="302419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3" name="Figura a mano libera 242"/>
              <p:cNvSpPr/>
              <p:nvPr/>
            </p:nvSpPr>
            <p:spPr bwMode="auto">
              <a:xfrm>
                <a:off x="2497767" y="602302"/>
                <a:ext cx="795138" cy="700516"/>
              </a:xfrm>
              <a:custGeom>
                <a:avLst/>
                <a:gdLst>
                  <a:gd name="connsiteX0" fmla="*/ 28575 w 990600"/>
                  <a:gd name="connsiteY0" fmla="*/ 326231 h 895350"/>
                  <a:gd name="connsiteX1" fmla="*/ 23812 w 990600"/>
                  <a:gd name="connsiteY1" fmla="*/ 264319 h 895350"/>
                  <a:gd name="connsiteX2" fmla="*/ 0 w 990600"/>
                  <a:gd name="connsiteY2" fmla="*/ 264319 h 895350"/>
                  <a:gd name="connsiteX3" fmla="*/ 0 w 990600"/>
                  <a:gd name="connsiteY3" fmla="*/ 230981 h 895350"/>
                  <a:gd name="connsiteX4" fmla="*/ 30956 w 990600"/>
                  <a:gd name="connsiteY4" fmla="*/ 180975 h 895350"/>
                  <a:gd name="connsiteX5" fmla="*/ 26194 w 990600"/>
                  <a:gd name="connsiteY5" fmla="*/ 145256 h 895350"/>
                  <a:gd name="connsiteX6" fmla="*/ 85725 w 990600"/>
                  <a:gd name="connsiteY6" fmla="*/ 123825 h 895350"/>
                  <a:gd name="connsiteX7" fmla="*/ 133350 w 990600"/>
                  <a:gd name="connsiteY7" fmla="*/ 119063 h 895350"/>
                  <a:gd name="connsiteX8" fmla="*/ 176212 w 990600"/>
                  <a:gd name="connsiteY8" fmla="*/ 157163 h 895350"/>
                  <a:gd name="connsiteX9" fmla="*/ 207169 w 990600"/>
                  <a:gd name="connsiteY9" fmla="*/ 192881 h 895350"/>
                  <a:gd name="connsiteX10" fmla="*/ 238125 w 990600"/>
                  <a:gd name="connsiteY10" fmla="*/ 192881 h 895350"/>
                  <a:gd name="connsiteX11" fmla="*/ 264319 w 990600"/>
                  <a:gd name="connsiteY11" fmla="*/ 173831 h 895350"/>
                  <a:gd name="connsiteX12" fmla="*/ 285750 w 990600"/>
                  <a:gd name="connsiteY12" fmla="*/ 197644 h 895350"/>
                  <a:gd name="connsiteX13" fmla="*/ 316706 w 990600"/>
                  <a:gd name="connsiteY13" fmla="*/ 154781 h 895350"/>
                  <a:gd name="connsiteX14" fmla="*/ 345281 w 990600"/>
                  <a:gd name="connsiteY14" fmla="*/ 109538 h 895350"/>
                  <a:gd name="connsiteX15" fmla="*/ 354806 w 990600"/>
                  <a:gd name="connsiteY15" fmla="*/ 88106 h 895350"/>
                  <a:gd name="connsiteX16" fmla="*/ 416719 w 990600"/>
                  <a:gd name="connsiteY16" fmla="*/ 54769 h 895350"/>
                  <a:gd name="connsiteX17" fmla="*/ 461962 w 990600"/>
                  <a:gd name="connsiteY17" fmla="*/ 54769 h 895350"/>
                  <a:gd name="connsiteX18" fmla="*/ 564356 w 990600"/>
                  <a:gd name="connsiteY18" fmla="*/ 61913 h 895350"/>
                  <a:gd name="connsiteX19" fmla="*/ 590550 w 990600"/>
                  <a:gd name="connsiteY19" fmla="*/ 33338 h 895350"/>
                  <a:gd name="connsiteX20" fmla="*/ 642937 w 990600"/>
                  <a:gd name="connsiteY20" fmla="*/ 69056 h 895350"/>
                  <a:gd name="connsiteX21" fmla="*/ 683419 w 990600"/>
                  <a:gd name="connsiteY21" fmla="*/ 61913 h 895350"/>
                  <a:gd name="connsiteX22" fmla="*/ 719137 w 990600"/>
                  <a:gd name="connsiteY22" fmla="*/ 40481 h 895350"/>
                  <a:gd name="connsiteX23" fmla="*/ 754856 w 990600"/>
                  <a:gd name="connsiteY23" fmla="*/ 21431 h 895350"/>
                  <a:gd name="connsiteX24" fmla="*/ 854869 w 990600"/>
                  <a:gd name="connsiteY24" fmla="*/ 11906 h 895350"/>
                  <a:gd name="connsiteX25" fmla="*/ 892969 w 990600"/>
                  <a:gd name="connsiteY25" fmla="*/ 0 h 895350"/>
                  <a:gd name="connsiteX26" fmla="*/ 873919 w 990600"/>
                  <a:gd name="connsiteY26" fmla="*/ 28575 h 895350"/>
                  <a:gd name="connsiteX27" fmla="*/ 835819 w 990600"/>
                  <a:gd name="connsiteY27" fmla="*/ 47625 h 895350"/>
                  <a:gd name="connsiteX28" fmla="*/ 850106 w 990600"/>
                  <a:gd name="connsiteY28" fmla="*/ 97631 h 895350"/>
                  <a:gd name="connsiteX29" fmla="*/ 852487 w 990600"/>
                  <a:gd name="connsiteY29" fmla="*/ 121444 h 895350"/>
                  <a:gd name="connsiteX30" fmla="*/ 897731 w 990600"/>
                  <a:gd name="connsiteY30" fmla="*/ 145256 h 895350"/>
                  <a:gd name="connsiteX31" fmla="*/ 916781 w 990600"/>
                  <a:gd name="connsiteY31" fmla="*/ 166688 h 895350"/>
                  <a:gd name="connsiteX32" fmla="*/ 916781 w 990600"/>
                  <a:gd name="connsiteY32" fmla="*/ 202406 h 895350"/>
                  <a:gd name="connsiteX33" fmla="*/ 966787 w 990600"/>
                  <a:gd name="connsiteY33" fmla="*/ 230981 h 895350"/>
                  <a:gd name="connsiteX34" fmla="*/ 990600 w 990600"/>
                  <a:gd name="connsiteY34" fmla="*/ 273844 h 895350"/>
                  <a:gd name="connsiteX35" fmla="*/ 966787 w 990600"/>
                  <a:gd name="connsiteY35" fmla="*/ 295275 h 895350"/>
                  <a:gd name="connsiteX36" fmla="*/ 890587 w 990600"/>
                  <a:gd name="connsiteY36" fmla="*/ 311944 h 895350"/>
                  <a:gd name="connsiteX37" fmla="*/ 819150 w 990600"/>
                  <a:gd name="connsiteY37" fmla="*/ 316706 h 895350"/>
                  <a:gd name="connsiteX38" fmla="*/ 816769 w 990600"/>
                  <a:gd name="connsiteY38" fmla="*/ 283369 h 895350"/>
                  <a:gd name="connsiteX39" fmla="*/ 773906 w 990600"/>
                  <a:gd name="connsiteY39" fmla="*/ 326231 h 895350"/>
                  <a:gd name="connsiteX40" fmla="*/ 773906 w 990600"/>
                  <a:gd name="connsiteY40" fmla="*/ 342900 h 895350"/>
                  <a:gd name="connsiteX41" fmla="*/ 714375 w 990600"/>
                  <a:gd name="connsiteY41" fmla="*/ 366713 h 895350"/>
                  <a:gd name="connsiteX42" fmla="*/ 664369 w 990600"/>
                  <a:gd name="connsiteY42" fmla="*/ 390525 h 895350"/>
                  <a:gd name="connsiteX43" fmla="*/ 692944 w 990600"/>
                  <a:gd name="connsiteY43" fmla="*/ 407194 h 895350"/>
                  <a:gd name="connsiteX44" fmla="*/ 695325 w 990600"/>
                  <a:gd name="connsiteY44" fmla="*/ 442913 h 895350"/>
                  <a:gd name="connsiteX45" fmla="*/ 652462 w 990600"/>
                  <a:gd name="connsiteY45" fmla="*/ 490538 h 895350"/>
                  <a:gd name="connsiteX46" fmla="*/ 676275 w 990600"/>
                  <a:gd name="connsiteY46" fmla="*/ 528638 h 895350"/>
                  <a:gd name="connsiteX47" fmla="*/ 721519 w 990600"/>
                  <a:gd name="connsiteY47" fmla="*/ 550069 h 895350"/>
                  <a:gd name="connsiteX48" fmla="*/ 726281 w 990600"/>
                  <a:gd name="connsiteY48" fmla="*/ 595313 h 895350"/>
                  <a:gd name="connsiteX49" fmla="*/ 697706 w 990600"/>
                  <a:gd name="connsiteY49" fmla="*/ 626269 h 895350"/>
                  <a:gd name="connsiteX50" fmla="*/ 642937 w 990600"/>
                  <a:gd name="connsiteY50" fmla="*/ 635794 h 895350"/>
                  <a:gd name="connsiteX51" fmla="*/ 616744 w 990600"/>
                  <a:gd name="connsiteY51" fmla="*/ 642938 h 895350"/>
                  <a:gd name="connsiteX52" fmla="*/ 623887 w 990600"/>
                  <a:gd name="connsiteY52" fmla="*/ 673894 h 895350"/>
                  <a:gd name="connsiteX53" fmla="*/ 597694 w 990600"/>
                  <a:gd name="connsiteY53" fmla="*/ 714375 h 895350"/>
                  <a:gd name="connsiteX54" fmla="*/ 573881 w 990600"/>
                  <a:gd name="connsiteY54" fmla="*/ 728663 h 895350"/>
                  <a:gd name="connsiteX55" fmla="*/ 557212 w 990600"/>
                  <a:gd name="connsiteY55" fmla="*/ 740569 h 895350"/>
                  <a:gd name="connsiteX56" fmla="*/ 550069 w 990600"/>
                  <a:gd name="connsiteY56" fmla="*/ 697706 h 895350"/>
                  <a:gd name="connsiteX57" fmla="*/ 507206 w 990600"/>
                  <a:gd name="connsiteY57" fmla="*/ 688181 h 895350"/>
                  <a:gd name="connsiteX58" fmla="*/ 504825 w 990600"/>
                  <a:gd name="connsiteY58" fmla="*/ 709613 h 895350"/>
                  <a:gd name="connsiteX59" fmla="*/ 464344 w 990600"/>
                  <a:gd name="connsiteY59" fmla="*/ 711994 h 895350"/>
                  <a:gd name="connsiteX60" fmla="*/ 452437 w 990600"/>
                  <a:gd name="connsiteY60" fmla="*/ 695325 h 895350"/>
                  <a:gd name="connsiteX61" fmla="*/ 447675 w 990600"/>
                  <a:gd name="connsiteY61" fmla="*/ 740569 h 895350"/>
                  <a:gd name="connsiteX62" fmla="*/ 426244 w 990600"/>
                  <a:gd name="connsiteY62" fmla="*/ 764381 h 895350"/>
                  <a:gd name="connsiteX63" fmla="*/ 404812 w 990600"/>
                  <a:gd name="connsiteY63" fmla="*/ 745331 h 895350"/>
                  <a:gd name="connsiteX64" fmla="*/ 371475 w 990600"/>
                  <a:gd name="connsiteY64" fmla="*/ 785813 h 895350"/>
                  <a:gd name="connsiteX65" fmla="*/ 371475 w 990600"/>
                  <a:gd name="connsiteY65" fmla="*/ 850106 h 895350"/>
                  <a:gd name="connsiteX66" fmla="*/ 347662 w 990600"/>
                  <a:gd name="connsiteY66" fmla="*/ 871538 h 895350"/>
                  <a:gd name="connsiteX67" fmla="*/ 323850 w 990600"/>
                  <a:gd name="connsiteY67" fmla="*/ 895350 h 895350"/>
                  <a:gd name="connsiteX68" fmla="*/ 278606 w 990600"/>
                  <a:gd name="connsiteY68" fmla="*/ 883444 h 895350"/>
                  <a:gd name="connsiteX69" fmla="*/ 235744 w 990600"/>
                  <a:gd name="connsiteY69" fmla="*/ 892969 h 895350"/>
                  <a:gd name="connsiteX70" fmla="*/ 183356 w 990600"/>
                  <a:gd name="connsiteY70" fmla="*/ 871538 h 895350"/>
                  <a:gd name="connsiteX71" fmla="*/ 183356 w 990600"/>
                  <a:gd name="connsiteY71" fmla="*/ 842963 h 895350"/>
                  <a:gd name="connsiteX72" fmla="*/ 202406 w 990600"/>
                  <a:gd name="connsiteY72" fmla="*/ 826294 h 895350"/>
                  <a:gd name="connsiteX73" fmla="*/ 221456 w 990600"/>
                  <a:gd name="connsiteY73" fmla="*/ 804863 h 895350"/>
                  <a:gd name="connsiteX74" fmla="*/ 114300 w 990600"/>
                  <a:gd name="connsiteY74" fmla="*/ 792956 h 895350"/>
                  <a:gd name="connsiteX75" fmla="*/ 64294 w 990600"/>
                  <a:gd name="connsiteY75" fmla="*/ 812006 h 895350"/>
                  <a:gd name="connsiteX76" fmla="*/ 33337 w 990600"/>
                  <a:gd name="connsiteY76" fmla="*/ 764381 h 895350"/>
                  <a:gd name="connsiteX77" fmla="*/ 26194 w 990600"/>
                  <a:gd name="connsiteY77" fmla="*/ 726281 h 895350"/>
                  <a:gd name="connsiteX78" fmla="*/ 7144 w 990600"/>
                  <a:gd name="connsiteY78" fmla="*/ 692944 h 895350"/>
                  <a:gd name="connsiteX79" fmla="*/ 16669 w 990600"/>
                  <a:gd name="connsiteY79" fmla="*/ 635794 h 895350"/>
                  <a:gd name="connsiteX80" fmla="*/ 66675 w 990600"/>
                  <a:gd name="connsiteY80" fmla="*/ 569119 h 895350"/>
                  <a:gd name="connsiteX81" fmla="*/ 71437 w 990600"/>
                  <a:gd name="connsiteY81" fmla="*/ 504825 h 895350"/>
                  <a:gd name="connsiteX82" fmla="*/ 64294 w 990600"/>
                  <a:gd name="connsiteY82" fmla="*/ 473869 h 895350"/>
                  <a:gd name="connsiteX83" fmla="*/ 50006 w 990600"/>
                  <a:gd name="connsiteY83" fmla="*/ 459581 h 895350"/>
                  <a:gd name="connsiteX84" fmla="*/ 85725 w 990600"/>
                  <a:gd name="connsiteY84" fmla="*/ 428625 h 895350"/>
                  <a:gd name="connsiteX85" fmla="*/ 100012 w 990600"/>
                  <a:gd name="connsiteY85" fmla="*/ 378619 h 895350"/>
                  <a:gd name="connsiteX86" fmla="*/ 85725 w 990600"/>
                  <a:gd name="connsiteY86" fmla="*/ 369094 h 895350"/>
                  <a:gd name="connsiteX87" fmla="*/ 64294 w 990600"/>
                  <a:gd name="connsiteY87" fmla="*/ 364331 h 895350"/>
                  <a:gd name="connsiteX88" fmla="*/ 28575 w 990600"/>
                  <a:gd name="connsiteY88" fmla="*/ 326231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90600" h="895350">
                    <a:moveTo>
                      <a:pt x="28575" y="326231"/>
                    </a:moveTo>
                    <a:lnTo>
                      <a:pt x="23812" y="264319"/>
                    </a:lnTo>
                    <a:lnTo>
                      <a:pt x="0" y="264319"/>
                    </a:lnTo>
                    <a:lnTo>
                      <a:pt x="0" y="230981"/>
                    </a:lnTo>
                    <a:lnTo>
                      <a:pt x="30956" y="180975"/>
                    </a:lnTo>
                    <a:lnTo>
                      <a:pt x="26194" y="145256"/>
                    </a:lnTo>
                    <a:lnTo>
                      <a:pt x="85725" y="123825"/>
                    </a:lnTo>
                    <a:lnTo>
                      <a:pt x="133350" y="119063"/>
                    </a:lnTo>
                    <a:lnTo>
                      <a:pt x="176212" y="157163"/>
                    </a:lnTo>
                    <a:lnTo>
                      <a:pt x="207169" y="192881"/>
                    </a:lnTo>
                    <a:lnTo>
                      <a:pt x="238125" y="192881"/>
                    </a:lnTo>
                    <a:lnTo>
                      <a:pt x="264319" y="173831"/>
                    </a:lnTo>
                    <a:lnTo>
                      <a:pt x="285750" y="197644"/>
                    </a:lnTo>
                    <a:lnTo>
                      <a:pt x="316706" y="154781"/>
                    </a:lnTo>
                    <a:lnTo>
                      <a:pt x="345281" y="109538"/>
                    </a:lnTo>
                    <a:lnTo>
                      <a:pt x="354806" y="88106"/>
                    </a:lnTo>
                    <a:lnTo>
                      <a:pt x="416719" y="54769"/>
                    </a:lnTo>
                    <a:lnTo>
                      <a:pt x="461962" y="54769"/>
                    </a:lnTo>
                    <a:lnTo>
                      <a:pt x="564356" y="61913"/>
                    </a:lnTo>
                    <a:lnTo>
                      <a:pt x="590550" y="33338"/>
                    </a:lnTo>
                    <a:lnTo>
                      <a:pt x="642937" y="69056"/>
                    </a:lnTo>
                    <a:lnTo>
                      <a:pt x="683419" y="61913"/>
                    </a:lnTo>
                    <a:lnTo>
                      <a:pt x="719137" y="40481"/>
                    </a:lnTo>
                    <a:lnTo>
                      <a:pt x="754856" y="21431"/>
                    </a:lnTo>
                    <a:lnTo>
                      <a:pt x="854869" y="11906"/>
                    </a:lnTo>
                    <a:lnTo>
                      <a:pt x="892969" y="0"/>
                    </a:lnTo>
                    <a:lnTo>
                      <a:pt x="873919" y="28575"/>
                    </a:lnTo>
                    <a:lnTo>
                      <a:pt x="835819" y="47625"/>
                    </a:lnTo>
                    <a:lnTo>
                      <a:pt x="850106" y="97631"/>
                    </a:lnTo>
                    <a:lnTo>
                      <a:pt x="852487" y="121444"/>
                    </a:lnTo>
                    <a:lnTo>
                      <a:pt x="897731" y="145256"/>
                    </a:lnTo>
                    <a:lnTo>
                      <a:pt x="916781" y="166688"/>
                    </a:lnTo>
                    <a:lnTo>
                      <a:pt x="916781" y="202406"/>
                    </a:lnTo>
                    <a:lnTo>
                      <a:pt x="966787" y="230981"/>
                    </a:lnTo>
                    <a:lnTo>
                      <a:pt x="990600" y="273844"/>
                    </a:lnTo>
                    <a:lnTo>
                      <a:pt x="966787" y="295275"/>
                    </a:lnTo>
                    <a:lnTo>
                      <a:pt x="890587" y="311944"/>
                    </a:lnTo>
                    <a:lnTo>
                      <a:pt x="819150" y="316706"/>
                    </a:lnTo>
                    <a:lnTo>
                      <a:pt x="816769" y="283369"/>
                    </a:lnTo>
                    <a:lnTo>
                      <a:pt x="773906" y="326231"/>
                    </a:lnTo>
                    <a:lnTo>
                      <a:pt x="773906" y="342900"/>
                    </a:lnTo>
                    <a:lnTo>
                      <a:pt x="714375" y="366713"/>
                    </a:lnTo>
                    <a:lnTo>
                      <a:pt x="664369" y="390525"/>
                    </a:lnTo>
                    <a:lnTo>
                      <a:pt x="692944" y="407194"/>
                    </a:lnTo>
                    <a:lnTo>
                      <a:pt x="695325" y="442913"/>
                    </a:lnTo>
                    <a:lnTo>
                      <a:pt x="652462" y="490538"/>
                    </a:lnTo>
                    <a:lnTo>
                      <a:pt x="676275" y="528638"/>
                    </a:lnTo>
                    <a:lnTo>
                      <a:pt x="721519" y="550069"/>
                    </a:lnTo>
                    <a:lnTo>
                      <a:pt x="726281" y="595313"/>
                    </a:lnTo>
                    <a:lnTo>
                      <a:pt x="697706" y="626269"/>
                    </a:lnTo>
                    <a:lnTo>
                      <a:pt x="642937" y="635794"/>
                    </a:lnTo>
                    <a:lnTo>
                      <a:pt x="616744" y="642938"/>
                    </a:lnTo>
                    <a:lnTo>
                      <a:pt x="623887" y="673894"/>
                    </a:lnTo>
                    <a:lnTo>
                      <a:pt x="597694" y="714375"/>
                    </a:lnTo>
                    <a:cubicBezTo>
                      <a:pt x="576636" y="724904"/>
                      <a:pt x="583664" y="718880"/>
                      <a:pt x="573881" y="728663"/>
                    </a:cubicBezTo>
                    <a:lnTo>
                      <a:pt x="557212" y="740569"/>
                    </a:lnTo>
                    <a:lnTo>
                      <a:pt x="550069" y="697706"/>
                    </a:lnTo>
                    <a:lnTo>
                      <a:pt x="507206" y="688181"/>
                    </a:lnTo>
                    <a:lnTo>
                      <a:pt x="504825" y="709613"/>
                    </a:lnTo>
                    <a:lnTo>
                      <a:pt x="464344" y="711994"/>
                    </a:lnTo>
                    <a:lnTo>
                      <a:pt x="452437" y="695325"/>
                    </a:lnTo>
                    <a:lnTo>
                      <a:pt x="447675" y="740569"/>
                    </a:lnTo>
                    <a:lnTo>
                      <a:pt x="426244" y="764381"/>
                    </a:lnTo>
                    <a:lnTo>
                      <a:pt x="404812" y="745331"/>
                    </a:lnTo>
                    <a:lnTo>
                      <a:pt x="371475" y="785813"/>
                    </a:lnTo>
                    <a:lnTo>
                      <a:pt x="371475" y="850106"/>
                    </a:lnTo>
                    <a:cubicBezTo>
                      <a:pt x="351170" y="870411"/>
                      <a:pt x="360457" y="865139"/>
                      <a:pt x="347662" y="871538"/>
                    </a:cubicBezTo>
                    <a:lnTo>
                      <a:pt x="323850" y="895350"/>
                    </a:lnTo>
                    <a:lnTo>
                      <a:pt x="278606" y="883444"/>
                    </a:lnTo>
                    <a:lnTo>
                      <a:pt x="235744" y="892969"/>
                    </a:lnTo>
                    <a:lnTo>
                      <a:pt x="183356" y="871538"/>
                    </a:lnTo>
                    <a:lnTo>
                      <a:pt x="183356" y="842963"/>
                    </a:lnTo>
                    <a:lnTo>
                      <a:pt x="202406" y="826294"/>
                    </a:lnTo>
                    <a:lnTo>
                      <a:pt x="221456" y="804863"/>
                    </a:lnTo>
                    <a:lnTo>
                      <a:pt x="114300" y="792956"/>
                    </a:lnTo>
                    <a:lnTo>
                      <a:pt x="64294" y="812006"/>
                    </a:lnTo>
                    <a:lnTo>
                      <a:pt x="33337" y="764381"/>
                    </a:lnTo>
                    <a:lnTo>
                      <a:pt x="26194" y="726281"/>
                    </a:lnTo>
                    <a:lnTo>
                      <a:pt x="7144" y="692944"/>
                    </a:lnTo>
                    <a:lnTo>
                      <a:pt x="16669" y="635794"/>
                    </a:lnTo>
                    <a:lnTo>
                      <a:pt x="66675" y="569119"/>
                    </a:lnTo>
                    <a:lnTo>
                      <a:pt x="71437" y="504825"/>
                    </a:lnTo>
                    <a:lnTo>
                      <a:pt x="64294" y="473869"/>
                    </a:lnTo>
                    <a:lnTo>
                      <a:pt x="50006" y="459581"/>
                    </a:lnTo>
                    <a:lnTo>
                      <a:pt x="85725" y="428625"/>
                    </a:lnTo>
                    <a:lnTo>
                      <a:pt x="100012" y="378619"/>
                    </a:lnTo>
                    <a:lnTo>
                      <a:pt x="85725" y="369094"/>
                    </a:lnTo>
                    <a:lnTo>
                      <a:pt x="64294" y="364331"/>
                    </a:lnTo>
                    <a:lnTo>
                      <a:pt x="28575" y="32623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4" name="Figura a mano libera 243"/>
              <p:cNvSpPr/>
              <p:nvPr/>
            </p:nvSpPr>
            <p:spPr bwMode="auto">
              <a:xfrm>
                <a:off x="3229116" y="832388"/>
                <a:ext cx="614155" cy="558362"/>
              </a:xfrm>
              <a:custGeom>
                <a:avLst/>
                <a:gdLst>
                  <a:gd name="connsiteX0" fmla="*/ 216693 w 764381"/>
                  <a:gd name="connsiteY0" fmla="*/ 0 h 714375"/>
                  <a:gd name="connsiteX1" fmla="*/ 180975 w 764381"/>
                  <a:gd name="connsiteY1" fmla="*/ 80963 h 714375"/>
                  <a:gd name="connsiteX2" fmla="*/ 164306 w 764381"/>
                  <a:gd name="connsiteY2" fmla="*/ 114300 h 714375"/>
                  <a:gd name="connsiteX3" fmla="*/ 123825 w 764381"/>
                  <a:gd name="connsiteY3" fmla="*/ 109538 h 714375"/>
                  <a:gd name="connsiteX4" fmla="*/ 102393 w 764381"/>
                  <a:gd name="connsiteY4" fmla="*/ 147638 h 714375"/>
                  <a:gd name="connsiteX5" fmla="*/ 73818 w 764381"/>
                  <a:gd name="connsiteY5" fmla="*/ 202406 h 714375"/>
                  <a:gd name="connsiteX6" fmla="*/ 38100 w 764381"/>
                  <a:gd name="connsiteY6" fmla="*/ 211931 h 714375"/>
                  <a:gd name="connsiteX7" fmla="*/ 7143 w 764381"/>
                  <a:gd name="connsiteY7" fmla="*/ 209550 h 714375"/>
                  <a:gd name="connsiteX8" fmla="*/ 26193 w 764381"/>
                  <a:gd name="connsiteY8" fmla="*/ 235744 h 714375"/>
                  <a:gd name="connsiteX9" fmla="*/ 0 w 764381"/>
                  <a:gd name="connsiteY9" fmla="*/ 254794 h 714375"/>
                  <a:gd name="connsiteX10" fmla="*/ 21431 w 764381"/>
                  <a:gd name="connsiteY10" fmla="*/ 266700 h 714375"/>
                  <a:gd name="connsiteX11" fmla="*/ 59531 w 764381"/>
                  <a:gd name="connsiteY11" fmla="*/ 280988 h 714375"/>
                  <a:gd name="connsiteX12" fmla="*/ 78581 w 764381"/>
                  <a:gd name="connsiteY12" fmla="*/ 311944 h 714375"/>
                  <a:gd name="connsiteX13" fmla="*/ 88106 w 764381"/>
                  <a:gd name="connsiteY13" fmla="*/ 354806 h 714375"/>
                  <a:gd name="connsiteX14" fmla="*/ 35718 w 764381"/>
                  <a:gd name="connsiteY14" fmla="*/ 395288 h 714375"/>
                  <a:gd name="connsiteX15" fmla="*/ 85725 w 764381"/>
                  <a:gd name="connsiteY15" fmla="*/ 464344 h 714375"/>
                  <a:gd name="connsiteX16" fmla="*/ 92868 w 764381"/>
                  <a:gd name="connsiteY16" fmla="*/ 519113 h 714375"/>
                  <a:gd name="connsiteX17" fmla="*/ 130968 w 764381"/>
                  <a:gd name="connsiteY17" fmla="*/ 535781 h 714375"/>
                  <a:gd name="connsiteX18" fmla="*/ 138112 w 764381"/>
                  <a:gd name="connsiteY18" fmla="*/ 557213 h 714375"/>
                  <a:gd name="connsiteX19" fmla="*/ 183356 w 764381"/>
                  <a:gd name="connsiteY19" fmla="*/ 535781 h 714375"/>
                  <a:gd name="connsiteX20" fmla="*/ 214312 w 764381"/>
                  <a:gd name="connsiteY20" fmla="*/ 511969 h 714375"/>
                  <a:gd name="connsiteX21" fmla="*/ 261937 w 764381"/>
                  <a:gd name="connsiteY21" fmla="*/ 533400 h 714375"/>
                  <a:gd name="connsiteX22" fmla="*/ 297656 w 764381"/>
                  <a:gd name="connsiteY22" fmla="*/ 521494 h 714375"/>
                  <a:gd name="connsiteX23" fmla="*/ 311943 w 764381"/>
                  <a:gd name="connsiteY23" fmla="*/ 547688 h 714375"/>
                  <a:gd name="connsiteX24" fmla="*/ 333375 w 764381"/>
                  <a:gd name="connsiteY24" fmla="*/ 585788 h 714375"/>
                  <a:gd name="connsiteX25" fmla="*/ 335756 w 764381"/>
                  <a:gd name="connsiteY25" fmla="*/ 616744 h 714375"/>
                  <a:gd name="connsiteX26" fmla="*/ 345281 w 764381"/>
                  <a:gd name="connsiteY26" fmla="*/ 654844 h 714375"/>
                  <a:gd name="connsiteX27" fmla="*/ 345281 w 764381"/>
                  <a:gd name="connsiteY27" fmla="*/ 611981 h 714375"/>
                  <a:gd name="connsiteX28" fmla="*/ 385762 w 764381"/>
                  <a:gd name="connsiteY28" fmla="*/ 595313 h 714375"/>
                  <a:gd name="connsiteX29" fmla="*/ 395287 w 764381"/>
                  <a:gd name="connsiteY29" fmla="*/ 569119 h 714375"/>
                  <a:gd name="connsiteX30" fmla="*/ 435768 w 764381"/>
                  <a:gd name="connsiteY30" fmla="*/ 588169 h 714375"/>
                  <a:gd name="connsiteX31" fmla="*/ 502443 w 764381"/>
                  <a:gd name="connsiteY31" fmla="*/ 607219 h 714375"/>
                  <a:gd name="connsiteX32" fmla="*/ 509587 w 764381"/>
                  <a:gd name="connsiteY32" fmla="*/ 642938 h 714375"/>
                  <a:gd name="connsiteX33" fmla="*/ 542925 w 764381"/>
                  <a:gd name="connsiteY33" fmla="*/ 623888 h 714375"/>
                  <a:gd name="connsiteX34" fmla="*/ 585787 w 764381"/>
                  <a:gd name="connsiteY34" fmla="*/ 607219 h 714375"/>
                  <a:gd name="connsiteX35" fmla="*/ 592931 w 764381"/>
                  <a:gd name="connsiteY35" fmla="*/ 557213 h 714375"/>
                  <a:gd name="connsiteX36" fmla="*/ 628650 w 764381"/>
                  <a:gd name="connsiteY36" fmla="*/ 600075 h 714375"/>
                  <a:gd name="connsiteX37" fmla="*/ 635793 w 764381"/>
                  <a:gd name="connsiteY37" fmla="*/ 619125 h 714375"/>
                  <a:gd name="connsiteX38" fmla="*/ 659606 w 764381"/>
                  <a:gd name="connsiteY38" fmla="*/ 642938 h 714375"/>
                  <a:gd name="connsiteX39" fmla="*/ 664368 w 764381"/>
                  <a:gd name="connsiteY39" fmla="*/ 666750 h 714375"/>
                  <a:gd name="connsiteX40" fmla="*/ 669131 w 764381"/>
                  <a:gd name="connsiteY40" fmla="*/ 676275 h 714375"/>
                  <a:gd name="connsiteX41" fmla="*/ 678656 w 764381"/>
                  <a:gd name="connsiteY41" fmla="*/ 692944 h 714375"/>
                  <a:gd name="connsiteX42" fmla="*/ 731043 w 764381"/>
                  <a:gd name="connsiteY42" fmla="*/ 714375 h 714375"/>
                  <a:gd name="connsiteX43" fmla="*/ 764381 w 764381"/>
                  <a:gd name="connsiteY43" fmla="*/ 678656 h 714375"/>
                  <a:gd name="connsiteX44" fmla="*/ 709612 w 764381"/>
                  <a:gd name="connsiteY44" fmla="*/ 614363 h 714375"/>
                  <a:gd name="connsiteX45" fmla="*/ 688181 w 764381"/>
                  <a:gd name="connsiteY45" fmla="*/ 583406 h 714375"/>
                  <a:gd name="connsiteX46" fmla="*/ 635793 w 764381"/>
                  <a:gd name="connsiteY46" fmla="*/ 561975 h 714375"/>
                  <a:gd name="connsiteX47" fmla="*/ 602456 w 764381"/>
                  <a:gd name="connsiteY47" fmla="*/ 561975 h 714375"/>
                  <a:gd name="connsiteX48" fmla="*/ 595312 w 764381"/>
                  <a:gd name="connsiteY48" fmla="*/ 509588 h 714375"/>
                  <a:gd name="connsiteX49" fmla="*/ 631031 w 764381"/>
                  <a:gd name="connsiteY49" fmla="*/ 485775 h 714375"/>
                  <a:gd name="connsiteX50" fmla="*/ 628650 w 764381"/>
                  <a:gd name="connsiteY50" fmla="*/ 438150 h 714375"/>
                  <a:gd name="connsiteX51" fmla="*/ 628650 w 764381"/>
                  <a:gd name="connsiteY51" fmla="*/ 433388 h 714375"/>
                  <a:gd name="connsiteX52" fmla="*/ 581025 w 764381"/>
                  <a:gd name="connsiteY52" fmla="*/ 450056 h 714375"/>
                  <a:gd name="connsiteX53" fmla="*/ 559593 w 764381"/>
                  <a:gd name="connsiteY53" fmla="*/ 431006 h 714375"/>
                  <a:gd name="connsiteX54" fmla="*/ 573881 w 764381"/>
                  <a:gd name="connsiteY54" fmla="*/ 402431 h 714375"/>
                  <a:gd name="connsiteX55" fmla="*/ 564356 w 764381"/>
                  <a:gd name="connsiteY55" fmla="*/ 378619 h 714375"/>
                  <a:gd name="connsiteX56" fmla="*/ 654843 w 764381"/>
                  <a:gd name="connsiteY56" fmla="*/ 323850 h 714375"/>
                  <a:gd name="connsiteX57" fmla="*/ 642937 w 764381"/>
                  <a:gd name="connsiteY57" fmla="*/ 307181 h 714375"/>
                  <a:gd name="connsiteX58" fmla="*/ 592931 w 764381"/>
                  <a:gd name="connsiteY58" fmla="*/ 307181 h 714375"/>
                  <a:gd name="connsiteX59" fmla="*/ 578643 w 764381"/>
                  <a:gd name="connsiteY59" fmla="*/ 280988 h 714375"/>
                  <a:gd name="connsiteX60" fmla="*/ 540543 w 764381"/>
                  <a:gd name="connsiteY60" fmla="*/ 292894 h 714375"/>
                  <a:gd name="connsiteX61" fmla="*/ 528637 w 764381"/>
                  <a:gd name="connsiteY61" fmla="*/ 278606 h 714375"/>
                  <a:gd name="connsiteX62" fmla="*/ 509587 w 764381"/>
                  <a:gd name="connsiteY62" fmla="*/ 247650 h 714375"/>
                  <a:gd name="connsiteX63" fmla="*/ 545306 w 764381"/>
                  <a:gd name="connsiteY63" fmla="*/ 209550 h 714375"/>
                  <a:gd name="connsiteX64" fmla="*/ 547687 w 764381"/>
                  <a:gd name="connsiteY64" fmla="*/ 185738 h 714375"/>
                  <a:gd name="connsiteX65" fmla="*/ 621506 w 764381"/>
                  <a:gd name="connsiteY65" fmla="*/ 157163 h 714375"/>
                  <a:gd name="connsiteX66" fmla="*/ 638175 w 764381"/>
                  <a:gd name="connsiteY66" fmla="*/ 142875 h 714375"/>
                  <a:gd name="connsiteX67" fmla="*/ 657225 w 764381"/>
                  <a:gd name="connsiteY67" fmla="*/ 135731 h 714375"/>
                  <a:gd name="connsiteX68" fmla="*/ 669131 w 764381"/>
                  <a:gd name="connsiteY68" fmla="*/ 90488 h 714375"/>
                  <a:gd name="connsiteX69" fmla="*/ 569118 w 764381"/>
                  <a:gd name="connsiteY69" fmla="*/ 76200 h 714375"/>
                  <a:gd name="connsiteX70" fmla="*/ 502443 w 764381"/>
                  <a:gd name="connsiteY70" fmla="*/ 54769 h 714375"/>
                  <a:gd name="connsiteX71" fmla="*/ 478631 w 764381"/>
                  <a:gd name="connsiteY71" fmla="*/ 69056 h 714375"/>
                  <a:gd name="connsiteX72" fmla="*/ 450056 w 764381"/>
                  <a:gd name="connsiteY72" fmla="*/ 78581 h 714375"/>
                  <a:gd name="connsiteX73" fmla="*/ 400050 w 764381"/>
                  <a:gd name="connsiteY73" fmla="*/ 35719 h 714375"/>
                  <a:gd name="connsiteX74" fmla="*/ 354806 w 764381"/>
                  <a:gd name="connsiteY74" fmla="*/ 40481 h 714375"/>
                  <a:gd name="connsiteX75" fmla="*/ 290512 w 764381"/>
                  <a:gd name="connsiteY75" fmla="*/ 28575 h 714375"/>
                  <a:gd name="connsiteX76" fmla="*/ 269081 w 764381"/>
                  <a:gd name="connsiteY76" fmla="*/ 38100 h 714375"/>
                  <a:gd name="connsiteX77" fmla="*/ 216693 w 764381"/>
                  <a:gd name="connsiteY77" fmla="*/ 0 h 7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764381" h="714375">
                    <a:moveTo>
                      <a:pt x="216693" y="0"/>
                    </a:moveTo>
                    <a:lnTo>
                      <a:pt x="180975" y="80963"/>
                    </a:lnTo>
                    <a:lnTo>
                      <a:pt x="164306" y="114300"/>
                    </a:lnTo>
                    <a:lnTo>
                      <a:pt x="123825" y="109538"/>
                    </a:lnTo>
                    <a:lnTo>
                      <a:pt x="102393" y="147638"/>
                    </a:lnTo>
                    <a:lnTo>
                      <a:pt x="73818" y="202406"/>
                    </a:lnTo>
                    <a:lnTo>
                      <a:pt x="38100" y="211931"/>
                    </a:lnTo>
                    <a:lnTo>
                      <a:pt x="7143" y="209550"/>
                    </a:lnTo>
                    <a:lnTo>
                      <a:pt x="26193" y="235744"/>
                    </a:lnTo>
                    <a:lnTo>
                      <a:pt x="0" y="254794"/>
                    </a:lnTo>
                    <a:lnTo>
                      <a:pt x="21431" y="266700"/>
                    </a:lnTo>
                    <a:lnTo>
                      <a:pt x="59531" y="280988"/>
                    </a:lnTo>
                    <a:lnTo>
                      <a:pt x="78581" y="311944"/>
                    </a:lnTo>
                    <a:lnTo>
                      <a:pt x="88106" y="354806"/>
                    </a:lnTo>
                    <a:lnTo>
                      <a:pt x="35718" y="395288"/>
                    </a:lnTo>
                    <a:lnTo>
                      <a:pt x="85725" y="464344"/>
                    </a:lnTo>
                    <a:lnTo>
                      <a:pt x="92868" y="519113"/>
                    </a:lnTo>
                    <a:lnTo>
                      <a:pt x="130968" y="535781"/>
                    </a:lnTo>
                    <a:lnTo>
                      <a:pt x="138112" y="557213"/>
                    </a:lnTo>
                    <a:lnTo>
                      <a:pt x="183356" y="535781"/>
                    </a:lnTo>
                    <a:lnTo>
                      <a:pt x="214312" y="511969"/>
                    </a:lnTo>
                    <a:lnTo>
                      <a:pt x="261937" y="533400"/>
                    </a:lnTo>
                    <a:lnTo>
                      <a:pt x="297656" y="521494"/>
                    </a:lnTo>
                    <a:lnTo>
                      <a:pt x="311943" y="547688"/>
                    </a:lnTo>
                    <a:lnTo>
                      <a:pt x="333375" y="585788"/>
                    </a:lnTo>
                    <a:lnTo>
                      <a:pt x="335756" y="616744"/>
                    </a:lnTo>
                    <a:lnTo>
                      <a:pt x="345281" y="654844"/>
                    </a:lnTo>
                    <a:lnTo>
                      <a:pt x="345281" y="611981"/>
                    </a:lnTo>
                    <a:lnTo>
                      <a:pt x="385762" y="595313"/>
                    </a:lnTo>
                    <a:lnTo>
                      <a:pt x="395287" y="569119"/>
                    </a:lnTo>
                    <a:lnTo>
                      <a:pt x="435768" y="588169"/>
                    </a:lnTo>
                    <a:lnTo>
                      <a:pt x="502443" y="607219"/>
                    </a:lnTo>
                    <a:lnTo>
                      <a:pt x="509587" y="642938"/>
                    </a:lnTo>
                    <a:lnTo>
                      <a:pt x="542925" y="623888"/>
                    </a:lnTo>
                    <a:lnTo>
                      <a:pt x="585787" y="607219"/>
                    </a:lnTo>
                    <a:lnTo>
                      <a:pt x="592931" y="557213"/>
                    </a:lnTo>
                    <a:lnTo>
                      <a:pt x="628650" y="600075"/>
                    </a:lnTo>
                    <a:lnTo>
                      <a:pt x="635793" y="619125"/>
                    </a:lnTo>
                    <a:lnTo>
                      <a:pt x="659606" y="642938"/>
                    </a:lnTo>
                    <a:cubicBezTo>
                      <a:pt x="661193" y="650875"/>
                      <a:pt x="662144" y="658967"/>
                      <a:pt x="664368" y="666750"/>
                    </a:cubicBezTo>
                    <a:cubicBezTo>
                      <a:pt x="665343" y="670163"/>
                      <a:pt x="669131" y="676275"/>
                      <a:pt x="669131" y="676275"/>
                    </a:cubicBezTo>
                    <a:lnTo>
                      <a:pt x="678656" y="692944"/>
                    </a:lnTo>
                    <a:lnTo>
                      <a:pt x="731043" y="714375"/>
                    </a:lnTo>
                    <a:lnTo>
                      <a:pt x="764381" y="678656"/>
                    </a:lnTo>
                    <a:lnTo>
                      <a:pt x="709612" y="614363"/>
                    </a:lnTo>
                    <a:lnTo>
                      <a:pt x="688181" y="583406"/>
                    </a:lnTo>
                    <a:lnTo>
                      <a:pt x="635793" y="561975"/>
                    </a:lnTo>
                    <a:lnTo>
                      <a:pt x="602456" y="561975"/>
                    </a:lnTo>
                    <a:lnTo>
                      <a:pt x="595312" y="509588"/>
                    </a:lnTo>
                    <a:lnTo>
                      <a:pt x="631031" y="485775"/>
                    </a:lnTo>
                    <a:lnTo>
                      <a:pt x="628650" y="438150"/>
                    </a:lnTo>
                    <a:lnTo>
                      <a:pt x="628650" y="433388"/>
                    </a:lnTo>
                    <a:lnTo>
                      <a:pt x="581025" y="450056"/>
                    </a:lnTo>
                    <a:lnTo>
                      <a:pt x="559593" y="431006"/>
                    </a:lnTo>
                    <a:lnTo>
                      <a:pt x="573881" y="402431"/>
                    </a:lnTo>
                    <a:lnTo>
                      <a:pt x="564356" y="378619"/>
                    </a:lnTo>
                    <a:lnTo>
                      <a:pt x="654843" y="323850"/>
                    </a:lnTo>
                    <a:lnTo>
                      <a:pt x="642937" y="307181"/>
                    </a:lnTo>
                    <a:lnTo>
                      <a:pt x="592931" y="307181"/>
                    </a:lnTo>
                    <a:lnTo>
                      <a:pt x="578643" y="280988"/>
                    </a:lnTo>
                    <a:lnTo>
                      <a:pt x="540543" y="292894"/>
                    </a:lnTo>
                    <a:lnTo>
                      <a:pt x="528637" y="278606"/>
                    </a:lnTo>
                    <a:lnTo>
                      <a:pt x="509587" y="247650"/>
                    </a:lnTo>
                    <a:lnTo>
                      <a:pt x="545306" y="209550"/>
                    </a:lnTo>
                    <a:lnTo>
                      <a:pt x="547687" y="185738"/>
                    </a:lnTo>
                    <a:lnTo>
                      <a:pt x="621506" y="157163"/>
                    </a:lnTo>
                    <a:lnTo>
                      <a:pt x="638175" y="142875"/>
                    </a:lnTo>
                    <a:lnTo>
                      <a:pt x="657225" y="135731"/>
                    </a:lnTo>
                    <a:lnTo>
                      <a:pt x="669131" y="90488"/>
                    </a:lnTo>
                    <a:lnTo>
                      <a:pt x="569118" y="76200"/>
                    </a:lnTo>
                    <a:lnTo>
                      <a:pt x="502443" y="54769"/>
                    </a:lnTo>
                    <a:lnTo>
                      <a:pt x="478631" y="69056"/>
                    </a:lnTo>
                    <a:lnTo>
                      <a:pt x="450056" y="78581"/>
                    </a:lnTo>
                    <a:lnTo>
                      <a:pt x="400050" y="35719"/>
                    </a:lnTo>
                    <a:lnTo>
                      <a:pt x="354806" y="40481"/>
                    </a:lnTo>
                    <a:lnTo>
                      <a:pt x="290512" y="28575"/>
                    </a:lnTo>
                    <a:lnTo>
                      <a:pt x="269081" y="38100"/>
                    </a:lnTo>
                    <a:lnTo>
                      <a:pt x="21669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5" name="Figura a mano libera 244"/>
              <p:cNvSpPr/>
              <p:nvPr/>
            </p:nvSpPr>
            <p:spPr bwMode="auto">
              <a:xfrm>
                <a:off x="2558590" y="816267"/>
                <a:ext cx="946452" cy="970170"/>
              </a:xfrm>
              <a:custGeom>
                <a:avLst/>
                <a:gdLst>
                  <a:gd name="connsiteX0" fmla="*/ 812006 w 1176338"/>
                  <a:gd name="connsiteY0" fmla="*/ 1188244 h 1240631"/>
                  <a:gd name="connsiteX1" fmla="*/ 850106 w 1176338"/>
                  <a:gd name="connsiteY1" fmla="*/ 1240631 h 1240631"/>
                  <a:gd name="connsiteX2" fmla="*/ 900113 w 1176338"/>
                  <a:gd name="connsiteY2" fmla="*/ 1188244 h 1240631"/>
                  <a:gd name="connsiteX3" fmla="*/ 921544 w 1176338"/>
                  <a:gd name="connsiteY3" fmla="*/ 1112044 h 1240631"/>
                  <a:gd name="connsiteX4" fmla="*/ 885825 w 1176338"/>
                  <a:gd name="connsiteY4" fmla="*/ 1100137 h 1240631"/>
                  <a:gd name="connsiteX5" fmla="*/ 845344 w 1176338"/>
                  <a:gd name="connsiteY5" fmla="*/ 1064419 h 1240631"/>
                  <a:gd name="connsiteX6" fmla="*/ 833438 w 1176338"/>
                  <a:gd name="connsiteY6" fmla="*/ 1028700 h 1240631"/>
                  <a:gd name="connsiteX7" fmla="*/ 819150 w 1176338"/>
                  <a:gd name="connsiteY7" fmla="*/ 995362 h 1240631"/>
                  <a:gd name="connsiteX8" fmla="*/ 816769 w 1176338"/>
                  <a:gd name="connsiteY8" fmla="*/ 947737 h 1240631"/>
                  <a:gd name="connsiteX9" fmla="*/ 804863 w 1176338"/>
                  <a:gd name="connsiteY9" fmla="*/ 933450 h 1240631"/>
                  <a:gd name="connsiteX10" fmla="*/ 783431 w 1176338"/>
                  <a:gd name="connsiteY10" fmla="*/ 971550 h 1240631"/>
                  <a:gd name="connsiteX11" fmla="*/ 762000 w 1176338"/>
                  <a:gd name="connsiteY11" fmla="*/ 933450 h 1240631"/>
                  <a:gd name="connsiteX12" fmla="*/ 771525 w 1176338"/>
                  <a:gd name="connsiteY12" fmla="*/ 888206 h 1240631"/>
                  <a:gd name="connsiteX13" fmla="*/ 804863 w 1176338"/>
                  <a:gd name="connsiteY13" fmla="*/ 852487 h 1240631"/>
                  <a:gd name="connsiteX14" fmla="*/ 797719 w 1176338"/>
                  <a:gd name="connsiteY14" fmla="*/ 835819 h 1240631"/>
                  <a:gd name="connsiteX15" fmla="*/ 828675 w 1176338"/>
                  <a:gd name="connsiteY15" fmla="*/ 776287 h 1240631"/>
                  <a:gd name="connsiteX16" fmla="*/ 852488 w 1176338"/>
                  <a:gd name="connsiteY16" fmla="*/ 771525 h 1240631"/>
                  <a:gd name="connsiteX17" fmla="*/ 902494 w 1176338"/>
                  <a:gd name="connsiteY17" fmla="*/ 776287 h 1240631"/>
                  <a:gd name="connsiteX18" fmla="*/ 892969 w 1176338"/>
                  <a:gd name="connsiteY18" fmla="*/ 802481 h 1240631"/>
                  <a:gd name="connsiteX19" fmla="*/ 959644 w 1176338"/>
                  <a:gd name="connsiteY19" fmla="*/ 785812 h 1240631"/>
                  <a:gd name="connsiteX20" fmla="*/ 1076325 w 1176338"/>
                  <a:gd name="connsiteY20" fmla="*/ 740569 h 1240631"/>
                  <a:gd name="connsiteX21" fmla="*/ 1107281 w 1176338"/>
                  <a:gd name="connsiteY21" fmla="*/ 695325 h 1240631"/>
                  <a:gd name="connsiteX22" fmla="*/ 1176338 w 1176338"/>
                  <a:gd name="connsiteY22" fmla="*/ 695325 h 1240631"/>
                  <a:gd name="connsiteX23" fmla="*/ 1171575 w 1176338"/>
                  <a:gd name="connsiteY23" fmla="*/ 671512 h 1240631"/>
                  <a:gd name="connsiteX24" fmla="*/ 1173956 w 1176338"/>
                  <a:gd name="connsiteY24" fmla="*/ 600075 h 1240631"/>
                  <a:gd name="connsiteX25" fmla="*/ 1138238 w 1176338"/>
                  <a:gd name="connsiteY25" fmla="*/ 547687 h 1240631"/>
                  <a:gd name="connsiteX26" fmla="*/ 1100138 w 1176338"/>
                  <a:gd name="connsiteY26" fmla="*/ 557212 h 1240631"/>
                  <a:gd name="connsiteX27" fmla="*/ 1050131 w 1176338"/>
                  <a:gd name="connsiteY27" fmla="*/ 533400 h 1240631"/>
                  <a:gd name="connsiteX28" fmla="*/ 978694 w 1176338"/>
                  <a:gd name="connsiteY28" fmla="*/ 576262 h 1240631"/>
                  <a:gd name="connsiteX29" fmla="*/ 964406 w 1176338"/>
                  <a:gd name="connsiteY29" fmla="*/ 557212 h 1240631"/>
                  <a:gd name="connsiteX30" fmla="*/ 923925 w 1176338"/>
                  <a:gd name="connsiteY30" fmla="*/ 542925 h 1240631"/>
                  <a:gd name="connsiteX31" fmla="*/ 923925 w 1176338"/>
                  <a:gd name="connsiteY31" fmla="*/ 492919 h 1240631"/>
                  <a:gd name="connsiteX32" fmla="*/ 866775 w 1176338"/>
                  <a:gd name="connsiteY32" fmla="*/ 419100 h 1240631"/>
                  <a:gd name="connsiteX33" fmla="*/ 935831 w 1176338"/>
                  <a:gd name="connsiteY33" fmla="*/ 373856 h 1240631"/>
                  <a:gd name="connsiteX34" fmla="*/ 907256 w 1176338"/>
                  <a:gd name="connsiteY34" fmla="*/ 314325 h 1240631"/>
                  <a:gd name="connsiteX35" fmla="*/ 878681 w 1176338"/>
                  <a:gd name="connsiteY35" fmla="*/ 297656 h 1240631"/>
                  <a:gd name="connsiteX36" fmla="*/ 831056 w 1176338"/>
                  <a:gd name="connsiteY36" fmla="*/ 283369 h 1240631"/>
                  <a:gd name="connsiteX37" fmla="*/ 852488 w 1176338"/>
                  <a:gd name="connsiteY37" fmla="*/ 264319 h 1240631"/>
                  <a:gd name="connsiteX38" fmla="*/ 838200 w 1176338"/>
                  <a:gd name="connsiteY38" fmla="*/ 228600 h 1240631"/>
                  <a:gd name="connsiteX39" fmla="*/ 919163 w 1176338"/>
                  <a:gd name="connsiteY39" fmla="*/ 230981 h 1240631"/>
                  <a:gd name="connsiteX40" fmla="*/ 957263 w 1176338"/>
                  <a:gd name="connsiteY40" fmla="*/ 128587 h 1240631"/>
                  <a:gd name="connsiteX41" fmla="*/ 1007269 w 1176338"/>
                  <a:gd name="connsiteY41" fmla="*/ 133350 h 1240631"/>
                  <a:gd name="connsiteX42" fmla="*/ 1059656 w 1176338"/>
                  <a:gd name="connsiteY42" fmla="*/ 26194 h 1240631"/>
                  <a:gd name="connsiteX43" fmla="*/ 1023938 w 1176338"/>
                  <a:gd name="connsiteY43" fmla="*/ 19050 h 1240631"/>
                  <a:gd name="connsiteX44" fmla="*/ 1002506 w 1176338"/>
                  <a:gd name="connsiteY44" fmla="*/ 0 h 1240631"/>
                  <a:gd name="connsiteX45" fmla="*/ 983456 w 1176338"/>
                  <a:gd name="connsiteY45" fmla="*/ 11906 h 1240631"/>
                  <a:gd name="connsiteX46" fmla="*/ 952500 w 1176338"/>
                  <a:gd name="connsiteY46" fmla="*/ 16669 h 1240631"/>
                  <a:gd name="connsiteX47" fmla="*/ 928688 w 1176338"/>
                  <a:gd name="connsiteY47" fmla="*/ 4762 h 1240631"/>
                  <a:gd name="connsiteX48" fmla="*/ 902494 w 1176338"/>
                  <a:gd name="connsiteY48" fmla="*/ 2381 h 1240631"/>
                  <a:gd name="connsiteX49" fmla="*/ 885825 w 1176338"/>
                  <a:gd name="connsiteY49" fmla="*/ 28575 h 1240631"/>
                  <a:gd name="connsiteX50" fmla="*/ 740569 w 1176338"/>
                  <a:gd name="connsiteY50" fmla="*/ 45244 h 1240631"/>
                  <a:gd name="connsiteX51" fmla="*/ 740569 w 1176338"/>
                  <a:gd name="connsiteY51" fmla="*/ 11906 h 1240631"/>
                  <a:gd name="connsiteX52" fmla="*/ 704850 w 1176338"/>
                  <a:gd name="connsiteY52" fmla="*/ 52387 h 1240631"/>
                  <a:gd name="connsiteX53" fmla="*/ 704850 w 1176338"/>
                  <a:gd name="connsiteY53" fmla="*/ 71437 h 1240631"/>
                  <a:gd name="connsiteX54" fmla="*/ 583406 w 1176338"/>
                  <a:gd name="connsiteY54" fmla="*/ 111919 h 1240631"/>
                  <a:gd name="connsiteX55" fmla="*/ 614363 w 1176338"/>
                  <a:gd name="connsiteY55" fmla="*/ 140494 h 1240631"/>
                  <a:gd name="connsiteX56" fmla="*/ 616744 w 1176338"/>
                  <a:gd name="connsiteY56" fmla="*/ 178594 h 1240631"/>
                  <a:gd name="connsiteX57" fmla="*/ 573881 w 1176338"/>
                  <a:gd name="connsiteY57" fmla="*/ 211931 h 1240631"/>
                  <a:gd name="connsiteX58" fmla="*/ 600075 w 1176338"/>
                  <a:gd name="connsiteY58" fmla="*/ 259556 h 1240631"/>
                  <a:gd name="connsiteX59" fmla="*/ 647700 w 1176338"/>
                  <a:gd name="connsiteY59" fmla="*/ 276225 h 1240631"/>
                  <a:gd name="connsiteX60" fmla="*/ 645319 w 1176338"/>
                  <a:gd name="connsiteY60" fmla="*/ 323850 h 1240631"/>
                  <a:gd name="connsiteX61" fmla="*/ 619125 w 1176338"/>
                  <a:gd name="connsiteY61" fmla="*/ 357187 h 1240631"/>
                  <a:gd name="connsiteX62" fmla="*/ 542925 w 1176338"/>
                  <a:gd name="connsiteY62" fmla="*/ 366712 h 1240631"/>
                  <a:gd name="connsiteX63" fmla="*/ 545306 w 1176338"/>
                  <a:gd name="connsiteY63" fmla="*/ 400050 h 1240631"/>
                  <a:gd name="connsiteX64" fmla="*/ 528638 w 1176338"/>
                  <a:gd name="connsiteY64" fmla="*/ 440531 h 1240631"/>
                  <a:gd name="connsiteX65" fmla="*/ 476250 w 1176338"/>
                  <a:gd name="connsiteY65" fmla="*/ 457200 h 1240631"/>
                  <a:gd name="connsiteX66" fmla="*/ 471488 w 1176338"/>
                  <a:gd name="connsiteY66" fmla="*/ 414337 h 1240631"/>
                  <a:gd name="connsiteX67" fmla="*/ 440531 w 1176338"/>
                  <a:gd name="connsiteY67" fmla="*/ 411956 h 1240631"/>
                  <a:gd name="connsiteX68" fmla="*/ 426244 w 1176338"/>
                  <a:gd name="connsiteY68" fmla="*/ 440531 h 1240631"/>
                  <a:gd name="connsiteX69" fmla="*/ 383381 w 1176338"/>
                  <a:gd name="connsiteY69" fmla="*/ 438150 h 1240631"/>
                  <a:gd name="connsiteX70" fmla="*/ 381000 w 1176338"/>
                  <a:gd name="connsiteY70" fmla="*/ 416719 h 1240631"/>
                  <a:gd name="connsiteX71" fmla="*/ 373856 w 1176338"/>
                  <a:gd name="connsiteY71" fmla="*/ 459581 h 1240631"/>
                  <a:gd name="connsiteX72" fmla="*/ 369094 w 1176338"/>
                  <a:gd name="connsiteY72" fmla="*/ 481012 h 1240631"/>
                  <a:gd name="connsiteX73" fmla="*/ 342900 w 1176338"/>
                  <a:gd name="connsiteY73" fmla="*/ 490537 h 1240631"/>
                  <a:gd name="connsiteX74" fmla="*/ 340519 w 1176338"/>
                  <a:gd name="connsiteY74" fmla="*/ 471487 h 1240631"/>
                  <a:gd name="connsiteX75" fmla="*/ 288131 w 1176338"/>
                  <a:gd name="connsiteY75" fmla="*/ 509587 h 1240631"/>
                  <a:gd name="connsiteX76" fmla="*/ 295275 w 1176338"/>
                  <a:gd name="connsiteY76" fmla="*/ 576262 h 1240631"/>
                  <a:gd name="connsiteX77" fmla="*/ 252413 w 1176338"/>
                  <a:gd name="connsiteY77" fmla="*/ 614362 h 1240631"/>
                  <a:gd name="connsiteX78" fmla="*/ 192881 w 1176338"/>
                  <a:gd name="connsiteY78" fmla="*/ 604837 h 1240631"/>
                  <a:gd name="connsiteX79" fmla="*/ 152400 w 1176338"/>
                  <a:gd name="connsiteY79" fmla="*/ 611981 h 1240631"/>
                  <a:gd name="connsiteX80" fmla="*/ 114300 w 1176338"/>
                  <a:gd name="connsiteY80" fmla="*/ 611981 h 1240631"/>
                  <a:gd name="connsiteX81" fmla="*/ 109538 w 1176338"/>
                  <a:gd name="connsiteY81" fmla="*/ 590550 h 1240631"/>
                  <a:gd name="connsiteX82" fmla="*/ 116681 w 1176338"/>
                  <a:gd name="connsiteY82" fmla="*/ 559594 h 1240631"/>
                  <a:gd name="connsiteX83" fmla="*/ 121444 w 1176338"/>
                  <a:gd name="connsiteY83" fmla="*/ 540544 h 1240631"/>
                  <a:gd name="connsiteX84" fmla="*/ 0 w 1176338"/>
                  <a:gd name="connsiteY84" fmla="*/ 671512 h 1240631"/>
                  <a:gd name="connsiteX85" fmla="*/ 11906 w 1176338"/>
                  <a:gd name="connsiteY85" fmla="*/ 781050 h 1240631"/>
                  <a:gd name="connsiteX86" fmla="*/ 45244 w 1176338"/>
                  <a:gd name="connsiteY86" fmla="*/ 781050 h 1240631"/>
                  <a:gd name="connsiteX87" fmla="*/ 28575 w 1176338"/>
                  <a:gd name="connsiteY87" fmla="*/ 838200 h 1240631"/>
                  <a:gd name="connsiteX88" fmla="*/ 16669 w 1176338"/>
                  <a:gd name="connsiteY88" fmla="*/ 876300 h 1240631"/>
                  <a:gd name="connsiteX89" fmla="*/ 40481 w 1176338"/>
                  <a:gd name="connsiteY89" fmla="*/ 876300 h 1240631"/>
                  <a:gd name="connsiteX90" fmla="*/ 42863 w 1176338"/>
                  <a:gd name="connsiteY90" fmla="*/ 845344 h 1240631"/>
                  <a:gd name="connsiteX91" fmla="*/ 164306 w 1176338"/>
                  <a:gd name="connsiteY91" fmla="*/ 962025 h 1240631"/>
                  <a:gd name="connsiteX92" fmla="*/ 180975 w 1176338"/>
                  <a:gd name="connsiteY92" fmla="*/ 964406 h 1240631"/>
                  <a:gd name="connsiteX93" fmla="*/ 188119 w 1176338"/>
                  <a:gd name="connsiteY93" fmla="*/ 992981 h 1240631"/>
                  <a:gd name="connsiteX94" fmla="*/ 197644 w 1176338"/>
                  <a:gd name="connsiteY94" fmla="*/ 1019175 h 1240631"/>
                  <a:gd name="connsiteX95" fmla="*/ 271463 w 1176338"/>
                  <a:gd name="connsiteY95" fmla="*/ 1000125 h 1240631"/>
                  <a:gd name="connsiteX96" fmla="*/ 269081 w 1176338"/>
                  <a:gd name="connsiteY96" fmla="*/ 1047750 h 1240631"/>
                  <a:gd name="connsiteX97" fmla="*/ 354806 w 1176338"/>
                  <a:gd name="connsiteY97" fmla="*/ 1092994 h 1240631"/>
                  <a:gd name="connsiteX98" fmla="*/ 409575 w 1176338"/>
                  <a:gd name="connsiteY98" fmla="*/ 1119187 h 1240631"/>
                  <a:gd name="connsiteX99" fmla="*/ 447675 w 1176338"/>
                  <a:gd name="connsiteY99" fmla="*/ 1143000 h 1240631"/>
                  <a:gd name="connsiteX100" fmla="*/ 452438 w 1176338"/>
                  <a:gd name="connsiteY100" fmla="*/ 1166812 h 1240631"/>
                  <a:gd name="connsiteX101" fmla="*/ 504825 w 1176338"/>
                  <a:gd name="connsiteY101" fmla="*/ 1123950 h 1240631"/>
                  <a:gd name="connsiteX102" fmla="*/ 588169 w 1176338"/>
                  <a:gd name="connsiteY102" fmla="*/ 1100137 h 1240631"/>
                  <a:gd name="connsiteX103" fmla="*/ 678656 w 1176338"/>
                  <a:gd name="connsiteY103" fmla="*/ 1107281 h 1240631"/>
                  <a:gd name="connsiteX104" fmla="*/ 728663 w 1176338"/>
                  <a:gd name="connsiteY104" fmla="*/ 1131094 h 1240631"/>
                  <a:gd name="connsiteX105" fmla="*/ 747713 w 1176338"/>
                  <a:gd name="connsiteY105" fmla="*/ 1152525 h 1240631"/>
                  <a:gd name="connsiteX106" fmla="*/ 785813 w 1176338"/>
                  <a:gd name="connsiteY106" fmla="*/ 1128712 h 1240631"/>
                  <a:gd name="connsiteX107" fmla="*/ 812006 w 1176338"/>
                  <a:gd name="connsiteY107" fmla="*/ 1188244 h 1240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1176338" h="1240631">
                    <a:moveTo>
                      <a:pt x="812006" y="1188244"/>
                    </a:moveTo>
                    <a:lnTo>
                      <a:pt x="850106" y="1240631"/>
                    </a:lnTo>
                    <a:lnTo>
                      <a:pt x="900113" y="1188244"/>
                    </a:lnTo>
                    <a:lnTo>
                      <a:pt x="921544" y="1112044"/>
                    </a:lnTo>
                    <a:lnTo>
                      <a:pt x="885825" y="1100137"/>
                    </a:lnTo>
                    <a:lnTo>
                      <a:pt x="845344" y="1064419"/>
                    </a:lnTo>
                    <a:lnTo>
                      <a:pt x="833438" y="1028700"/>
                    </a:lnTo>
                    <a:lnTo>
                      <a:pt x="819150" y="995362"/>
                    </a:lnTo>
                    <a:lnTo>
                      <a:pt x="816769" y="947737"/>
                    </a:lnTo>
                    <a:lnTo>
                      <a:pt x="804863" y="933450"/>
                    </a:lnTo>
                    <a:lnTo>
                      <a:pt x="783431" y="971550"/>
                    </a:lnTo>
                    <a:lnTo>
                      <a:pt x="762000" y="933450"/>
                    </a:lnTo>
                    <a:lnTo>
                      <a:pt x="771525" y="888206"/>
                    </a:lnTo>
                    <a:lnTo>
                      <a:pt x="804863" y="852487"/>
                    </a:lnTo>
                    <a:lnTo>
                      <a:pt x="797719" y="835819"/>
                    </a:lnTo>
                    <a:lnTo>
                      <a:pt x="828675" y="776287"/>
                    </a:lnTo>
                    <a:lnTo>
                      <a:pt x="852488" y="771525"/>
                    </a:lnTo>
                    <a:lnTo>
                      <a:pt x="902494" y="776287"/>
                    </a:lnTo>
                    <a:lnTo>
                      <a:pt x="892969" y="802481"/>
                    </a:lnTo>
                    <a:lnTo>
                      <a:pt x="959644" y="785812"/>
                    </a:lnTo>
                    <a:lnTo>
                      <a:pt x="1076325" y="740569"/>
                    </a:lnTo>
                    <a:lnTo>
                      <a:pt x="1107281" y="695325"/>
                    </a:lnTo>
                    <a:lnTo>
                      <a:pt x="1176338" y="695325"/>
                    </a:lnTo>
                    <a:lnTo>
                      <a:pt x="1171575" y="671512"/>
                    </a:lnTo>
                    <a:cubicBezTo>
                      <a:pt x="1172369" y="647700"/>
                      <a:pt x="1173162" y="623887"/>
                      <a:pt x="1173956" y="600075"/>
                    </a:cubicBezTo>
                    <a:lnTo>
                      <a:pt x="1138238" y="547687"/>
                    </a:lnTo>
                    <a:lnTo>
                      <a:pt x="1100138" y="557212"/>
                    </a:lnTo>
                    <a:lnTo>
                      <a:pt x="1050131" y="533400"/>
                    </a:lnTo>
                    <a:lnTo>
                      <a:pt x="978694" y="576262"/>
                    </a:lnTo>
                    <a:lnTo>
                      <a:pt x="964406" y="557212"/>
                    </a:lnTo>
                    <a:lnTo>
                      <a:pt x="923925" y="542925"/>
                    </a:lnTo>
                    <a:lnTo>
                      <a:pt x="923925" y="492919"/>
                    </a:lnTo>
                    <a:lnTo>
                      <a:pt x="866775" y="419100"/>
                    </a:lnTo>
                    <a:lnTo>
                      <a:pt x="935831" y="373856"/>
                    </a:lnTo>
                    <a:lnTo>
                      <a:pt x="907256" y="314325"/>
                    </a:lnTo>
                    <a:lnTo>
                      <a:pt x="878681" y="297656"/>
                    </a:lnTo>
                    <a:lnTo>
                      <a:pt x="831056" y="283369"/>
                    </a:lnTo>
                    <a:lnTo>
                      <a:pt x="852488" y="264319"/>
                    </a:lnTo>
                    <a:lnTo>
                      <a:pt x="838200" y="228600"/>
                    </a:lnTo>
                    <a:lnTo>
                      <a:pt x="919163" y="230981"/>
                    </a:lnTo>
                    <a:lnTo>
                      <a:pt x="957263" y="128587"/>
                    </a:lnTo>
                    <a:lnTo>
                      <a:pt x="1007269" y="133350"/>
                    </a:lnTo>
                    <a:lnTo>
                      <a:pt x="1059656" y="26194"/>
                    </a:lnTo>
                    <a:lnTo>
                      <a:pt x="1023938" y="19050"/>
                    </a:lnTo>
                    <a:lnTo>
                      <a:pt x="1002506" y="0"/>
                    </a:lnTo>
                    <a:lnTo>
                      <a:pt x="983456" y="11906"/>
                    </a:lnTo>
                    <a:lnTo>
                      <a:pt x="952500" y="16669"/>
                    </a:lnTo>
                    <a:lnTo>
                      <a:pt x="928688" y="4762"/>
                    </a:lnTo>
                    <a:lnTo>
                      <a:pt x="902494" y="2381"/>
                    </a:lnTo>
                    <a:lnTo>
                      <a:pt x="885825" y="28575"/>
                    </a:lnTo>
                    <a:lnTo>
                      <a:pt x="740569" y="45244"/>
                    </a:lnTo>
                    <a:lnTo>
                      <a:pt x="740569" y="11906"/>
                    </a:lnTo>
                    <a:lnTo>
                      <a:pt x="704850" y="52387"/>
                    </a:lnTo>
                    <a:lnTo>
                      <a:pt x="704850" y="71437"/>
                    </a:lnTo>
                    <a:lnTo>
                      <a:pt x="583406" y="111919"/>
                    </a:lnTo>
                    <a:lnTo>
                      <a:pt x="614363" y="140494"/>
                    </a:lnTo>
                    <a:lnTo>
                      <a:pt x="616744" y="178594"/>
                    </a:lnTo>
                    <a:lnTo>
                      <a:pt x="573881" y="211931"/>
                    </a:lnTo>
                    <a:lnTo>
                      <a:pt x="600075" y="259556"/>
                    </a:lnTo>
                    <a:lnTo>
                      <a:pt x="647700" y="276225"/>
                    </a:lnTo>
                    <a:lnTo>
                      <a:pt x="645319" y="323850"/>
                    </a:lnTo>
                    <a:lnTo>
                      <a:pt x="619125" y="357187"/>
                    </a:lnTo>
                    <a:lnTo>
                      <a:pt x="542925" y="366712"/>
                    </a:lnTo>
                    <a:lnTo>
                      <a:pt x="545306" y="400050"/>
                    </a:lnTo>
                    <a:lnTo>
                      <a:pt x="528638" y="440531"/>
                    </a:lnTo>
                    <a:lnTo>
                      <a:pt x="476250" y="457200"/>
                    </a:lnTo>
                    <a:lnTo>
                      <a:pt x="471488" y="414337"/>
                    </a:lnTo>
                    <a:lnTo>
                      <a:pt x="440531" y="411956"/>
                    </a:lnTo>
                    <a:lnTo>
                      <a:pt x="426244" y="440531"/>
                    </a:lnTo>
                    <a:lnTo>
                      <a:pt x="383381" y="438150"/>
                    </a:lnTo>
                    <a:lnTo>
                      <a:pt x="381000" y="416719"/>
                    </a:lnTo>
                    <a:lnTo>
                      <a:pt x="373856" y="459581"/>
                    </a:lnTo>
                    <a:lnTo>
                      <a:pt x="369094" y="481012"/>
                    </a:lnTo>
                    <a:lnTo>
                      <a:pt x="342900" y="490537"/>
                    </a:lnTo>
                    <a:lnTo>
                      <a:pt x="340519" y="471487"/>
                    </a:lnTo>
                    <a:lnTo>
                      <a:pt x="288131" y="509587"/>
                    </a:lnTo>
                    <a:lnTo>
                      <a:pt x="295275" y="576262"/>
                    </a:lnTo>
                    <a:lnTo>
                      <a:pt x="252413" y="614362"/>
                    </a:lnTo>
                    <a:lnTo>
                      <a:pt x="192881" y="604837"/>
                    </a:lnTo>
                    <a:lnTo>
                      <a:pt x="152400" y="611981"/>
                    </a:lnTo>
                    <a:lnTo>
                      <a:pt x="114300" y="611981"/>
                    </a:lnTo>
                    <a:lnTo>
                      <a:pt x="109538" y="590550"/>
                    </a:lnTo>
                    <a:lnTo>
                      <a:pt x="116681" y="559594"/>
                    </a:lnTo>
                    <a:lnTo>
                      <a:pt x="121444" y="540544"/>
                    </a:lnTo>
                    <a:lnTo>
                      <a:pt x="0" y="671512"/>
                    </a:lnTo>
                    <a:lnTo>
                      <a:pt x="11906" y="781050"/>
                    </a:lnTo>
                    <a:lnTo>
                      <a:pt x="45244" y="781050"/>
                    </a:lnTo>
                    <a:lnTo>
                      <a:pt x="28575" y="838200"/>
                    </a:lnTo>
                    <a:lnTo>
                      <a:pt x="16669" y="876300"/>
                    </a:lnTo>
                    <a:lnTo>
                      <a:pt x="40481" y="876300"/>
                    </a:lnTo>
                    <a:lnTo>
                      <a:pt x="42863" y="845344"/>
                    </a:lnTo>
                    <a:lnTo>
                      <a:pt x="164306" y="962025"/>
                    </a:lnTo>
                    <a:lnTo>
                      <a:pt x="180975" y="964406"/>
                    </a:lnTo>
                    <a:lnTo>
                      <a:pt x="188119" y="992981"/>
                    </a:lnTo>
                    <a:lnTo>
                      <a:pt x="197644" y="1019175"/>
                    </a:lnTo>
                    <a:lnTo>
                      <a:pt x="271463" y="1000125"/>
                    </a:lnTo>
                    <a:lnTo>
                      <a:pt x="269081" y="1047750"/>
                    </a:lnTo>
                    <a:lnTo>
                      <a:pt x="354806" y="1092994"/>
                    </a:lnTo>
                    <a:lnTo>
                      <a:pt x="409575" y="1119187"/>
                    </a:lnTo>
                    <a:lnTo>
                      <a:pt x="447675" y="1143000"/>
                    </a:lnTo>
                    <a:lnTo>
                      <a:pt x="452438" y="1166812"/>
                    </a:lnTo>
                    <a:lnTo>
                      <a:pt x="504825" y="1123950"/>
                    </a:lnTo>
                    <a:lnTo>
                      <a:pt x="588169" y="1100137"/>
                    </a:lnTo>
                    <a:lnTo>
                      <a:pt x="678656" y="1107281"/>
                    </a:lnTo>
                    <a:lnTo>
                      <a:pt x="728663" y="1131094"/>
                    </a:lnTo>
                    <a:lnTo>
                      <a:pt x="747713" y="1152525"/>
                    </a:lnTo>
                    <a:lnTo>
                      <a:pt x="785813" y="1128712"/>
                    </a:lnTo>
                    <a:lnTo>
                      <a:pt x="812006" y="118824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6" name="Figura a mano libera 245"/>
              <p:cNvSpPr/>
              <p:nvPr/>
            </p:nvSpPr>
            <p:spPr bwMode="auto">
              <a:xfrm>
                <a:off x="2161021" y="1905143"/>
                <a:ext cx="1059195" cy="1106464"/>
              </a:xfrm>
              <a:custGeom>
                <a:avLst/>
                <a:gdLst>
                  <a:gd name="connsiteX0" fmla="*/ 788193 w 1316831"/>
                  <a:gd name="connsiteY0" fmla="*/ 1402556 h 1414462"/>
                  <a:gd name="connsiteX1" fmla="*/ 738187 w 1316831"/>
                  <a:gd name="connsiteY1" fmla="*/ 1373981 h 1414462"/>
                  <a:gd name="connsiteX2" fmla="*/ 704850 w 1316831"/>
                  <a:gd name="connsiteY2" fmla="*/ 1390650 h 1414462"/>
                  <a:gd name="connsiteX3" fmla="*/ 685800 w 1316831"/>
                  <a:gd name="connsiteY3" fmla="*/ 1409700 h 1414462"/>
                  <a:gd name="connsiteX4" fmla="*/ 657225 w 1316831"/>
                  <a:gd name="connsiteY4" fmla="*/ 1414462 h 1414462"/>
                  <a:gd name="connsiteX5" fmla="*/ 638175 w 1316831"/>
                  <a:gd name="connsiteY5" fmla="*/ 1385887 h 1414462"/>
                  <a:gd name="connsiteX6" fmla="*/ 650081 w 1316831"/>
                  <a:gd name="connsiteY6" fmla="*/ 1354931 h 1414462"/>
                  <a:gd name="connsiteX7" fmla="*/ 664368 w 1316831"/>
                  <a:gd name="connsiteY7" fmla="*/ 1371600 h 1414462"/>
                  <a:gd name="connsiteX8" fmla="*/ 690562 w 1316831"/>
                  <a:gd name="connsiteY8" fmla="*/ 1359694 h 1414462"/>
                  <a:gd name="connsiteX9" fmla="*/ 690562 w 1316831"/>
                  <a:gd name="connsiteY9" fmla="*/ 1331119 h 1414462"/>
                  <a:gd name="connsiteX10" fmla="*/ 673893 w 1316831"/>
                  <a:gd name="connsiteY10" fmla="*/ 1281112 h 1414462"/>
                  <a:gd name="connsiteX11" fmla="*/ 631031 w 1316831"/>
                  <a:gd name="connsiteY11" fmla="*/ 1238250 h 1414462"/>
                  <a:gd name="connsiteX12" fmla="*/ 595312 w 1316831"/>
                  <a:gd name="connsiteY12" fmla="*/ 1223962 h 1414462"/>
                  <a:gd name="connsiteX13" fmla="*/ 559593 w 1316831"/>
                  <a:gd name="connsiteY13" fmla="*/ 1159669 h 1414462"/>
                  <a:gd name="connsiteX14" fmla="*/ 471487 w 1316831"/>
                  <a:gd name="connsiteY14" fmla="*/ 1126331 h 1414462"/>
                  <a:gd name="connsiteX15" fmla="*/ 471487 w 1316831"/>
                  <a:gd name="connsiteY15" fmla="*/ 1085850 h 1414462"/>
                  <a:gd name="connsiteX16" fmla="*/ 485775 w 1316831"/>
                  <a:gd name="connsiteY16" fmla="*/ 1031081 h 1414462"/>
                  <a:gd name="connsiteX17" fmla="*/ 431006 w 1316831"/>
                  <a:gd name="connsiteY17" fmla="*/ 1021556 h 1414462"/>
                  <a:gd name="connsiteX18" fmla="*/ 376237 w 1316831"/>
                  <a:gd name="connsiteY18" fmla="*/ 1021556 h 1414462"/>
                  <a:gd name="connsiteX19" fmla="*/ 371475 w 1316831"/>
                  <a:gd name="connsiteY19" fmla="*/ 1045369 h 1414462"/>
                  <a:gd name="connsiteX20" fmla="*/ 347662 w 1316831"/>
                  <a:gd name="connsiteY20" fmla="*/ 1023937 h 1414462"/>
                  <a:gd name="connsiteX21" fmla="*/ 354806 w 1316831"/>
                  <a:gd name="connsiteY21" fmla="*/ 992981 h 1414462"/>
                  <a:gd name="connsiteX22" fmla="*/ 347662 w 1316831"/>
                  <a:gd name="connsiteY22" fmla="*/ 938212 h 1414462"/>
                  <a:gd name="connsiteX23" fmla="*/ 371475 w 1316831"/>
                  <a:gd name="connsiteY23" fmla="*/ 912019 h 1414462"/>
                  <a:gd name="connsiteX24" fmla="*/ 371475 w 1316831"/>
                  <a:gd name="connsiteY24" fmla="*/ 888206 h 1414462"/>
                  <a:gd name="connsiteX25" fmla="*/ 381000 w 1316831"/>
                  <a:gd name="connsiteY25" fmla="*/ 821531 h 1414462"/>
                  <a:gd name="connsiteX26" fmla="*/ 364331 w 1316831"/>
                  <a:gd name="connsiteY26" fmla="*/ 771525 h 1414462"/>
                  <a:gd name="connsiteX27" fmla="*/ 314325 w 1316831"/>
                  <a:gd name="connsiteY27" fmla="*/ 692944 h 1414462"/>
                  <a:gd name="connsiteX28" fmla="*/ 280987 w 1316831"/>
                  <a:gd name="connsiteY28" fmla="*/ 654844 h 1414462"/>
                  <a:gd name="connsiteX29" fmla="*/ 257175 w 1316831"/>
                  <a:gd name="connsiteY29" fmla="*/ 585787 h 1414462"/>
                  <a:gd name="connsiteX30" fmla="*/ 264318 w 1316831"/>
                  <a:gd name="connsiteY30" fmla="*/ 419100 h 1414462"/>
                  <a:gd name="connsiteX31" fmla="*/ 235743 w 1316831"/>
                  <a:gd name="connsiteY31" fmla="*/ 371475 h 1414462"/>
                  <a:gd name="connsiteX32" fmla="*/ 204787 w 1316831"/>
                  <a:gd name="connsiteY32" fmla="*/ 350044 h 1414462"/>
                  <a:gd name="connsiteX33" fmla="*/ 190500 w 1316831"/>
                  <a:gd name="connsiteY33" fmla="*/ 304800 h 1414462"/>
                  <a:gd name="connsiteX34" fmla="*/ 164306 w 1316831"/>
                  <a:gd name="connsiteY34" fmla="*/ 280987 h 1414462"/>
                  <a:gd name="connsiteX35" fmla="*/ 138112 w 1316831"/>
                  <a:gd name="connsiteY35" fmla="*/ 264319 h 1414462"/>
                  <a:gd name="connsiteX36" fmla="*/ 116681 w 1316831"/>
                  <a:gd name="connsiteY36" fmla="*/ 273844 h 1414462"/>
                  <a:gd name="connsiteX37" fmla="*/ 88106 w 1316831"/>
                  <a:gd name="connsiteY37" fmla="*/ 264319 h 1414462"/>
                  <a:gd name="connsiteX38" fmla="*/ 59531 w 1316831"/>
                  <a:gd name="connsiteY38" fmla="*/ 230981 h 1414462"/>
                  <a:gd name="connsiteX39" fmla="*/ 130968 w 1316831"/>
                  <a:gd name="connsiteY39" fmla="*/ 216694 h 1414462"/>
                  <a:gd name="connsiteX40" fmla="*/ 109537 w 1316831"/>
                  <a:gd name="connsiteY40" fmla="*/ 178594 h 1414462"/>
                  <a:gd name="connsiteX41" fmla="*/ 69056 w 1316831"/>
                  <a:gd name="connsiteY41" fmla="*/ 178594 h 1414462"/>
                  <a:gd name="connsiteX42" fmla="*/ 61912 w 1316831"/>
                  <a:gd name="connsiteY42" fmla="*/ 133350 h 1414462"/>
                  <a:gd name="connsiteX43" fmla="*/ 21431 w 1316831"/>
                  <a:gd name="connsiteY43" fmla="*/ 100012 h 1414462"/>
                  <a:gd name="connsiteX44" fmla="*/ 0 w 1316831"/>
                  <a:gd name="connsiteY44" fmla="*/ 61912 h 1414462"/>
                  <a:gd name="connsiteX45" fmla="*/ 42862 w 1316831"/>
                  <a:gd name="connsiteY45" fmla="*/ 40481 h 1414462"/>
                  <a:gd name="connsiteX46" fmla="*/ 64293 w 1316831"/>
                  <a:gd name="connsiteY46" fmla="*/ 0 h 1414462"/>
                  <a:gd name="connsiteX47" fmla="*/ 147637 w 1316831"/>
                  <a:gd name="connsiteY47" fmla="*/ 7144 h 1414462"/>
                  <a:gd name="connsiteX48" fmla="*/ 152400 w 1316831"/>
                  <a:gd name="connsiteY48" fmla="*/ 45244 h 1414462"/>
                  <a:gd name="connsiteX49" fmla="*/ 171450 w 1316831"/>
                  <a:gd name="connsiteY49" fmla="*/ 83344 h 1414462"/>
                  <a:gd name="connsiteX50" fmla="*/ 276225 w 1316831"/>
                  <a:gd name="connsiteY50" fmla="*/ 130969 h 1414462"/>
                  <a:gd name="connsiteX51" fmla="*/ 316706 w 1316831"/>
                  <a:gd name="connsiteY51" fmla="*/ 140494 h 1414462"/>
                  <a:gd name="connsiteX52" fmla="*/ 350043 w 1316831"/>
                  <a:gd name="connsiteY52" fmla="*/ 169069 h 1414462"/>
                  <a:gd name="connsiteX53" fmla="*/ 390525 w 1316831"/>
                  <a:gd name="connsiteY53" fmla="*/ 192881 h 1414462"/>
                  <a:gd name="connsiteX54" fmla="*/ 411956 w 1316831"/>
                  <a:gd name="connsiteY54" fmla="*/ 223837 h 1414462"/>
                  <a:gd name="connsiteX55" fmla="*/ 416718 w 1316831"/>
                  <a:gd name="connsiteY55" fmla="*/ 230981 h 1414462"/>
                  <a:gd name="connsiteX56" fmla="*/ 423862 w 1316831"/>
                  <a:gd name="connsiteY56" fmla="*/ 240506 h 1414462"/>
                  <a:gd name="connsiteX57" fmla="*/ 431006 w 1316831"/>
                  <a:gd name="connsiteY57" fmla="*/ 247650 h 1414462"/>
                  <a:gd name="connsiteX58" fmla="*/ 431006 w 1316831"/>
                  <a:gd name="connsiteY58" fmla="*/ 247650 h 1414462"/>
                  <a:gd name="connsiteX59" fmla="*/ 490537 w 1316831"/>
                  <a:gd name="connsiteY59" fmla="*/ 233362 h 1414462"/>
                  <a:gd name="connsiteX60" fmla="*/ 540543 w 1316831"/>
                  <a:gd name="connsiteY60" fmla="*/ 259556 h 1414462"/>
                  <a:gd name="connsiteX61" fmla="*/ 588168 w 1316831"/>
                  <a:gd name="connsiteY61" fmla="*/ 292894 h 1414462"/>
                  <a:gd name="connsiteX62" fmla="*/ 602456 w 1316831"/>
                  <a:gd name="connsiteY62" fmla="*/ 297656 h 1414462"/>
                  <a:gd name="connsiteX63" fmla="*/ 635793 w 1316831"/>
                  <a:gd name="connsiteY63" fmla="*/ 245269 h 1414462"/>
                  <a:gd name="connsiteX64" fmla="*/ 685800 w 1316831"/>
                  <a:gd name="connsiteY64" fmla="*/ 280987 h 1414462"/>
                  <a:gd name="connsiteX65" fmla="*/ 733425 w 1316831"/>
                  <a:gd name="connsiteY65" fmla="*/ 271462 h 1414462"/>
                  <a:gd name="connsiteX66" fmla="*/ 766762 w 1316831"/>
                  <a:gd name="connsiteY66" fmla="*/ 280987 h 1414462"/>
                  <a:gd name="connsiteX67" fmla="*/ 750093 w 1316831"/>
                  <a:gd name="connsiteY67" fmla="*/ 250031 h 1414462"/>
                  <a:gd name="connsiteX68" fmla="*/ 790575 w 1316831"/>
                  <a:gd name="connsiteY68" fmla="*/ 228600 h 1414462"/>
                  <a:gd name="connsiteX69" fmla="*/ 826293 w 1316831"/>
                  <a:gd name="connsiteY69" fmla="*/ 192881 h 1414462"/>
                  <a:gd name="connsiteX70" fmla="*/ 862012 w 1316831"/>
                  <a:gd name="connsiteY70" fmla="*/ 209550 h 1414462"/>
                  <a:gd name="connsiteX71" fmla="*/ 885825 w 1316831"/>
                  <a:gd name="connsiteY71" fmla="*/ 245269 h 1414462"/>
                  <a:gd name="connsiteX72" fmla="*/ 945356 w 1316831"/>
                  <a:gd name="connsiteY72" fmla="*/ 240506 h 1414462"/>
                  <a:gd name="connsiteX73" fmla="*/ 938212 w 1316831"/>
                  <a:gd name="connsiteY73" fmla="*/ 280987 h 1414462"/>
                  <a:gd name="connsiteX74" fmla="*/ 1012031 w 1316831"/>
                  <a:gd name="connsiteY74" fmla="*/ 278606 h 1414462"/>
                  <a:gd name="connsiteX75" fmla="*/ 981075 w 1316831"/>
                  <a:gd name="connsiteY75" fmla="*/ 347662 h 1414462"/>
                  <a:gd name="connsiteX76" fmla="*/ 966787 w 1316831"/>
                  <a:gd name="connsiteY76" fmla="*/ 378619 h 1414462"/>
                  <a:gd name="connsiteX77" fmla="*/ 988218 w 1316831"/>
                  <a:gd name="connsiteY77" fmla="*/ 400050 h 1414462"/>
                  <a:gd name="connsiteX78" fmla="*/ 985837 w 1316831"/>
                  <a:gd name="connsiteY78" fmla="*/ 442912 h 1414462"/>
                  <a:gd name="connsiteX79" fmla="*/ 1085850 w 1316831"/>
                  <a:gd name="connsiteY79" fmla="*/ 488156 h 1414462"/>
                  <a:gd name="connsiteX80" fmla="*/ 1143000 w 1316831"/>
                  <a:gd name="connsiteY80" fmla="*/ 523875 h 1414462"/>
                  <a:gd name="connsiteX81" fmla="*/ 1181100 w 1316831"/>
                  <a:gd name="connsiteY81" fmla="*/ 528637 h 1414462"/>
                  <a:gd name="connsiteX82" fmla="*/ 1281112 w 1316831"/>
                  <a:gd name="connsiteY82" fmla="*/ 516731 h 1414462"/>
                  <a:gd name="connsiteX83" fmla="*/ 1316831 w 1316831"/>
                  <a:gd name="connsiteY83" fmla="*/ 545306 h 1414462"/>
                  <a:gd name="connsiteX84" fmla="*/ 1202531 w 1316831"/>
                  <a:gd name="connsiteY84" fmla="*/ 609600 h 1414462"/>
                  <a:gd name="connsiteX85" fmla="*/ 1221581 w 1316831"/>
                  <a:gd name="connsiteY85" fmla="*/ 633412 h 1414462"/>
                  <a:gd name="connsiteX86" fmla="*/ 1183481 w 1316831"/>
                  <a:gd name="connsiteY86" fmla="*/ 683419 h 1414462"/>
                  <a:gd name="connsiteX87" fmla="*/ 1166812 w 1316831"/>
                  <a:gd name="connsiteY87" fmla="*/ 683419 h 1414462"/>
                  <a:gd name="connsiteX88" fmla="*/ 1195387 w 1316831"/>
                  <a:gd name="connsiteY88" fmla="*/ 711994 h 1414462"/>
                  <a:gd name="connsiteX89" fmla="*/ 1150143 w 1316831"/>
                  <a:gd name="connsiteY89" fmla="*/ 723900 h 1414462"/>
                  <a:gd name="connsiteX90" fmla="*/ 1123950 w 1316831"/>
                  <a:gd name="connsiteY90" fmla="*/ 745331 h 1414462"/>
                  <a:gd name="connsiteX91" fmla="*/ 1154906 w 1316831"/>
                  <a:gd name="connsiteY91" fmla="*/ 745331 h 1414462"/>
                  <a:gd name="connsiteX92" fmla="*/ 1183481 w 1316831"/>
                  <a:gd name="connsiteY92" fmla="*/ 790575 h 1414462"/>
                  <a:gd name="connsiteX93" fmla="*/ 1223962 w 1316831"/>
                  <a:gd name="connsiteY93" fmla="*/ 828675 h 1414462"/>
                  <a:gd name="connsiteX94" fmla="*/ 1216818 w 1316831"/>
                  <a:gd name="connsiteY94" fmla="*/ 840581 h 1414462"/>
                  <a:gd name="connsiteX95" fmla="*/ 1154906 w 1316831"/>
                  <a:gd name="connsiteY95" fmla="*/ 864394 h 1414462"/>
                  <a:gd name="connsiteX96" fmla="*/ 1147762 w 1316831"/>
                  <a:gd name="connsiteY96" fmla="*/ 847725 h 1414462"/>
                  <a:gd name="connsiteX97" fmla="*/ 1102518 w 1316831"/>
                  <a:gd name="connsiteY97" fmla="*/ 895350 h 1414462"/>
                  <a:gd name="connsiteX98" fmla="*/ 1052512 w 1316831"/>
                  <a:gd name="connsiteY98" fmla="*/ 945356 h 1414462"/>
                  <a:gd name="connsiteX99" fmla="*/ 1071562 w 1316831"/>
                  <a:gd name="connsiteY99" fmla="*/ 990600 h 1414462"/>
                  <a:gd name="connsiteX100" fmla="*/ 1100137 w 1316831"/>
                  <a:gd name="connsiteY100" fmla="*/ 1000125 h 1414462"/>
                  <a:gd name="connsiteX101" fmla="*/ 1092993 w 1316831"/>
                  <a:gd name="connsiteY101" fmla="*/ 1062037 h 1414462"/>
                  <a:gd name="connsiteX102" fmla="*/ 1071562 w 1316831"/>
                  <a:gd name="connsiteY102" fmla="*/ 1112044 h 1414462"/>
                  <a:gd name="connsiteX103" fmla="*/ 1057275 w 1316831"/>
                  <a:gd name="connsiteY103" fmla="*/ 1116806 h 1414462"/>
                  <a:gd name="connsiteX104" fmla="*/ 992981 w 1316831"/>
                  <a:gd name="connsiteY104" fmla="*/ 1131094 h 1414462"/>
                  <a:gd name="connsiteX105" fmla="*/ 1002506 w 1316831"/>
                  <a:gd name="connsiteY105" fmla="*/ 1243012 h 1414462"/>
                  <a:gd name="connsiteX106" fmla="*/ 966787 w 1316831"/>
                  <a:gd name="connsiteY106" fmla="*/ 1250156 h 1414462"/>
                  <a:gd name="connsiteX107" fmla="*/ 928687 w 1316831"/>
                  <a:gd name="connsiteY107" fmla="*/ 1278731 h 1414462"/>
                  <a:gd name="connsiteX108" fmla="*/ 890587 w 1316831"/>
                  <a:gd name="connsiteY108" fmla="*/ 1271587 h 1414462"/>
                  <a:gd name="connsiteX109" fmla="*/ 873918 w 1316831"/>
                  <a:gd name="connsiteY109" fmla="*/ 1328737 h 1414462"/>
                  <a:gd name="connsiteX110" fmla="*/ 909637 w 1316831"/>
                  <a:gd name="connsiteY110" fmla="*/ 1345406 h 1414462"/>
                  <a:gd name="connsiteX111" fmla="*/ 897731 w 1316831"/>
                  <a:gd name="connsiteY111" fmla="*/ 1369219 h 1414462"/>
                  <a:gd name="connsiteX112" fmla="*/ 788193 w 1316831"/>
                  <a:gd name="connsiteY112" fmla="*/ 1402556 h 1414462"/>
                  <a:gd name="connsiteX0" fmla="*/ 788193 w 1316831"/>
                  <a:gd name="connsiteY0" fmla="*/ 1402556 h 1414462"/>
                  <a:gd name="connsiteX1" fmla="*/ 738187 w 1316831"/>
                  <a:gd name="connsiteY1" fmla="*/ 1373981 h 1414462"/>
                  <a:gd name="connsiteX2" fmla="*/ 704850 w 1316831"/>
                  <a:gd name="connsiteY2" fmla="*/ 1390650 h 1414462"/>
                  <a:gd name="connsiteX3" fmla="*/ 685800 w 1316831"/>
                  <a:gd name="connsiteY3" fmla="*/ 1409700 h 1414462"/>
                  <a:gd name="connsiteX4" fmla="*/ 657225 w 1316831"/>
                  <a:gd name="connsiteY4" fmla="*/ 1414462 h 1414462"/>
                  <a:gd name="connsiteX5" fmla="*/ 638175 w 1316831"/>
                  <a:gd name="connsiteY5" fmla="*/ 1385887 h 1414462"/>
                  <a:gd name="connsiteX6" fmla="*/ 650081 w 1316831"/>
                  <a:gd name="connsiteY6" fmla="*/ 1354931 h 1414462"/>
                  <a:gd name="connsiteX7" fmla="*/ 664368 w 1316831"/>
                  <a:gd name="connsiteY7" fmla="*/ 1371600 h 1414462"/>
                  <a:gd name="connsiteX8" fmla="*/ 690562 w 1316831"/>
                  <a:gd name="connsiteY8" fmla="*/ 1359694 h 1414462"/>
                  <a:gd name="connsiteX9" fmla="*/ 690562 w 1316831"/>
                  <a:gd name="connsiteY9" fmla="*/ 1331119 h 1414462"/>
                  <a:gd name="connsiteX10" fmla="*/ 673893 w 1316831"/>
                  <a:gd name="connsiteY10" fmla="*/ 1281112 h 1414462"/>
                  <a:gd name="connsiteX11" fmla="*/ 631031 w 1316831"/>
                  <a:gd name="connsiteY11" fmla="*/ 1238250 h 1414462"/>
                  <a:gd name="connsiteX12" fmla="*/ 595312 w 1316831"/>
                  <a:gd name="connsiteY12" fmla="*/ 1223962 h 1414462"/>
                  <a:gd name="connsiteX13" fmla="*/ 559593 w 1316831"/>
                  <a:gd name="connsiteY13" fmla="*/ 1159669 h 1414462"/>
                  <a:gd name="connsiteX14" fmla="*/ 471487 w 1316831"/>
                  <a:gd name="connsiteY14" fmla="*/ 1126331 h 1414462"/>
                  <a:gd name="connsiteX15" fmla="*/ 471487 w 1316831"/>
                  <a:gd name="connsiteY15" fmla="*/ 1085850 h 1414462"/>
                  <a:gd name="connsiteX16" fmla="*/ 485775 w 1316831"/>
                  <a:gd name="connsiteY16" fmla="*/ 1031081 h 1414462"/>
                  <a:gd name="connsiteX17" fmla="*/ 431006 w 1316831"/>
                  <a:gd name="connsiteY17" fmla="*/ 1021556 h 1414462"/>
                  <a:gd name="connsiteX18" fmla="*/ 376237 w 1316831"/>
                  <a:gd name="connsiteY18" fmla="*/ 1021556 h 1414462"/>
                  <a:gd name="connsiteX19" fmla="*/ 371475 w 1316831"/>
                  <a:gd name="connsiteY19" fmla="*/ 1045369 h 1414462"/>
                  <a:gd name="connsiteX20" fmla="*/ 347662 w 1316831"/>
                  <a:gd name="connsiteY20" fmla="*/ 1023937 h 1414462"/>
                  <a:gd name="connsiteX21" fmla="*/ 354806 w 1316831"/>
                  <a:gd name="connsiteY21" fmla="*/ 992981 h 1414462"/>
                  <a:gd name="connsiteX22" fmla="*/ 347662 w 1316831"/>
                  <a:gd name="connsiteY22" fmla="*/ 938212 h 1414462"/>
                  <a:gd name="connsiteX23" fmla="*/ 371475 w 1316831"/>
                  <a:gd name="connsiteY23" fmla="*/ 912019 h 1414462"/>
                  <a:gd name="connsiteX24" fmla="*/ 371475 w 1316831"/>
                  <a:gd name="connsiteY24" fmla="*/ 888206 h 1414462"/>
                  <a:gd name="connsiteX25" fmla="*/ 381000 w 1316831"/>
                  <a:gd name="connsiteY25" fmla="*/ 821531 h 1414462"/>
                  <a:gd name="connsiteX26" fmla="*/ 364331 w 1316831"/>
                  <a:gd name="connsiteY26" fmla="*/ 771525 h 1414462"/>
                  <a:gd name="connsiteX27" fmla="*/ 314325 w 1316831"/>
                  <a:gd name="connsiteY27" fmla="*/ 692944 h 1414462"/>
                  <a:gd name="connsiteX28" fmla="*/ 280987 w 1316831"/>
                  <a:gd name="connsiteY28" fmla="*/ 654844 h 1414462"/>
                  <a:gd name="connsiteX29" fmla="*/ 257175 w 1316831"/>
                  <a:gd name="connsiteY29" fmla="*/ 585787 h 1414462"/>
                  <a:gd name="connsiteX30" fmla="*/ 264318 w 1316831"/>
                  <a:gd name="connsiteY30" fmla="*/ 419100 h 1414462"/>
                  <a:gd name="connsiteX31" fmla="*/ 235743 w 1316831"/>
                  <a:gd name="connsiteY31" fmla="*/ 371475 h 1414462"/>
                  <a:gd name="connsiteX32" fmla="*/ 204787 w 1316831"/>
                  <a:gd name="connsiteY32" fmla="*/ 350044 h 1414462"/>
                  <a:gd name="connsiteX33" fmla="*/ 190500 w 1316831"/>
                  <a:gd name="connsiteY33" fmla="*/ 304800 h 1414462"/>
                  <a:gd name="connsiteX34" fmla="*/ 164306 w 1316831"/>
                  <a:gd name="connsiteY34" fmla="*/ 280987 h 1414462"/>
                  <a:gd name="connsiteX35" fmla="*/ 138112 w 1316831"/>
                  <a:gd name="connsiteY35" fmla="*/ 264319 h 1414462"/>
                  <a:gd name="connsiteX36" fmla="*/ 116681 w 1316831"/>
                  <a:gd name="connsiteY36" fmla="*/ 273844 h 1414462"/>
                  <a:gd name="connsiteX37" fmla="*/ 88106 w 1316831"/>
                  <a:gd name="connsiteY37" fmla="*/ 264319 h 1414462"/>
                  <a:gd name="connsiteX38" fmla="*/ 95250 w 1316831"/>
                  <a:gd name="connsiteY38" fmla="*/ 223837 h 1414462"/>
                  <a:gd name="connsiteX39" fmla="*/ 130968 w 1316831"/>
                  <a:gd name="connsiteY39" fmla="*/ 216694 h 1414462"/>
                  <a:gd name="connsiteX40" fmla="*/ 109537 w 1316831"/>
                  <a:gd name="connsiteY40" fmla="*/ 178594 h 1414462"/>
                  <a:gd name="connsiteX41" fmla="*/ 69056 w 1316831"/>
                  <a:gd name="connsiteY41" fmla="*/ 178594 h 1414462"/>
                  <a:gd name="connsiteX42" fmla="*/ 61912 w 1316831"/>
                  <a:gd name="connsiteY42" fmla="*/ 133350 h 1414462"/>
                  <a:gd name="connsiteX43" fmla="*/ 21431 w 1316831"/>
                  <a:gd name="connsiteY43" fmla="*/ 100012 h 1414462"/>
                  <a:gd name="connsiteX44" fmla="*/ 0 w 1316831"/>
                  <a:gd name="connsiteY44" fmla="*/ 61912 h 1414462"/>
                  <a:gd name="connsiteX45" fmla="*/ 42862 w 1316831"/>
                  <a:gd name="connsiteY45" fmla="*/ 40481 h 1414462"/>
                  <a:gd name="connsiteX46" fmla="*/ 64293 w 1316831"/>
                  <a:gd name="connsiteY46" fmla="*/ 0 h 1414462"/>
                  <a:gd name="connsiteX47" fmla="*/ 147637 w 1316831"/>
                  <a:gd name="connsiteY47" fmla="*/ 7144 h 1414462"/>
                  <a:gd name="connsiteX48" fmla="*/ 152400 w 1316831"/>
                  <a:gd name="connsiteY48" fmla="*/ 45244 h 1414462"/>
                  <a:gd name="connsiteX49" fmla="*/ 171450 w 1316831"/>
                  <a:gd name="connsiteY49" fmla="*/ 83344 h 1414462"/>
                  <a:gd name="connsiteX50" fmla="*/ 276225 w 1316831"/>
                  <a:gd name="connsiteY50" fmla="*/ 130969 h 1414462"/>
                  <a:gd name="connsiteX51" fmla="*/ 316706 w 1316831"/>
                  <a:gd name="connsiteY51" fmla="*/ 140494 h 1414462"/>
                  <a:gd name="connsiteX52" fmla="*/ 350043 w 1316831"/>
                  <a:gd name="connsiteY52" fmla="*/ 169069 h 1414462"/>
                  <a:gd name="connsiteX53" fmla="*/ 390525 w 1316831"/>
                  <a:gd name="connsiteY53" fmla="*/ 192881 h 1414462"/>
                  <a:gd name="connsiteX54" fmla="*/ 411956 w 1316831"/>
                  <a:gd name="connsiteY54" fmla="*/ 223837 h 1414462"/>
                  <a:gd name="connsiteX55" fmla="*/ 416718 w 1316831"/>
                  <a:gd name="connsiteY55" fmla="*/ 230981 h 1414462"/>
                  <a:gd name="connsiteX56" fmla="*/ 423862 w 1316831"/>
                  <a:gd name="connsiteY56" fmla="*/ 240506 h 1414462"/>
                  <a:gd name="connsiteX57" fmla="*/ 431006 w 1316831"/>
                  <a:gd name="connsiteY57" fmla="*/ 247650 h 1414462"/>
                  <a:gd name="connsiteX58" fmla="*/ 431006 w 1316831"/>
                  <a:gd name="connsiteY58" fmla="*/ 247650 h 1414462"/>
                  <a:gd name="connsiteX59" fmla="*/ 490537 w 1316831"/>
                  <a:gd name="connsiteY59" fmla="*/ 233362 h 1414462"/>
                  <a:gd name="connsiteX60" fmla="*/ 540543 w 1316831"/>
                  <a:gd name="connsiteY60" fmla="*/ 259556 h 1414462"/>
                  <a:gd name="connsiteX61" fmla="*/ 588168 w 1316831"/>
                  <a:gd name="connsiteY61" fmla="*/ 292894 h 1414462"/>
                  <a:gd name="connsiteX62" fmla="*/ 602456 w 1316831"/>
                  <a:gd name="connsiteY62" fmla="*/ 297656 h 1414462"/>
                  <a:gd name="connsiteX63" fmla="*/ 635793 w 1316831"/>
                  <a:gd name="connsiteY63" fmla="*/ 245269 h 1414462"/>
                  <a:gd name="connsiteX64" fmla="*/ 685800 w 1316831"/>
                  <a:gd name="connsiteY64" fmla="*/ 280987 h 1414462"/>
                  <a:gd name="connsiteX65" fmla="*/ 733425 w 1316831"/>
                  <a:gd name="connsiteY65" fmla="*/ 271462 h 1414462"/>
                  <a:gd name="connsiteX66" fmla="*/ 766762 w 1316831"/>
                  <a:gd name="connsiteY66" fmla="*/ 280987 h 1414462"/>
                  <a:gd name="connsiteX67" fmla="*/ 750093 w 1316831"/>
                  <a:gd name="connsiteY67" fmla="*/ 250031 h 1414462"/>
                  <a:gd name="connsiteX68" fmla="*/ 790575 w 1316831"/>
                  <a:gd name="connsiteY68" fmla="*/ 228600 h 1414462"/>
                  <a:gd name="connsiteX69" fmla="*/ 826293 w 1316831"/>
                  <a:gd name="connsiteY69" fmla="*/ 192881 h 1414462"/>
                  <a:gd name="connsiteX70" fmla="*/ 862012 w 1316831"/>
                  <a:gd name="connsiteY70" fmla="*/ 209550 h 1414462"/>
                  <a:gd name="connsiteX71" fmla="*/ 885825 w 1316831"/>
                  <a:gd name="connsiteY71" fmla="*/ 245269 h 1414462"/>
                  <a:gd name="connsiteX72" fmla="*/ 945356 w 1316831"/>
                  <a:gd name="connsiteY72" fmla="*/ 240506 h 1414462"/>
                  <a:gd name="connsiteX73" fmla="*/ 938212 w 1316831"/>
                  <a:gd name="connsiteY73" fmla="*/ 280987 h 1414462"/>
                  <a:gd name="connsiteX74" fmla="*/ 1012031 w 1316831"/>
                  <a:gd name="connsiteY74" fmla="*/ 278606 h 1414462"/>
                  <a:gd name="connsiteX75" fmla="*/ 981075 w 1316831"/>
                  <a:gd name="connsiteY75" fmla="*/ 347662 h 1414462"/>
                  <a:gd name="connsiteX76" fmla="*/ 966787 w 1316831"/>
                  <a:gd name="connsiteY76" fmla="*/ 378619 h 1414462"/>
                  <a:gd name="connsiteX77" fmla="*/ 988218 w 1316831"/>
                  <a:gd name="connsiteY77" fmla="*/ 400050 h 1414462"/>
                  <a:gd name="connsiteX78" fmla="*/ 985837 w 1316831"/>
                  <a:gd name="connsiteY78" fmla="*/ 442912 h 1414462"/>
                  <a:gd name="connsiteX79" fmla="*/ 1085850 w 1316831"/>
                  <a:gd name="connsiteY79" fmla="*/ 488156 h 1414462"/>
                  <a:gd name="connsiteX80" fmla="*/ 1143000 w 1316831"/>
                  <a:gd name="connsiteY80" fmla="*/ 523875 h 1414462"/>
                  <a:gd name="connsiteX81" fmla="*/ 1181100 w 1316831"/>
                  <a:gd name="connsiteY81" fmla="*/ 528637 h 1414462"/>
                  <a:gd name="connsiteX82" fmla="*/ 1281112 w 1316831"/>
                  <a:gd name="connsiteY82" fmla="*/ 516731 h 1414462"/>
                  <a:gd name="connsiteX83" fmla="*/ 1316831 w 1316831"/>
                  <a:gd name="connsiteY83" fmla="*/ 545306 h 1414462"/>
                  <a:gd name="connsiteX84" fmla="*/ 1202531 w 1316831"/>
                  <a:gd name="connsiteY84" fmla="*/ 609600 h 1414462"/>
                  <a:gd name="connsiteX85" fmla="*/ 1221581 w 1316831"/>
                  <a:gd name="connsiteY85" fmla="*/ 633412 h 1414462"/>
                  <a:gd name="connsiteX86" fmla="*/ 1183481 w 1316831"/>
                  <a:gd name="connsiteY86" fmla="*/ 683419 h 1414462"/>
                  <a:gd name="connsiteX87" fmla="*/ 1166812 w 1316831"/>
                  <a:gd name="connsiteY87" fmla="*/ 683419 h 1414462"/>
                  <a:gd name="connsiteX88" fmla="*/ 1195387 w 1316831"/>
                  <a:gd name="connsiteY88" fmla="*/ 711994 h 1414462"/>
                  <a:gd name="connsiteX89" fmla="*/ 1150143 w 1316831"/>
                  <a:gd name="connsiteY89" fmla="*/ 723900 h 1414462"/>
                  <a:gd name="connsiteX90" fmla="*/ 1123950 w 1316831"/>
                  <a:gd name="connsiteY90" fmla="*/ 745331 h 1414462"/>
                  <a:gd name="connsiteX91" fmla="*/ 1154906 w 1316831"/>
                  <a:gd name="connsiteY91" fmla="*/ 745331 h 1414462"/>
                  <a:gd name="connsiteX92" fmla="*/ 1183481 w 1316831"/>
                  <a:gd name="connsiteY92" fmla="*/ 790575 h 1414462"/>
                  <a:gd name="connsiteX93" fmla="*/ 1223962 w 1316831"/>
                  <a:gd name="connsiteY93" fmla="*/ 828675 h 1414462"/>
                  <a:gd name="connsiteX94" fmla="*/ 1216818 w 1316831"/>
                  <a:gd name="connsiteY94" fmla="*/ 840581 h 1414462"/>
                  <a:gd name="connsiteX95" fmla="*/ 1154906 w 1316831"/>
                  <a:gd name="connsiteY95" fmla="*/ 864394 h 1414462"/>
                  <a:gd name="connsiteX96" fmla="*/ 1147762 w 1316831"/>
                  <a:gd name="connsiteY96" fmla="*/ 847725 h 1414462"/>
                  <a:gd name="connsiteX97" fmla="*/ 1102518 w 1316831"/>
                  <a:gd name="connsiteY97" fmla="*/ 895350 h 1414462"/>
                  <a:gd name="connsiteX98" fmla="*/ 1052512 w 1316831"/>
                  <a:gd name="connsiteY98" fmla="*/ 945356 h 1414462"/>
                  <a:gd name="connsiteX99" fmla="*/ 1071562 w 1316831"/>
                  <a:gd name="connsiteY99" fmla="*/ 990600 h 1414462"/>
                  <a:gd name="connsiteX100" fmla="*/ 1100137 w 1316831"/>
                  <a:gd name="connsiteY100" fmla="*/ 1000125 h 1414462"/>
                  <a:gd name="connsiteX101" fmla="*/ 1092993 w 1316831"/>
                  <a:gd name="connsiteY101" fmla="*/ 1062037 h 1414462"/>
                  <a:gd name="connsiteX102" fmla="*/ 1071562 w 1316831"/>
                  <a:gd name="connsiteY102" fmla="*/ 1112044 h 1414462"/>
                  <a:gd name="connsiteX103" fmla="*/ 1057275 w 1316831"/>
                  <a:gd name="connsiteY103" fmla="*/ 1116806 h 1414462"/>
                  <a:gd name="connsiteX104" fmla="*/ 992981 w 1316831"/>
                  <a:gd name="connsiteY104" fmla="*/ 1131094 h 1414462"/>
                  <a:gd name="connsiteX105" fmla="*/ 1002506 w 1316831"/>
                  <a:gd name="connsiteY105" fmla="*/ 1243012 h 1414462"/>
                  <a:gd name="connsiteX106" fmla="*/ 966787 w 1316831"/>
                  <a:gd name="connsiteY106" fmla="*/ 1250156 h 1414462"/>
                  <a:gd name="connsiteX107" fmla="*/ 928687 w 1316831"/>
                  <a:gd name="connsiteY107" fmla="*/ 1278731 h 1414462"/>
                  <a:gd name="connsiteX108" fmla="*/ 890587 w 1316831"/>
                  <a:gd name="connsiteY108" fmla="*/ 1271587 h 1414462"/>
                  <a:gd name="connsiteX109" fmla="*/ 873918 w 1316831"/>
                  <a:gd name="connsiteY109" fmla="*/ 1328737 h 1414462"/>
                  <a:gd name="connsiteX110" fmla="*/ 909637 w 1316831"/>
                  <a:gd name="connsiteY110" fmla="*/ 1345406 h 1414462"/>
                  <a:gd name="connsiteX111" fmla="*/ 897731 w 1316831"/>
                  <a:gd name="connsiteY111" fmla="*/ 1369219 h 1414462"/>
                  <a:gd name="connsiteX112" fmla="*/ 788193 w 1316831"/>
                  <a:gd name="connsiteY112" fmla="*/ 1402556 h 1414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1316831" h="1414462">
                    <a:moveTo>
                      <a:pt x="788193" y="1402556"/>
                    </a:moveTo>
                    <a:lnTo>
                      <a:pt x="738187" y="1373981"/>
                    </a:lnTo>
                    <a:lnTo>
                      <a:pt x="704850" y="1390650"/>
                    </a:lnTo>
                    <a:lnTo>
                      <a:pt x="685800" y="1409700"/>
                    </a:lnTo>
                    <a:lnTo>
                      <a:pt x="657225" y="1414462"/>
                    </a:lnTo>
                    <a:lnTo>
                      <a:pt x="638175" y="1385887"/>
                    </a:lnTo>
                    <a:lnTo>
                      <a:pt x="650081" y="1354931"/>
                    </a:lnTo>
                    <a:lnTo>
                      <a:pt x="664368" y="1371600"/>
                    </a:lnTo>
                    <a:lnTo>
                      <a:pt x="690562" y="1359694"/>
                    </a:lnTo>
                    <a:lnTo>
                      <a:pt x="690562" y="1331119"/>
                    </a:lnTo>
                    <a:lnTo>
                      <a:pt x="673893" y="1281112"/>
                    </a:lnTo>
                    <a:lnTo>
                      <a:pt x="631031" y="1238250"/>
                    </a:lnTo>
                    <a:lnTo>
                      <a:pt x="595312" y="1223962"/>
                    </a:lnTo>
                    <a:lnTo>
                      <a:pt x="559593" y="1159669"/>
                    </a:lnTo>
                    <a:lnTo>
                      <a:pt x="471487" y="1126331"/>
                    </a:lnTo>
                    <a:lnTo>
                      <a:pt x="471487" y="1085850"/>
                    </a:lnTo>
                    <a:lnTo>
                      <a:pt x="485775" y="1031081"/>
                    </a:lnTo>
                    <a:lnTo>
                      <a:pt x="431006" y="1021556"/>
                    </a:lnTo>
                    <a:lnTo>
                      <a:pt x="376237" y="1021556"/>
                    </a:lnTo>
                    <a:lnTo>
                      <a:pt x="371475" y="1045369"/>
                    </a:lnTo>
                    <a:lnTo>
                      <a:pt x="347662" y="1023937"/>
                    </a:lnTo>
                    <a:lnTo>
                      <a:pt x="354806" y="992981"/>
                    </a:lnTo>
                    <a:lnTo>
                      <a:pt x="347662" y="938212"/>
                    </a:lnTo>
                    <a:lnTo>
                      <a:pt x="371475" y="912019"/>
                    </a:lnTo>
                    <a:lnTo>
                      <a:pt x="371475" y="888206"/>
                    </a:lnTo>
                    <a:lnTo>
                      <a:pt x="381000" y="821531"/>
                    </a:lnTo>
                    <a:lnTo>
                      <a:pt x="364331" y="771525"/>
                    </a:lnTo>
                    <a:lnTo>
                      <a:pt x="314325" y="692944"/>
                    </a:lnTo>
                    <a:lnTo>
                      <a:pt x="280987" y="654844"/>
                    </a:lnTo>
                    <a:lnTo>
                      <a:pt x="257175" y="585787"/>
                    </a:lnTo>
                    <a:lnTo>
                      <a:pt x="264318" y="419100"/>
                    </a:lnTo>
                    <a:lnTo>
                      <a:pt x="235743" y="371475"/>
                    </a:lnTo>
                    <a:lnTo>
                      <a:pt x="204787" y="350044"/>
                    </a:lnTo>
                    <a:lnTo>
                      <a:pt x="190500" y="304800"/>
                    </a:lnTo>
                    <a:lnTo>
                      <a:pt x="164306" y="280987"/>
                    </a:lnTo>
                    <a:lnTo>
                      <a:pt x="138112" y="264319"/>
                    </a:lnTo>
                    <a:lnTo>
                      <a:pt x="116681" y="273844"/>
                    </a:lnTo>
                    <a:lnTo>
                      <a:pt x="88106" y="264319"/>
                    </a:lnTo>
                    <a:lnTo>
                      <a:pt x="95250" y="223837"/>
                    </a:lnTo>
                    <a:lnTo>
                      <a:pt x="130968" y="216694"/>
                    </a:lnTo>
                    <a:lnTo>
                      <a:pt x="109537" y="178594"/>
                    </a:lnTo>
                    <a:lnTo>
                      <a:pt x="69056" y="178594"/>
                    </a:lnTo>
                    <a:lnTo>
                      <a:pt x="61912" y="133350"/>
                    </a:lnTo>
                    <a:lnTo>
                      <a:pt x="21431" y="100012"/>
                    </a:lnTo>
                    <a:lnTo>
                      <a:pt x="0" y="61912"/>
                    </a:lnTo>
                    <a:lnTo>
                      <a:pt x="42862" y="40481"/>
                    </a:lnTo>
                    <a:lnTo>
                      <a:pt x="64293" y="0"/>
                    </a:lnTo>
                    <a:lnTo>
                      <a:pt x="147637" y="7144"/>
                    </a:lnTo>
                    <a:lnTo>
                      <a:pt x="152400" y="45244"/>
                    </a:lnTo>
                    <a:lnTo>
                      <a:pt x="171450" y="83344"/>
                    </a:lnTo>
                    <a:lnTo>
                      <a:pt x="276225" y="130969"/>
                    </a:lnTo>
                    <a:lnTo>
                      <a:pt x="316706" y="140494"/>
                    </a:lnTo>
                    <a:lnTo>
                      <a:pt x="350043" y="169069"/>
                    </a:lnTo>
                    <a:lnTo>
                      <a:pt x="390525" y="192881"/>
                    </a:lnTo>
                    <a:lnTo>
                      <a:pt x="411956" y="223837"/>
                    </a:lnTo>
                    <a:cubicBezTo>
                      <a:pt x="413577" y="226195"/>
                      <a:pt x="415001" y="228692"/>
                      <a:pt x="416718" y="230981"/>
                    </a:cubicBezTo>
                    <a:cubicBezTo>
                      <a:pt x="419099" y="234156"/>
                      <a:pt x="421279" y="237493"/>
                      <a:pt x="423862" y="240506"/>
                    </a:cubicBezTo>
                    <a:cubicBezTo>
                      <a:pt x="426054" y="243063"/>
                      <a:pt x="431006" y="247650"/>
                      <a:pt x="431006" y="247650"/>
                    </a:cubicBezTo>
                    <a:lnTo>
                      <a:pt x="431006" y="247650"/>
                    </a:lnTo>
                    <a:lnTo>
                      <a:pt x="490537" y="233362"/>
                    </a:lnTo>
                    <a:lnTo>
                      <a:pt x="540543" y="259556"/>
                    </a:lnTo>
                    <a:lnTo>
                      <a:pt x="588168" y="292894"/>
                    </a:lnTo>
                    <a:lnTo>
                      <a:pt x="602456" y="297656"/>
                    </a:lnTo>
                    <a:lnTo>
                      <a:pt x="635793" y="245269"/>
                    </a:lnTo>
                    <a:lnTo>
                      <a:pt x="685800" y="280987"/>
                    </a:lnTo>
                    <a:lnTo>
                      <a:pt x="733425" y="271462"/>
                    </a:lnTo>
                    <a:lnTo>
                      <a:pt x="766762" y="280987"/>
                    </a:lnTo>
                    <a:lnTo>
                      <a:pt x="750093" y="250031"/>
                    </a:lnTo>
                    <a:lnTo>
                      <a:pt x="790575" y="228600"/>
                    </a:lnTo>
                    <a:lnTo>
                      <a:pt x="826293" y="192881"/>
                    </a:lnTo>
                    <a:lnTo>
                      <a:pt x="862012" y="209550"/>
                    </a:lnTo>
                    <a:lnTo>
                      <a:pt x="885825" y="245269"/>
                    </a:lnTo>
                    <a:lnTo>
                      <a:pt x="945356" y="240506"/>
                    </a:lnTo>
                    <a:lnTo>
                      <a:pt x="938212" y="280987"/>
                    </a:lnTo>
                    <a:lnTo>
                      <a:pt x="1012031" y="278606"/>
                    </a:lnTo>
                    <a:lnTo>
                      <a:pt x="981075" y="347662"/>
                    </a:lnTo>
                    <a:lnTo>
                      <a:pt x="966787" y="378619"/>
                    </a:lnTo>
                    <a:lnTo>
                      <a:pt x="988218" y="400050"/>
                    </a:lnTo>
                    <a:lnTo>
                      <a:pt x="985837" y="442912"/>
                    </a:lnTo>
                    <a:lnTo>
                      <a:pt x="1085850" y="488156"/>
                    </a:lnTo>
                    <a:lnTo>
                      <a:pt x="1143000" y="523875"/>
                    </a:lnTo>
                    <a:lnTo>
                      <a:pt x="1181100" y="528637"/>
                    </a:lnTo>
                    <a:lnTo>
                      <a:pt x="1281112" y="516731"/>
                    </a:lnTo>
                    <a:lnTo>
                      <a:pt x="1316831" y="545306"/>
                    </a:lnTo>
                    <a:lnTo>
                      <a:pt x="1202531" y="609600"/>
                    </a:lnTo>
                    <a:lnTo>
                      <a:pt x="1221581" y="633412"/>
                    </a:lnTo>
                    <a:lnTo>
                      <a:pt x="1183481" y="683419"/>
                    </a:lnTo>
                    <a:lnTo>
                      <a:pt x="1166812" y="683419"/>
                    </a:lnTo>
                    <a:lnTo>
                      <a:pt x="1195387" y="711994"/>
                    </a:lnTo>
                    <a:lnTo>
                      <a:pt x="1150143" y="723900"/>
                    </a:lnTo>
                    <a:lnTo>
                      <a:pt x="1123950" y="745331"/>
                    </a:lnTo>
                    <a:lnTo>
                      <a:pt x="1154906" y="745331"/>
                    </a:lnTo>
                    <a:lnTo>
                      <a:pt x="1183481" y="790575"/>
                    </a:lnTo>
                    <a:lnTo>
                      <a:pt x="1223962" y="828675"/>
                    </a:lnTo>
                    <a:lnTo>
                      <a:pt x="1216818" y="840581"/>
                    </a:lnTo>
                    <a:lnTo>
                      <a:pt x="1154906" y="864394"/>
                    </a:lnTo>
                    <a:lnTo>
                      <a:pt x="1147762" y="847725"/>
                    </a:lnTo>
                    <a:lnTo>
                      <a:pt x="1102518" y="895350"/>
                    </a:lnTo>
                    <a:lnTo>
                      <a:pt x="1052512" y="945356"/>
                    </a:lnTo>
                    <a:lnTo>
                      <a:pt x="1071562" y="990600"/>
                    </a:lnTo>
                    <a:lnTo>
                      <a:pt x="1100137" y="1000125"/>
                    </a:lnTo>
                    <a:lnTo>
                      <a:pt x="1092993" y="1062037"/>
                    </a:lnTo>
                    <a:lnTo>
                      <a:pt x="1071562" y="1112044"/>
                    </a:lnTo>
                    <a:lnTo>
                      <a:pt x="1057275" y="1116806"/>
                    </a:lnTo>
                    <a:lnTo>
                      <a:pt x="992981" y="1131094"/>
                    </a:lnTo>
                    <a:lnTo>
                      <a:pt x="1002506" y="1243012"/>
                    </a:lnTo>
                    <a:lnTo>
                      <a:pt x="966787" y="1250156"/>
                    </a:lnTo>
                    <a:lnTo>
                      <a:pt x="928687" y="1278731"/>
                    </a:lnTo>
                    <a:lnTo>
                      <a:pt x="890587" y="1271587"/>
                    </a:lnTo>
                    <a:lnTo>
                      <a:pt x="873918" y="1328737"/>
                    </a:lnTo>
                    <a:lnTo>
                      <a:pt x="909637" y="1345406"/>
                    </a:lnTo>
                    <a:lnTo>
                      <a:pt x="897731" y="1369219"/>
                    </a:lnTo>
                    <a:lnTo>
                      <a:pt x="788193" y="14025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7" name="Figura a mano libera 246"/>
              <p:cNvSpPr/>
              <p:nvPr/>
            </p:nvSpPr>
            <p:spPr bwMode="auto">
              <a:xfrm>
                <a:off x="2797427" y="2769796"/>
                <a:ext cx="1060679" cy="855860"/>
              </a:xfrm>
              <a:custGeom>
                <a:avLst/>
                <a:gdLst>
                  <a:gd name="connsiteX0" fmla="*/ 1190625 w 1319213"/>
                  <a:gd name="connsiteY0" fmla="*/ 1078706 h 1095375"/>
                  <a:gd name="connsiteX1" fmla="*/ 1121569 w 1319213"/>
                  <a:gd name="connsiteY1" fmla="*/ 1052512 h 1095375"/>
                  <a:gd name="connsiteX2" fmla="*/ 1102519 w 1319213"/>
                  <a:gd name="connsiteY2" fmla="*/ 1059656 h 1095375"/>
                  <a:gd name="connsiteX3" fmla="*/ 1092994 w 1319213"/>
                  <a:gd name="connsiteY3" fmla="*/ 1064419 h 1095375"/>
                  <a:gd name="connsiteX4" fmla="*/ 1090613 w 1319213"/>
                  <a:gd name="connsiteY4" fmla="*/ 1095375 h 1095375"/>
                  <a:gd name="connsiteX5" fmla="*/ 1090613 w 1319213"/>
                  <a:gd name="connsiteY5" fmla="*/ 1095375 h 1095375"/>
                  <a:gd name="connsiteX6" fmla="*/ 990600 w 1319213"/>
                  <a:gd name="connsiteY6" fmla="*/ 1045369 h 1095375"/>
                  <a:gd name="connsiteX7" fmla="*/ 942975 w 1319213"/>
                  <a:gd name="connsiteY7" fmla="*/ 1045369 h 1095375"/>
                  <a:gd name="connsiteX8" fmla="*/ 904875 w 1319213"/>
                  <a:gd name="connsiteY8" fmla="*/ 1038225 h 1095375"/>
                  <a:gd name="connsiteX9" fmla="*/ 866775 w 1319213"/>
                  <a:gd name="connsiteY9" fmla="*/ 1062037 h 1095375"/>
                  <a:gd name="connsiteX10" fmla="*/ 823913 w 1319213"/>
                  <a:gd name="connsiteY10" fmla="*/ 1092994 h 1095375"/>
                  <a:gd name="connsiteX11" fmla="*/ 802481 w 1319213"/>
                  <a:gd name="connsiteY11" fmla="*/ 1062037 h 1095375"/>
                  <a:gd name="connsiteX12" fmla="*/ 781050 w 1319213"/>
                  <a:gd name="connsiteY12" fmla="*/ 997744 h 1095375"/>
                  <a:gd name="connsiteX13" fmla="*/ 711994 w 1319213"/>
                  <a:gd name="connsiteY13" fmla="*/ 954881 h 1095375"/>
                  <a:gd name="connsiteX14" fmla="*/ 685800 w 1319213"/>
                  <a:gd name="connsiteY14" fmla="*/ 950119 h 1095375"/>
                  <a:gd name="connsiteX15" fmla="*/ 664369 w 1319213"/>
                  <a:gd name="connsiteY15" fmla="*/ 971550 h 1095375"/>
                  <a:gd name="connsiteX16" fmla="*/ 621506 w 1319213"/>
                  <a:gd name="connsiteY16" fmla="*/ 919162 h 1095375"/>
                  <a:gd name="connsiteX17" fmla="*/ 592931 w 1319213"/>
                  <a:gd name="connsiteY17" fmla="*/ 933450 h 1095375"/>
                  <a:gd name="connsiteX18" fmla="*/ 542925 w 1319213"/>
                  <a:gd name="connsiteY18" fmla="*/ 852487 h 1095375"/>
                  <a:gd name="connsiteX19" fmla="*/ 457200 w 1319213"/>
                  <a:gd name="connsiteY19" fmla="*/ 754856 h 1095375"/>
                  <a:gd name="connsiteX20" fmla="*/ 383381 w 1319213"/>
                  <a:gd name="connsiteY20" fmla="*/ 726281 h 1095375"/>
                  <a:gd name="connsiteX21" fmla="*/ 395288 w 1319213"/>
                  <a:gd name="connsiteY21" fmla="*/ 690562 h 1095375"/>
                  <a:gd name="connsiteX22" fmla="*/ 378619 w 1319213"/>
                  <a:gd name="connsiteY22" fmla="*/ 652462 h 1095375"/>
                  <a:gd name="connsiteX23" fmla="*/ 342900 w 1319213"/>
                  <a:gd name="connsiteY23" fmla="*/ 602456 h 1095375"/>
                  <a:gd name="connsiteX24" fmla="*/ 266700 w 1319213"/>
                  <a:gd name="connsiteY24" fmla="*/ 545306 h 1095375"/>
                  <a:gd name="connsiteX25" fmla="*/ 226219 w 1319213"/>
                  <a:gd name="connsiteY25" fmla="*/ 521494 h 1095375"/>
                  <a:gd name="connsiteX26" fmla="*/ 197644 w 1319213"/>
                  <a:gd name="connsiteY26" fmla="*/ 545306 h 1095375"/>
                  <a:gd name="connsiteX27" fmla="*/ 152400 w 1319213"/>
                  <a:gd name="connsiteY27" fmla="*/ 431006 h 1095375"/>
                  <a:gd name="connsiteX28" fmla="*/ 142875 w 1319213"/>
                  <a:gd name="connsiteY28" fmla="*/ 395287 h 1095375"/>
                  <a:gd name="connsiteX29" fmla="*/ 85725 w 1319213"/>
                  <a:gd name="connsiteY29" fmla="*/ 328612 h 1095375"/>
                  <a:gd name="connsiteX30" fmla="*/ 11906 w 1319213"/>
                  <a:gd name="connsiteY30" fmla="*/ 304800 h 1095375"/>
                  <a:gd name="connsiteX31" fmla="*/ 0 w 1319213"/>
                  <a:gd name="connsiteY31" fmla="*/ 283369 h 1095375"/>
                  <a:gd name="connsiteX32" fmla="*/ 23813 w 1319213"/>
                  <a:gd name="connsiteY32" fmla="*/ 259556 h 1095375"/>
                  <a:gd name="connsiteX33" fmla="*/ 83344 w 1319213"/>
                  <a:gd name="connsiteY33" fmla="*/ 264319 h 1095375"/>
                  <a:gd name="connsiteX34" fmla="*/ 95250 w 1319213"/>
                  <a:gd name="connsiteY34" fmla="*/ 247650 h 1095375"/>
                  <a:gd name="connsiteX35" fmla="*/ 104775 w 1319213"/>
                  <a:gd name="connsiteY35" fmla="*/ 226219 h 1095375"/>
                  <a:gd name="connsiteX36" fmla="*/ 73819 w 1319213"/>
                  <a:gd name="connsiteY36" fmla="*/ 204787 h 1095375"/>
                  <a:gd name="connsiteX37" fmla="*/ 78581 w 1319213"/>
                  <a:gd name="connsiteY37" fmla="*/ 171450 h 1095375"/>
                  <a:gd name="connsiteX38" fmla="*/ 119063 w 1319213"/>
                  <a:gd name="connsiteY38" fmla="*/ 171450 h 1095375"/>
                  <a:gd name="connsiteX39" fmla="*/ 161925 w 1319213"/>
                  <a:gd name="connsiteY39" fmla="*/ 142875 h 1095375"/>
                  <a:gd name="connsiteX40" fmla="*/ 173831 w 1319213"/>
                  <a:gd name="connsiteY40" fmla="*/ 133350 h 1095375"/>
                  <a:gd name="connsiteX41" fmla="*/ 200025 w 1319213"/>
                  <a:gd name="connsiteY41" fmla="*/ 133350 h 1095375"/>
                  <a:gd name="connsiteX42" fmla="*/ 190500 w 1319213"/>
                  <a:gd name="connsiteY42" fmla="*/ 78581 h 1095375"/>
                  <a:gd name="connsiteX43" fmla="*/ 180975 w 1319213"/>
                  <a:gd name="connsiteY43" fmla="*/ 45244 h 1095375"/>
                  <a:gd name="connsiteX44" fmla="*/ 180975 w 1319213"/>
                  <a:gd name="connsiteY44" fmla="*/ 14287 h 1095375"/>
                  <a:gd name="connsiteX45" fmla="*/ 226219 w 1319213"/>
                  <a:gd name="connsiteY45" fmla="*/ 4762 h 1095375"/>
                  <a:gd name="connsiteX46" fmla="*/ 259556 w 1319213"/>
                  <a:gd name="connsiteY46" fmla="*/ 0 h 1095375"/>
                  <a:gd name="connsiteX47" fmla="*/ 264319 w 1319213"/>
                  <a:gd name="connsiteY47" fmla="*/ 28575 h 1095375"/>
                  <a:gd name="connsiteX48" fmla="*/ 273844 w 1319213"/>
                  <a:gd name="connsiteY48" fmla="*/ 64294 h 1095375"/>
                  <a:gd name="connsiteX49" fmla="*/ 292894 w 1319213"/>
                  <a:gd name="connsiteY49" fmla="*/ 66675 h 1095375"/>
                  <a:gd name="connsiteX50" fmla="*/ 264319 w 1319213"/>
                  <a:gd name="connsiteY50" fmla="*/ 97631 h 1095375"/>
                  <a:gd name="connsiteX51" fmla="*/ 307181 w 1319213"/>
                  <a:gd name="connsiteY51" fmla="*/ 114300 h 1095375"/>
                  <a:gd name="connsiteX52" fmla="*/ 314325 w 1319213"/>
                  <a:gd name="connsiteY52" fmla="*/ 138112 h 1095375"/>
                  <a:gd name="connsiteX53" fmla="*/ 342900 w 1319213"/>
                  <a:gd name="connsiteY53" fmla="*/ 119062 h 1095375"/>
                  <a:gd name="connsiteX54" fmla="*/ 373856 w 1319213"/>
                  <a:gd name="connsiteY54" fmla="*/ 126206 h 1095375"/>
                  <a:gd name="connsiteX55" fmla="*/ 392906 w 1319213"/>
                  <a:gd name="connsiteY55" fmla="*/ 97631 h 1095375"/>
                  <a:gd name="connsiteX56" fmla="*/ 419100 w 1319213"/>
                  <a:gd name="connsiteY56" fmla="*/ 126206 h 1095375"/>
                  <a:gd name="connsiteX57" fmla="*/ 416719 w 1319213"/>
                  <a:gd name="connsiteY57" fmla="*/ 150019 h 1095375"/>
                  <a:gd name="connsiteX58" fmla="*/ 457200 w 1319213"/>
                  <a:gd name="connsiteY58" fmla="*/ 216694 h 1095375"/>
                  <a:gd name="connsiteX59" fmla="*/ 488156 w 1319213"/>
                  <a:gd name="connsiteY59" fmla="*/ 259556 h 1095375"/>
                  <a:gd name="connsiteX60" fmla="*/ 497681 w 1319213"/>
                  <a:gd name="connsiteY60" fmla="*/ 235744 h 1095375"/>
                  <a:gd name="connsiteX61" fmla="*/ 519113 w 1319213"/>
                  <a:gd name="connsiteY61" fmla="*/ 273844 h 1095375"/>
                  <a:gd name="connsiteX62" fmla="*/ 538163 w 1319213"/>
                  <a:gd name="connsiteY62" fmla="*/ 292894 h 1095375"/>
                  <a:gd name="connsiteX63" fmla="*/ 557213 w 1319213"/>
                  <a:gd name="connsiteY63" fmla="*/ 309562 h 1095375"/>
                  <a:gd name="connsiteX64" fmla="*/ 561975 w 1319213"/>
                  <a:gd name="connsiteY64" fmla="*/ 333375 h 1095375"/>
                  <a:gd name="connsiteX65" fmla="*/ 592931 w 1319213"/>
                  <a:gd name="connsiteY65" fmla="*/ 302419 h 1095375"/>
                  <a:gd name="connsiteX66" fmla="*/ 602456 w 1319213"/>
                  <a:gd name="connsiteY66" fmla="*/ 261937 h 1095375"/>
                  <a:gd name="connsiteX67" fmla="*/ 631031 w 1319213"/>
                  <a:gd name="connsiteY67" fmla="*/ 278606 h 1095375"/>
                  <a:gd name="connsiteX68" fmla="*/ 661988 w 1319213"/>
                  <a:gd name="connsiteY68" fmla="*/ 259556 h 1095375"/>
                  <a:gd name="connsiteX69" fmla="*/ 652463 w 1319213"/>
                  <a:gd name="connsiteY69" fmla="*/ 238125 h 1095375"/>
                  <a:gd name="connsiteX70" fmla="*/ 676275 w 1319213"/>
                  <a:gd name="connsiteY70" fmla="*/ 233362 h 1095375"/>
                  <a:gd name="connsiteX71" fmla="*/ 692944 w 1319213"/>
                  <a:gd name="connsiteY71" fmla="*/ 209550 h 1095375"/>
                  <a:gd name="connsiteX72" fmla="*/ 719138 w 1319213"/>
                  <a:gd name="connsiteY72" fmla="*/ 223837 h 1095375"/>
                  <a:gd name="connsiteX73" fmla="*/ 745331 w 1319213"/>
                  <a:gd name="connsiteY73" fmla="*/ 183356 h 1095375"/>
                  <a:gd name="connsiteX74" fmla="*/ 742950 w 1319213"/>
                  <a:gd name="connsiteY74" fmla="*/ 161925 h 1095375"/>
                  <a:gd name="connsiteX75" fmla="*/ 781050 w 1319213"/>
                  <a:gd name="connsiteY75" fmla="*/ 164306 h 1095375"/>
                  <a:gd name="connsiteX76" fmla="*/ 859631 w 1319213"/>
                  <a:gd name="connsiteY76" fmla="*/ 152400 h 1095375"/>
                  <a:gd name="connsiteX77" fmla="*/ 890588 w 1319213"/>
                  <a:gd name="connsiteY77" fmla="*/ 145256 h 1095375"/>
                  <a:gd name="connsiteX78" fmla="*/ 904875 w 1319213"/>
                  <a:gd name="connsiteY78" fmla="*/ 119062 h 1095375"/>
                  <a:gd name="connsiteX79" fmla="*/ 895350 w 1319213"/>
                  <a:gd name="connsiteY79" fmla="*/ 83344 h 1095375"/>
                  <a:gd name="connsiteX80" fmla="*/ 921544 w 1319213"/>
                  <a:gd name="connsiteY80" fmla="*/ 61912 h 1095375"/>
                  <a:gd name="connsiteX81" fmla="*/ 950119 w 1319213"/>
                  <a:gd name="connsiteY81" fmla="*/ 92869 h 1095375"/>
                  <a:gd name="connsiteX82" fmla="*/ 981075 w 1319213"/>
                  <a:gd name="connsiteY82" fmla="*/ 126206 h 1095375"/>
                  <a:gd name="connsiteX83" fmla="*/ 1000125 w 1319213"/>
                  <a:gd name="connsiteY83" fmla="*/ 157162 h 1095375"/>
                  <a:gd name="connsiteX84" fmla="*/ 1004888 w 1319213"/>
                  <a:gd name="connsiteY84" fmla="*/ 190500 h 1095375"/>
                  <a:gd name="connsiteX85" fmla="*/ 959644 w 1319213"/>
                  <a:gd name="connsiteY85" fmla="*/ 190500 h 1095375"/>
                  <a:gd name="connsiteX86" fmla="*/ 914400 w 1319213"/>
                  <a:gd name="connsiteY86" fmla="*/ 180975 h 1095375"/>
                  <a:gd name="connsiteX87" fmla="*/ 914400 w 1319213"/>
                  <a:gd name="connsiteY87" fmla="*/ 180975 h 1095375"/>
                  <a:gd name="connsiteX88" fmla="*/ 895350 w 1319213"/>
                  <a:gd name="connsiteY88" fmla="*/ 214312 h 1095375"/>
                  <a:gd name="connsiteX89" fmla="*/ 885825 w 1319213"/>
                  <a:gd name="connsiteY89" fmla="*/ 250031 h 1095375"/>
                  <a:gd name="connsiteX90" fmla="*/ 852488 w 1319213"/>
                  <a:gd name="connsiteY90" fmla="*/ 290512 h 1095375"/>
                  <a:gd name="connsiteX91" fmla="*/ 888206 w 1319213"/>
                  <a:gd name="connsiteY91" fmla="*/ 316706 h 1095375"/>
                  <a:gd name="connsiteX92" fmla="*/ 897731 w 1319213"/>
                  <a:gd name="connsiteY92" fmla="*/ 369094 h 1095375"/>
                  <a:gd name="connsiteX93" fmla="*/ 947738 w 1319213"/>
                  <a:gd name="connsiteY93" fmla="*/ 416719 h 1095375"/>
                  <a:gd name="connsiteX94" fmla="*/ 985838 w 1319213"/>
                  <a:gd name="connsiteY94" fmla="*/ 440531 h 1095375"/>
                  <a:gd name="connsiteX95" fmla="*/ 985838 w 1319213"/>
                  <a:gd name="connsiteY95" fmla="*/ 464344 h 1095375"/>
                  <a:gd name="connsiteX96" fmla="*/ 964406 w 1319213"/>
                  <a:gd name="connsiteY96" fmla="*/ 469106 h 1095375"/>
                  <a:gd name="connsiteX97" fmla="*/ 954881 w 1319213"/>
                  <a:gd name="connsiteY97" fmla="*/ 488156 h 1095375"/>
                  <a:gd name="connsiteX98" fmla="*/ 954881 w 1319213"/>
                  <a:gd name="connsiteY98" fmla="*/ 488156 h 1095375"/>
                  <a:gd name="connsiteX99" fmla="*/ 892969 w 1319213"/>
                  <a:gd name="connsiteY99" fmla="*/ 471487 h 1095375"/>
                  <a:gd name="connsiteX100" fmla="*/ 838200 w 1319213"/>
                  <a:gd name="connsiteY100" fmla="*/ 445294 h 1095375"/>
                  <a:gd name="connsiteX101" fmla="*/ 823913 w 1319213"/>
                  <a:gd name="connsiteY101" fmla="*/ 485775 h 1095375"/>
                  <a:gd name="connsiteX102" fmla="*/ 802481 w 1319213"/>
                  <a:gd name="connsiteY102" fmla="*/ 490537 h 1095375"/>
                  <a:gd name="connsiteX103" fmla="*/ 826294 w 1319213"/>
                  <a:gd name="connsiteY103" fmla="*/ 547687 h 1095375"/>
                  <a:gd name="connsiteX104" fmla="*/ 912019 w 1319213"/>
                  <a:gd name="connsiteY104" fmla="*/ 578644 h 1095375"/>
                  <a:gd name="connsiteX105" fmla="*/ 997744 w 1319213"/>
                  <a:gd name="connsiteY105" fmla="*/ 623887 h 1095375"/>
                  <a:gd name="connsiteX106" fmla="*/ 995363 w 1319213"/>
                  <a:gd name="connsiteY106" fmla="*/ 704850 h 1095375"/>
                  <a:gd name="connsiteX107" fmla="*/ 1028700 w 1319213"/>
                  <a:gd name="connsiteY107" fmla="*/ 690562 h 1095375"/>
                  <a:gd name="connsiteX108" fmla="*/ 1083469 w 1319213"/>
                  <a:gd name="connsiteY108" fmla="*/ 735806 h 1095375"/>
                  <a:gd name="connsiteX109" fmla="*/ 1145381 w 1319213"/>
                  <a:gd name="connsiteY109" fmla="*/ 697706 h 1095375"/>
                  <a:gd name="connsiteX110" fmla="*/ 1207294 w 1319213"/>
                  <a:gd name="connsiteY110" fmla="*/ 750094 h 1095375"/>
                  <a:gd name="connsiteX111" fmla="*/ 1262063 w 1319213"/>
                  <a:gd name="connsiteY111" fmla="*/ 785812 h 1095375"/>
                  <a:gd name="connsiteX112" fmla="*/ 1283494 w 1319213"/>
                  <a:gd name="connsiteY112" fmla="*/ 788194 h 1095375"/>
                  <a:gd name="connsiteX113" fmla="*/ 1319213 w 1319213"/>
                  <a:gd name="connsiteY113" fmla="*/ 897731 h 1095375"/>
                  <a:gd name="connsiteX114" fmla="*/ 1297781 w 1319213"/>
                  <a:gd name="connsiteY114" fmla="*/ 914400 h 1095375"/>
                  <a:gd name="connsiteX115" fmla="*/ 1293019 w 1319213"/>
                  <a:gd name="connsiteY115" fmla="*/ 933450 h 1095375"/>
                  <a:gd name="connsiteX116" fmla="*/ 1293019 w 1319213"/>
                  <a:gd name="connsiteY116" fmla="*/ 933450 h 1095375"/>
                  <a:gd name="connsiteX117" fmla="*/ 1243013 w 1319213"/>
                  <a:gd name="connsiteY117" fmla="*/ 947737 h 1095375"/>
                  <a:gd name="connsiteX118" fmla="*/ 1245394 w 1319213"/>
                  <a:gd name="connsiteY118" fmla="*/ 1031081 h 1095375"/>
                  <a:gd name="connsiteX119" fmla="*/ 1190625 w 1319213"/>
                  <a:gd name="connsiteY119" fmla="*/ 1078706 h 109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19213" h="1095375">
                    <a:moveTo>
                      <a:pt x="1190625" y="1078706"/>
                    </a:moveTo>
                    <a:lnTo>
                      <a:pt x="1121569" y="1052512"/>
                    </a:lnTo>
                    <a:lnTo>
                      <a:pt x="1102519" y="1059656"/>
                    </a:lnTo>
                    <a:cubicBezTo>
                      <a:pt x="1093919" y="1062783"/>
                      <a:pt x="1097325" y="1060087"/>
                      <a:pt x="1092994" y="1064419"/>
                    </a:cubicBezTo>
                    <a:lnTo>
                      <a:pt x="1090613" y="1095375"/>
                    </a:lnTo>
                    <a:lnTo>
                      <a:pt x="1090613" y="1095375"/>
                    </a:lnTo>
                    <a:lnTo>
                      <a:pt x="990600" y="1045369"/>
                    </a:lnTo>
                    <a:lnTo>
                      <a:pt x="942975" y="1045369"/>
                    </a:lnTo>
                    <a:lnTo>
                      <a:pt x="904875" y="1038225"/>
                    </a:lnTo>
                    <a:lnTo>
                      <a:pt x="866775" y="1062037"/>
                    </a:lnTo>
                    <a:lnTo>
                      <a:pt x="823913" y="1092994"/>
                    </a:lnTo>
                    <a:lnTo>
                      <a:pt x="802481" y="1062037"/>
                    </a:lnTo>
                    <a:lnTo>
                      <a:pt x="781050" y="997744"/>
                    </a:lnTo>
                    <a:lnTo>
                      <a:pt x="711994" y="954881"/>
                    </a:lnTo>
                    <a:lnTo>
                      <a:pt x="685800" y="950119"/>
                    </a:lnTo>
                    <a:lnTo>
                      <a:pt x="664369" y="971550"/>
                    </a:lnTo>
                    <a:lnTo>
                      <a:pt x="621506" y="919162"/>
                    </a:lnTo>
                    <a:lnTo>
                      <a:pt x="592931" y="933450"/>
                    </a:lnTo>
                    <a:lnTo>
                      <a:pt x="542925" y="852487"/>
                    </a:lnTo>
                    <a:lnTo>
                      <a:pt x="457200" y="754856"/>
                    </a:lnTo>
                    <a:lnTo>
                      <a:pt x="383381" y="726281"/>
                    </a:lnTo>
                    <a:lnTo>
                      <a:pt x="395288" y="690562"/>
                    </a:lnTo>
                    <a:lnTo>
                      <a:pt x="378619" y="652462"/>
                    </a:lnTo>
                    <a:lnTo>
                      <a:pt x="342900" y="602456"/>
                    </a:lnTo>
                    <a:lnTo>
                      <a:pt x="266700" y="545306"/>
                    </a:lnTo>
                    <a:lnTo>
                      <a:pt x="226219" y="521494"/>
                    </a:lnTo>
                    <a:lnTo>
                      <a:pt x="197644" y="545306"/>
                    </a:lnTo>
                    <a:lnTo>
                      <a:pt x="152400" y="431006"/>
                    </a:lnTo>
                    <a:lnTo>
                      <a:pt x="142875" y="395287"/>
                    </a:lnTo>
                    <a:lnTo>
                      <a:pt x="85725" y="328612"/>
                    </a:lnTo>
                    <a:lnTo>
                      <a:pt x="11906" y="304800"/>
                    </a:lnTo>
                    <a:lnTo>
                      <a:pt x="0" y="283369"/>
                    </a:lnTo>
                    <a:lnTo>
                      <a:pt x="23813" y="259556"/>
                    </a:lnTo>
                    <a:lnTo>
                      <a:pt x="83344" y="264319"/>
                    </a:lnTo>
                    <a:lnTo>
                      <a:pt x="95250" y="247650"/>
                    </a:lnTo>
                    <a:lnTo>
                      <a:pt x="104775" y="226219"/>
                    </a:lnTo>
                    <a:lnTo>
                      <a:pt x="73819" y="204787"/>
                    </a:lnTo>
                    <a:lnTo>
                      <a:pt x="78581" y="171450"/>
                    </a:lnTo>
                    <a:lnTo>
                      <a:pt x="119063" y="171450"/>
                    </a:lnTo>
                    <a:lnTo>
                      <a:pt x="161925" y="142875"/>
                    </a:lnTo>
                    <a:lnTo>
                      <a:pt x="173831" y="133350"/>
                    </a:lnTo>
                    <a:lnTo>
                      <a:pt x="200025" y="133350"/>
                    </a:lnTo>
                    <a:lnTo>
                      <a:pt x="190500" y="78581"/>
                    </a:lnTo>
                    <a:lnTo>
                      <a:pt x="180975" y="45244"/>
                    </a:lnTo>
                    <a:lnTo>
                      <a:pt x="180975" y="14287"/>
                    </a:lnTo>
                    <a:lnTo>
                      <a:pt x="226219" y="4762"/>
                    </a:lnTo>
                    <a:lnTo>
                      <a:pt x="259556" y="0"/>
                    </a:lnTo>
                    <a:lnTo>
                      <a:pt x="264319" y="28575"/>
                    </a:lnTo>
                    <a:lnTo>
                      <a:pt x="273844" y="64294"/>
                    </a:lnTo>
                    <a:lnTo>
                      <a:pt x="292894" y="66675"/>
                    </a:lnTo>
                    <a:lnTo>
                      <a:pt x="264319" y="97631"/>
                    </a:lnTo>
                    <a:lnTo>
                      <a:pt x="307181" y="114300"/>
                    </a:lnTo>
                    <a:lnTo>
                      <a:pt x="314325" y="138112"/>
                    </a:lnTo>
                    <a:lnTo>
                      <a:pt x="342900" y="119062"/>
                    </a:lnTo>
                    <a:lnTo>
                      <a:pt x="373856" y="126206"/>
                    </a:lnTo>
                    <a:lnTo>
                      <a:pt x="392906" y="97631"/>
                    </a:lnTo>
                    <a:lnTo>
                      <a:pt x="419100" y="126206"/>
                    </a:lnTo>
                    <a:lnTo>
                      <a:pt x="416719" y="150019"/>
                    </a:lnTo>
                    <a:lnTo>
                      <a:pt x="457200" y="216694"/>
                    </a:lnTo>
                    <a:lnTo>
                      <a:pt x="488156" y="259556"/>
                    </a:lnTo>
                    <a:lnTo>
                      <a:pt x="497681" y="235744"/>
                    </a:lnTo>
                    <a:lnTo>
                      <a:pt x="519113" y="273844"/>
                    </a:lnTo>
                    <a:lnTo>
                      <a:pt x="538163" y="292894"/>
                    </a:lnTo>
                    <a:lnTo>
                      <a:pt x="557213" y="309562"/>
                    </a:lnTo>
                    <a:lnTo>
                      <a:pt x="561975" y="333375"/>
                    </a:lnTo>
                    <a:lnTo>
                      <a:pt x="592931" y="302419"/>
                    </a:lnTo>
                    <a:lnTo>
                      <a:pt x="602456" y="261937"/>
                    </a:lnTo>
                    <a:lnTo>
                      <a:pt x="631031" y="278606"/>
                    </a:lnTo>
                    <a:lnTo>
                      <a:pt x="661988" y="259556"/>
                    </a:lnTo>
                    <a:lnTo>
                      <a:pt x="652463" y="238125"/>
                    </a:lnTo>
                    <a:lnTo>
                      <a:pt x="676275" y="233362"/>
                    </a:lnTo>
                    <a:lnTo>
                      <a:pt x="692944" y="209550"/>
                    </a:lnTo>
                    <a:lnTo>
                      <a:pt x="719138" y="223837"/>
                    </a:lnTo>
                    <a:lnTo>
                      <a:pt x="745331" y="183356"/>
                    </a:lnTo>
                    <a:lnTo>
                      <a:pt x="742950" y="161925"/>
                    </a:lnTo>
                    <a:lnTo>
                      <a:pt x="781050" y="164306"/>
                    </a:lnTo>
                    <a:lnTo>
                      <a:pt x="859631" y="152400"/>
                    </a:lnTo>
                    <a:lnTo>
                      <a:pt x="890588" y="145256"/>
                    </a:lnTo>
                    <a:lnTo>
                      <a:pt x="904875" y="119062"/>
                    </a:lnTo>
                    <a:lnTo>
                      <a:pt x="895350" y="83344"/>
                    </a:lnTo>
                    <a:lnTo>
                      <a:pt x="921544" y="61912"/>
                    </a:lnTo>
                    <a:lnTo>
                      <a:pt x="950119" y="92869"/>
                    </a:lnTo>
                    <a:lnTo>
                      <a:pt x="981075" y="126206"/>
                    </a:lnTo>
                    <a:lnTo>
                      <a:pt x="1000125" y="157162"/>
                    </a:lnTo>
                    <a:lnTo>
                      <a:pt x="1004888" y="190500"/>
                    </a:lnTo>
                    <a:lnTo>
                      <a:pt x="959644" y="190500"/>
                    </a:lnTo>
                    <a:lnTo>
                      <a:pt x="914400" y="180975"/>
                    </a:lnTo>
                    <a:lnTo>
                      <a:pt x="914400" y="180975"/>
                    </a:lnTo>
                    <a:lnTo>
                      <a:pt x="895350" y="214312"/>
                    </a:lnTo>
                    <a:lnTo>
                      <a:pt x="885825" y="250031"/>
                    </a:lnTo>
                    <a:lnTo>
                      <a:pt x="852488" y="290512"/>
                    </a:lnTo>
                    <a:lnTo>
                      <a:pt x="888206" y="316706"/>
                    </a:lnTo>
                    <a:lnTo>
                      <a:pt x="897731" y="369094"/>
                    </a:lnTo>
                    <a:lnTo>
                      <a:pt x="947738" y="416719"/>
                    </a:lnTo>
                    <a:lnTo>
                      <a:pt x="985838" y="440531"/>
                    </a:lnTo>
                    <a:lnTo>
                      <a:pt x="985838" y="464344"/>
                    </a:lnTo>
                    <a:cubicBezTo>
                      <a:pt x="978694" y="465931"/>
                      <a:pt x="970639" y="465271"/>
                      <a:pt x="964406" y="469106"/>
                    </a:cubicBezTo>
                    <a:cubicBezTo>
                      <a:pt x="954001" y="475509"/>
                      <a:pt x="954881" y="480223"/>
                      <a:pt x="954881" y="488156"/>
                    </a:cubicBezTo>
                    <a:lnTo>
                      <a:pt x="954881" y="488156"/>
                    </a:lnTo>
                    <a:lnTo>
                      <a:pt x="892969" y="471487"/>
                    </a:lnTo>
                    <a:lnTo>
                      <a:pt x="838200" y="445294"/>
                    </a:lnTo>
                    <a:lnTo>
                      <a:pt x="823913" y="485775"/>
                    </a:lnTo>
                    <a:lnTo>
                      <a:pt x="802481" y="490537"/>
                    </a:lnTo>
                    <a:lnTo>
                      <a:pt x="826294" y="547687"/>
                    </a:lnTo>
                    <a:lnTo>
                      <a:pt x="912019" y="578644"/>
                    </a:lnTo>
                    <a:lnTo>
                      <a:pt x="997744" y="623887"/>
                    </a:lnTo>
                    <a:cubicBezTo>
                      <a:pt x="996950" y="650875"/>
                      <a:pt x="996157" y="677862"/>
                      <a:pt x="995363" y="704850"/>
                    </a:cubicBezTo>
                    <a:lnTo>
                      <a:pt x="1028700" y="690562"/>
                    </a:lnTo>
                    <a:lnTo>
                      <a:pt x="1083469" y="735806"/>
                    </a:lnTo>
                    <a:lnTo>
                      <a:pt x="1145381" y="697706"/>
                    </a:lnTo>
                    <a:lnTo>
                      <a:pt x="1207294" y="750094"/>
                    </a:lnTo>
                    <a:lnTo>
                      <a:pt x="1262063" y="785812"/>
                    </a:lnTo>
                    <a:lnTo>
                      <a:pt x="1283494" y="788194"/>
                    </a:lnTo>
                    <a:lnTo>
                      <a:pt x="1319213" y="897731"/>
                    </a:lnTo>
                    <a:lnTo>
                      <a:pt x="1297781" y="914400"/>
                    </a:lnTo>
                    <a:lnTo>
                      <a:pt x="1293019" y="933450"/>
                    </a:lnTo>
                    <a:lnTo>
                      <a:pt x="1293019" y="933450"/>
                    </a:lnTo>
                    <a:lnTo>
                      <a:pt x="1243013" y="947737"/>
                    </a:lnTo>
                    <a:cubicBezTo>
                      <a:pt x="1243807" y="975518"/>
                      <a:pt x="1244600" y="1003300"/>
                      <a:pt x="1245394" y="1031081"/>
                    </a:cubicBezTo>
                    <a:lnTo>
                      <a:pt x="1190625" y="107870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8" name="Figura a mano libera 247"/>
              <p:cNvSpPr/>
              <p:nvPr/>
            </p:nvSpPr>
            <p:spPr bwMode="auto">
              <a:xfrm>
                <a:off x="3011047" y="2378504"/>
                <a:ext cx="559266" cy="659480"/>
              </a:xfrm>
              <a:custGeom>
                <a:avLst/>
                <a:gdLst>
                  <a:gd name="connsiteX0" fmla="*/ 673894 w 692944"/>
                  <a:gd name="connsiteY0" fmla="*/ 564357 h 845344"/>
                  <a:gd name="connsiteX1" fmla="*/ 692944 w 692944"/>
                  <a:gd name="connsiteY1" fmla="*/ 535782 h 845344"/>
                  <a:gd name="connsiteX2" fmla="*/ 681037 w 692944"/>
                  <a:gd name="connsiteY2" fmla="*/ 509588 h 845344"/>
                  <a:gd name="connsiteX3" fmla="*/ 626269 w 692944"/>
                  <a:gd name="connsiteY3" fmla="*/ 531019 h 845344"/>
                  <a:gd name="connsiteX4" fmla="*/ 595312 w 692944"/>
                  <a:gd name="connsiteY4" fmla="*/ 490538 h 845344"/>
                  <a:gd name="connsiteX5" fmla="*/ 564356 w 692944"/>
                  <a:gd name="connsiteY5" fmla="*/ 478632 h 845344"/>
                  <a:gd name="connsiteX6" fmla="*/ 554831 w 692944"/>
                  <a:gd name="connsiteY6" fmla="*/ 492919 h 845344"/>
                  <a:gd name="connsiteX7" fmla="*/ 554831 w 692944"/>
                  <a:gd name="connsiteY7" fmla="*/ 492919 h 845344"/>
                  <a:gd name="connsiteX8" fmla="*/ 528637 w 692944"/>
                  <a:gd name="connsiteY8" fmla="*/ 478632 h 845344"/>
                  <a:gd name="connsiteX9" fmla="*/ 507206 w 692944"/>
                  <a:gd name="connsiteY9" fmla="*/ 445294 h 845344"/>
                  <a:gd name="connsiteX10" fmla="*/ 509587 w 692944"/>
                  <a:gd name="connsiteY10" fmla="*/ 409575 h 845344"/>
                  <a:gd name="connsiteX11" fmla="*/ 504825 w 692944"/>
                  <a:gd name="connsiteY11" fmla="*/ 369094 h 845344"/>
                  <a:gd name="connsiteX12" fmla="*/ 490537 w 692944"/>
                  <a:gd name="connsiteY12" fmla="*/ 328613 h 845344"/>
                  <a:gd name="connsiteX13" fmla="*/ 490537 w 692944"/>
                  <a:gd name="connsiteY13" fmla="*/ 328613 h 845344"/>
                  <a:gd name="connsiteX14" fmla="*/ 481012 w 692944"/>
                  <a:gd name="connsiteY14" fmla="*/ 300038 h 845344"/>
                  <a:gd name="connsiteX15" fmla="*/ 478631 w 692944"/>
                  <a:gd name="connsiteY15" fmla="*/ 273844 h 845344"/>
                  <a:gd name="connsiteX16" fmla="*/ 454819 w 692944"/>
                  <a:gd name="connsiteY16" fmla="*/ 252413 h 845344"/>
                  <a:gd name="connsiteX17" fmla="*/ 457200 w 692944"/>
                  <a:gd name="connsiteY17" fmla="*/ 235744 h 845344"/>
                  <a:gd name="connsiteX18" fmla="*/ 452437 w 692944"/>
                  <a:gd name="connsiteY18" fmla="*/ 204788 h 845344"/>
                  <a:gd name="connsiteX19" fmla="*/ 452437 w 692944"/>
                  <a:gd name="connsiteY19" fmla="*/ 190500 h 845344"/>
                  <a:gd name="connsiteX20" fmla="*/ 428625 w 692944"/>
                  <a:gd name="connsiteY20" fmla="*/ 166688 h 845344"/>
                  <a:gd name="connsiteX21" fmla="*/ 428625 w 692944"/>
                  <a:gd name="connsiteY21" fmla="*/ 166688 h 845344"/>
                  <a:gd name="connsiteX22" fmla="*/ 445294 w 692944"/>
                  <a:gd name="connsiteY22" fmla="*/ 142875 h 845344"/>
                  <a:gd name="connsiteX23" fmla="*/ 440531 w 692944"/>
                  <a:gd name="connsiteY23" fmla="*/ 123825 h 845344"/>
                  <a:gd name="connsiteX24" fmla="*/ 383381 w 692944"/>
                  <a:gd name="connsiteY24" fmla="*/ 126207 h 845344"/>
                  <a:gd name="connsiteX25" fmla="*/ 383381 w 692944"/>
                  <a:gd name="connsiteY25" fmla="*/ 126207 h 845344"/>
                  <a:gd name="connsiteX26" fmla="*/ 345281 w 692944"/>
                  <a:gd name="connsiteY26" fmla="*/ 130969 h 845344"/>
                  <a:gd name="connsiteX27" fmla="*/ 319087 w 692944"/>
                  <a:gd name="connsiteY27" fmla="*/ 90488 h 845344"/>
                  <a:gd name="connsiteX28" fmla="*/ 304800 w 692944"/>
                  <a:gd name="connsiteY28" fmla="*/ 59532 h 845344"/>
                  <a:gd name="connsiteX29" fmla="*/ 276225 w 692944"/>
                  <a:gd name="connsiteY29" fmla="*/ 52388 h 845344"/>
                  <a:gd name="connsiteX30" fmla="*/ 271462 w 692944"/>
                  <a:gd name="connsiteY30" fmla="*/ 71438 h 845344"/>
                  <a:gd name="connsiteX31" fmla="*/ 250031 w 692944"/>
                  <a:gd name="connsiteY31" fmla="*/ 69057 h 845344"/>
                  <a:gd name="connsiteX32" fmla="*/ 211931 w 692944"/>
                  <a:gd name="connsiteY32" fmla="*/ 54769 h 845344"/>
                  <a:gd name="connsiteX33" fmla="*/ 245269 w 692944"/>
                  <a:gd name="connsiteY33" fmla="*/ 50007 h 845344"/>
                  <a:gd name="connsiteX34" fmla="*/ 247650 w 692944"/>
                  <a:gd name="connsiteY34" fmla="*/ 47625 h 845344"/>
                  <a:gd name="connsiteX35" fmla="*/ 230981 w 692944"/>
                  <a:gd name="connsiteY35" fmla="*/ 28575 h 845344"/>
                  <a:gd name="connsiteX36" fmla="*/ 257175 w 692944"/>
                  <a:gd name="connsiteY36" fmla="*/ 0 h 845344"/>
                  <a:gd name="connsiteX37" fmla="*/ 200025 w 692944"/>
                  <a:gd name="connsiteY37" fmla="*/ 26194 h 845344"/>
                  <a:gd name="connsiteX38" fmla="*/ 166687 w 692944"/>
                  <a:gd name="connsiteY38" fmla="*/ 9525 h 845344"/>
                  <a:gd name="connsiteX39" fmla="*/ 150019 w 692944"/>
                  <a:gd name="connsiteY39" fmla="*/ 42863 h 845344"/>
                  <a:gd name="connsiteX40" fmla="*/ 121444 w 692944"/>
                  <a:gd name="connsiteY40" fmla="*/ 83344 h 845344"/>
                  <a:gd name="connsiteX41" fmla="*/ 107156 w 692944"/>
                  <a:gd name="connsiteY41" fmla="*/ 83344 h 845344"/>
                  <a:gd name="connsiteX42" fmla="*/ 119062 w 692944"/>
                  <a:gd name="connsiteY42" fmla="*/ 104775 h 845344"/>
                  <a:gd name="connsiteX43" fmla="*/ 126206 w 692944"/>
                  <a:gd name="connsiteY43" fmla="*/ 107157 h 845344"/>
                  <a:gd name="connsiteX44" fmla="*/ 97631 w 692944"/>
                  <a:gd name="connsiteY44" fmla="*/ 111919 h 845344"/>
                  <a:gd name="connsiteX45" fmla="*/ 69056 w 692944"/>
                  <a:gd name="connsiteY45" fmla="*/ 133350 h 845344"/>
                  <a:gd name="connsiteX46" fmla="*/ 100012 w 692944"/>
                  <a:gd name="connsiteY46" fmla="*/ 145257 h 845344"/>
                  <a:gd name="connsiteX47" fmla="*/ 114300 w 692944"/>
                  <a:gd name="connsiteY47" fmla="*/ 176213 h 845344"/>
                  <a:gd name="connsiteX48" fmla="*/ 133350 w 692944"/>
                  <a:gd name="connsiteY48" fmla="*/ 197644 h 845344"/>
                  <a:gd name="connsiteX49" fmla="*/ 154781 w 692944"/>
                  <a:gd name="connsiteY49" fmla="*/ 228600 h 845344"/>
                  <a:gd name="connsiteX50" fmla="*/ 133350 w 692944"/>
                  <a:gd name="connsiteY50" fmla="*/ 247650 h 845344"/>
                  <a:gd name="connsiteX51" fmla="*/ 95250 w 692944"/>
                  <a:gd name="connsiteY51" fmla="*/ 261938 h 845344"/>
                  <a:gd name="connsiteX52" fmla="*/ 83344 w 692944"/>
                  <a:gd name="connsiteY52" fmla="*/ 233363 h 845344"/>
                  <a:gd name="connsiteX53" fmla="*/ 45244 w 692944"/>
                  <a:gd name="connsiteY53" fmla="*/ 290513 h 845344"/>
                  <a:gd name="connsiteX54" fmla="*/ 0 w 692944"/>
                  <a:gd name="connsiteY54" fmla="*/ 323850 h 845344"/>
                  <a:gd name="connsiteX55" fmla="*/ 0 w 692944"/>
                  <a:gd name="connsiteY55" fmla="*/ 338138 h 845344"/>
                  <a:gd name="connsiteX56" fmla="*/ 4762 w 692944"/>
                  <a:gd name="connsiteY56" fmla="*/ 361950 h 845344"/>
                  <a:gd name="connsiteX57" fmla="*/ 4762 w 692944"/>
                  <a:gd name="connsiteY57" fmla="*/ 361950 h 845344"/>
                  <a:gd name="connsiteX58" fmla="*/ 35719 w 692944"/>
                  <a:gd name="connsiteY58" fmla="*/ 392907 h 845344"/>
                  <a:gd name="connsiteX59" fmla="*/ 35719 w 692944"/>
                  <a:gd name="connsiteY59" fmla="*/ 423863 h 845344"/>
                  <a:gd name="connsiteX60" fmla="*/ 33337 w 692944"/>
                  <a:gd name="connsiteY60" fmla="*/ 473869 h 845344"/>
                  <a:gd name="connsiteX61" fmla="*/ 33337 w 692944"/>
                  <a:gd name="connsiteY61" fmla="*/ 473869 h 845344"/>
                  <a:gd name="connsiteX62" fmla="*/ 16669 w 692944"/>
                  <a:gd name="connsiteY62" fmla="*/ 507207 h 845344"/>
                  <a:gd name="connsiteX63" fmla="*/ 14287 w 692944"/>
                  <a:gd name="connsiteY63" fmla="*/ 528638 h 845344"/>
                  <a:gd name="connsiteX64" fmla="*/ 9525 w 692944"/>
                  <a:gd name="connsiteY64" fmla="*/ 566738 h 845344"/>
                  <a:gd name="connsiteX65" fmla="*/ 35719 w 692944"/>
                  <a:gd name="connsiteY65" fmla="*/ 573882 h 845344"/>
                  <a:gd name="connsiteX66" fmla="*/ 11906 w 692944"/>
                  <a:gd name="connsiteY66" fmla="*/ 614363 h 845344"/>
                  <a:gd name="connsiteX67" fmla="*/ 52387 w 692944"/>
                  <a:gd name="connsiteY67" fmla="*/ 616744 h 845344"/>
                  <a:gd name="connsiteX68" fmla="*/ 57150 w 692944"/>
                  <a:gd name="connsiteY68" fmla="*/ 645319 h 845344"/>
                  <a:gd name="connsiteX69" fmla="*/ 61912 w 692944"/>
                  <a:gd name="connsiteY69" fmla="*/ 628650 h 845344"/>
                  <a:gd name="connsiteX70" fmla="*/ 114300 w 692944"/>
                  <a:gd name="connsiteY70" fmla="*/ 640557 h 845344"/>
                  <a:gd name="connsiteX71" fmla="*/ 140494 w 692944"/>
                  <a:gd name="connsiteY71" fmla="*/ 607219 h 845344"/>
                  <a:gd name="connsiteX72" fmla="*/ 164306 w 692944"/>
                  <a:gd name="connsiteY72" fmla="*/ 640557 h 845344"/>
                  <a:gd name="connsiteX73" fmla="*/ 185737 w 692944"/>
                  <a:gd name="connsiteY73" fmla="*/ 716757 h 845344"/>
                  <a:gd name="connsiteX74" fmla="*/ 226219 w 692944"/>
                  <a:gd name="connsiteY74" fmla="*/ 771525 h 845344"/>
                  <a:gd name="connsiteX75" fmla="*/ 238125 w 692944"/>
                  <a:gd name="connsiteY75" fmla="*/ 745332 h 845344"/>
                  <a:gd name="connsiteX76" fmla="*/ 285750 w 692944"/>
                  <a:gd name="connsiteY76" fmla="*/ 807244 h 845344"/>
                  <a:gd name="connsiteX77" fmla="*/ 304800 w 692944"/>
                  <a:gd name="connsiteY77" fmla="*/ 819150 h 845344"/>
                  <a:gd name="connsiteX78" fmla="*/ 304800 w 692944"/>
                  <a:gd name="connsiteY78" fmla="*/ 845344 h 845344"/>
                  <a:gd name="connsiteX79" fmla="*/ 342900 w 692944"/>
                  <a:gd name="connsiteY79" fmla="*/ 812007 h 845344"/>
                  <a:gd name="connsiteX80" fmla="*/ 354806 w 692944"/>
                  <a:gd name="connsiteY80" fmla="*/ 762000 h 845344"/>
                  <a:gd name="connsiteX81" fmla="*/ 400050 w 692944"/>
                  <a:gd name="connsiteY81" fmla="*/ 790575 h 845344"/>
                  <a:gd name="connsiteX82" fmla="*/ 409575 w 692944"/>
                  <a:gd name="connsiteY82" fmla="*/ 773907 h 845344"/>
                  <a:gd name="connsiteX83" fmla="*/ 404812 w 692944"/>
                  <a:gd name="connsiteY83" fmla="*/ 740569 h 845344"/>
                  <a:gd name="connsiteX84" fmla="*/ 428625 w 692944"/>
                  <a:gd name="connsiteY84" fmla="*/ 733425 h 845344"/>
                  <a:gd name="connsiteX85" fmla="*/ 438150 w 692944"/>
                  <a:gd name="connsiteY85" fmla="*/ 721519 h 845344"/>
                  <a:gd name="connsiteX86" fmla="*/ 481012 w 692944"/>
                  <a:gd name="connsiteY86" fmla="*/ 735807 h 845344"/>
                  <a:gd name="connsiteX87" fmla="*/ 485775 w 692944"/>
                  <a:gd name="connsiteY87" fmla="*/ 669132 h 845344"/>
                  <a:gd name="connsiteX88" fmla="*/ 619125 w 692944"/>
                  <a:gd name="connsiteY88" fmla="*/ 669132 h 845344"/>
                  <a:gd name="connsiteX89" fmla="*/ 654844 w 692944"/>
                  <a:gd name="connsiteY89" fmla="*/ 652463 h 845344"/>
                  <a:gd name="connsiteX90" fmla="*/ 635794 w 692944"/>
                  <a:gd name="connsiteY90" fmla="*/ 626269 h 845344"/>
                  <a:gd name="connsiteX91" fmla="*/ 673894 w 692944"/>
                  <a:gd name="connsiteY91" fmla="*/ 564357 h 845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692944" h="845344">
                    <a:moveTo>
                      <a:pt x="673894" y="564357"/>
                    </a:moveTo>
                    <a:lnTo>
                      <a:pt x="692944" y="535782"/>
                    </a:lnTo>
                    <a:lnTo>
                      <a:pt x="681037" y="509588"/>
                    </a:lnTo>
                    <a:lnTo>
                      <a:pt x="626269" y="531019"/>
                    </a:lnTo>
                    <a:lnTo>
                      <a:pt x="595312" y="490538"/>
                    </a:lnTo>
                    <a:lnTo>
                      <a:pt x="564356" y="478632"/>
                    </a:lnTo>
                    <a:lnTo>
                      <a:pt x="554831" y="492919"/>
                    </a:lnTo>
                    <a:lnTo>
                      <a:pt x="554831" y="492919"/>
                    </a:lnTo>
                    <a:lnTo>
                      <a:pt x="528637" y="478632"/>
                    </a:lnTo>
                    <a:lnTo>
                      <a:pt x="507206" y="445294"/>
                    </a:lnTo>
                    <a:lnTo>
                      <a:pt x="509587" y="409575"/>
                    </a:lnTo>
                    <a:lnTo>
                      <a:pt x="504825" y="369094"/>
                    </a:lnTo>
                    <a:lnTo>
                      <a:pt x="490537" y="328613"/>
                    </a:lnTo>
                    <a:lnTo>
                      <a:pt x="490537" y="328613"/>
                    </a:lnTo>
                    <a:lnTo>
                      <a:pt x="481012" y="300038"/>
                    </a:lnTo>
                    <a:lnTo>
                      <a:pt x="478631" y="273844"/>
                    </a:lnTo>
                    <a:lnTo>
                      <a:pt x="454819" y="252413"/>
                    </a:lnTo>
                    <a:lnTo>
                      <a:pt x="457200" y="235744"/>
                    </a:lnTo>
                    <a:lnTo>
                      <a:pt x="452437" y="204788"/>
                    </a:lnTo>
                    <a:lnTo>
                      <a:pt x="452437" y="190500"/>
                    </a:lnTo>
                    <a:lnTo>
                      <a:pt x="428625" y="166688"/>
                    </a:lnTo>
                    <a:lnTo>
                      <a:pt x="428625" y="166688"/>
                    </a:lnTo>
                    <a:lnTo>
                      <a:pt x="445294" y="142875"/>
                    </a:lnTo>
                    <a:lnTo>
                      <a:pt x="440531" y="123825"/>
                    </a:lnTo>
                    <a:lnTo>
                      <a:pt x="383381" y="126207"/>
                    </a:lnTo>
                    <a:lnTo>
                      <a:pt x="383381" y="126207"/>
                    </a:lnTo>
                    <a:lnTo>
                      <a:pt x="345281" y="130969"/>
                    </a:lnTo>
                    <a:lnTo>
                      <a:pt x="319087" y="90488"/>
                    </a:lnTo>
                    <a:lnTo>
                      <a:pt x="304800" y="59532"/>
                    </a:lnTo>
                    <a:lnTo>
                      <a:pt x="276225" y="52388"/>
                    </a:lnTo>
                    <a:lnTo>
                      <a:pt x="271462" y="71438"/>
                    </a:lnTo>
                    <a:lnTo>
                      <a:pt x="250031" y="69057"/>
                    </a:lnTo>
                    <a:lnTo>
                      <a:pt x="211931" y="54769"/>
                    </a:lnTo>
                    <a:cubicBezTo>
                      <a:pt x="217953" y="54167"/>
                      <a:pt x="236640" y="53459"/>
                      <a:pt x="245269" y="50007"/>
                    </a:cubicBezTo>
                    <a:cubicBezTo>
                      <a:pt x="246311" y="49590"/>
                      <a:pt x="246856" y="48419"/>
                      <a:pt x="247650" y="47625"/>
                    </a:cubicBezTo>
                    <a:lnTo>
                      <a:pt x="230981" y="28575"/>
                    </a:lnTo>
                    <a:lnTo>
                      <a:pt x="257175" y="0"/>
                    </a:lnTo>
                    <a:lnTo>
                      <a:pt x="200025" y="26194"/>
                    </a:lnTo>
                    <a:lnTo>
                      <a:pt x="166687" y="9525"/>
                    </a:lnTo>
                    <a:lnTo>
                      <a:pt x="150019" y="42863"/>
                    </a:lnTo>
                    <a:lnTo>
                      <a:pt x="121444" y="83344"/>
                    </a:lnTo>
                    <a:lnTo>
                      <a:pt x="107156" y="83344"/>
                    </a:lnTo>
                    <a:cubicBezTo>
                      <a:pt x="117183" y="103398"/>
                      <a:pt x="111661" y="97374"/>
                      <a:pt x="119062" y="104775"/>
                    </a:cubicBezTo>
                    <a:lnTo>
                      <a:pt x="126206" y="107157"/>
                    </a:lnTo>
                    <a:lnTo>
                      <a:pt x="97631" y="111919"/>
                    </a:lnTo>
                    <a:lnTo>
                      <a:pt x="69056" y="133350"/>
                    </a:lnTo>
                    <a:lnTo>
                      <a:pt x="100012" y="145257"/>
                    </a:lnTo>
                    <a:lnTo>
                      <a:pt x="114300" y="176213"/>
                    </a:lnTo>
                    <a:lnTo>
                      <a:pt x="133350" y="197644"/>
                    </a:lnTo>
                    <a:lnTo>
                      <a:pt x="154781" y="228600"/>
                    </a:lnTo>
                    <a:lnTo>
                      <a:pt x="133350" y="247650"/>
                    </a:lnTo>
                    <a:lnTo>
                      <a:pt x="95250" y="261938"/>
                    </a:lnTo>
                    <a:lnTo>
                      <a:pt x="83344" y="233363"/>
                    </a:lnTo>
                    <a:lnTo>
                      <a:pt x="45244" y="290513"/>
                    </a:lnTo>
                    <a:lnTo>
                      <a:pt x="0" y="323850"/>
                    </a:lnTo>
                    <a:lnTo>
                      <a:pt x="0" y="338138"/>
                    </a:lnTo>
                    <a:lnTo>
                      <a:pt x="4762" y="361950"/>
                    </a:lnTo>
                    <a:lnTo>
                      <a:pt x="4762" y="361950"/>
                    </a:lnTo>
                    <a:lnTo>
                      <a:pt x="35719" y="392907"/>
                    </a:lnTo>
                    <a:lnTo>
                      <a:pt x="35719" y="423863"/>
                    </a:lnTo>
                    <a:lnTo>
                      <a:pt x="33337" y="473869"/>
                    </a:lnTo>
                    <a:lnTo>
                      <a:pt x="33337" y="473869"/>
                    </a:lnTo>
                    <a:lnTo>
                      <a:pt x="16669" y="507207"/>
                    </a:lnTo>
                    <a:lnTo>
                      <a:pt x="14287" y="528638"/>
                    </a:lnTo>
                    <a:lnTo>
                      <a:pt x="9525" y="566738"/>
                    </a:lnTo>
                    <a:lnTo>
                      <a:pt x="35719" y="573882"/>
                    </a:lnTo>
                    <a:lnTo>
                      <a:pt x="11906" y="614363"/>
                    </a:lnTo>
                    <a:lnTo>
                      <a:pt x="52387" y="616744"/>
                    </a:lnTo>
                    <a:lnTo>
                      <a:pt x="57150" y="645319"/>
                    </a:lnTo>
                    <a:lnTo>
                      <a:pt x="61912" y="628650"/>
                    </a:lnTo>
                    <a:lnTo>
                      <a:pt x="114300" y="640557"/>
                    </a:lnTo>
                    <a:lnTo>
                      <a:pt x="140494" y="607219"/>
                    </a:lnTo>
                    <a:lnTo>
                      <a:pt x="164306" y="640557"/>
                    </a:lnTo>
                    <a:lnTo>
                      <a:pt x="185737" y="716757"/>
                    </a:lnTo>
                    <a:lnTo>
                      <a:pt x="226219" y="771525"/>
                    </a:lnTo>
                    <a:lnTo>
                      <a:pt x="238125" y="745332"/>
                    </a:lnTo>
                    <a:lnTo>
                      <a:pt x="285750" y="807244"/>
                    </a:lnTo>
                    <a:lnTo>
                      <a:pt x="304800" y="819150"/>
                    </a:lnTo>
                    <a:lnTo>
                      <a:pt x="304800" y="845344"/>
                    </a:lnTo>
                    <a:lnTo>
                      <a:pt x="342900" y="812007"/>
                    </a:lnTo>
                    <a:lnTo>
                      <a:pt x="354806" y="762000"/>
                    </a:lnTo>
                    <a:lnTo>
                      <a:pt x="400050" y="790575"/>
                    </a:lnTo>
                    <a:lnTo>
                      <a:pt x="409575" y="773907"/>
                    </a:lnTo>
                    <a:lnTo>
                      <a:pt x="404812" y="740569"/>
                    </a:lnTo>
                    <a:lnTo>
                      <a:pt x="428625" y="733425"/>
                    </a:lnTo>
                    <a:lnTo>
                      <a:pt x="438150" y="721519"/>
                    </a:lnTo>
                    <a:lnTo>
                      <a:pt x="481012" y="735807"/>
                    </a:lnTo>
                    <a:lnTo>
                      <a:pt x="485775" y="669132"/>
                    </a:lnTo>
                    <a:lnTo>
                      <a:pt x="619125" y="669132"/>
                    </a:lnTo>
                    <a:lnTo>
                      <a:pt x="654844" y="652463"/>
                    </a:lnTo>
                    <a:lnTo>
                      <a:pt x="635794" y="626269"/>
                    </a:lnTo>
                    <a:lnTo>
                      <a:pt x="673894" y="56435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9" name="Figura a mano libera 248"/>
              <p:cNvSpPr/>
              <p:nvPr/>
            </p:nvSpPr>
            <p:spPr bwMode="auto">
              <a:xfrm>
                <a:off x="3095604" y="2201177"/>
                <a:ext cx="726900" cy="665344"/>
              </a:xfrm>
              <a:custGeom>
                <a:avLst/>
                <a:gdLst>
                  <a:gd name="connsiteX0" fmla="*/ 40481 w 902494"/>
                  <a:gd name="connsiteY0" fmla="*/ 221456 h 852487"/>
                  <a:gd name="connsiteX1" fmla="*/ 71437 w 902494"/>
                  <a:gd name="connsiteY1" fmla="*/ 200025 h 852487"/>
                  <a:gd name="connsiteX2" fmla="*/ 121444 w 902494"/>
                  <a:gd name="connsiteY2" fmla="*/ 176212 h 852487"/>
                  <a:gd name="connsiteX3" fmla="*/ 145256 w 902494"/>
                  <a:gd name="connsiteY3" fmla="*/ 166687 h 852487"/>
                  <a:gd name="connsiteX4" fmla="*/ 116681 w 902494"/>
                  <a:gd name="connsiteY4" fmla="*/ 130968 h 852487"/>
                  <a:gd name="connsiteX5" fmla="*/ 66675 w 902494"/>
                  <a:gd name="connsiteY5" fmla="*/ 135731 h 852487"/>
                  <a:gd name="connsiteX6" fmla="*/ 42862 w 902494"/>
                  <a:gd name="connsiteY6" fmla="*/ 138112 h 852487"/>
                  <a:gd name="connsiteX7" fmla="*/ 0 w 902494"/>
                  <a:gd name="connsiteY7" fmla="*/ 138112 h 852487"/>
                  <a:gd name="connsiteX8" fmla="*/ 23812 w 902494"/>
                  <a:gd name="connsiteY8" fmla="*/ 88106 h 852487"/>
                  <a:gd name="connsiteX9" fmla="*/ 47625 w 902494"/>
                  <a:gd name="connsiteY9" fmla="*/ 23812 h 852487"/>
                  <a:gd name="connsiteX10" fmla="*/ 80962 w 902494"/>
                  <a:gd name="connsiteY10" fmla="*/ 28575 h 852487"/>
                  <a:gd name="connsiteX11" fmla="*/ 123825 w 902494"/>
                  <a:gd name="connsiteY11" fmla="*/ 11906 h 852487"/>
                  <a:gd name="connsiteX12" fmla="*/ 161925 w 902494"/>
                  <a:gd name="connsiteY12" fmla="*/ 0 h 852487"/>
                  <a:gd name="connsiteX13" fmla="*/ 190500 w 902494"/>
                  <a:gd name="connsiteY13" fmla="*/ 33337 h 852487"/>
                  <a:gd name="connsiteX14" fmla="*/ 216694 w 902494"/>
                  <a:gd name="connsiteY14" fmla="*/ 28575 h 852487"/>
                  <a:gd name="connsiteX15" fmla="*/ 235744 w 902494"/>
                  <a:gd name="connsiteY15" fmla="*/ 61912 h 852487"/>
                  <a:gd name="connsiteX16" fmla="*/ 235744 w 902494"/>
                  <a:gd name="connsiteY16" fmla="*/ 61912 h 852487"/>
                  <a:gd name="connsiteX17" fmla="*/ 273844 w 902494"/>
                  <a:gd name="connsiteY17" fmla="*/ 97631 h 852487"/>
                  <a:gd name="connsiteX18" fmla="*/ 302419 w 902494"/>
                  <a:gd name="connsiteY18" fmla="*/ 95250 h 852487"/>
                  <a:gd name="connsiteX19" fmla="*/ 316706 w 902494"/>
                  <a:gd name="connsiteY19" fmla="*/ 59531 h 852487"/>
                  <a:gd name="connsiteX20" fmla="*/ 340519 w 902494"/>
                  <a:gd name="connsiteY20" fmla="*/ 50006 h 852487"/>
                  <a:gd name="connsiteX21" fmla="*/ 359569 w 902494"/>
                  <a:gd name="connsiteY21" fmla="*/ 23812 h 852487"/>
                  <a:gd name="connsiteX22" fmla="*/ 352425 w 902494"/>
                  <a:gd name="connsiteY22" fmla="*/ 0 h 852487"/>
                  <a:gd name="connsiteX23" fmla="*/ 378619 w 902494"/>
                  <a:gd name="connsiteY23" fmla="*/ 9525 h 852487"/>
                  <a:gd name="connsiteX24" fmla="*/ 402431 w 902494"/>
                  <a:gd name="connsiteY24" fmla="*/ 19050 h 852487"/>
                  <a:gd name="connsiteX25" fmla="*/ 461962 w 902494"/>
                  <a:gd name="connsiteY25" fmla="*/ 71437 h 852487"/>
                  <a:gd name="connsiteX26" fmla="*/ 521494 w 902494"/>
                  <a:gd name="connsiteY26" fmla="*/ 126206 h 852487"/>
                  <a:gd name="connsiteX27" fmla="*/ 590550 w 902494"/>
                  <a:gd name="connsiteY27" fmla="*/ 169068 h 852487"/>
                  <a:gd name="connsiteX28" fmla="*/ 635794 w 902494"/>
                  <a:gd name="connsiteY28" fmla="*/ 211931 h 852487"/>
                  <a:gd name="connsiteX29" fmla="*/ 707231 w 902494"/>
                  <a:gd name="connsiteY29" fmla="*/ 226218 h 852487"/>
                  <a:gd name="connsiteX30" fmla="*/ 738187 w 902494"/>
                  <a:gd name="connsiteY30" fmla="*/ 252412 h 852487"/>
                  <a:gd name="connsiteX31" fmla="*/ 781050 w 902494"/>
                  <a:gd name="connsiteY31" fmla="*/ 273843 h 852487"/>
                  <a:gd name="connsiteX32" fmla="*/ 778669 w 902494"/>
                  <a:gd name="connsiteY32" fmla="*/ 345281 h 852487"/>
                  <a:gd name="connsiteX33" fmla="*/ 823912 w 902494"/>
                  <a:gd name="connsiteY33" fmla="*/ 431006 h 852487"/>
                  <a:gd name="connsiteX34" fmla="*/ 859631 w 902494"/>
                  <a:gd name="connsiteY34" fmla="*/ 531018 h 852487"/>
                  <a:gd name="connsiteX35" fmla="*/ 883444 w 902494"/>
                  <a:gd name="connsiteY35" fmla="*/ 597693 h 852487"/>
                  <a:gd name="connsiteX36" fmla="*/ 902494 w 902494"/>
                  <a:gd name="connsiteY36" fmla="*/ 692943 h 852487"/>
                  <a:gd name="connsiteX37" fmla="*/ 895350 w 902494"/>
                  <a:gd name="connsiteY37" fmla="*/ 723900 h 852487"/>
                  <a:gd name="connsiteX38" fmla="*/ 833437 w 902494"/>
                  <a:gd name="connsiteY38" fmla="*/ 735806 h 852487"/>
                  <a:gd name="connsiteX39" fmla="*/ 788194 w 902494"/>
                  <a:gd name="connsiteY39" fmla="*/ 762000 h 852487"/>
                  <a:gd name="connsiteX40" fmla="*/ 742950 w 902494"/>
                  <a:gd name="connsiteY40" fmla="*/ 776287 h 852487"/>
                  <a:gd name="connsiteX41" fmla="*/ 716756 w 902494"/>
                  <a:gd name="connsiteY41" fmla="*/ 773906 h 852487"/>
                  <a:gd name="connsiteX42" fmla="*/ 690562 w 902494"/>
                  <a:gd name="connsiteY42" fmla="*/ 812006 h 852487"/>
                  <a:gd name="connsiteX43" fmla="*/ 652462 w 902494"/>
                  <a:gd name="connsiteY43" fmla="*/ 835818 h 852487"/>
                  <a:gd name="connsiteX44" fmla="*/ 616744 w 902494"/>
                  <a:gd name="connsiteY44" fmla="*/ 852487 h 852487"/>
                  <a:gd name="connsiteX45" fmla="*/ 571500 w 902494"/>
                  <a:gd name="connsiteY45" fmla="*/ 788193 h 852487"/>
                  <a:gd name="connsiteX46" fmla="*/ 590550 w 902494"/>
                  <a:gd name="connsiteY46" fmla="*/ 762000 h 852487"/>
                  <a:gd name="connsiteX47" fmla="*/ 571500 w 902494"/>
                  <a:gd name="connsiteY47" fmla="*/ 721518 h 852487"/>
                  <a:gd name="connsiteX48" fmla="*/ 528637 w 902494"/>
                  <a:gd name="connsiteY48" fmla="*/ 742950 h 852487"/>
                  <a:gd name="connsiteX49" fmla="*/ 495300 w 902494"/>
                  <a:gd name="connsiteY49" fmla="*/ 716756 h 852487"/>
                  <a:gd name="connsiteX50" fmla="*/ 454819 w 902494"/>
                  <a:gd name="connsiteY50" fmla="*/ 692943 h 852487"/>
                  <a:gd name="connsiteX51" fmla="*/ 438150 w 902494"/>
                  <a:gd name="connsiteY51" fmla="*/ 709612 h 852487"/>
                  <a:gd name="connsiteX52" fmla="*/ 407194 w 902494"/>
                  <a:gd name="connsiteY52" fmla="*/ 669131 h 852487"/>
                  <a:gd name="connsiteX53" fmla="*/ 411956 w 902494"/>
                  <a:gd name="connsiteY53" fmla="*/ 592931 h 852487"/>
                  <a:gd name="connsiteX54" fmla="*/ 378619 w 902494"/>
                  <a:gd name="connsiteY54" fmla="*/ 519112 h 852487"/>
                  <a:gd name="connsiteX55" fmla="*/ 385762 w 902494"/>
                  <a:gd name="connsiteY55" fmla="*/ 483393 h 852487"/>
                  <a:gd name="connsiteX56" fmla="*/ 357187 w 902494"/>
                  <a:gd name="connsiteY56" fmla="*/ 469106 h 852487"/>
                  <a:gd name="connsiteX57" fmla="*/ 357187 w 902494"/>
                  <a:gd name="connsiteY57" fmla="*/ 409575 h 852487"/>
                  <a:gd name="connsiteX58" fmla="*/ 330994 w 902494"/>
                  <a:gd name="connsiteY58" fmla="*/ 378618 h 852487"/>
                  <a:gd name="connsiteX59" fmla="*/ 350044 w 902494"/>
                  <a:gd name="connsiteY59" fmla="*/ 347662 h 852487"/>
                  <a:gd name="connsiteX60" fmla="*/ 340519 w 902494"/>
                  <a:gd name="connsiteY60" fmla="*/ 330993 h 852487"/>
                  <a:gd name="connsiteX61" fmla="*/ 314325 w 902494"/>
                  <a:gd name="connsiteY61" fmla="*/ 340518 h 852487"/>
                  <a:gd name="connsiteX62" fmla="*/ 238125 w 902494"/>
                  <a:gd name="connsiteY62" fmla="*/ 342900 h 852487"/>
                  <a:gd name="connsiteX63" fmla="*/ 207169 w 902494"/>
                  <a:gd name="connsiteY63" fmla="*/ 280987 h 852487"/>
                  <a:gd name="connsiteX64" fmla="*/ 169069 w 902494"/>
                  <a:gd name="connsiteY64" fmla="*/ 261937 h 852487"/>
                  <a:gd name="connsiteX65" fmla="*/ 169069 w 902494"/>
                  <a:gd name="connsiteY65" fmla="*/ 280987 h 852487"/>
                  <a:gd name="connsiteX66" fmla="*/ 142875 w 902494"/>
                  <a:gd name="connsiteY66" fmla="*/ 288131 h 852487"/>
                  <a:gd name="connsiteX67" fmla="*/ 102394 w 902494"/>
                  <a:gd name="connsiteY67" fmla="*/ 271462 h 852487"/>
                  <a:gd name="connsiteX68" fmla="*/ 150019 w 902494"/>
                  <a:gd name="connsiteY68" fmla="*/ 271462 h 852487"/>
                  <a:gd name="connsiteX69" fmla="*/ 140494 w 902494"/>
                  <a:gd name="connsiteY69" fmla="*/ 247650 h 852487"/>
                  <a:gd name="connsiteX70" fmla="*/ 147637 w 902494"/>
                  <a:gd name="connsiteY70" fmla="*/ 214312 h 852487"/>
                  <a:gd name="connsiteX71" fmla="*/ 128587 w 902494"/>
                  <a:gd name="connsiteY71" fmla="*/ 235743 h 852487"/>
                  <a:gd name="connsiteX72" fmla="*/ 92869 w 902494"/>
                  <a:gd name="connsiteY72" fmla="*/ 238125 h 852487"/>
                  <a:gd name="connsiteX73" fmla="*/ 40481 w 902494"/>
                  <a:gd name="connsiteY73" fmla="*/ 221456 h 85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902494" h="852487">
                    <a:moveTo>
                      <a:pt x="40481" y="221456"/>
                    </a:moveTo>
                    <a:lnTo>
                      <a:pt x="71437" y="200025"/>
                    </a:lnTo>
                    <a:lnTo>
                      <a:pt x="121444" y="176212"/>
                    </a:lnTo>
                    <a:lnTo>
                      <a:pt x="145256" y="166687"/>
                    </a:lnTo>
                    <a:lnTo>
                      <a:pt x="116681" y="130968"/>
                    </a:lnTo>
                    <a:lnTo>
                      <a:pt x="66675" y="135731"/>
                    </a:lnTo>
                    <a:lnTo>
                      <a:pt x="42862" y="138112"/>
                    </a:lnTo>
                    <a:lnTo>
                      <a:pt x="0" y="138112"/>
                    </a:lnTo>
                    <a:lnTo>
                      <a:pt x="23812" y="88106"/>
                    </a:lnTo>
                    <a:lnTo>
                      <a:pt x="47625" y="23812"/>
                    </a:lnTo>
                    <a:lnTo>
                      <a:pt x="80962" y="28575"/>
                    </a:lnTo>
                    <a:lnTo>
                      <a:pt x="123825" y="11906"/>
                    </a:lnTo>
                    <a:lnTo>
                      <a:pt x="161925" y="0"/>
                    </a:lnTo>
                    <a:lnTo>
                      <a:pt x="190500" y="33337"/>
                    </a:lnTo>
                    <a:lnTo>
                      <a:pt x="216694" y="28575"/>
                    </a:lnTo>
                    <a:lnTo>
                      <a:pt x="235744" y="61912"/>
                    </a:lnTo>
                    <a:lnTo>
                      <a:pt x="235744" y="61912"/>
                    </a:lnTo>
                    <a:lnTo>
                      <a:pt x="273844" y="97631"/>
                    </a:lnTo>
                    <a:lnTo>
                      <a:pt x="302419" y="95250"/>
                    </a:lnTo>
                    <a:lnTo>
                      <a:pt x="316706" y="59531"/>
                    </a:lnTo>
                    <a:cubicBezTo>
                      <a:pt x="337418" y="51764"/>
                      <a:pt x="329690" y="55419"/>
                      <a:pt x="340519" y="50006"/>
                    </a:cubicBezTo>
                    <a:lnTo>
                      <a:pt x="359569" y="23812"/>
                    </a:lnTo>
                    <a:lnTo>
                      <a:pt x="352425" y="0"/>
                    </a:lnTo>
                    <a:lnTo>
                      <a:pt x="378619" y="9525"/>
                    </a:lnTo>
                    <a:lnTo>
                      <a:pt x="402431" y="19050"/>
                    </a:lnTo>
                    <a:lnTo>
                      <a:pt x="461962" y="71437"/>
                    </a:lnTo>
                    <a:lnTo>
                      <a:pt x="521494" y="126206"/>
                    </a:lnTo>
                    <a:lnTo>
                      <a:pt x="590550" y="169068"/>
                    </a:lnTo>
                    <a:lnTo>
                      <a:pt x="635794" y="211931"/>
                    </a:lnTo>
                    <a:lnTo>
                      <a:pt x="707231" y="226218"/>
                    </a:lnTo>
                    <a:lnTo>
                      <a:pt x="738187" y="252412"/>
                    </a:lnTo>
                    <a:lnTo>
                      <a:pt x="781050" y="273843"/>
                    </a:lnTo>
                    <a:cubicBezTo>
                      <a:pt x="780256" y="297656"/>
                      <a:pt x="779463" y="321468"/>
                      <a:pt x="778669" y="345281"/>
                    </a:cubicBezTo>
                    <a:lnTo>
                      <a:pt x="823912" y="431006"/>
                    </a:lnTo>
                    <a:lnTo>
                      <a:pt x="859631" y="531018"/>
                    </a:lnTo>
                    <a:lnTo>
                      <a:pt x="883444" y="597693"/>
                    </a:lnTo>
                    <a:lnTo>
                      <a:pt x="902494" y="692943"/>
                    </a:lnTo>
                    <a:lnTo>
                      <a:pt x="895350" y="723900"/>
                    </a:lnTo>
                    <a:lnTo>
                      <a:pt x="833437" y="735806"/>
                    </a:lnTo>
                    <a:lnTo>
                      <a:pt x="788194" y="762000"/>
                    </a:lnTo>
                    <a:lnTo>
                      <a:pt x="742950" y="776287"/>
                    </a:lnTo>
                    <a:lnTo>
                      <a:pt x="716756" y="773906"/>
                    </a:lnTo>
                    <a:lnTo>
                      <a:pt x="690562" y="812006"/>
                    </a:lnTo>
                    <a:lnTo>
                      <a:pt x="652462" y="835818"/>
                    </a:lnTo>
                    <a:lnTo>
                      <a:pt x="616744" y="852487"/>
                    </a:lnTo>
                    <a:lnTo>
                      <a:pt x="571500" y="788193"/>
                    </a:lnTo>
                    <a:lnTo>
                      <a:pt x="590550" y="762000"/>
                    </a:lnTo>
                    <a:lnTo>
                      <a:pt x="571500" y="721518"/>
                    </a:lnTo>
                    <a:lnTo>
                      <a:pt x="528637" y="742950"/>
                    </a:lnTo>
                    <a:lnTo>
                      <a:pt x="495300" y="716756"/>
                    </a:lnTo>
                    <a:lnTo>
                      <a:pt x="454819" y="692943"/>
                    </a:lnTo>
                    <a:lnTo>
                      <a:pt x="438150" y="709612"/>
                    </a:lnTo>
                    <a:lnTo>
                      <a:pt x="407194" y="669131"/>
                    </a:lnTo>
                    <a:lnTo>
                      <a:pt x="411956" y="592931"/>
                    </a:lnTo>
                    <a:lnTo>
                      <a:pt x="378619" y="519112"/>
                    </a:lnTo>
                    <a:lnTo>
                      <a:pt x="385762" y="483393"/>
                    </a:lnTo>
                    <a:lnTo>
                      <a:pt x="357187" y="469106"/>
                    </a:lnTo>
                    <a:lnTo>
                      <a:pt x="357187" y="409575"/>
                    </a:lnTo>
                    <a:lnTo>
                      <a:pt x="330994" y="378618"/>
                    </a:lnTo>
                    <a:lnTo>
                      <a:pt x="350044" y="347662"/>
                    </a:lnTo>
                    <a:lnTo>
                      <a:pt x="340519" y="330993"/>
                    </a:lnTo>
                    <a:cubicBezTo>
                      <a:pt x="315631" y="338460"/>
                      <a:pt x="322566" y="332277"/>
                      <a:pt x="314325" y="340518"/>
                    </a:cubicBezTo>
                    <a:lnTo>
                      <a:pt x="238125" y="342900"/>
                    </a:lnTo>
                    <a:lnTo>
                      <a:pt x="207169" y="280987"/>
                    </a:lnTo>
                    <a:lnTo>
                      <a:pt x="169069" y="261937"/>
                    </a:lnTo>
                    <a:lnTo>
                      <a:pt x="169069" y="280987"/>
                    </a:lnTo>
                    <a:lnTo>
                      <a:pt x="142875" y="288131"/>
                    </a:lnTo>
                    <a:lnTo>
                      <a:pt x="102394" y="271462"/>
                    </a:lnTo>
                    <a:lnTo>
                      <a:pt x="150019" y="271462"/>
                    </a:lnTo>
                    <a:lnTo>
                      <a:pt x="140494" y="247650"/>
                    </a:lnTo>
                    <a:lnTo>
                      <a:pt x="147637" y="214312"/>
                    </a:lnTo>
                    <a:lnTo>
                      <a:pt x="128587" y="235743"/>
                    </a:lnTo>
                    <a:lnTo>
                      <a:pt x="92869" y="238125"/>
                    </a:lnTo>
                    <a:lnTo>
                      <a:pt x="40481" y="2214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0" name="Rettangolo 249"/>
              <p:cNvSpPr/>
              <p:nvPr/>
            </p:nvSpPr>
            <p:spPr>
              <a:xfrm>
                <a:off x="1116307" y="1711709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orino</a:t>
                </a:r>
              </a:p>
            </p:txBody>
          </p:sp>
          <p:sp>
            <p:nvSpPr>
              <p:cNvPr id="251" name="Rettangolo 250"/>
              <p:cNvSpPr/>
              <p:nvPr/>
            </p:nvSpPr>
            <p:spPr>
              <a:xfrm>
                <a:off x="350057" y="1185525"/>
                <a:ext cx="882912" cy="23409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ione/Parigi</a:t>
                </a:r>
              </a:p>
            </p:txBody>
          </p:sp>
          <p:sp>
            <p:nvSpPr>
              <p:cNvPr id="252" name="Rettangolo 251"/>
              <p:cNvSpPr/>
              <p:nvPr/>
            </p:nvSpPr>
            <p:spPr>
              <a:xfrm>
                <a:off x="1559901" y="1974186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Genova</a:t>
                </a:r>
              </a:p>
            </p:txBody>
          </p:sp>
          <p:sp>
            <p:nvSpPr>
              <p:cNvPr id="253" name="Rettangolo 252"/>
              <p:cNvSpPr/>
              <p:nvPr/>
            </p:nvSpPr>
            <p:spPr>
              <a:xfrm>
                <a:off x="760525" y="2362669"/>
                <a:ext cx="618434" cy="649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entimiglia/ Marsiglia</a:t>
                </a:r>
              </a:p>
            </p:txBody>
          </p:sp>
          <p:sp>
            <p:nvSpPr>
              <p:cNvPr id="254" name="Rettangolo 253"/>
              <p:cNvSpPr/>
              <p:nvPr/>
            </p:nvSpPr>
            <p:spPr>
              <a:xfrm>
                <a:off x="1368531" y="1249115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ilano</a:t>
                </a:r>
              </a:p>
            </p:txBody>
          </p:sp>
          <p:sp>
            <p:nvSpPr>
              <p:cNvPr id="255" name="Rettangolo 254"/>
              <p:cNvSpPr/>
              <p:nvPr/>
            </p:nvSpPr>
            <p:spPr>
              <a:xfrm>
                <a:off x="1461267" y="686156"/>
                <a:ext cx="1075475" cy="2285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Zurigo</a:t>
                </a:r>
              </a:p>
            </p:txBody>
          </p:sp>
          <p:sp>
            <p:nvSpPr>
              <p:cNvPr id="256" name="Rettangolo 255"/>
              <p:cNvSpPr/>
              <p:nvPr/>
            </p:nvSpPr>
            <p:spPr>
              <a:xfrm>
                <a:off x="939674" y="626451"/>
                <a:ext cx="1075475" cy="18788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Ginevra</a:t>
                </a:r>
              </a:p>
            </p:txBody>
          </p:sp>
          <p:sp>
            <p:nvSpPr>
              <p:cNvPr id="257" name="Rettangolo 256"/>
              <p:cNvSpPr/>
              <p:nvPr/>
            </p:nvSpPr>
            <p:spPr>
              <a:xfrm>
                <a:off x="2550930" y="1222257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erona</a:t>
                </a:r>
              </a:p>
            </p:txBody>
          </p:sp>
          <p:sp>
            <p:nvSpPr>
              <p:cNvPr id="258" name="Rettangolo 257"/>
              <p:cNvSpPr/>
              <p:nvPr/>
            </p:nvSpPr>
            <p:spPr>
              <a:xfrm>
                <a:off x="3240410" y="1517712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enezia</a:t>
                </a:r>
              </a:p>
            </p:txBody>
          </p:sp>
          <p:sp>
            <p:nvSpPr>
              <p:cNvPr id="259" name="Rettangolo 258"/>
              <p:cNvSpPr/>
              <p:nvPr/>
            </p:nvSpPr>
            <p:spPr>
              <a:xfrm>
                <a:off x="3645702" y="1451216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rieste</a:t>
                </a:r>
              </a:p>
            </p:txBody>
          </p:sp>
          <p:sp>
            <p:nvSpPr>
              <p:cNvPr id="260" name="Rettangolo 259"/>
              <p:cNvSpPr/>
              <p:nvPr/>
            </p:nvSpPr>
            <p:spPr>
              <a:xfrm>
                <a:off x="3143039" y="628327"/>
                <a:ext cx="1301148" cy="21400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ienna</a:t>
                </a:r>
              </a:p>
            </p:txBody>
          </p:sp>
          <p:sp>
            <p:nvSpPr>
              <p:cNvPr id="261" name="Rettangolo 260"/>
              <p:cNvSpPr/>
              <p:nvPr/>
            </p:nvSpPr>
            <p:spPr>
              <a:xfrm>
                <a:off x="3564501" y="1122923"/>
                <a:ext cx="1403271" cy="18856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ubiana/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udapest</a:t>
                </a:r>
              </a:p>
            </p:txBody>
          </p:sp>
          <p:sp>
            <p:nvSpPr>
              <p:cNvPr id="262" name="Rettangolo 261"/>
              <p:cNvSpPr/>
              <p:nvPr/>
            </p:nvSpPr>
            <p:spPr>
              <a:xfrm>
                <a:off x="2879389" y="1759171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ologna</a:t>
                </a:r>
              </a:p>
            </p:txBody>
          </p:sp>
          <p:sp>
            <p:nvSpPr>
              <p:cNvPr id="263" name="Rettangolo 262"/>
              <p:cNvSpPr/>
              <p:nvPr/>
            </p:nvSpPr>
            <p:spPr>
              <a:xfrm>
                <a:off x="2474008" y="2134535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Firenze</a:t>
                </a:r>
              </a:p>
            </p:txBody>
          </p:sp>
          <p:sp>
            <p:nvSpPr>
              <p:cNvPr id="264" name="Rettangolo 263"/>
              <p:cNvSpPr/>
              <p:nvPr/>
            </p:nvSpPr>
            <p:spPr>
              <a:xfrm>
                <a:off x="2984514" y="338815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oma</a:t>
                </a:r>
              </a:p>
            </p:txBody>
          </p:sp>
          <p:sp>
            <p:nvSpPr>
              <p:cNvPr id="265" name="Rettangolo 264"/>
              <p:cNvSpPr/>
              <p:nvPr/>
            </p:nvSpPr>
            <p:spPr>
              <a:xfrm>
                <a:off x="3638335" y="3902222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apoli</a:t>
                </a:r>
              </a:p>
            </p:txBody>
          </p:sp>
          <p:sp>
            <p:nvSpPr>
              <p:cNvPr id="266" name="Rettangolo 265"/>
              <p:cNvSpPr/>
              <p:nvPr/>
            </p:nvSpPr>
            <p:spPr>
              <a:xfrm>
                <a:off x="3937246" y="2814093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escara</a:t>
                </a:r>
              </a:p>
            </p:txBody>
          </p:sp>
          <p:sp>
            <p:nvSpPr>
              <p:cNvPr id="267" name="Rettangolo 266"/>
              <p:cNvSpPr/>
              <p:nvPr/>
            </p:nvSpPr>
            <p:spPr>
              <a:xfrm>
                <a:off x="4163106" y="5056007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essina </a:t>
                </a:r>
              </a:p>
            </p:txBody>
          </p:sp>
          <p:sp>
            <p:nvSpPr>
              <p:cNvPr id="268" name="Rettangolo 267"/>
              <p:cNvSpPr/>
              <p:nvPr/>
            </p:nvSpPr>
            <p:spPr>
              <a:xfrm>
                <a:off x="4344978" y="5542948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atania</a:t>
                </a:r>
              </a:p>
            </p:txBody>
          </p:sp>
          <p:sp>
            <p:nvSpPr>
              <p:cNvPr id="269" name="Rettangolo 268"/>
              <p:cNvSpPr/>
              <p:nvPr/>
            </p:nvSpPr>
            <p:spPr>
              <a:xfrm>
                <a:off x="3261248" y="5022732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alermo</a:t>
                </a:r>
              </a:p>
            </p:txBody>
          </p:sp>
          <p:sp>
            <p:nvSpPr>
              <p:cNvPr id="270" name="Figura a mano libera 269"/>
              <p:cNvSpPr/>
              <p:nvPr/>
            </p:nvSpPr>
            <p:spPr>
              <a:xfrm>
                <a:off x="3306780" y="3353155"/>
                <a:ext cx="734055" cy="492705"/>
              </a:xfrm>
              <a:custGeom>
                <a:avLst/>
                <a:gdLst>
                  <a:gd name="connsiteX0" fmla="*/ 0 w 667813"/>
                  <a:gd name="connsiteY0" fmla="*/ 0 h 419100"/>
                  <a:gd name="connsiteX1" fmla="*/ 314325 w 667813"/>
                  <a:gd name="connsiteY1" fmla="*/ 114300 h 419100"/>
                  <a:gd name="connsiteX2" fmla="*/ 552450 w 667813"/>
                  <a:gd name="connsiteY2" fmla="*/ 247650 h 419100"/>
                  <a:gd name="connsiteX3" fmla="*/ 666750 w 667813"/>
                  <a:gd name="connsiteY3" fmla="*/ 333375 h 419100"/>
                  <a:gd name="connsiteX4" fmla="*/ 628650 w 667813"/>
                  <a:gd name="connsiteY4" fmla="*/ 419100 h 419100"/>
                  <a:gd name="connsiteX0" fmla="*/ 0 w 628650"/>
                  <a:gd name="connsiteY0" fmla="*/ 0 h 419100"/>
                  <a:gd name="connsiteX1" fmla="*/ 314325 w 628650"/>
                  <a:gd name="connsiteY1" fmla="*/ 114300 h 419100"/>
                  <a:gd name="connsiteX2" fmla="*/ 552450 w 628650"/>
                  <a:gd name="connsiteY2" fmla="*/ 247650 h 419100"/>
                  <a:gd name="connsiteX3" fmla="*/ 628650 w 628650"/>
                  <a:gd name="connsiteY3" fmla="*/ 419100 h 419100"/>
                  <a:gd name="connsiteX0" fmla="*/ 0 w 628650"/>
                  <a:gd name="connsiteY0" fmla="*/ 0 h 419100"/>
                  <a:gd name="connsiteX1" fmla="*/ 314325 w 628650"/>
                  <a:gd name="connsiteY1" fmla="*/ 114300 h 419100"/>
                  <a:gd name="connsiteX2" fmla="*/ 600075 w 628650"/>
                  <a:gd name="connsiteY2" fmla="*/ 266700 h 419100"/>
                  <a:gd name="connsiteX3" fmla="*/ 628650 w 628650"/>
                  <a:gd name="connsiteY3" fmla="*/ 419100 h 419100"/>
                  <a:gd name="connsiteX0" fmla="*/ 0 w 620907"/>
                  <a:gd name="connsiteY0" fmla="*/ 0 h 400050"/>
                  <a:gd name="connsiteX1" fmla="*/ 314325 w 620907"/>
                  <a:gd name="connsiteY1" fmla="*/ 114300 h 400050"/>
                  <a:gd name="connsiteX2" fmla="*/ 600075 w 620907"/>
                  <a:gd name="connsiteY2" fmla="*/ 266700 h 400050"/>
                  <a:gd name="connsiteX3" fmla="*/ 609600 w 620907"/>
                  <a:gd name="connsiteY3" fmla="*/ 400050 h 400050"/>
                  <a:gd name="connsiteX0" fmla="*/ 0 w 620907"/>
                  <a:gd name="connsiteY0" fmla="*/ 0 h 400050"/>
                  <a:gd name="connsiteX1" fmla="*/ 314325 w 620907"/>
                  <a:gd name="connsiteY1" fmla="*/ 114300 h 400050"/>
                  <a:gd name="connsiteX2" fmla="*/ 600075 w 620907"/>
                  <a:gd name="connsiteY2" fmla="*/ 266700 h 400050"/>
                  <a:gd name="connsiteX3" fmla="*/ 609600 w 620907"/>
                  <a:gd name="connsiteY3" fmla="*/ 400050 h 400050"/>
                  <a:gd name="connsiteX0" fmla="*/ 0 w 628650"/>
                  <a:gd name="connsiteY0" fmla="*/ 0 h 428625"/>
                  <a:gd name="connsiteX1" fmla="*/ 314325 w 628650"/>
                  <a:gd name="connsiteY1" fmla="*/ 114300 h 428625"/>
                  <a:gd name="connsiteX2" fmla="*/ 600075 w 628650"/>
                  <a:gd name="connsiteY2" fmla="*/ 266700 h 428625"/>
                  <a:gd name="connsiteX3" fmla="*/ 628650 w 628650"/>
                  <a:gd name="connsiteY3" fmla="*/ 428625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8650" h="428625">
                    <a:moveTo>
                      <a:pt x="0" y="0"/>
                    </a:moveTo>
                    <a:cubicBezTo>
                      <a:pt x="111125" y="36512"/>
                      <a:pt x="214313" y="69850"/>
                      <a:pt x="314325" y="114300"/>
                    </a:cubicBezTo>
                    <a:cubicBezTo>
                      <a:pt x="414337" y="158750"/>
                      <a:pt x="547688" y="214313"/>
                      <a:pt x="600075" y="266700"/>
                    </a:cubicBezTo>
                    <a:cubicBezTo>
                      <a:pt x="652462" y="319087"/>
                      <a:pt x="612775" y="392906"/>
                      <a:pt x="628650" y="428625"/>
                    </a:cubicBezTo>
                  </a:path>
                </a:pathLst>
              </a:custGeom>
              <a:noFill/>
              <a:ln w="28575">
                <a:solidFill>
                  <a:srgbClr val="3760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1" name="Figura a mano libera 270"/>
              <p:cNvSpPr/>
              <p:nvPr/>
            </p:nvSpPr>
            <p:spPr>
              <a:xfrm>
                <a:off x="2884143" y="1995478"/>
                <a:ext cx="22425" cy="262776"/>
              </a:xfrm>
              <a:custGeom>
                <a:avLst/>
                <a:gdLst>
                  <a:gd name="connsiteX0" fmla="*/ 0 w 19205"/>
                  <a:gd name="connsiteY0" fmla="*/ 0 h 228600"/>
                  <a:gd name="connsiteX1" fmla="*/ 19050 w 19205"/>
                  <a:gd name="connsiteY1" fmla="*/ 123825 h 228600"/>
                  <a:gd name="connsiteX2" fmla="*/ 9525 w 19205"/>
                  <a:gd name="connsiteY2" fmla="*/ 2286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205" h="228600">
                    <a:moveTo>
                      <a:pt x="0" y="0"/>
                    </a:moveTo>
                    <a:cubicBezTo>
                      <a:pt x="8731" y="42862"/>
                      <a:pt x="17462" y="85725"/>
                      <a:pt x="19050" y="123825"/>
                    </a:cubicBezTo>
                    <a:cubicBezTo>
                      <a:pt x="20638" y="161925"/>
                      <a:pt x="9525" y="228600"/>
                      <a:pt x="9525" y="228600"/>
                    </a:cubicBezTo>
                  </a:path>
                </a:pathLst>
              </a:custGeom>
              <a:noFill/>
              <a:ln w="28575">
                <a:solidFill>
                  <a:srgbClr val="3760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2" name="Figura a mano libera 271"/>
              <p:cNvSpPr/>
              <p:nvPr/>
            </p:nvSpPr>
            <p:spPr>
              <a:xfrm>
                <a:off x="1416032" y="1364194"/>
                <a:ext cx="470833" cy="226172"/>
              </a:xfrm>
              <a:custGeom>
                <a:avLst/>
                <a:gdLst>
                  <a:gd name="connsiteX0" fmla="*/ 0 w 504825"/>
                  <a:gd name="connsiteY0" fmla="*/ 194380 h 194380"/>
                  <a:gd name="connsiteX1" fmla="*/ 247650 w 504825"/>
                  <a:gd name="connsiteY1" fmla="*/ 13405 h 194380"/>
                  <a:gd name="connsiteX2" fmla="*/ 504825 w 504825"/>
                  <a:gd name="connsiteY2" fmla="*/ 13405 h 194380"/>
                  <a:gd name="connsiteX0" fmla="*/ 0 w 403225"/>
                  <a:gd name="connsiteY0" fmla="*/ 196756 h 196756"/>
                  <a:gd name="connsiteX1" fmla="*/ 247650 w 403225"/>
                  <a:gd name="connsiteY1" fmla="*/ 15781 h 196756"/>
                  <a:gd name="connsiteX2" fmla="*/ 403225 w 403225"/>
                  <a:gd name="connsiteY2" fmla="*/ 7965 h 196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3225" h="196756">
                    <a:moveTo>
                      <a:pt x="0" y="196756"/>
                    </a:moveTo>
                    <a:cubicBezTo>
                      <a:pt x="81756" y="121349"/>
                      <a:pt x="163513" y="45943"/>
                      <a:pt x="247650" y="15781"/>
                    </a:cubicBezTo>
                    <a:cubicBezTo>
                      <a:pt x="331787" y="-14381"/>
                      <a:pt x="403225" y="7965"/>
                      <a:pt x="403225" y="7965"/>
                    </a:cubicBezTo>
                  </a:path>
                </a:pathLst>
              </a:custGeom>
              <a:noFill/>
              <a:ln w="28575">
                <a:solidFill>
                  <a:srgbClr val="3760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3" name="Rettangolo 272"/>
              <p:cNvSpPr/>
              <p:nvPr/>
            </p:nvSpPr>
            <p:spPr>
              <a:xfrm>
                <a:off x="3949702" y="404421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alerno</a:t>
                </a:r>
              </a:p>
            </p:txBody>
          </p:sp>
          <p:sp>
            <p:nvSpPr>
              <p:cNvPr id="274" name="Figura a mano libera 273"/>
              <p:cNvSpPr/>
              <p:nvPr/>
            </p:nvSpPr>
            <p:spPr>
              <a:xfrm>
                <a:off x="4037488" y="3511926"/>
                <a:ext cx="505980" cy="322985"/>
              </a:xfrm>
              <a:custGeom>
                <a:avLst/>
                <a:gdLst>
                  <a:gd name="connsiteX0" fmla="*/ 7746 w 436371"/>
                  <a:gd name="connsiteY0" fmla="*/ 276225 h 276225"/>
                  <a:gd name="connsiteX1" fmla="*/ 17271 w 436371"/>
                  <a:gd name="connsiteY1" fmla="*/ 171450 h 276225"/>
                  <a:gd name="connsiteX2" fmla="*/ 160146 w 436371"/>
                  <a:gd name="connsiteY2" fmla="*/ 85725 h 276225"/>
                  <a:gd name="connsiteX3" fmla="*/ 274446 w 436371"/>
                  <a:gd name="connsiteY3" fmla="*/ 114300 h 276225"/>
                  <a:gd name="connsiteX4" fmla="*/ 360171 w 436371"/>
                  <a:gd name="connsiteY4" fmla="*/ 28575 h 276225"/>
                  <a:gd name="connsiteX5" fmla="*/ 341121 w 436371"/>
                  <a:gd name="connsiteY5" fmla="*/ 9525 h 276225"/>
                  <a:gd name="connsiteX6" fmla="*/ 436371 w 436371"/>
                  <a:gd name="connsiteY6" fmla="*/ 0 h 276225"/>
                  <a:gd name="connsiteX0" fmla="*/ 7746 w 436371"/>
                  <a:gd name="connsiteY0" fmla="*/ 276225 h 276225"/>
                  <a:gd name="connsiteX1" fmla="*/ 17271 w 436371"/>
                  <a:gd name="connsiteY1" fmla="*/ 171450 h 276225"/>
                  <a:gd name="connsiteX2" fmla="*/ 160146 w 436371"/>
                  <a:gd name="connsiteY2" fmla="*/ 85725 h 276225"/>
                  <a:gd name="connsiteX3" fmla="*/ 274446 w 436371"/>
                  <a:gd name="connsiteY3" fmla="*/ 114300 h 276225"/>
                  <a:gd name="connsiteX4" fmla="*/ 360171 w 436371"/>
                  <a:gd name="connsiteY4" fmla="*/ 28575 h 276225"/>
                  <a:gd name="connsiteX5" fmla="*/ 436371 w 436371"/>
                  <a:gd name="connsiteY5" fmla="*/ 0 h 276225"/>
                  <a:gd name="connsiteX0" fmla="*/ 7746 w 436371"/>
                  <a:gd name="connsiteY0" fmla="*/ 276225 h 276225"/>
                  <a:gd name="connsiteX1" fmla="*/ 17271 w 436371"/>
                  <a:gd name="connsiteY1" fmla="*/ 171450 h 276225"/>
                  <a:gd name="connsiteX2" fmla="*/ 160146 w 436371"/>
                  <a:gd name="connsiteY2" fmla="*/ 114300 h 276225"/>
                  <a:gd name="connsiteX3" fmla="*/ 274446 w 436371"/>
                  <a:gd name="connsiteY3" fmla="*/ 114300 h 276225"/>
                  <a:gd name="connsiteX4" fmla="*/ 360171 w 436371"/>
                  <a:gd name="connsiteY4" fmla="*/ 28575 h 276225"/>
                  <a:gd name="connsiteX5" fmla="*/ 436371 w 436371"/>
                  <a:gd name="connsiteY5" fmla="*/ 0 h 276225"/>
                  <a:gd name="connsiteX0" fmla="*/ 7746 w 436371"/>
                  <a:gd name="connsiteY0" fmla="*/ 276225 h 276225"/>
                  <a:gd name="connsiteX1" fmla="*/ 17271 w 436371"/>
                  <a:gd name="connsiteY1" fmla="*/ 171450 h 276225"/>
                  <a:gd name="connsiteX2" fmla="*/ 160146 w 436371"/>
                  <a:gd name="connsiteY2" fmla="*/ 114300 h 276225"/>
                  <a:gd name="connsiteX3" fmla="*/ 312546 w 436371"/>
                  <a:gd name="connsiteY3" fmla="*/ 171450 h 276225"/>
                  <a:gd name="connsiteX4" fmla="*/ 360171 w 436371"/>
                  <a:gd name="connsiteY4" fmla="*/ 28575 h 276225"/>
                  <a:gd name="connsiteX5" fmla="*/ 436371 w 436371"/>
                  <a:gd name="connsiteY5" fmla="*/ 0 h 276225"/>
                  <a:gd name="connsiteX0" fmla="*/ 7746 w 436371"/>
                  <a:gd name="connsiteY0" fmla="*/ 276225 h 276225"/>
                  <a:gd name="connsiteX1" fmla="*/ 17271 w 436371"/>
                  <a:gd name="connsiteY1" fmla="*/ 171450 h 276225"/>
                  <a:gd name="connsiteX2" fmla="*/ 160146 w 436371"/>
                  <a:gd name="connsiteY2" fmla="*/ 114300 h 276225"/>
                  <a:gd name="connsiteX3" fmla="*/ 312546 w 436371"/>
                  <a:gd name="connsiteY3" fmla="*/ 171450 h 276225"/>
                  <a:gd name="connsiteX4" fmla="*/ 398271 w 436371"/>
                  <a:gd name="connsiteY4" fmla="*/ 66675 h 276225"/>
                  <a:gd name="connsiteX5" fmla="*/ 436371 w 436371"/>
                  <a:gd name="connsiteY5" fmla="*/ 0 h 276225"/>
                  <a:gd name="connsiteX0" fmla="*/ 7746 w 455421"/>
                  <a:gd name="connsiteY0" fmla="*/ 295275 h 295275"/>
                  <a:gd name="connsiteX1" fmla="*/ 17271 w 455421"/>
                  <a:gd name="connsiteY1" fmla="*/ 190500 h 295275"/>
                  <a:gd name="connsiteX2" fmla="*/ 160146 w 455421"/>
                  <a:gd name="connsiteY2" fmla="*/ 133350 h 295275"/>
                  <a:gd name="connsiteX3" fmla="*/ 312546 w 455421"/>
                  <a:gd name="connsiteY3" fmla="*/ 190500 h 295275"/>
                  <a:gd name="connsiteX4" fmla="*/ 398271 w 455421"/>
                  <a:gd name="connsiteY4" fmla="*/ 85725 h 295275"/>
                  <a:gd name="connsiteX5" fmla="*/ 455421 w 455421"/>
                  <a:gd name="connsiteY5" fmla="*/ 0 h 295275"/>
                  <a:gd name="connsiteX0" fmla="*/ 7746 w 455421"/>
                  <a:gd name="connsiteY0" fmla="*/ 295275 h 295275"/>
                  <a:gd name="connsiteX1" fmla="*/ 17271 w 455421"/>
                  <a:gd name="connsiteY1" fmla="*/ 190500 h 295275"/>
                  <a:gd name="connsiteX2" fmla="*/ 160146 w 455421"/>
                  <a:gd name="connsiteY2" fmla="*/ 133350 h 295275"/>
                  <a:gd name="connsiteX3" fmla="*/ 312546 w 455421"/>
                  <a:gd name="connsiteY3" fmla="*/ 190500 h 295275"/>
                  <a:gd name="connsiteX4" fmla="*/ 379221 w 455421"/>
                  <a:gd name="connsiteY4" fmla="*/ 47625 h 295275"/>
                  <a:gd name="connsiteX5" fmla="*/ 455421 w 455421"/>
                  <a:gd name="connsiteY5" fmla="*/ 0 h 295275"/>
                  <a:gd name="connsiteX0" fmla="*/ 606 w 543931"/>
                  <a:gd name="connsiteY0" fmla="*/ 295275 h 295275"/>
                  <a:gd name="connsiteX1" fmla="*/ 105781 w 543931"/>
                  <a:gd name="connsiteY1" fmla="*/ 190500 h 295275"/>
                  <a:gd name="connsiteX2" fmla="*/ 248656 w 543931"/>
                  <a:gd name="connsiteY2" fmla="*/ 133350 h 295275"/>
                  <a:gd name="connsiteX3" fmla="*/ 401056 w 543931"/>
                  <a:gd name="connsiteY3" fmla="*/ 190500 h 295275"/>
                  <a:gd name="connsiteX4" fmla="*/ 467731 w 543931"/>
                  <a:gd name="connsiteY4" fmla="*/ 47625 h 295275"/>
                  <a:gd name="connsiteX5" fmla="*/ 543931 w 543931"/>
                  <a:gd name="connsiteY5" fmla="*/ 0 h 295275"/>
                  <a:gd name="connsiteX0" fmla="*/ 607 w 543932"/>
                  <a:gd name="connsiteY0" fmla="*/ 295275 h 295275"/>
                  <a:gd name="connsiteX1" fmla="*/ 105782 w 543932"/>
                  <a:gd name="connsiteY1" fmla="*/ 190500 h 295275"/>
                  <a:gd name="connsiteX2" fmla="*/ 248656 w 543932"/>
                  <a:gd name="connsiteY2" fmla="*/ 74712 h 295275"/>
                  <a:gd name="connsiteX3" fmla="*/ 401057 w 543932"/>
                  <a:gd name="connsiteY3" fmla="*/ 190500 h 295275"/>
                  <a:gd name="connsiteX4" fmla="*/ 467732 w 543932"/>
                  <a:gd name="connsiteY4" fmla="*/ 47625 h 295275"/>
                  <a:gd name="connsiteX5" fmla="*/ 543932 w 543932"/>
                  <a:gd name="connsiteY5" fmla="*/ 0 h 295275"/>
                  <a:gd name="connsiteX0" fmla="*/ 607 w 543932"/>
                  <a:gd name="connsiteY0" fmla="*/ 295275 h 295275"/>
                  <a:gd name="connsiteX1" fmla="*/ 105782 w 543932"/>
                  <a:gd name="connsiteY1" fmla="*/ 190500 h 295275"/>
                  <a:gd name="connsiteX2" fmla="*/ 248656 w 543932"/>
                  <a:gd name="connsiteY2" fmla="*/ 74712 h 295275"/>
                  <a:gd name="connsiteX3" fmla="*/ 385115 w 543932"/>
                  <a:gd name="connsiteY3" fmla="*/ 148615 h 295275"/>
                  <a:gd name="connsiteX4" fmla="*/ 467732 w 543932"/>
                  <a:gd name="connsiteY4" fmla="*/ 47625 h 295275"/>
                  <a:gd name="connsiteX5" fmla="*/ 543932 w 543932"/>
                  <a:gd name="connsiteY5" fmla="*/ 0 h 295275"/>
                  <a:gd name="connsiteX0" fmla="*/ 607 w 543932"/>
                  <a:gd name="connsiteY0" fmla="*/ 321589 h 321589"/>
                  <a:gd name="connsiteX1" fmla="*/ 105782 w 543932"/>
                  <a:gd name="connsiteY1" fmla="*/ 216814 h 321589"/>
                  <a:gd name="connsiteX2" fmla="*/ 248656 w 543932"/>
                  <a:gd name="connsiteY2" fmla="*/ 101026 h 321589"/>
                  <a:gd name="connsiteX3" fmla="*/ 385115 w 543932"/>
                  <a:gd name="connsiteY3" fmla="*/ 174929 h 321589"/>
                  <a:gd name="connsiteX4" fmla="*/ 435849 w 543932"/>
                  <a:gd name="connsiteY4" fmla="*/ 6923 h 321589"/>
                  <a:gd name="connsiteX5" fmla="*/ 543932 w 543932"/>
                  <a:gd name="connsiteY5" fmla="*/ 26314 h 321589"/>
                  <a:gd name="connsiteX0" fmla="*/ 607 w 543932"/>
                  <a:gd name="connsiteY0" fmla="*/ 370667 h 370667"/>
                  <a:gd name="connsiteX1" fmla="*/ 105782 w 543932"/>
                  <a:gd name="connsiteY1" fmla="*/ 265892 h 370667"/>
                  <a:gd name="connsiteX2" fmla="*/ 248656 w 543932"/>
                  <a:gd name="connsiteY2" fmla="*/ 150104 h 370667"/>
                  <a:gd name="connsiteX3" fmla="*/ 385115 w 543932"/>
                  <a:gd name="connsiteY3" fmla="*/ 224007 h 370667"/>
                  <a:gd name="connsiteX4" fmla="*/ 435849 w 543932"/>
                  <a:gd name="connsiteY4" fmla="*/ 56001 h 370667"/>
                  <a:gd name="connsiteX5" fmla="*/ 543932 w 543932"/>
                  <a:gd name="connsiteY5" fmla="*/ 0 h 370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3932" h="370667">
                    <a:moveTo>
                      <a:pt x="607" y="370667"/>
                    </a:moveTo>
                    <a:cubicBezTo>
                      <a:pt x="-7331" y="334154"/>
                      <a:pt x="64441" y="302652"/>
                      <a:pt x="105782" y="265892"/>
                    </a:cubicBezTo>
                    <a:cubicBezTo>
                      <a:pt x="147123" y="229132"/>
                      <a:pt x="202101" y="157085"/>
                      <a:pt x="248656" y="150104"/>
                    </a:cubicBezTo>
                    <a:cubicBezTo>
                      <a:pt x="295211" y="143123"/>
                      <a:pt x="353916" y="239691"/>
                      <a:pt x="385115" y="224007"/>
                    </a:cubicBezTo>
                    <a:cubicBezTo>
                      <a:pt x="416314" y="208323"/>
                      <a:pt x="409380" y="93336"/>
                      <a:pt x="435849" y="56001"/>
                    </a:cubicBezTo>
                    <a:cubicBezTo>
                      <a:pt x="462319" y="18666"/>
                      <a:pt x="528057" y="5953"/>
                      <a:pt x="543932" y="0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5" name="Figura a mano libera 274"/>
              <p:cNvSpPr/>
              <p:nvPr/>
            </p:nvSpPr>
            <p:spPr>
              <a:xfrm>
                <a:off x="4037782" y="3765957"/>
                <a:ext cx="207298" cy="216063"/>
              </a:xfrm>
              <a:custGeom>
                <a:avLst/>
                <a:gdLst>
                  <a:gd name="connsiteX0" fmla="*/ 19247 w 234088"/>
                  <a:gd name="connsiteY0" fmla="*/ 76483 h 219358"/>
                  <a:gd name="connsiteX1" fmla="*/ 19247 w 234088"/>
                  <a:gd name="connsiteY1" fmla="*/ 283 h 219358"/>
                  <a:gd name="connsiteX2" fmla="*/ 219272 w 234088"/>
                  <a:gd name="connsiteY2" fmla="*/ 57433 h 219358"/>
                  <a:gd name="connsiteX3" fmla="*/ 219272 w 234088"/>
                  <a:gd name="connsiteY3" fmla="*/ 219358 h 219358"/>
                  <a:gd name="connsiteX4" fmla="*/ 219272 w 234088"/>
                  <a:gd name="connsiteY4" fmla="*/ 219358 h 219358"/>
                  <a:gd name="connsiteX0" fmla="*/ 17251 w 217276"/>
                  <a:gd name="connsiteY0" fmla="*/ 76200 h 219075"/>
                  <a:gd name="connsiteX1" fmla="*/ 17251 w 217276"/>
                  <a:gd name="connsiteY1" fmla="*/ 0 h 219075"/>
                  <a:gd name="connsiteX2" fmla="*/ 188701 w 217276"/>
                  <a:gd name="connsiteY2" fmla="*/ 76200 h 219075"/>
                  <a:gd name="connsiteX3" fmla="*/ 217276 w 217276"/>
                  <a:gd name="connsiteY3" fmla="*/ 219075 h 219075"/>
                  <a:gd name="connsiteX4" fmla="*/ 217276 w 217276"/>
                  <a:gd name="connsiteY4" fmla="*/ 219075 h 219075"/>
                  <a:gd name="connsiteX0" fmla="*/ 2718 w 202743"/>
                  <a:gd name="connsiteY0" fmla="*/ 29304 h 172179"/>
                  <a:gd name="connsiteX1" fmla="*/ 78918 w 202743"/>
                  <a:gd name="connsiteY1" fmla="*/ 729 h 172179"/>
                  <a:gd name="connsiteX2" fmla="*/ 174168 w 202743"/>
                  <a:gd name="connsiteY2" fmla="*/ 29304 h 172179"/>
                  <a:gd name="connsiteX3" fmla="*/ 202743 w 202743"/>
                  <a:gd name="connsiteY3" fmla="*/ 172179 h 172179"/>
                  <a:gd name="connsiteX4" fmla="*/ 202743 w 202743"/>
                  <a:gd name="connsiteY4" fmla="*/ 172179 h 172179"/>
                  <a:gd name="connsiteX0" fmla="*/ 2616 w 202641"/>
                  <a:gd name="connsiteY0" fmla="*/ 31412 h 174287"/>
                  <a:gd name="connsiteX1" fmla="*/ 78816 w 202641"/>
                  <a:gd name="connsiteY1" fmla="*/ 2837 h 174287"/>
                  <a:gd name="connsiteX2" fmla="*/ 155016 w 202641"/>
                  <a:gd name="connsiteY2" fmla="*/ 59987 h 174287"/>
                  <a:gd name="connsiteX3" fmla="*/ 202641 w 202641"/>
                  <a:gd name="connsiteY3" fmla="*/ 174287 h 174287"/>
                  <a:gd name="connsiteX4" fmla="*/ 202641 w 202641"/>
                  <a:gd name="connsiteY4" fmla="*/ 174287 h 174287"/>
                  <a:gd name="connsiteX0" fmla="*/ 2616 w 203121"/>
                  <a:gd name="connsiteY0" fmla="*/ 31412 h 193337"/>
                  <a:gd name="connsiteX1" fmla="*/ 78816 w 203121"/>
                  <a:gd name="connsiteY1" fmla="*/ 2837 h 193337"/>
                  <a:gd name="connsiteX2" fmla="*/ 155016 w 203121"/>
                  <a:gd name="connsiteY2" fmla="*/ 59987 h 193337"/>
                  <a:gd name="connsiteX3" fmla="*/ 202641 w 203121"/>
                  <a:gd name="connsiteY3" fmla="*/ 174287 h 193337"/>
                  <a:gd name="connsiteX4" fmla="*/ 126441 w 203121"/>
                  <a:gd name="connsiteY4" fmla="*/ 193337 h 193337"/>
                  <a:gd name="connsiteX0" fmla="*/ 2616 w 203121"/>
                  <a:gd name="connsiteY0" fmla="*/ 31412 h 174287"/>
                  <a:gd name="connsiteX1" fmla="*/ 78816 w 203121"/>
                  <a:gd name="connsiteY1" fmla="*/ 2837 h 174287"/>
                  <a:gd name="connsiteX2" fmla="*/ 155016 w 203121"/>
                  <a:gd name="connsiteY2" fmla="*/ 59987 h 174287"/>
                  <a:gd name="connsiteX3" fmla="*/ 202641 w 203121"/>
                  <a:gd name="connsiteY3" fmla="*/ 174287 h 17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121" h="174287">
                    <a:moveTo>
                      <a:pt x="2616" y="31412"/>
                    </a:moveTo>
                    <a:cubicBezTo>
                      <a:pt x="-14053" y="-5101"/>
                      <a:pt x="53416" y="-1925"/>
                      <a:pt x="78816" y="2837"/>
                    </a:cubicBezTo>
                    <a:cubicBezTo>
                      <a:pt x="104216" y="7599"/>
                      <a:pt x="134379" y="31412"/>
                      <a:pt x="155016" y="59987"/>
                    </a:cubicBezTo>
                    <a:cubicBezTo>
                      <a:pt x="175653" y="88562"/>
                      <a:pt x="207404" y="152062"/>
                      <a:pt x="202641" y="174287"/>
                    </a:cubicBezTo>
                  </a:path>
                </a:pathLst>
              </a:custGeom>
              <a:noFill/>
              <a:ln w="28575">
                <a:solidFill>
                  <a:srgbClr val="3760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6" name="Figura a mano libera 275"/>
              <p:cNvSpPr/>
              <p:nvPr/>
            </p:nvSpPr>
            <p:spPr>
              <a:xfrm>
                <a:off x="3907369" y="3002786"/>
                <a:ext cx="879638" cy="592553"/>
              </a:xfrm>
              <a:custGeom>
                <a:avLst/>
                <a:gdLst>
                  <a:gd name="connsiteX0" fmla="*/ 0 w 1504950"/>
                  <a:gd name="connsiteY0" fmla="*/ 0 h 1000125"/>
                  <a:gd name="connsiteX1" fmla="*/ 342900 w 1504950"/>
                  <a:gd name="connsiteY1" fmla="*/ 247650 h 1000125"/>
                  <a:gd name="connsiteX2" fmla="*/ 533400 w 1504950"/>
                  <a:gd name="connsiteY2" fmla="*/ 409575 h 1000125"/>
                  <a:gd name="connsiteX3" fmla="*/ 923925 w 1504950"/>
                  <a:gd name="connsiteY3" fmla="*/ 590550 h 1000125"/>
                  <a:gd name="connsiteX4" fmla="*/ 1428750 w 1504950"/>
                  <a:gd name="connsiteY4" fmla="*/ 866775 h 1000125"/>
                  <a:gd name="connsiteX5" fmla="*/ 1504950 w 1504950"/>
                  <a:gd name="connsiteY5" fmla="*/ 1000125 h 1000125"/>
                  <a:gd name="connsiteX0" fmla="*/ 0 w 1428750"/>
                  <a:gd name="connsiteY0" fmla="*/ 0 h 866775"/>
                  <a:gd name="connsiteX1" fmla="*/ 342900 w 1428750"/>
                  <a:gd name="connsiteY1" fmla="*/ 247650 h 866775"/>
                  <a:gd name="connsiteX2" fmla="*/ 533400 w 1428750"/>
                  <a:gd name="connsiteY2" fmla="*/ 409575 h 866775"/>
                  <a:gd name="connsiteX3" fmla="*/ 923925 w 1428750"/>
                  <a:gd name="connsiteY3" fmla="*/ 590550 h 866775"/>
                  <a:gd name="connsiteX4" fmla="*/ 1428750 w 1428750"/>
                  <a:gd name="connsiteY4" fmla="*/ 866775 h 866775"/>
                  <a:gd name="connsiteX0" fmla="*/ 0 w 923925"/>
                  <a:gd name="connsiteY0" fmla="*/ 0 h 590550"/>
                  <a:gd name="connsiteX1" fmla="*/ 342900 w 923925"/>
                  <a:gd name="connsiteY1" fmla="*/ 247650 h 590550"/>
                  <a:gd name="connsiteX2" fmla="*/ 533400 w 923925"/>
                  <a:gd name="connsiteY2" fmla="*/ 409575 h 590550"/>
                  <a:gd name="connsiteX3" fmla="*/ 923925 w 923925"/>
                  <a:gd name="connsiteY3" fmla="*/ 590550 h 590550"/>
                  <a:gd name="connsiteX0" fmla="*/ 0 w 753328"/>
                  <a:gd name="connsiteY0" fmla="*/ 0 h 515487"/>
                  <a:gd name="connsiteX1" fmla="*/ 342900 w 753328"/>
                  <a:gd name="connsiteY1" fmla="*/ 247650 h 515487"/>
                  <a:gd name="connsiteX2" fmla="*/ 533400 w 753328"/>
                  <a:gd name="connsiteY2" fmla="*/ 409575 h 515487"/>
                  <a:gd name="connsiteX3" fmla="*/ 753328 w 753328"/>
                  <a:gd name="connsiteY3" fmla="*/ 515487 h 51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3328" h="515487">
                    <a:moveTo>
                      <a:pt x="0" y="0"/>
                    </a:moveTo>
                    <a:cubicBezTo>
                      <a:pt x="127000" y="89694"/>
                      <a:pt x="254000" y="179388"/>
                      <a:pt x="342900" y="247650"/>
                    </a:cubicBezTo>
                    <a:cubicBezTo>
                      <a:pt x="431800" y="315912"/>
                      <a:pt x="464995" y="364935"/>
                      <a:pt x="533400" y="409575"/>
                    </a:cubicBezTo>
                    <a:cubicBezTo>
                      <a:pt x="601805" y="454215"/>
                      <a:pt x="604103" y="439287"/>
                      <a:pt x="753328" y="515487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7" name="Rettangolo 276"/>
              <p:cNvSpPr/>
              <p:nvPr/>
            </p:nvSpPr>
            <p:spPr>
              <a:xfrm>
                <a:off x="4560493" y="3339916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Foggia</a:t>
                </a:r>
              </a:p>
            </p:txBody>
          </p:sp>
          <p:sp>
            <p:nvSpPr>
              <p:cNvPr id="278" name="Rettangolo 277"/>
              <p:cNvSpPr/>
              <p:nvPr/>
            </p:nvSpPr>
            <p:spPr>
              <a:xfrm>
                <a:off x="5765003" y="4149813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ecce</a:t>
                </a:r>
              </a:p>
            </p:txBody>
          </p:sp>
          <p:sp>
            <p:nvSpPr>
              <p:cNvPr id="279" name="Figura a mano libera 278"/>
              <p:cNvSpPr/>
              <p:nvPr/>
            </p:nvSpPr>
            <p:spPr>
              <a:xfrm>
                <a:off x="4051957" y="3692467"/>
                <a:ext cx="122342" cy="21898"/>
              </a:xfrm>
              <a:custGeom>
                <a:avLst/>
                <a:gdLst>
                  <a:gd name="connsiteX0" fmla="*/ 0 w 104775"/>
                  <a:gd name="connsiteY0" fmla="*/ 0 h 19050"/>
                  <a:gd name="connsiteX1" fmla="*/ 104775 w 104775"/>
                  <a:gd name="connsiteY1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4775" h="19050">
                    <a:moveTo>
                      <a:pt x="0" y="0"/>
                    </a:moveTo>
                    <a:lnTo>
                      <a:pt x="104775" y="19050"/>
                    </a:ln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0" name="Figura a mano libera 279"/>
              <p:cNvSpPr/>
              <p:nvPr/>
            </p:nvSpPr>
            <p:spPr>
              <a:xfrm>
                <a:off x="3529221" y="5279841"/>
                <a:ext cx="244685" cy="65927"/>
              </a:xfrm>
              <a:custGeom>
                <a:avLst/>
                <a:gdLst>
                  <a:gd name="connsiteX0" fmla="*/ 0 w 238125"/>
                  <a:gd name="connsiteY0" fmla="*/ 2116 h 21166"/>
                  <a:gd name="connsiteX1" fmla="*/ 238125 w 238125"/>
                  <a:gd name="connsiteY1" fmla="*/ 21166 h 21166"/>
                  <a:gd name="connsiteX0" fmla="*/ 0 w 200025"/>
                  <a:gd name="connsiteY0" fmla="*/ 270 h 47895"/>
                  <a:gd name="connsiteX1" fmla="*/ 200025 w 200025"/>
                  <a:gd name="connsiteY1" fmla="*/ 47895 h 47895"/>
                  <a:gd name="connsiteX0" fmla="*/ 0 w 209550"/>
                  <a:gd name="connsiteY0" fmla="*/ 202 h 57352"/>
                  <a:gd name="connsiteX1" fmla="*/ 209550 w 209550"/>
                  <a:gd name="connsiteY1" fmla="*/ 57352 h 57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550" h="57352">
                    <a:moveTo>
                      <a:pt x="0" y="202"/>
                    </a:moveTo>
                    <a:cubicBezTo>
                      <a:pt x="105569" y="-2973"/>
                      <a:pt x="182563" y="31952"/>
                      <a:pt x="209550" y="57352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1" name="Figura a mano libera 280"/>
              <p:cNvSpPr/>
              <p:nvPr/>
            </p:nvSpPr>
            <p:spPr>
              <a:xfrm>
                <a:off x="4274398" y="5237104"/>
                <a:ext cx="169060" cy="294796"/>
              </a:xfrm>
              <a:custGeom>
                <a:avLst/>
                <a:gdLst>
                  <a:gd name="connsiteX0" fmla="*/ 0 w 133350"/>
                  <a:gd name="connsiteY0" fmla="*/ 266700 h 266700"/>
                  <a:gd name="connsiteX1" fmla="*/ 66675 w 133350"/>
                  <a:gd name="connsiteY1" fmla="*/ 114300 h 266700"/>
                  <a:gd name="connsiteX2" fmla="*/ 133350 w 133350"/>
                  <a:gd name="connsiteY2" fmla="*/ 0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350" h="266700">
                    <a:moveTo>
                      <a:pt x="0" y="266700"/>
                    </a:moveTo>
                    <a:cubicBezTo>
                      <a:pt x="22225" y="212725"/>
                      <a:pt x="44450" y="158750"/>
                      <a:pt x="66675" y="114300"/>
                    </a:cubicBezTo>
                    <a:cubicBezTo>
                      <a:pt x="88900" y="69850"/>
                      <a:pt x="119063" y="19050"/>
                      <a:pt x="133350" y="0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2" name="Figura a mano libera 281"/>
              <p:cNvSpPr/>
              <p:nvPr/>
            </p:nvSpPr>
            <p:spPr>
              <a:xfrm>
                <a:off x="3640442" y="2433332"/>
                <a:ext cx="278051" cy="525553"/>
              </a:xfrm>
              <a:custGeom>
                <a:avLst/>
                <a:gdLst>
                  <a:gd name="connsiteX0" fmla="*/ 0 w 238125"/>
                  <a:gd name="connsiteY0" fmla="*/ 0 h 457200"/>
                  <a:gd name="connsiteX1" fmla="*/ 76200 w 238125"/>
                  <a:gd name="connsiteY1" fmla="*/ 152400 h 457200"/>
                  <a:gd name="connsiteX2" fmla="*/ 161925 w 238125"/>
                  <a:gd name="connsiteY2" fmla="*/ 390525 h 457200"/>
                  <a:gd name="connsiteX3" fmla="*/ 238125 w 238125"/>
                  <a:gd name="connsiteY3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125" h="457200">
                    <a:moveTo>
                      <a:pt x="0" y="0"/>
                    </a:moveTo>
                    <a:cubicBezTo>
                      <a:pt x="24606" y="43656"/>
                      <a:pt x="49213" y="87313"/>
                      <a:pt x="76200" y="152400"/>
                    </a:cubicBezTo>
                    <a:cubicBezTo>
                      <a:pt x="103187" y="217487"/>
                      <a:pt x="134938" y="339725"/>
                      <a:pt x="161925" y="390525"/>
                    </a:cubicBezTo>
                    <a:cubicBezTo>
                      <a:pt x="188912" y="441325"/>
                      <a:pt x="213518" y="449262"/>
                      <a:pt x="238125" y="457200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3" name="Figura a mano libera 282"/>
              <p:cNvSpPr/>
              <p:nvPr/>
            </p:nvSpPr>
            <p:spPr>
              <a:xfrm>
                <a:off x="3228926" y="1283555"/>
                <a:ext cx="506796" cy="164367"/>
              </a:xfrm>
              <a:custGeom>
                <a:avLst/>
                <a:gdLst>
                  <a:gd name="connsiteX0" fmla="*/ 0 w 434024"/>
                  <a:gd name="connsiteY0" fmla="*/ 142990 h 142990"/>
                  <a:gd name="connsiteX1" fmla="*/ 171450 w 434024"/>
                  <a:gd name="connsiteY1" fmla="*/ 38215 h 142990"/>
                  <a:gd name="connsiteX2" fmla="*/ 400050 w 434024"/>
                  <a:gd name="connsiteY2" fmla="*/ 115 h 142990"/>
                  <a:gd name="connsiteX3" fmla="*/ 428625 w 434024"/>
                  <a:gd name="connsiteY3" fmla="*/ 28690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4024" h="142990">
                    <a:moveTo>
                      <a:pt x="0" y="142990"/>
                    </a:moveTo>
                    <a:cubicBezTo>
                      <a:pt x="52387" y="102508"/>
                      <a:pt x="104775" y="62027"/>
                      <a:pt x="171450" y="38215"/>
                    </a:cubicBezTo>
                    <a:cubicBezTo>
                      <a:pt x="238125" y="14402"/>
                      <a:pt x="357188" y="1702"/>
                      <a:pt x="400050" y="115"/>
                    </a:cubicBezTo>
                    <a:cubicBezTo>
                      <a:pt x="442912" y="-1472"/>
                      <a:pt x="435768" y="13609"/>
                      <a:pt x="428625" y="28690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4" name="Figura a mano libera 283"/>
              <p:cNvSpPr/>
              <p:nvPr/>
            </p:nvSpPr>
            <p:spPr>
              <a:xfrm>
                <a:off x="1907128" y="1355276"/>
                <a:ext cx="420912" cy="37900"/>
              </a:xfrm>
              <a:custGeom>
                <a:avLst/>
                <a:gdLst>
                  <a:gd name="connsiteX0" fmla="*/ 0 w 266700"/>
                  <a:gd name="connsiteY0" fmla="*/ 0 h 9525"/>
                  <a:gd name="connsiteX1" fmla="*/ 266700 w 266700"/>
                  <a:gd name="connsiteY1" fmla="*/ 9525 h 9525"/>
                  <a:gd name="connsiteX0" fmla="*/ 0 w 13516"/>
                  <a:gd name="connsiteY0" fmla="*/ 0 h 34615"/>
                  <a:gd name="connsiteX1" fmla="*/ 13516 w 13516"/>
                  <a:gd name="connsiteY1" fmla="*/ 34615 h 3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16" h="34615">
                    <a:moveTo>
                      <a:pt x="0" y="0"/>
                    </a:moveTo>
                    <a:cubicBezTo>
                      <a:pt x="3333" y="3333"/>
                      <a:pt x="10183" y="31282"/>
                      <a:pt x="13516" y="34615"/>
                    </a:cubicBezTo>
                  </a:path>
                </a:pathLst>
              </a:custGeom>
              <a:noFill/>
              <a:ln w="28575">
                <a:solidFill>
                  <a:srgbClr val="3760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5" name="Rettangolo 284"/>
              <p:cNvSpPr/>
              <p:nvPr/>
            </p:nvSpPr>
            <p:spPr>
              <a:xfrm>
                <a:off x="2301962" y="118715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rescia</a:t>
                </a:r>
              </a:p>
            </p:txBody>
          </p:sp>
          <p:sp>
            <p:nvSpPr>
              <p:cNvPr id="286" name="Figura a mano libera 285"/>
              <p:cNvSpPr/>
              <p:nvPr/>
            </p:nvSpPr>
            <p:spPr>
              <a:xfrm>
                <a:off x="2350284" y="1393177"/>
                <a:ext cx="289173" cy="0"/>
              </a:xfrm>
              <a:custGeom>
                <a:avLst/>
                <a:gdLst>
                  <a:gd name="connsiteX0" fmla="*/ 0 w 247650"/>
                  <a:gd name="connsiteY0" fmla="*/ 0 h 0"/>
                  <a:gd name="connsiteX1" fmla="*/ 247650 w 2476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650">
                    <a:moveTo>
                      <a:pt x="0" y="0"/>
                    </a:moveTo>
                    <a:lnTo>
                      <a:pt x="247650" y="0"/>
                    </a:lnTo>
                  </a:path>
                </a:pathLst>
              </a:custGeom>
              <a:noFill/>
              <a:ln w="2857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7" name="Rettangolo 286"/>
              <p:cNvSpPr/>
              <p:nvPr/>
            </p:nvSpPr>
            <p:spPr>
              <a:xfrm>
                <a:off x="3019154" y="1551996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adova</a:t>
                </a:r>
              </a:p>
            </p:txBody>
          </p:sp>
          <p:sp>
            <p:nvSpPr>
              <p:cNvPr id="288" name="Figura a mano libera 287"/>
              <p:cNvSpPr/>
              <p:nvPr/>
            </p:nvSpPr>
            <p:spPr>
              <a:xfrm>
                <a:off x="2873020" y="1502666"/>
                <a:ext cx="200197" cy="405113"/>
              </a:xfrm>
              <a:custGeom>
                <a:avLst/>
                <a:gdLst>
                  <a:gd name="connsiteX0" fmla="*/ 0 w 171450"/>
                  <a:gd name="connsiteY0" fmla="*/ 352425 h 352425"/>
                  <a:gd name="connsiteX1" fmla="*/ 104775 w 171450"/>
                  <a:gd name="connsiteY1" fmla="*/ 95250 h 352425"/>
                  <a:gd name="connsiteX2" fmla="*/ 171450 w 171450"/>
                  <a:gd name="connsiteY2" fmla="*/ 0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1450" h="352425">
                    <a:moveTo>
                      <a:pt x="0" y="352425"/>
                    </a:moveTo>
                    <a:cubicBezTo>
                      <a:pt x="38100" y="253206"/>
                      <a:pt x="76200" y="153987"/>
                      <a:pt x="104775" y="95250"/>
                    </a:cubicBezTo>
                    <a:cubicBezTo>
                      <a:pt x="133350" y="36513"/>
                      <a:pt x="157163" y="19050"/>
                      <a:pt x="171450" y="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9" name="Figura a mano libera 288"/>
              <p:cNvSpPr/>
              <p:nvPr/>
            </p:nvSpPr>
            <p:spPr>
              <a:xfrm>
                <a:off x="2664571" y="1401493"/>
                <a:ext cx="186205" cy="528185"/>
              </a:xfrm>
              <a:custGeom>
                <a:avLst/>
                <a:gdLst>
                  <a:gd name="connsiteX0" fmla="*/ 0 w 142875"/>
                  <a:gd name="connsiteY0" fmla="*/ 0 h 419100"/>
                  <a:gd name="connsiteX1" fmla="*/ 66675 w 142875"/>
                  <a:gd name="connsiteY1" fmla="*/ 142875 h 419100"/>
                  <a:gd name="connsiteX2" fmla="*/ 142875 w 142875"/>
                  <a:gd name="connsiteY2" fmla="*/ 419100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875" h="419100">
                    <a:moveTo>
                      <a:pt x="0" y="0"/>
                    </a:moveTo>
                    <a:cubicBezTo>
                      <a:pt x="21431" y="36512"/>
                      <a:pt x="42863" y="73025"/>
                      <a:pt x="66675" y="142875"/>
                    </a:cubicBezTo>
                    <a:cubicBezTo>
                      <a:pt x="90487" y="212725"/>
                      <a:pt x="127000" y="374650"/>
                      <a:pt x="142875" y="41910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0" name="Figura a mano libera 289"/>
              <p:cNvSpPr/>
              <p:nvPr/>
            </p:nvSpPr>
            <p:spPr>
              <a:xfrm>
                <a:off x="819375" y="1386002"/>
                <a:ext cx="276085" cy="192929"/>
              </a:xfrm>
              <a:custGeom>
                <a:avLst/>
                <a:gdLst>
                  <a:gd name="connsiteX0" fmla="*/ 0 w 342900"/>
                  <a:gd name="connsiteY0" fmla="*/ 0 h 171450"/>
                  <a:gd name="connsiteX1" fmla="*/ 171450 w 342900"/>
                  <a:gd name="connsiteY1" fmla="*/ 133350 h 171450"/>
                  <a:gd name="connsiteX2" fmla="*/ 342900 w 342900"/>
                  <a:gd name="connsiteY2" fmla="*/ 171450 h 171450"/>
                  <a:gd name="connsiteX0" fmla="*/ 0 w 171450"/>
                  <a:gd name="connsiteY0" fmla="*/ 0 h 133350"/>
                  <a:gd name="connsiteX1" fmla="*/ 171450 w 171450"/>
                  <a:gd name="connsiteY1" fmla="*/ 13335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450" h="133350">
                    <a:moveTo>
                      <a:pt x="0" y="0"/>
                    </a:moveTo>
                    <a:cubicBezTo>
                      <a:pt x="57150" y="52387"/>
                      <a:pt x="114300" y="104775"/>
                      <a:pt x="171450" y="133350"/>
                    </a:cubicBezTo>
                  </a:path>
                </a:pathLst>
              </a:custGeom>
              <a:noFill/>
              <a:ln w="28575">
                <a:solidFill>
                  <a:srgbClr val="00B050"/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1" name="Figura a mano libera 290"/>
              <p:cNvSpPr/>
              <p:nvPr/>
            </p:nvSpPr>
            <p:spPr>
              <a:xfrm>
                <a:off x="3121412" y="1506316"/>
                <a:ext cx="66732" cy="0"/>
              </a:xfrm>
              <a:custGeom>
                <a:avLst/>
                <a:gdLst>
                  <a:gd name="connsiteX0" fmla="*/ 0 w 57150"/>
                  <a:gd name="connsiteY0" fmla="*/ 0 h 0"/>
                  <a:gd name="connsiteX1" fmla="*/ 57150 w 571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>
                    <a:moveTo>
                      <a:pt x="0" y="0"/>
                    </a:moveTo>
                    <a:lnTo>
                      <a:pt x="57150" y="0"/>
                    </a:lnTo>
                  </a:path>
                </a:pathLst>
              </a:custGeom>
              <a:noFill/>
              <a:ln w="28575">
                <a:solidFill>
                  <a:srgbClr val="3760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2" name="Figura a mano libera 291"/>
              <p:cNvSpPr/>
              <p:nvPr/>
            </p:nvSpPr>
            <p:spPr>
              <a:xfrm>
                <a:off x="2708203" y="1329745"/>
                <a:ext cx="271120" cy="52554"/>
              </a:xfrm>
              <a:custGeom>
                <a:avLst/>
                <a:gdLst>
                  <a:gd name="connsiteX0" fmla="*/ 0 w 177800"/>
                  <a:gd name="connsiteY0" fmla="*/ 26428 h 26428"/>
                  <a:gd name="connsiteX1" fmla="*/ 101600 w 177800"/>
                  <a:gd name="connsiteY1" fmla="*/ 1028 h 26428"/>
                  <a:gd name="connsiteX2" fmla="*/ 177800 w 177800"/>
                  <a:gd name="connsiteY2" fmla="*/ 7378 h 2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7800" h="26428">
                    <a:moveTo>
                      <a:pt x="0" y="26428"/>
                    </a:moveTo>
                    <a:cubicBezTo>
                      <a:pt x="35983" y="15315"/>
                      <a:pt x="71967" y="4203"/>
                      <a:pt x="101600" y="1028"/>
                    </a:cubicBezTo>
                    <a:cubicBezTo>
                      <a:pt x="131233" y="-2147"/>
                      <a:pt x="154516" y="2615"/>
                      <a:pt x="177800" y="7378"/>
                    </a:cubicBezTo>
                  </a:path>
                </a:pathLst>
              </a:custGeom>
              <a:noFill/>
              <a:ln w="2857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3" name="Figura a mano libera 292"/>
              <p:cNvSpPr/>
              <p:nvPr/>
            </p:nvSpPr>
            <p:spPr>
              <a:xfrm>
                <a:off x="2979324" y="1348140"/>
                <a:ext cx="89756" cy="129235"/>
              </a:xfrm>
              <a:custGeom>
                <a:avLst/>
                <a:gdLst>
                  <a:gd name="connsiteX0" fmla="*/ 0 w 88900"/>
                  <a:gd name="connsiteY0" fmla="*/ 0 h 95250"/>
                  <a:gd name="connsiteX1" fmla="*/ 50800 w 88900"/>
                  <a:gd name="connsiteY1" fmla="*/ 19050 h 95250"/>
                  <a:gd name="connsiteX2" fmla="*/ 88900 w 88900"/>
                  <a:gd name="connsiteY2" fmla="*/ 95250 h 95250"/>
                  <a:gd name="connsiteX0" fmla="*/ 0 w 88900"/>
                  <a:gd name="connsiteY0" fmla="*/ 0 h 110631"/>
                  <a:gd name="connsiteX1" fmla="*/ 50800 w 88900"/>
                  <a:gd name="connsiteY1" fmla="*/ 34431 h 110631"/>
                  <a:gd name="connsiteX2" fmla="*/ 88900 w 88900"/>
                  <a:gd name="connsiteY2" fmla="*/ 110631 h 110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900" h="110631">
                    <a:moveTo>
                      <a:pt x="0" y="0"/>
                    </a:moveTo>
                    <a:cubicBezTo>
                      <a:pt x="17991" y="1587"/>
                      <a:pt x="35983" y="18556"/>
                      <a:pt x="50800" y="34431"/>
                    </a:cubicBezTo>
                    <a:cubicBezTo>
                      <a:pt x="65617" y="50306"/>
                      <a:pt x="78317" y="98989"/>
                      <a:pt x="88900" y="110631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4" name="Figura a mano libera 293"/>
              <p:cNvSpPr/>
              <p:nvPr/>
            </p:nvSpPr>
            <p:spPr>
              <a:xfrm>
                <a:off x="1089786" y="1586609"/>
                <a:ext cx="296588" cy="81784"/>
              </a:xfrm>
              <a:custGeom>
                <a:avLst/>
                <a:gdLst>
                  <a:gd name="connsiteX0" fmla="*/ 0 w 254000"/>
                  <a:gd name="connsiteY0" fmla="*/ 0 h 71147"/>
                  <a:gd name="connsiteX1" fmla="*/ 146050 w 254000"/>
                  <a:gd name="connsiteY1" fmla="*/ 69850 h 71147"/>
                  <a:gd name="connsiteX2" fmla="*/ 254000 w 254000"/>
                  <a:gd name="connsiteY2" fmla="*/ 44450 h 71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000" h="71147">
                    <a:moveTo>
                      <a:pt x="0" y="0"/>
                    </a:moveTo>
                    <a:cubicBezTo>
                      <a:pt x="51858" y="31221"/>
                      <a:pt x="103717" y="62442"/>
                      <a:pt x="146050" y="69850"/>
                    </a:cubicBezTo>
                    <a:cubicBezTo>
                      <a:pt x="188383" y="77258"/>
                      <a:pt x="233892" y="50800"/>
                      <a:pt x="254000" y="44450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5" name="Rettangolo 294"/>
              <p:cNvSpPr/>
              <p:nvPr/>
            </p:nvSpPr>
            <p:spPr>
              <a:xfrm>
                <a:off x="5126851" y="4066701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aranto</a:t>
                </a:r>
              </a:p>
            </p:txBody>
          </p:sp>
          <p:sp>
            <p:nvSpPr>
              <p:cNvPr id="296" name="Figura a mano libera 295"/>
              <p:cNvSpPr/>
              <p:nvPr/>
            </p:nvSpPr>
            <p:spPr>
              <a:xfrm>
                <a:off x="4975089" y="3681519"/>
                <a:ext cx="207612" cy="313871"/>
              </a:xfrm>
              <a:custGeom>
                <a:avLst/>
                <a:gdLst>
                  <a:gd name="connsiteX0" fmla="*/ 0 w 177800"/>
                  <a:gd name="connsiteY0" fmla="*/ 0 h 273050"/>
                  <a:gd name="connsiteX1" fmla="*/ 76200 w 177800"/>
                  <a:gd name="connsiteY1" fmla="*/ 152400 h 273050"/>
                  <a:gd name="connsiteX2" fmla="*/ 177800 w 177800"/>
                  <a:gd name="connsiteY2" fmla="*/ 273050 h 27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7800" h="273050">
                    <a:moveTo>
                      <a:pt x="0" y="0"/>
                    </a:moveTo>
                    <a:cubicBezTo>
                      <a:pt x="23283" y="53446"/>
                      <a:pt x="46567" y="106892"/>
                      <a:pt x="76200" y="152400"/>
                    </a:cubicBezTo>
                    <a:cubicBezTo>
                      <a:pt x="105833" y="197908"/>
                      <a:pt x="177800" y="273050"/>
                      <a:pt x="177800" y="27305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7" name="Figura a mano libera 296"/>
              <p:cNvSpPr/>
              <p:nvPr/>
            </p:nvSpPr>
            <p:spPr>
              <a:xfrm>
                <a:off x="1823841" y="1637705"/>
                <a:ext cx="29659" cy="197082"/>
              </a:xfrm>
              <a:custGeom>
                <a:avLst/>
                <a:gdLst>
                  <a:gd name="connsiteX0" fmla="*/ 25400 w 25400"/>
                  <a:gd name="connsiteY0" fmla="*/ 171450 h 171450"/>
                  <a:gd name="connsiteX1" fmla="*/ 0 w 25400"/>
                  <a:gd name="connsiteY1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400" h="171450">
                    <a:moveTo>
                      <a:pt x="25400" y="171450"/>
                    </a:move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8" name="Figura a mano libera 297"/>
              <p:cNvSpPr/>
              <p:nvPr/>
            </p:nvSpPr>
            <p:spPr>
              <a:xfrm>
                <a:off x="1423447" y="1621813"/>
                <a:ext cx="400394" cy="45089"/>
              </a:xfrm>
              <a:custGeom>
                <a:avLst/>
                <a:gdLst>
                  <a:gd name="connsiteX0" fmla="*/ 0 w 342900"/>
                  <a:gd name="connsiteY0" fmla="*/ 13825 h 39225"/>
                  <a:gd name="connsiteX1" fmla="*/ 190500 w 342900"/>
                  <a:gd name="connsiteY1" fmla="*/ 1125 h 39225"/>
                  <a:gd name="connsiteX2" fmla="*/ 342900 w 342900"/>
                  <a:gd name="connsiteY2" fmla="*/ 39225 h 39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900" h="39225">
                    <a:moveTo>
                      <a:pt x="0" y="13825"/>
                    </a:moveTo>
                    <a:cubicBezTo>
                      <a:pt x="66675" y="5358"/>
                      <a:pt x="133350" y="-3108"/>
                      <a:pt x="190500" y="1125"/>
                    </a:cubicBezTo>
                    <a:cubicBezTo>
                      <a:pt x="247650" y="5358"/>
                      <a:pt x="321733" y="30758"/>
                      <a:pt x="342900" y="39225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9" name="Figura a mano libera 298"/>
              <p:cNvSpPr/>
              <p:nvPr/>
            </p:nvSpPr>
            <p:spPr>
              <a:xfrm>
                <a:off x="1578020" y="771345"/>
                <a:ext cx="334796" cy="588985"/>
              </a:xfrm>
              <a:custGeom>
                <a:avLst/>
                <a:gdLst>
                  <a:gd name="connsiteX0" fmla="*/ 0 w 336550"/>
                  <a:gd name="connsiteY0" fmla="*/ 0 h 247650"/>
                  <a:gd name="connsiteX1" fmla="*/ 139700 w 336550"/>
                  <a:gd name="connsiteY1" fmla="*/ 139700 h 247650"/>
                  <a:gd name="connsiteX2" fmla="*/ 336550 w 336550"/>
                  <a:gd name="connsiteY2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550" h="247650">
                    <a:moveTo>
                      <a:pt x="0" y="0"/>
                    </a:moveTo>
                    <a:cubicBezTo>
                      <a:pt x="41804" y="49212"/>
                      <a:pt x="83608" y="98425"/>
                      <a:pt x="139700" y="139700"/>
                    </a:cubicBezTo>
                    <a:cubicBezTo>
                      <a:pt x="195792" y="180975"/>
                      <a:pt x="266171" y="214312"/>
                      <a:pt x="336550" y="24765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0" name="Figura a mano libera 299"/>
              <p:cNvSpPr/>
              <p:nvPr/>
            </p:nvSpPr>
            <p:spPr>
              <a:xfrm>
                <a:off x="1913474" y="893172"/>
                <a:ext cx="53385" cy="448669"/>
              </a:xfrm>
              <a:custGeom>
                <a:avLst/>
                <a:gdLst>
                  <a:gd name="connsiteX0" fmla="*/ 0 w 58982"/>
                  <a:gd name="connsiteY0" fmla="*/ 387350 h 387350"/>
                  <a:gd name="connsiteX1" fmla="*/ 38100 w 58982"/>
                  <a:gd name="connsiteY1" fmla="*/ 266700 h 387350"/>
                  <a:gd name="connsiteX2" fmla="*/ 57150 w 58982"/>
                  <a:gd name="connsiteY2" fmla="*/ 88900 h 387350"/>
                  <a:gd name="connsiteX3" fmla="*/ 57150 w 58982"/>
                  <a:gd name="connsiteY3" fmla="*/ 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982" h="387350">
                    <a:moveTo>
                      <a:pt x="0" y="387350"/>
                    </a:moveTo>
                    <a:cubicBezTo>
                      <a:pt x="14287" y="351896"/>
                      <a:pt x="28575" y="316442"/>
                      <a:pt x="38100" y="266700"/>
                    </a:cubicBezTo>
                    <a:cubicBezTo>
                      <a:pt x="47625" y="216958"/>
                      <a:pt x="53975" y="133350"/>
                      <a:pt x="57150" y="88900"/>
                    </a:cubicBezTo>
                    <a:cubicBezTo>
                      <a:pt x="60325" y="44450"/>
                      <a:pt x="58737" y="22225"/>
                      <a:pt x="57150" y="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1" name="Figura a mano libera 300"/>
              <p:cNvSpPr/>
              <p:nvPr/>
            </p:nvSpPr>
            <p:spPr>
              <a:xfrm>
                <a:off x="2653630" y="831537"/>
                <a:ext cx="53385" cy="514194"/>
              </a:xfrm>
              <a:custGeom>
                <a:avLst/>
                <a:gdLst>
                  <a:gd name="connsiteX0" fmla="*/ 19613 w 19613"/>
                  <a:gd name="connsiteY0" fmla="*/ 0 h 368300"/>
                  <a:gd name="connsiteX1" fmla="*/ 563 w 19613"/>
                  <a:gd name="connsiteY1" fmla="*/ 215900 h 368300"/>
                  <a:gd name="connsiteX2" fmla="*/ 6913 w 19613"/>
                  <a:gd name="connsiteY2" fmla="*/ 368300 h 36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613" h="368300">
                    <a:moveTo>
                      <a:pt x="19613" y="0"/>
                    </a:moveTo>
                    <a:cubicBezTo>
                      <a:pt x="11146" y="77258"/>
                      <a:pt x="2680" y="154517"/>
                      <a:pt x="563" y="215900"/>
                    </a:cubicBezTo>
                    <a:cubicBezTo>
                      <a:pt x="-1554" y="277283"/>
                      <a:pt x="2679" y="322791"/>
                      <a:pt x="6913" y="368300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2" name="Figura a mano libera 301"/>
              <p:cNvSpPr/>
              <p:nvPr/>
            </p:nvSpPr>
            <p:spPr>
              <a:xfrm>
                <a:off x="1037137" y="2149847"/>
                <a:ext cx="378150" cy="87592"/>
              </a:xfrm>
              <a:custGeom>
                <a:avLst/>
                <a:gdLst>
                  <a:gd name="connsiteX0" fmla="*/ 0 w 323850"/>
                  <a:gd name="connsiteY0" fmla="*/ 76200 h 76200"/>
                  <a:gd name="connsiteX1" fmla="*/ 190500 w 323850"/>
                  <a:gd name="connsiteY1" fmla="*/ 50800 h 76200"/>
                  <a:gd name="connsiteX2" fmla="*/ 323850 w 323850"/>
                  <a:gd name="connsiteY2" fmla="*/ 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3850" h="76200">
                    <a:moveTo>
                      <a:pt x="0" y="76200"/>
                    </a:moveTo>
                    <a:cubicBezTo>
                      <a:pt x="68262" y="69850"/>
                      <a:pt x="136525" y="63500"/>
                      <a:pt x="190500" y="50800"/>
                    </a:cubicBezTo>
                    <a:cubicBezTo>
                      <a:pt x="244475" y="38100"/>
                      <a:pt x="284162" y="19050"/>
                      <a:pt x="323850" y="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3" name="Figura a mano libera 302"/>
              <p:cNvSpPr/>
              <p:nvPr/>
            </p:nvSpPr>
            <p:spPr>
              <a:xfrm>
                <a:off x="1616229" y="1893181"/>
                <a:ext cx="170538" cy="94892"/>
              </a:xfrm>
              <a:custGeom>
                <a:avLst/>
                <a:gdLst>
                  <a:gd name="connsiteX0" fmla="*/ 146050 w 146050"/>
                  <a:gd name="connsiteY0" fmla="*/ 0 h 82550"/>
                  <a:gd name="connsiteX1" fmla="*/ 69850 w 146050"/>
                  <a:gd name="connsiteY1" fmla="*/ 31750 h 82550"/>
                  <a:gd name="connsiteX2" fmla="*/ 0 w 146050"/>
                  <a:gd name="connsiteY2" fmla="*/ 82550 h 8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" h="82550">
                    <a:moveTo>
                      <a:pt x="146050" y="0"/>
                    </a:moveTo>
                    <a:cubicBezTo>
                      <a:pt x="120121" y="8996"/>
                      <a:pt x="94192" y="17992"/>
                      <a:pt x="69850" y="31750"/>
                    </a:cubicBezTo>
                    <a:cubicBezTo>
                      <a:pt x="45508" y="45508"/>
                      <a:pt x="22754" y="64029"/>
                      <a:pt x="0" y="8255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4" name="Figura a mano libera 303"/>
              <p:cNvSpPr/>
              <p:nvPr/>
            </p:nvSpPr>
            <p:spPr>
              <a:xfrm>
                <a:off x="1430862" y="1988072"/>
                <a:ext cx="185368" cy="160585"/>
              </a:xfrm>
              <a:custGeom>
                <a:avLst/>
                <a:gdLst>
                  <a:gd name="connsiteX0" fmla="*/ 0 w 158750"/>
                  <a:gd name="connsiteY0" fmla="*/ 139700 h 139700"/>
                  <a:gd name="connsiteX1" fmla="*/ 95250 w 158750"/>
                  <a:gd name="connsiteY1" fmla="*/ 63500 h 139700"/>
                  <a:gd name="connsiteX2" fmla="*/ 158750 w 158750"/>
                  <a:gd name="connsiteY2" fmla="*/ 0 h 13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8750" h="139700">
                    <a:moveTo>
                      <a:pt x="0" y="139700"/>
                    </a:moveTo>
                    <a:cubicBezTo>
                      <a:pt x="34396" y="113241"/>
                      <a:pt x="68792" y="86783"/>
                      <a:pt x="95250" y="63500"/>
                    </a:cubicBezTo>
                    <a:cubicBezTo>
                      <a:pt x="121708" y="40217"/>
                      <a:pt x="158750" y="0"/>
                      <a:pt x="158750" y="0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5" name="Figura a mano libera 304"/>
              <p:cNvSpPr/>
              <p:nvPr/>
            </p:nvSpPr>
            <p:spPr>
              <a:xfrm>
                <a:off x="3524451" y="746125"/>
                <a:ext cx="108576" cy="536417"/>
              </a:xfrm>
              <a:custGeom>
                <a:avLst/>
                <a:gdLst>
                  <a:gd name="connsiteX0" fmla="*/ 58216 w 58216"/>
                  <a:gd name="connsiteY0" fmla="*/ 0 h 463550"/>
                  <a:gd name="connsiteX1" fmla="*/ 1066 w 58216"/>
                  <a:gd name="connsiteY1" fmla="*/ 215900 h 463550"/>
                  <a:gd name="connsiteX2" fmla="*/ 26466 w 58216"/>
                  <a:gd name="connsiteY2" fmla="*/ 463550 h 463550"/>
                  <a:gd name="connsiteX0" fmla="*/ 60578 w 60578"/>
                  <a:gd name="connsiteY0" fmla="*/ 0 h 400050"/>
                  <a:gd name="connsiteX1" fmla="*/ 3428 w 60578"/>
                  <a:gd name="connsiteY1" fmla="*/ 215900 h 400050"/>
                  <a:gd name="connsiteX2" fmla="*/ 16128 w 60578"/>
                  <a:gd name="connsiteY2" fmla="*/ 400050 h 400050"/>
                  <a:gd name="connsiteX0" fmla="*/ 60578 w 60578"/>
                  <a:gd name="connsiteY0" fmla="*/ 0 h 410529"/>
                  <a:gd name="connsiteX1" fmla="*/ 3428 w 60578"/>
                  <a:gd name="connsiteY1" fmla="*/ 215900 h 410529"/>
                  <a:gd name="connsiteX2" fmla="*/ 16128 w 60578"/>
                  <a:gd name="connsiteY2" fmla="*/ 400050 h 410529"/>
                  <a:gd name="connsiteX3" fmla="*/ 16128 w 60578"/>
                  <a:gd name="connsiteY3" fmla="*/ 387350 h 410529"/>
                  <a:gd name="connsiteX0" fmla="*/ 88900 w 88900"/>
                  <a:gd name="connsiteY0" fmla="*/ 0 h 470014"/>
                  <a:gd name="connsiteX1" fmla="*/ 31750 w 88900"/>
                  <a:gd name="connsiteY1" fmla="*/ 215900 h 470014"/>
                  <a:gd name="connsiteX2" fmla="*/ 44450 w 88900"/>
                  <a:gd name="connsiteY2" fmla="*/ 400050 h 470014"/>
                  <a:gd name="connsiteX3" fmla="*/ 0 w 88900"/>
                  <a:gd name="connsiteY3" fmla="*/ 469900 h 470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00" h="470014">
                    <a:moveTo>
                      <a:pt x="88900" y="0"/>
                    </a:moveTo>
                    <a:cubicBezTo>
                      <a:pt x="62971" y="69321"/>
                      <a:pt x="39158" y="149225"/>
                      <a:pt x="31750" y="215900"/>
                    </a:cubicBezTo>
                    <a:cubicBezTo>
                      <a:pt x="24342" y="282575"/>
                      <a:pt x="29104" y="314854"/>
                      <a:pt x="44450" y="400050"/>
                    </a:cubicBezTo>
                    <a:cubicBezTo>
                      <a:pt x="46567" y="428625"/>
                      <a:pt x="0" y="472546"/>
                      <a:pt x="0" y="46990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6" name="Figura a mano libera 305"/>
              <p:cNvSpPr/>
              <p:nvPr/>
            </p:nvSpPr>
            <p:spPr>
              <a:xfrm>
                <a:off x="3736344" y="1220284"/>
                <a:ext cx="318822" cy="87592"/>
              </a:xfrm>
              <a:custGeom>
                <a:avLst/>
                <a:gdLst>
                  <a:gd name="connsiteX0" fmla="*/ 0 w 184150"/>
                  <a:gd name="connsiteY0" fmla="*/ 12700 h 12700"/>
                  <a:gd name="connsiteX1" fmla="*/ 184150 w 184150"/>
                  <a:gd name="connsiteY1" fmla="*/ 0 h 12700"/>
                  <a:gd name="connsiteX0" fmla="*/ 0 w 196850"/>
                  <a:gd name="connsiteY0" fmla="*/ 69850 h 69850"/>
                  <a:gd name="connsiteX1" fmla="*/ 196850 w 196850"/>
                  <a:gd name="connsiteY1" fmla="*/ 0 h 69850"/>
                  <a:gd name="connsiteX0" fmla="*/ 0 w 146050"/>
                  <a:gd name="connsiteY0" fmla="*/ 6350 h 6350"/>
                  <a:gd name="connsiteX1" fmla="*/ 146050 w 146050"/>
                  <a:gd name="connsiteY1" fmla="*/ 0 h 6350"/>
                  <a:gd name="connsiteX0" fmla="*/ 0 w 13043"/>
                  <a:gd name="connsiteY0" fmla="*/ 10000 h 10000"/>
                  <a:gd name="connsiteX1" fmla="*/ 13043 w 13043"/>
                  <a:gd name="connsiteY1" fmla="*/ 0 h 10000"/>
                  <a:gd name="connsiteX0" fmla="*/ 81 w 13124"/>
                  <a:gd name="connsiteY0" fmla="*/ 10000 h 10699"/>
                  <a:gd name="connsiteX1" fmla="*/ 0 w 13124"/>
                  <a:gd name="connsiteY1" fmla="*/ 10699 h 10699"/>
                  <a:gd name="connsiteX2" fmla="*/ 13124 w 13124"/>
                  <a:gd name="connsiteY2" fmla="*/ 0 h 10699"/>
                  <a:gd name="connsiteX0" fmla="*/ 0 w 13043"/>
                  <a:gd name="connsiteY0" fmla="*/ 10000 h 340692"/>
                  <a:gd name="connsiteX1" fmla="*/ 9484 w 13043"/>
                  <a:gd name="connsiteY1" fmla="*/ 340692 h 340692"/>
                  <a:gd name="connsiteX2" fmla="*/ 13043 w 13043"/>
                  <a:gd name="connsiteY2" fmla="*/ 0 h 340692"/>
                  <a:gd name="connsiteX0" fmla="*/ 0 w 17391"/>
                  <a:gd name="connsiteY0" fmla="*/ 149997 h 340692"/>
                  <a:gd name="connsiteX1" fmla="*/ 13832 w 17391"/>
                  <a:gd name="connsiteY1" fmla="*/ 340692 h 340692"/>
                  <a:gd name="connsiteX2" fmla="*/ 17391 w 17391"/>
                  <a:gd name="connsiteY2" fmla="*/ 0 h 340692"/>
                  <a:gd name="connsiteX0" fmla="*/ 0 w 17391"/>
                  <a:gd name="connsiteY0" fmla="*/ 149997 h 149997"/>
                  <a:gd name="connsiteX1" fmla="*/ 789 w 17391"/>
                  <a:gd name="connsiteY1" fmla="*/ 10699 h 149997"/>
                  <a:gd name="connsiteX2" fmla="*/ 17391 w 17391"/>
                  <a:gd name="connsiteY2" fmla="*/ 0 h 149997"/>
                  <a:gd name="connsiteX0" fmla="*/ 0 w 17391"/>
                  <a:gd name="connsiteY0" fmla="*/ 149997 h 149997"/>
                  <a:gd name="connsiteX1" fmla="*/ 5137 w 17391"/>
                  <a:gd name="connsiteY1" fmla="*/ 30699 h 149997"/>
                  <a:gd name="connsiteX2" fmla="*/ 17391 w 17391"/>
                  <a:gd name="connsiteY2" fmla="*/ 0 h 149997"/>
                  <a:gd name="connsiteX0" fmla="*/ 0 w 18695"/>
                  <a:gd name="connsiteY0" fmla="*/ 119998 h 119998"/>
                  <a:gd name="connsiteX1" fmla="*/ 6441 w 18695"/>
                  <a:gd name="connsiteY1" fmla="*/ 30699 h 119998"/>
                  <a:gd name="connsiteX2" fmla="*/ 18695 w 18695"/>
                  <a:gd name="connsiteY2" fmla="*/ 0 h 119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95" h="119998">
                    <a:moveTo>
                      <a:pt x="0" y="119998"/>
                    </a:moveTo>
                    <a:lnTo>
                      <a:pt x="6441" y="30699"/>
                    </a:lnTo>
                    <a:cubicBezTo>
                      <a:pt x="10870" y="26667"/>
                      <a:pt x="14347" y="3333"/>
                      <a:pt x="18695" y="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7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619611" y="1343643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8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956372" y="3778519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9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1286" y="5521066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0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18187" y="5212213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1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04978" y="1843070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2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51193" y="1559962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3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695424" y="1290263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4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2919" y="3466063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5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43169" y="1462248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6" name="Figura a mano libera 315"/>
              <p:cNvSpPr/>
              <p:nvPr/>
            </p:nvSpPr>
            <p:spPr>
              <a:xfrm>
                <a:off x="3746616" y="5352209"/>
                <a:ext cx="170168" cy="176355"/>
              </a:xfrm>
              <a:custGeom>
                <a:avLst/>
                <a:gdLst>
                  <a:gd name="connsiteX0" fmla="*/ 0 w 215153"/>
                  <a:gd name="connsiteY0" fmla="*/ 0 h 192101"/>
                  <a:gd name="connsiteX1" fmla="*/ 84524 w 215153"/>
                  <a:gd name="connsiteY1" fmla="*/ 69156 h 192101"/>
                  <a:gd name="connsiteX2" fmla="*/ 161364 w 215153"/>
                  <a:gd name="connsiteY2" fmla="*/ 169049 h 192101"/>
                  <a:gd name="connsiteX3" fmla="*/ 215153 w 215153"/>
                  <a:gd name="connsiteY3" fmla="*/ 192101 h 192101"/>
                  <a:gd name="connsiteX0" fmla="*/ 0 w 215153"/>
                  <a:gd name="connsiteY0" fmla="*/ 0 h 192101"/>
                  <a:gd name="connsiteX1" fmla="*/ 84524 w 215153"/>
                  <a:gd name="connsiteY1" fmla="*/ 69156 h 192101"/>
                  <a:gd name="connsiteX2" fmla="*/ 145733 w 215153"/>
                  <a:gd name="connsiteY2" fmla="*/ 153418 h 192101"/>
                  <a:gd name="connsiteX3" fmla="*/ 215153 w 215153"/>
                  <a:gd name="connsiteY3" fmla="*/ 192101 h 192101"/>
                  <a:gd name="connsiteX0" fmla="*/ 0 w 183891"/>
                  <a:gd name="connsiteY0" fmla="*/ 0 h 192101"/>
                  <a:gd name="connsiteX1" fmla="*/ 84524 w 183891"/>
                  <a:gd name="connsiteY1" fmla="*/ 69156 h 192101"/>
                  <a:gd name="connsiteX2" fmla="*/ 145733 w 183891"/>
                  <a:gd name="connsiteY2" fmla="*/ 153418 h 192101"/>
                  <a:gd name="connsiteX3" fmla="*/ 183891 w 183891"/>
                  <a:gd name="connsiteY3" fmla="*/ 192101 h 192101"/>
                  <a:gd name="connsiteX0" fmla="*/ 0 w 238599"/>
                  <a:gd name="connsiteY0" fmla="*/ 0 h 192101"/>
                  <a:gd name="connsiteX1" fmla="*/ 84524 w 238599"/>
                  <a:gd name="connsiteY1" fmla="*/ 69156 h 192101"/>
                  <a:gd name="connsiteX2" fmla="*/ 145733 w 238599"/>
                  <a:gd name="connsiteY2" fmla="*/ 153418 h 192101"/>
                  <a:gd name="connsiteX3" fmla="*/ 238599 w 238599"/>
                  <a:gd name="connsiteY3" fmla="*/ 192101 h 192101"/>
                  <a:gd name="connsiteX0" fmla="*/ 0 w 145733"/>
                  <a:gd name="connsiteY0" fmla="*/ 0 h 153418"/>
                  <a:gd name="connsiteX1" fmla="*/ 84524 w 145733"/>
                  <a:gd name="connsiteY1" fmla="*/ 69156 h 153418"/>
                  <a:gd name="connsiteX2" fmla="*/ 145733 w 145733"/>
                  <a:gd name="connsiteY2" fmla="*/ 153418 h 153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5733" h="153418">
                    <a:moveTo>
                      <a:pt x="0" y="0"/>
                    </a:moveTo>
                    <a:cubicBezTo>
                      <a:pt x="28815" y="20490"/>
                      <a:pt x="60235" y="43586"/>
                      <a:pt x="84524" y="69156"/>
                    </a:cubicBezTo>
                    <a:cubicBezTo>
                      <a:pt x="108813" y="94726"/>
                      <a:pt x="120054" y="132927"/>
                      <a:pt x="145733" y="153418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7" name="Figura a mano libera 316"/>
              <p:cNvSpPr/>
              <p:nvPr/>
            </p:nvSpPr>
            <p:spPr>
              <a:xfrm>
                <a:off x="4073917" y="5590695"/>
                <a:ext cx="166182" cy="26272"/>
              </a:xfrm>
              <a:custGeom>
                <a:avLst/>
                <a:gdLst>
                  <a:gd name="connsiteX0" fmla="*/ 61473 w 61473"/>
                  <a:gd name="connsiteY0" fmla="*/ 0 h 15368"/>
                  <a:gd name="connsiteX1" fmla="*/ 0 w 61473"/>
                  <a:gd name="connsiteY1" fmla="*/ 15368 h 15368"/>
                  <a:gd name="connsiteX0" fmla="*/ 66881 w 66881"/>
                  <a:gd name="connsiteY0" fmla="*/ 0 h 22855"/>
                  <a:gd name="connsiteX1" fmla="*/ 5408 w 66881"/>
                  <a:gd name="connsiteY1" fmla="*/ 15368 h 22855"/>
                  <a:gd name="connsiteX2" fmla="*/ 2716 w 66881"/>
                  <a:gd name="connsiteY2" fmla="*/ 22855 h 22855"/>
                  <a:gd name="connsiteX0" fmla="*/ 142319 w 142319"/>
                  <a:gd name="connsiteY0" fmla="*/ 0 h 22855"/>
                  <a:gd name="connsiteX1" fmla="*/ 80846 w 142319"/>
                  <a:gd name="connsiteY1" fmla="*/ 15368 h 22855"/>
                  <a:gd name="connsiteX2" fmla="*/ 0 w 142319"/>
                  <a:gd name="connsiteY2" fmla="*/ 22855 h 22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319" h="22855">
                    <a:moveTo>
                      <a:pt x="142319" y="0"/>
                    </a:moveTo>
                    <a:cubicBezTo>
                      <a:pt x="119266" y="6403"/>
                      <a:pt x="96214" y="12807"/>
                      <a:pt x="80846" y="15368"/>
                    </a:cubicBezTo>
                    <a:cubicBezTo>
                      <a:pt x="70152" y="19177"/>
                      <a:pt x="561" y="21295"/>
                      <a:pt x="0" y="22855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8" name="Figura a mano libera 317"/>
              <p:cNvSpPr/>
              <p:nvPr/>
            </p:nvSpPr>
            <p:spPr>
              <a:xfrm>
                <a:off x="3918779" y="5518145"/>
                <a:ext cx="182516" cy="89838"/>
              </a:xfrm>
              <a:custGeom>
                <a:avLst/>
                <a:gdLst>
                  <a:gd name="connsiteX0" fmla="*/ 0 w 156308"/>
                  <a:gd name="connsiteY0" fmla="*/ 0 h 78154"/>
                  <a:gd name="connsiteX1" fmla="*/ 62523 w 156308"/>
                  <a:gd name="connsiteY1" fmla="*/ 46892 h 78154"/>
                  <a:gd name="connsiteX2" fmla="*/ 156308 w 156308"/>
                  <a:gd name="connsiteY2" fmla="*/ 78154 h 78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6308" h="78154">
                    <a:moveTo>
                      <a:pt x="0" y="0"/>
                    </a:moveTo>
                    <a:cubicBezTo>
                      <a:pt x="18236" y="16933"/>
                      <a:pt x="36472" y="33866"/>
                      <a:pt x="62523" y="46892"/>
                    </a:cubicBezTo>
                    <a:cubicBezTo>
                      <a:pt x="88574" y="59918"/>
                      <a:pt x="122441" y="69036"/>
                      <a:pt x="156308" y="78154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9" name="Figura a mano libera 318"/>
              <p:cNvSpPr/>
              <p:nvPr/>
            </p:nvSpPr>
            <p:spPr>
              <a:xfrm>
                <a:off x="2458654" y="2436703"/>
                <a:ext cx="775692" cy="856800"/>
              </a:xfrm>
              <a:custGeom>
                <a:avLst/>
                <a:gdLst>
                  <a:gd name="connsiteX0" fmla="*/ 0 w 1101969"/>
                  <a:gd name="connsiteY0" fmla="*/ 0 h 1214288"/>
                  <a:gd name="connsiteX1" fmla="*/ 156308 w 1101969"/>
                  <a:gd name="connsiteY1" fmla="*/ 70338 h 1214288"/>
                  <a:gd name="connsiteX2" fmla="*/ 304800 w 1101969"/>
                  <a:gd name="connsiteY2" fmla="*/ 156307 h 1214288"/>
                  <a:gd name="connsiteX3" fmla="*/ 492369 w 1101969"/>
                  <a:gd name="connsiteY3" fmla="*/ 562707 h 1214288"/>
                  <a:gd name="connsiteX4" fmla="*/ 617416 w 1101969"/>
                  <a:gd name="connsiteY4" fmla="*/ 789354 h 1214288"/>
                  <a:gd name="connsiteX5" fmla="*/ 844062 w 1101969"/>
                  <a:gd name="connsiteY5" fmla="*/ 969107 h 1214288"/>
                  <a:gd name="connsiteX6" fmla="*/ 1016000 w 1101969"/>
                  <a:gd name="connsiteY6" fmla="*/ 1180123 h 1214288"/>
                  <a:gd name="connsiteX7" fmla="*/ 1101969 w 1101969"/>
                  <a:gd name="connsiteY7" fmla="*/ 1211384 h 1214288"/>
                  <a:gd name="connsiteX0" fmla="*/ 0 w 945661"/>
                  <a:gd name="connsiteY0" fmla="*/ 0 h 1143950"/>
                  <a:gd name="connsiteX1" fmla="*/ 148492 w 945661"/>
                  <a:gd name="connsiteY1" fmla="*/ 85969 h 1143950"/>
                  <a:gd name="connsiteX2" fmla="*/ 336061 w 945661"/>
                  <a:gd name="connsiteY2" fmla="*/ 492369 h 1143950"/>
                  <a:gd name="connsiteX3" fmla="*/ 461108 w 945661"/>
                  <a:gd name="connsiteY3" fmla="*/ 719016 h 1143950"/>
                  <a:gd name="connsiteX4" fmla="*/ 687754 w 945661"/>
                  <a:gd name="connsiteY4" fmla="*/ 898769 h 1143950"/>
                  <a:gd name="connsiteX5" fmla="*/ 859692 w 945661"/>
                  <a:gd name="connsiteY5" fmla="*/ 1109785 h 1143950"/>
                  <a:gd name="connsiteX6" fmla="*/ 945661 w 945661"/>
                  <a:gd name="connsiteY6" fmla="*/ 1141046 h 1143950"/>
                  <a:gd name="connsiteX0" fmla="*/ 0 w 797169"/>
                  <a:gd name="connsiteY0" fmla="*/ 0 h 1057981"/>
                  <a:gd name="connsiteX1" fmla="*/ 187569 w 797169"/>
                  <a:gd name="connsiteY1" fmla="*/ 406400 h 1057981"/>
                  <a:gd name="connsiteX2" fmla="*/ 312616 w 797169"/>
                  <a:gd name="connsiteY2" fmla="*/ 633047 h 1057981"/>
                  <a:gd name="connsiteX3" fmla="*/ 539262 w 797169"/>
                  <a:gd name="connsiteY3" fmla="*/ 812800 h 1057981"/>
                  <a:gd name="connsiteX4" fmla="*/ 711200 w 797169"/>
                  <a:gd name="connsiteY4" fmla="*/ 1023816 h 1057981"/>
                  <a:gd name="connsiteX5" fmla="*/ 797169 w 797169"/>
                  <a:gd name="connsiteY5" fmla="*/ 1055077 h 1057981"/>
                  <a:gd name="connsiteX0" fmla="*/ 0 w 664308"/>
                  <a:gd name="connsiteY0" fmla="*/ 0 h 745366"/>
                  <a:gd name="connsiteX1" fmla="*/ 54708 w 664308"/>
                  <a:gd name="connsiteY1" fmla="*/ 93785 h 745366"/>
                  <a:gd name="connsiteX2" fmla="*/ 179755 w 664308"/>
                  <a:gd name="connsiteY2" fmla="*/ 320432 h 745366"/>
                  <a:gd name="connsiteX3" fmla="*/ 406401 w 664308"/>
                  <a:gd name="connsiteY3" fmla="*/ 500185 h 745366"/>
                  <a:gd name="connsiteX4" fmla="*/ 578339 w 664308"/>
                  <a:gd name="connsiteY4" fmla="*/ 711201 h 745366"/>
                  <a:gd name="connsiteX5" fmla="*/ 664308 w 664308"/>
                  <a:gd name="connsiteY5" fmla="*/ 742462 h 745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4308" h="745366">
                    <a:moveTo>
                      <a:pt x="0" y="0"/>
                    </a:moveTo>
                    <a:cubicBezTo>
                      <a:pt x="56010" y="82061"/>
                      <a:pt x="24749" y="40380"/>
                      <a:pt x="54708" y="93785"/>
                    </a:cubicBezTo>
                    <a:cubicBezTo>
                      <a:pt x="84667" y="147190"/>
                      <a:pt x="121140" y="252699"/>
                      <a:pt x="179755" y="320432"/>
                    </a:cubicBezTo>
                    <a:cubicBezTo>
                      <a:pt x="238370" y="388165"/>
                      <a:pt x="339970" y="435057"/>
                      <a:pt x="406401" y="500185"/>
                    </a:cubicBezTo>
                    <a:cubicBezTo>
                      <a:pt x="472832" y="565313"/>
                      <a:pt x="535355" y="670822"/>
                      <a:pt x="578339" y="711201"/>
                    </a:cubicBezTo>
                    <a:cubicBezTo>
                      <a:pt x="621323" y="751580"/>
                      <a:pt x="642815" y="747021"/>
                      <a:pt x="664308" y="742462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0" name="Rettangolo 319"/>
              <p:cNvSpPr/>
              <p:nvPr/>
            </p:nvSpPr>
            <p:spPr>
              <a:xfrm>
                <a:off x="2256932" y="2447111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isa</a:t>
                </a:r>
              </a:p>
            </p:txBody>
          </p:sp>
          <p:sp>
            <p:nvSpPr>
              <p:cNvPr id="321" name="Figura a mano libera 320"/>
              <p:cNvSpPr/>
              <p:nvPr/>
            </p:nvSpPr>
            <p:spPr>
              <a:xfrm>
                <a:off x="1936951" y="1907955"/>
                <a:ext cx="511043" cy="494108"/>
              </a:xfrm>
              <a:custGeom>
                <a:avLst/>
                <a:gdLst>
                  <a:gd name="connsiteX0" fmla="*/ 0 w 1101969"/>
                  <a:gd name="connsiteY0" fmla="*/ 0 h 1214288"/>
                  <a:gd name="connsiteX1" fmla="*/ 156308 w 1101969"/>
                  <a:gd name="connsiteY1" fmla="*/ 70338 h 1214288"/>
                  <a:gd name="connsiteX2" fmla="*/ 304800 w 1101969"/>
                  <a:gd name="connsiteY2" fmla="*/ 156307 h 1214288"/>
                  <a:gd name="connsiteX3" fmla="*/ 492369 w 1101969"/>
                  <a:gd name="connsiteY3" fmla="*/ 562707 h 1214288"/>
                  <a:gd name="connsiteX4" fmla="*/ 617416 w 1101969"/>
                  <a:gd name="connsiteY4" fmla="*/ 789354 h 1214288"/>
                  <a:gd name="connsiteX5" fmla="*/ 844062 w 1101969"/>
                  <a:gd name="connsiteY5" fmla="*/ 969107 h 1214288"/>
                  <a:gd name="connsiteX6" fmla="*/ 1016000 w 1101969"/>
                  <a:gd name="connsiteY6" fmla="*/ 1180123 h 1214288"/>
                  <a:gd name="connsiteX7" fmla="*/ 1101969 w 1101969"/>
                  <a:gd name="connsiteY7" fmla="*/ 1211384 h 1214288"/>
                  <a:gd name="connsiteX0" fmla="*/ 0 w 1016000"/>
                  <a:gd name="connsiteY0" fmla="*/ 0 h 1180123"/>
                  <a:gd name="connsiteX1" fmla="*/ 156308 w 1016000"/>
                  <a:gd name="connsiteY1" fmla="*/ 70338 h 1180123"/>
                  <a:gd name="connsiteX2" fmla="*/ 304800 w 1016000"/>
                  <a:gd name="connsiteY2" fmla="*/ 156307 h 1180123"/>
                  <a:gd name="connsiteX3" fmla="*/ 492369 w 1016000"/>
                  <a:gd name="connsiteY3" fmla="*/ 562707 h 1180123"/>
                  <a:gd name="connsiteX4" fmla="*/ 617416 w 1016000"/>
                  <a:gd name="connsiteY4" fmla="*/ 789354 h 1180123"/>
                  <a:gd name="connsiteX5" fmla="*/ 844062 w 1016000"/>
                  <a:gd name="connsiteY5" fmla="*/ 969107 h 1180123"/>
                  <a:gd name="connsiteX6" fmla="*/ 1016000 w 1016000"/>
                  <a:gd name="connsiteY6" fmla="*/ 1180123 h 1180123"/>
                  <a:gd name="connsiteX0" fmla="*/ 0 w 844062"/>
                  <a:gd name="connsiteY0" fmla="*/ 0 h 969107"/>
                  <a:gd name="connsiteX1" fmla="*/ 156308 w 844062"/>
                  <a:gd name="connsiteY1" fmla="*/ 70338 h 969107"/>
                  <a:gd name="connsiteX2" fmla="*/ 304800 w 844062"/>
                  <a:gd name="connsiteY2" fmla="*/ 156307 h 969107"/>
                  <a:gd name="connsiteX3" fmla="*/ 492369 w 844062"/>
                  <a:gd name="connsiteY3" fmla="*/ 562707 h 969107"/>
                  <a:gd name="connsiteX4" fmla="*/ 617416 w 844062"/>
                  <a:gd name="connsiteY4" fmla="*/ 789354 h 969107"/>
                  <a:gd name="connsiteX5" fmla="*/ 844062 w 844062"/>
                  <a:gd name="connsiteY5" fmla="*/ 969107 h 969107"/>
                  <a:gd name="connsiteX0" fmla="*/ 0 w 617416"/>
                  <a:gd name="connsiteY0" fmla="*/ 0 h 789354"/>
                  <a:gd name="connsiteX1" fmla="*/ 156308 w 617416"/>
                  <a:gd name="connsiteY1" fmla="*/ 70338 h 789354"/>
                  <a:gd name="connsiteX2" fmla="*/ 304800 w 617416"/>
                  <a:gd name="connsiteY2" fmla="*/ 156307 h 789354"/>
                  <a:gd name="connsiteX3" fmla="*/ 492369 w 617416"/>
                  <a:gd name="connsiteY3" fmla="*/ 562707 h 789354"/>
                  <a:gd name="connsiteX4" fmla="*/ 617416 w 617416"/>
                  <a:gd name="connsiteY4" fmla="*/ 789354 h 789354"/>
                  <a:gd name="connsiteX0" fmla="*/ 0 w 492369"/>
                  <a:gd name="connsiteY0" fmla="*/ 0 h 562707"/>
                  <a:gd name="connsiteX1" fmla="*/ 156308 w 492369"/>
                  <a:gd name="connsiteY1" fmla="*/ 70338 h 562707"/>
                  <a:gd name="connsiteX2" fmla="*/ 304800 w 492369"/>
                  <a:gd name="connsiteY2" fmla="*/ 156307 h 562707"/>
                  <a:gd name="connsiteX3" fmla="*/ 492369 w 492369"/>
                  <a:gd name="connsiteY3" fmla="*/ 562707 h 562707"/>
                  <a:gd name="connsiteX0" fmla="*/ 0 w 437661"/>
                  <a:gd name="connsiteY0" fmla="*/ 0 h 429845"/>
                  <a:gd name="connsiteX1" fmla="*/ 156308 w 437661"/>
                  <a:gd name="connsiteY1" fmla="*/ 70338 h 429845"/>
                  <a:gd name="connsiteX2" fmla="*/ 304800 w 437661"/>
                  <a:gd name="connsiteY2" fmla="*/ 156307 h 429845"/>
                  <a:gd name="connsiteX3" fmla="*/ 437661 w 437661"/>
                  <a:gd name="connsiteY3" fmla="*/ 429845 h 429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661" h="429845">
                    <a:moveTo>
                      <a:pt x="0" y="0"/>
                    </a:moveTo>
                    <a:cubicBezTo>
                      <a:pt x="52754" y="22143"/>
                      <a:pt x="105508" y="44287"/>
                      <a:pt x="156308" y="70338"/>
                    </a:cubicBezTo>
                    <a:cubicBezTo>
                      <a:pt x="207108" y="96389"/>
                      <a:pt x="257908" y="96389"/>
                      <a:pt x="304800" y="156307"/>
                    </a:cubicBezTo>
                    <a:cubicBezTo>
                      <a:pt x="351692" y="216225"/>
                      <a:pt x="385558" y="324337"/>
                      <a:pt x="437661" y="429845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2" name="Figura a mano libera 321"/>
              <p:cNvSpPr/>
              <p:nvPr/>
            </p:nvSpPr>
            <p:spPr>
              <a:xfrm>
                <a:off x="2476903" y="2319912"/>
                <a:ext cx="365032" cy="63272"/>
              </a:xfrm>
              <a:custGeom>
                <a:avLst/>
                <a:gdLst>
                  <a:gd name="connsiteX0" fmla="*/ 0 w 312616"/>
                  <a:gd name="connsiteY0" fmla="*/ 54707 h 55043"/>
                  <a:gd name="connsiteX1" fmla="*/ 171939 w 312616"/>
                  <a:gd name="connsiteY1" fmla="*/ 46892 h 55043"/>
                  <a:gd name="connsiteX2" fmla="*/ 312616 w 312616"/>
                  <a:gd name="connsiteY2" fmla="*/ 0 h 55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2616" h="55043">
                    <a:moveTo>
                      <a:pt x="0" y="54707"/>
                    </a:moveTo>
                    <a:cubicBezTo>
                      <a:pt x="59918" y="55358"/>
                      <a:pt x="119836" y="56010"/>
                      <a:pt x="171939" y="46892"/>
                    </a:cubicBezTo>
                    <a:cubicBezTo>
                      <a:pt x="224042" y="37774"/>
                      <a:pt x="312616" y="0"/>
                      <a:pt x="312616" y="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3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97725" y="2359917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4" name="Figura a mano libera 323"/>
              <p:cNvSpPr/>
              <p:nvPr/>
            </p:nvSpPr>
            <p:spPr>
              <a:xfrm>
                <a:off x="3213320" y="1100374"/>
                <a:ext cx="369261" cy="358479"/>
              </a:xfrm>
              <a:custGeom>
                <a:avLst/>
                <a:gdLst>
                  <a:gd name="connsiteX0" fmla="*/ 0 w 325370"/>
                  <a:gd name="connsiteY0" fmla="*/ 314150 h 314150"/>
                  <a:gd name="connsiteX1" fmla="*/ 72928 w 325370"/>
                  <a:gd name="connsiteY1" fmla="*/ 157075 h 314150"/>
                  <a:gd name="connsiteX2" fmla="*/ 140246 w 325370"/>
                  <a:gd name="connsiteY2" fmla="*/ 78538 h 314150"/>
                  <a:gd name="connsiteX3" fmla="*/ 325370 w 325370"/>
                  <a:gd name="connsiteY3" fmla="*/ 0 h 31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5370" h="314150">
                    <a:moveTo>
                      <a:pt x="0" y="314150"/>
                    </a:moveTo>
                    <a:cubicBezTo>
                      <a:pt x="24777" y="255247"/>
                      <a:pt x="49554" y="196344"/>
                      <a:pt x="72928" y="157075"/>
                    </a:cubicBezTo>
                    <a:cubicBezTo>
                      <a:pt x="96302" y="117806"/>
                      <a:pt x="98172" y="104717"/>
                      <a:pt x="140246" y="78538"/>
                    </a:cubicBezTo>
                    <a:cubicBezTo>
                      <a:pt x="182320" y="52359"/>
                      <a:pt x="253845" y="26179"/>
                      <a:pt x="325370" y="0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5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12894" y="1060420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6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3132" y="1456503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2" name="Rettangolo 331"/>
              <p:cNvSpPr/>
              <p:nvPr/>
            </p:nvSpPr>
            <p:spPr>
              <a:xfrm>
                <a:off x="3623037" y="1019198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Udine</a:t>
                </a:r>
              </a:p>
            </p:txBody>
          </p:sp>
          <p:sp>
            <p:nvSpPr>
              <p:cNvPr id="333" name="Rettangolo 332"/>
              <p:cNvSpPr/>
              <p:nvPr/>
            </p:nvSpPr>
            <p:spPr>
              <a:xfrm>
                <a:off x="4488993" y="3821172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otenza</a:t>
                </a:r>
              </a:p>
            </p:txBody>
          </p:sp>
          <p:sp>
            <p:nvSpPr>
              <p:cNvPr id="334" name="Figura a mano libera 333"/>
              <p:cNvSpPr/>
              <p:nvPr/>
            </p:nvSpPr>
            <p:spPr>
              <a:xfrm>
                <a:off x="4420985" y="4033887"/>
                <a:ext cx="301151" cy="19696"/>
              </a:xfrm>
              <a:custGeom>
                <a:avLst/>
                <a:gdLst>
                  <a:gd name="connsiteX0" fmla="*/ 0 w 257908"/>
                  <a:gd name="connsiteY0" fmla="*/ 17135 h 17135"/>
                  <a:gd name="connsiteX1" fmla="*/ 156308 w 257908"/>
                  <a:gd name="connsiteY1" fmla="*/ 1504 h 17135"/>
                  <a:gd name="connsiteX2" fmla="*/ 257908 w 257908"/>
                  <a:gd name="connsiteY2" fmla="*/ 1504 h 17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7908" h="17135">
                    <a:moveTo>
                      <a:pt x="0" y="17135"/>
                    </a:moveTo>
                    <a:cubicBezTo>
                      <a:pt x="56661" y="10622"/>
                      <a:pt x="113323" y="4109"/>
                      <a:pt x="156308" y="1504"/>
                    </a:cubicBezTo>
                    <a:cubicBezTo>
                      <a:pt x="199293" y="-1101"/>
                      <a:pt x="228600" y="201"/>
                      <a:pt x="257908" y="1504"/>
                    </a:cubicBezTo>
                  </a:path>
                </a:pathLst>
              </a:cu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5" name="Rettangolo 334"/>
              <p:cNvSpPr/>
              <p:nvPr/>
            </p:nvSpPr>
            <p:spPr>
              <a:xfrm>
                <a:off x="3393371" y="2858526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’Aquila</a:t>
                </a:r>
              </a:p>
            </p:txBody>
          </p:sp>
          <p:sp>
            <p:nvSpPr>
              <p:cNvPr id="336" name="Figura a mano libera 335"/>
              <p:cNvSpPr/>
              <p:nvPr/>
            </p:nvSpPr>
            <p:spPr>
              <a:xfrm>
                <a:off x="3106584" y="2706214"/>
                <a:ext cx="237271" cy="62887"/>
              </a:xfrm>
              <a:custGeom>
                <a:avLst/>
                <a:gdLst>
                  <a:gd name="connsiteX0" fmla="*/ 0 w 156308"/>
                  <a:gd name="connsiteY0" fmla="*/ 0 h 54708"/>
                  <a:gd name="connsiteX1" fmla="*/ 93785 w 156308"/>
                  <a:gd name="connsiteY1" fmla="*/ 39077 h 54708"/>
                  <a:gd name="connsiteX2" fmla="*/ 156308 w 156308"/>
                  <a:gd name="connsiteY2" fmla="*/ 54708 h 54708"/>
                  <a:gd name="connsiteX0" fmla="*/ 0 w 203200"/>
                  <a:gd name="connsiteY0" fmla="*/ 0 h 54708"/>
                  <a:gd name="connsiteX1" fmla="*/ 93785 w 203200"/>
                  <a:gd name="connsiteY1" fmla="*/ 39077 h 54708"/>
                  <a:gd name="connsiteX2" fmla="*/ 203200 w 203200"/>
                  <a:gd name="connsiteY2" fmla="*/ 54708 h 54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200" h="54708">
                    <a:moveTo>
                      <a:pt x="0" y="0"/>
                    </a:moveTo>
                    <a:cubicBezTo>
                      <a:pt x="33867" y="14979"/>
                      <a:pt x="59918" y="29959"/>
                      <a:pt x="93785" y="39077"/>
                    </a:cubicBezTo>
                    <a:cubicBezTo>
                      <a:pt x="127652" y="48195"/>
                      <a:pt x="184964" y="51451"/>
                      <a:pt x="203200" y="54708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7" name="Figura a mano libera 336"/>
              <p:cNvSpPr/>
              <p:nvPr/>
            </p:nvSpPr>
            <p:spPr>
              <a:xfrm>
                <a:off x="2883241" y="2325350"/>
                <a:ext cx="362207" cy="941754"/>
              </a:xfrm>
              <a:custGeom>
                <a:avLst/>
                <a:gdLst>
                  <a:gd name="connsiteX0" fmla="*/ 0 w 371475"/>
                  <a:gd name="connsiteY0" fmla="*/ 0 h 819150"/>
                  <a:gd name="connsiteX1" fmla="*/ 209550 w 371475"/>
                  <a:gd name="connsiteY1" fmla="*/ 314325 h 819150"/>
                  <a:gd name="connsiteX2" fmla="*/ 285750 w 371475"/>
                  <a:gd name="connsiteY2" fmla="*/ 514350 h 819150"/>
                  <a:gd name="connsiteX3" fmla="*/ 371475 w 371475"/>
                  <a:gd name="connsiteY3" fmla="*/ 81915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1475" h="819150">
                    <a:moveTo>
                      <a:pt x="0" y="0"/>
                    </a:moveTo>
                    <a:cubicBezTo>
                      <a:pt x="80962" y="114300"/>
                      <a:pt x="161925" y="228600"/>
                      <a:pt x="209550" y="314325"/>
                    </a:cubicBezTo>
                    <a:cubicBezTo>
                      <a:pt x="257175" y="400050"/>
                      <a:pt x="258763" y="430213"/>
                      <a:pt x="285750" y="514350"/>
                    </a:cubicBezTo>
                    <a:cubicBezTo>
                      <a:pt x="312737" y="598487"/>
                      <a:pt x="358775" y="781050"/>
                      <a:pt x="371475" y="819150"/>
                    </a:cubicBezTo>
                  </a:path>
                </a:pathLst>
              </a:custGeom>
              <a:noFill/>
              <a:ln w="28575">
                <a:solidFill>
                  <a:srgbClr val="3760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8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817535" y="2232500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9" name="Figura a mano libera 338"/>
              <p:cNvSpPr/>
              <p:nvPr/>
            </p:nvSpPr>
            <p:spPr>
              <a:xfrm>
                <a:off x="3258436" y="2391782"/>
                <a:ext cx="377444" cy="880413"/>
              </a:xfrm>
              <a:custGeom>
                <a:avLst/>
                <a:gdLst>
                  <a:gd name="connsiteX0" fmla="*/ 11186 w 300355"/>
                  <a:gd name="connsiteY0" fmla="*/ 773724 h 773724"/>
                  <a:gd name="connsiteX1" fmla="*/ 34632 w 300355"/>
                  <a:gd name="connsiteY1" fmla="*/ 336062 h 773724"/>
                  <a:gd name="connsiteX2" fmla="*/ 300355 w 300355"/>
                  <a:gd name="connsiteY2" fmla="*/ 0 h 773724"/>
                  <a:gd name="connsiteX0" fmla="*/ 1692 w 290861"/>
                  <a:gd name="connsiteY0" fmla="*/ 773724 h 773724"/>
                  <a:gd name="connsiteX1" fmla="*/ 95477 w 290861"/>
                  <a:gd name="connsiteY1" fmla="*/ 359509 h 773724"/>
                  <a:gd name="connsiteX2" fmla="*/ 290861 w 290861"/>
                  <a:gd name="connsiteY2" fmla="*/ 0 h 773724"/>
                  <a:gd name="connsiteX0" fmla="*/ 1823 w 322254"/>
                  <a:gd name="connsiteY0" fmla="*/ 765908 h 765908"/>
                  <a:gd name="connsiteX1" fmla="*/ 95608 w 322254"/>
                  <a:gd name="connsiteY1" fmla="*/ 351693 h 765908"/>
                  <a:gd name="connsiteX2" fmla="*/ 322254 w 322254"/>
                  <a:gd name="connsiteY2" fmla="*/ 0 h 765908"/>
                  <a:gd name="connsiteX0" fmla="*/ 2815 w 323246"/>
                  <a:gd name="connsiteY0" fmla="*/ 765908 h 765908"/>
                  <a:gd name="connsiteX1" fmla="*/ 73153 w 323246"/>
                  <a:gd name="connsiteY1" fmla="*/ 351693 h 765908"/>
                  <a:gd name="connsiteX2" fmla="*/ 323246 w 323246"/>
                  <a:gd name="connsiteY2" fmla="*/ 0 h 765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3246" h="765908">
                    <a:moveTo>
                      <a:pt x="2815" y="765908"/>
                    </a:moveTo>
                    <a:cubicBezTo>
                      <a:pt x="-9560" y="611554"/>
                      <a:pt x="19748" y="479344"/>
                      <a:pt x="73153" y="351693"/>
                    </a:cubicBezTo>
                    <a:cubicBezTo>
                      <a:pt x="126558" y="224042"/>
                      <a:pt x="214482" y="103554"/>
                      <a:pt x="323246" y="0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0" name="Rettangolo 339"/>
              <p:cNvSpPr/>
              <p:nvPr/>
            </p:nvSpPr>
            <p:spPr>
              <a:xfrm>
                <a:off x="3065162" y="2490626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erugia</a:t>
                </a:r>
              </a:p>
            </p:txBody>
          </p:sp>
          <p:sp>
            <p:nvSpPr>
              <p:cNvPr id="341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76482" y="2666744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2" name="Rettangolo 341"/>
              <p:cNvSpPr/>
              <p:nvPr/>
            </p:nvSpPr>
            <p:spPr>
              <a:xfrm>
                <a:off x="2659879" y="1053518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rento</a:t>
                </a:r>
              </a:p>
            </p:txBody>
          </p:sp>
          <p:sp>
            <p:nvSpPr>
              <p:cNvPr id="343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593463" y="1038835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8" name="Rettangolo 347"/>
              <p:cNvSpPr/>
              <p:nvPr/>
            </p:nvSpPr>
            <p:spPr>
              <a:xfrm>
                <a:off x="2771122" y="841477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olzano</a:t>
                </a:r>
              </a:p>
            </p:txBody>
          </p:sp>
          <p:sp>
            <p:nvSpPr>
              <p:cNvPr id="349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653234" y="875560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0" name="Rettangolo 349"/>
              <p:cNvSpPr/>
              <p:nvPr/>
            </p:nvSpPr>
            <p:spPr>
              <a:xfrm>
                <a:off x="1899456" y="4314952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agliari</a:t>
                </a:r>
              </a:p>
            </p:txBody>
          </p:sp>
          <p:sp>
            <p:nvSpPr>
              <p:cNvPr id="351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907458" y="4111696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2" name="Rettangolo 351"/>
              <p:cNvSpPr/>
              <p:nvPr/>
            </p:nvSpPr>
            <p:spPr>
              <a:xfrm>
                <a:off x="1274809" y="474989"/>
                <a:ext cx="1075475" cy="2285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nversa/Rotterdam</a:t>
                </a:r>
              </a:p>
            </p:txBody>
          </p:sp>
          <p:sp>
            <p:nvSpPr>
              <p:cNvPr id="353" name="Figura a mano libera 352"/>
              <p:cNvSpPr/>
              <p:nvPr/>
            </p:nvSpPr>
            <p:spPr>
              <a:xfrm>
                <a:off x="4003640" y="5225685"/>
                <a:ext cx="439817" cy="89425"/>
              </a:xfrm>
              <a:custGeom>
                <a:avLst/>
                <a:gdLst>
                  <a:gd name="connsiteX0" fmla="*/ 0 w 596348"/>
                  <a:gd name="connsiteY0" fmla="*/ 127221 h 127221"/>
                  <a:gd name="connsiteX1" fmla="*/ 421419 w 596348"/>
                  <a:gd name="connsiteY1" fmla="*/ 71562 h 127221"/>
                  <a:gd name="connsiteX2" fmla="*/ 421419 w 596348"/>
                  <a:gd name="connsiteY2" fmla="*/ 71562 h 127221"/>
                  <a:gd name="connsiteX3" fmla="*/ 596348 w 596348"/>
                  <a:gd name="connsiteY3" fmla="*/ 0 h 127221"/>
                  <a:gd name="connsiteX0" fmla="*/ 0 w 470331"/>
                  <a:gd name="connsiteY0" fmla="*/ 127221 h 127221"/>
                  <a:gd name="connsiteX1" fmla="*/ 295402 w 470331"/>
                  <a:gd name="connsiteY1" fmla="*/ 71562 h 127221"/>
                  <a:gd name="connsiteX2" fmla="*/ 295402 w 470331"/>
                  <a:gd name="connsiteY2" fmla="*/ 71562 h 127221"/>
                  <a:gd name="connsiteX3" fmla="*/ 470331 w 470331"/>
                  <a:gd name="connsiteY3" fmla="*/ 0 h 127221"/>
                  <a:gd name="connsiteX0" fmla="*/ 0 w 389320"/>
                  <a:gd name="connsiteY0" fmla="*/ 95237 h 95237"/>
                  <a:gd name="connsiteX1" fmla="*/ 214391 w 389320"/>
                  <a:gd name="connsiteY1" fmla="*/ 71562 h 95237"/>
                  <a:gd name="connsiteX2" fmla="*/ 214391 w 389320"/>
                  <a:gd name="connsiteY2" fmla="*/ 71562 h 95237"/>
                  <a:gd name="connsiteX3" fmla="*/ 389320 w 389320"/>
                  <a:gd name="connsiteY3" fmla="*/ 0 h 95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9320" h="95237">
                    <a:moveTo>
                      <a:pt x="0" y="95237"/>
                    </a:moveTo>
                    <a:lnTo>
                      <a:pt x="214391" y="71562"/>
                    </a:lnTo>
                    <a:lnTo>
                      <a:pt x="214391" y="71562"/>
                    </a:lnTo>
                    <a:lnTo>
                      <a:pt x="389320" y="0"/>
                    </a:ln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4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34689" y="5183707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5" name="Figura a mano libera 354"/>
              <p:cNvSpPr/>
              <p:nvPr/>
            </p:nvSpPr>
            <p:spPr>
              <a:xfrm>
                <a:off x="4401104" y="3553694"/>
                <a:ext cx="55707" cy="146240"/>
              </a:xfrm>
              <a:custGeom>
                <a:avLst/>
                <a:gdLst>
                  <a:gd name="connsiteX0" fmla="*/ 0 w 47708"/>
                  <a:gd name="connsiteY0" fmla="*/ 127221 h 127221"/>
                  <a:gd name="connsiteX1" fmla="*/ 23854 w 47708"/>
                  <a:gd name="connsiteY1" fmla="*/ 47708 h 127221"/>
                  <a:gd name="connsiteX2" fmla="*/ 47708 w 47708"/>
                  <a:gd name="connsiteY2" fmla="*/ 0 h 127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708" h="127221">
                    <a:moveTo>
                      <a:pt x="0" y="127221"/>
                    </a:moveTo>
                    <a:cubicBezTo>
                      <a:pt x="7951" y="98066"/>
                      <a:pt x="15903" y="68911"/>
                      <a:pt x="23854" y="47708"/>
                    </a:cubicBezTo>
                    <a:cubicBezTo>
                      <a:pt x="31805" y="26505"/>
                      <a:pt x="39756" y="13252"/>
                      <a:pt x="47708" y="0"/>
                    </a:cubicBezTo>
                  </a:path>
                </a:pathLst>
              </a:custGeom>
              <a:noFill/>
              <a:ln w="2857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6" name="Figura a mano libera 355"/>
              <p:cNvSpPr/>
              <p:nvPr/>
            </p:nvSpPr>
            <p:spPr>
              <a:xfrm>
                <a:off x="3658345" y="3096693"/>
                <a:ext cx="18569" cy="91401"/>
              </a:xfrm>
              <a:custGeom>
                <a:avLst/>
                <a:gdLst>
                  <a:gd name="connsiteX0" fmla="*/ 0 w 15903"/>
                  <a:gd name="connsiteY0" fmla="*/ 0 h 79513"/>
                  <a:gd name="connsiteX1" fmla="*/ 15903 w 15903"/>
                  <a:gd name="connsiteY1" fmla="*/ 79513 h 7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903" h="79513">
                    <a:moveTo>
                      <a:pt x="0" y="0"/>
                    </a:moveTo>
                    <a:lnTo>
                      <a:pt x="15903" y="79513"/>
                    </a:ln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7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28837" y="3012518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8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79670" y="2940241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9" name="Figura a mano libera 358"/>
              <p:cNvSpPr/>
              <p:nvPr/>
            </p:nvSpPr>
            <p:spPr>
              <a:xfrm>
                <a:off x="3289098" y="2966745"/>
                <a:ext cx="593176" cy="342010"/>
              </a:xfrm>
              <a:custGeom>
                <a:avLst/>
                <a:gdLst>
                  <a:gd name="connsiteX0" fmla="*/ 0 w 508000"/>
                  <a:gd name="connsiteY0" fmla="*/ 265724 h 265724"/>
                  <a:gd name="connsiteX1" fmla="*/ 234461 w 508000"/>
                  <a:gd name="connsiteY1" fmla="*/ 109416 h 265724"/>
                  <a:gd name="connsiteX2" fmla="*/ 508000 w 508000"/>
                  <a:gd name="connsiteY2" fmla="*/ 0 h 265724"/>
                  <a:gd name="connsiteX0" fmla="*/ 0 w 508000"/>
                  <a:gd name="connsiteY0" fmla="*/ 265724 h 265724"/>
                  <a:gd name="connsiteX1" fmla="*/ 282169 w 508000"/>
                  <a:gd name="connsiteY1" fmla="*/ 173026 h 265724"/>
                  <a:gd name="connsiteX2" fmla="*/ 508000 w 508000"/>
                  <a:gd name="connsiteY2" fmla="*/ 0 h 265724"/>
                  <a:gd name="connsiteX0" fmla="*/ 0 w 508000"/>
                  <a:gd name="connsiteY0" fmla="*/ 265724 h 265724"/>
                  <a:gd name="connsiteX1" fmla="*/ 329877 w 508000"/>
                  <a:gd name="connsiteY1" fmla="*/ 188928 h 265724"/>
                  <a:gd name="connsiteX2" fmla="*/ 508000 w 508000"/>
                  <a:gd name="connsiteY2" fmla="*/ 0 h 265724"/>
                  <a:gd name="connsiteX0" fmla="*/ 0 w 508000"/>
                  <a:gd name="connsiteY0" fmla="*/ 297529 h 297529"/>
                  <a:gd name="connsiteX1" fmla="*/ 329877 w 508000"/>
                  <a:gd name="connsiteY1" fmla="*/ 188928 h 297529"/>
                  <a:gd name="connsiteX2" fmla="*/ 508000 w 508000"/>
                  <a:gd name="connsiteY2" fmla="*/ 0 h 29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000" h="297529">
                    <a:moveTo>
                      <a:pt x="0" y="297529"/>
                    </a:moveTo>
                    <a:cubicBezTo>
                      <a:pt x="74897" y="241518"/>
                      <a:pt x="245210" y="233215"/>
                      <a:pt x="329877" y="188928"/>
                    </a:cubicBezTo>
                    <a:cubicBezTo>
                      <a:pt x="414544" y="144641"/>
                      <a:pt x="413564" y="32564"/>
                      <a:pt x="508000" y="0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0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94793" y="3268116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1" name="Rettangolo 360"/>
              <p:cNvSpPr/>
              <p:nvPr/>
            </p:nvSpPr>
            <p:spPr>
              <a:xfrm>
                <a:off x="2238594" y="320675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Olbia</a:t>
                </a:r>
              </a:p>
            </p:txBody>
          </p:sp>
          <p:sp>
            <p:nvSpPr>
              <p:cNvPr id="362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153244" y="3351079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3" name="Rettangolo 362"/>
              <p:cNvSpPr/>
              <p:nvPr/>
            </p:nvSpPr>
            <p:spPr>
              <a:xfrm>
                <a:off x="1518273" y="3169084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assari</a:t>
                </a:r>
              </a:p>
            </p:txBody>
          </p:sp>
          <p:sp>
            <p:nvSpPr>
              <p:cNvPr id="364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83357" y="3350042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5" name="Figura a mano libera 364"/>
              <p:cNvSpPr/>
              <p:nvPr/>
            </p:nvSpPr>
            <p:spPr>
              <a:xfrm>
                <a:off x="1819837" y="3398315"/>
                <a:ext cx="352988" cy="722063"/>
              </a:xfrm>
              <a:custGeom>
                <a:avLst/>
                <a:gdLst>
                  <a:gd name="connsiteX0" fmla="*/ 95568 w 302302"/>
                  <a:gd name="connsiteY0" fmla="*/ 628153 h 628153"/>
                  <a:gd name="connsiteX1" fmla="*/ 153 w 302302"/>
                  <a:gd name="connsiteY1" fmla="*/ 405517 h 628153"/>
                  <a:gd name="connsiteX2" fmla="*/ 79666 w 302302"/>
                  <a:gd name="connsiteY2" fmla="*/ 151075 h 628153"/>
                  <a:gd name="connsiteX3" fmla="*/ 302302 w 302302"/>
                  <a:gd name="connsiteY3" fmla="*/ 0 h 628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2302" h="628153">
                    <a:moveTo>
                      <a:pt x="95568" y="628153"/>
                    </a:moveTo>
                    <a:cubicBezTo>
                      <a:pt x="49185" y="556591"/>
                      <a:pt x="2803" y="485030"/>
                      <a:pt x="153" y="405517"/>
                    </a:cubicBezTo>
                    <a:cubicBezTo>
                      <a:pt x="-2497" y="326004"/>
                      <a:pt x="29308" y="218661"/>
                      <a:pt x="79666" y="151075"/>
                    </a:cubicBezTo>
                    <a:cubicBezTo>
                      <a:pt x="130024" y="83489"/>
                      <a:pt x="216163" y="41744"/>
                      <a:pt x="302302" y="0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6" name="Figura a mano libera 365"/>
              <p:cNvSpPr/>
              <p:nvPr/>
            </p:nvSpPr>
            <p:spPr>
              <a:xfrm>
                <a:off x="1755025" y="3407454"/>
                <a:ext cx="148552" cy="173661"/>
              </a:xfrm>
              <a:custGeom>
                <a:avLst/>
                <a:gdLst>
                  <a:gd name="connsiteX0" fmla="*/ 0 w 127221"/>
                  <a:gd name="connsiteY0" fmla="*/ 0 h 151075"/>
                  <a:gd name="connsiteX1" fmla="*/ 95415 w 127221"/>
                  <a:gd name="connsiteY1" fmla="*/ 55660 h 151075"/>
                  <a:gd name="connsiteX2" fmla="*/ 95415 w 127221"/>
                  <a:gd name="connsiteY2" fmla="*/ 55660 h 151075"/>
                  <a:gd name="connsiteX3" fmla="*/ 127221 w 127221"/>
                  <a:gd name="connsiteY3" fmla="*/ 151075 h 151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221" h="151075">
                    <a:moveTo>
                      <a:pt x="0" y="0"/>
                    </a:moveTo>
                    <a:lnTo>
                      <a:pt x="95415" y="55660"/>
                    </a:lnTo>
                    <a:lnTo>
                      <a:pt x="95415" y="55660"/>
                    </a:lnTo>
                    <a:lnTo>
                      <a:pt x="127221" y="151075"/>
                    </a:ln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7" name="Figura a mano libera 366"/>
              <p:cNvSpPr/>
              <p:nvPr/>
            </p:nvSpPr>
            <p:spPr>
              <a:xfrm>
                <a:off x="4799400" y="4385438"/>
                <a:ext cx="103186" cy="153917"/>
              </a:xfrm>
              <a:custGeom>
                <a:avLst/>
                <a:gdLst>
                  <a:gd name="connsiteX0" fmla="*/ 39757 w 39757"/>
                  <a:gd name="connsiteY0" fmla="*/ 0 h 95416"/>
                  <a:gd name="connsiteX1" fmla="*/ 0 w 39757"/>
                  <a:gd name="connsiteY1" fmla="*/ 95416 h 95416"/>
                  <a:gd name="connsiteX2" fmla="*/ 0 w 39757"/>
                  <a:gd name="connsiteY2" fmla="*/ 95416 h 95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757" h="95416">
                    <a:moveTo>
                      <a:pt x="39757" y="0"/>
                    </a:moveTo>
                    <a:lnTo>
                      <a:pt x="0" y="95416"/>
                    </a:lnTo>
                    <a:lnTo>
                      <a:pt x="0" y="95416"/>
                    </a:ln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8" name="Figura a mano libera 367"/>
              <p:cNvSpPr/>
              <p:nvPr/>
            </p:nvSpPr>
            <p:spPr>
              <a:xfrm>
                <a:off x="4274398" y="4010096"/>
                <a:ext cx="547462" cy="1248186"/>
              </a:xfrm>
              <a:custGeom>
                <a:avLst/>
                <a:gdLst>
                  <a:gd name="connsiteX0" fmla="*/ 0 w 518125"/>
                  <a:gd name="connsiteY0" fmla="*/ 0 h 1085850"/>
                  <a:gd name="connsiteX1" fmla="*/ 228600 w 518125"/>
                  <a:gd name="connsiteY1" fmla="*/ 104775 h 1085850"/>
                  <a:gd name="connsiteX2" fmla="*/ 400050 w 518125"/>
                  <a:gd name="connsiteY2" fmla="*/ 333375 h 1085850"/>
                  <a:gd name="connsiteX3" fmla="*/ 514350 w 518125"/>
                  <a:gd name="connsiteY3" fmla="*/ 647700 h 1085850"/>
                  <a:gd name="connsiteX4" fmla="*/ 466725 w 518125"/>
                  <a:gd name="connsiteY4" fmla="*/ 895350 h 1085850"/>
                  <a:gd name="connsiteX5" fmla="*/ 238125 w 518125"/>
                  <a:gd name="connsiteY5" fmla="*/ 1085850 h 1085850"/>
                  <a:gd name="connsiteX0" fmla="*/ 0 w 514673"/>
                  <a:gd name="connsiteY0" fmla="*/ 0 h 1085850"/>
                  <a:gd name="connsiteX1" fmla="*/ 228600 w 514673"/>
                  <a:gd name="connsiteY1" fmla="*/ 104775 h 1085850"/>
                  <a:gd name="connsiteX2" fmla="*/ 400050 w 514673"/>
                  <a:gd name="connsiteY2" fmla="*/ 333375 h 1085850"/>
                  <a:gd name="connsiteX3" fmla="*/ 514350 w 514673"/>
                  <a:gd name="connsiteY3" fmla="*/ 647700 h 1085850"/>
                  <a:gd name="connsiteX4" fmla="*/ 427648 w 514673"/>
                  <a:gd name="connsiteY4" fmla="*/ 864088 h 1085850"/>
                  <a:gd name="connsiteX5" fmla="*/ 238125 w 514673"/>
                  <a:gd name="connsiteY5" fmla="*/ 1085850 h 1085850"/>
                  <a:gd name="connsiteX0" fmla="*/ 0 w 506917"/>
                  <a:gd name="connsiteY0" fmla="*/ 0 h 1085850"/>
                  <a:gd name="connsiteX1" fmla="*/ 228600 w 506917"/>
                  <a:gd name="connsiteY1" fmla="*/ 104775 h 1085850"/>
                  <a:gd name="connsiteX2" fmla="*/ 400050 w 506917"/>
                  <a:gd name="connsiteY2" fmla="*/ 333375 h 1085850"/>
                  <a:gd name="connsiteX3" fmla="*/ 506534 w 506917"/>
                  <a:gd name="connsiteY3" fmla="*/ 624254 h 1085850"/>
                  <a:gd name="connsiteX4" fmla="*/ 427648 w 506917"/>
                  <a:gd name="connsiteY4" fmla="*/ 864088 h 1085850"/>
                  <a:gd name="connsiteX5" fmla="*/ 238125 w 506917"/>
                  <a:gd name="connsiteY5" fmla="*/ 1085850 h 1085850"/>
                  <a:gd name="connsiteX0" fmla="*/ 0 w 506591"/>
                  <a:gd name="connsiteY0" fmla="*/ 0 h 1085850"/>
                  <a:gd name="connsiteX1" fmla="*/ 228600 w 506591"/>
                  <a:gd name="connsiteY1" fmla="*/ 104775 h 1085850"/>
                  <a:gd name="connsiteX2" fmla="*/ 400050 w 506591"/>
                  <a:gd name="connsiteY2" fmla="*/ 333375 h 1085850"/>
                  <a:gd name="connsiteX3" fmla="*/ 506534 w 506591"/>
                  <a:gd name="connsiteY3" fmla="*/ 624254 h 1085850"/>
                  <a:gd name="connsiteX4" fmla="*/ 412018 w 506591"/>
                  <a:gd name="connsiteY4" fmla="*/ 840642 h 1085850"/>
                  <a:gd name="connsiteX5" fmla="*/ 238125 w 506591"/>
                  <a:gd name="connsiteY5" fmla="*/ 1085850 h 1085850"/>
                  <a:gd name="connsiteX0" fmla="*/ 0 w 507254"/>
                  <a:gd name="connsiteY0" fmla="*/ 0 h 1085850"/>
                  <a:gd name="connsiteX1" fmla="*/ 228600 w 507254"/>
                  <a:gd name="connsiteY1" fmla="*/ 104775 h 1085850"/>
                  <a:gd name="connsiteX2" fmla="*/ 400050 w 507254"/>
                  <a:gd name="connsiteY2" fmla="*/ 333375 h 1085850"/>
                  <a:gd name="connsiteX3" fmla="*/ 506534 w 507254"/>
                  <a:gd name="connsiteY3" fmla="*/ 624254 h 1085850"/>
                  <a:gd name="connsiteX4" fmla="*/ 435464 w 507254"/>
                  <a:gd name="connsiteY4" fmla="*/ 856272 h 1085850"/>
                  <a:gd name="connsiteX5" fmla="*/ 238125 w 507254"/>
                  <a:gd name="connsiteY5" fmla="*/ 1085850 h 1085850"/>
                  <a:gd name="connsiteX0" fmla="*/ 0 w 508585"/>
                  <a:gd name="connsiteY0" fmla="*/ 0 h 1085850"/>
                  <a:gd name="connsiteX1" fmla="*/ 228600 w 508585"/>
                  <a:gd name="connsiteY1" fmla="*/ 104775 h 1085850"/>
                  <a:gd name="connsiteX2" fmla="*/ 368245 w 508585"/>
                  <a:gd name="connsiteY2" fmla="*/ 357229 h 1085850"/>
                  <a:gd name="connsiteX3" fmla="*/ 506534 w 508585"/>
                  <a:gd name="connsiteY3" fmla="*/ 624254 h 1085850"/>
                  <a:gd name="connsiteX4" fmla="*/ 435464 w 508585"/>
                  <a:gd name="connsiteY4" fmla="*/ 856272 h 1085850"/>
                  <a:gd name="connsiteX5" fmla="*/ 238125 w 508585"/>
                  <a:gd name="connsiteY5" fmla="*/ 1085850 h 1085850"/>
                  <a:gd name="connsiteX0" fmla="*/ 0 w 468850"/>
                  <a:gd name="connsiteY0" fmla="*/ 0 h 1085850"/>
                  <a:gd name="connsiteX1" fmla="*/ 228600 w 468850"/>
                  <a:gd name="connsiteY1" fmla="*/ 104775 h 1085850"/>
                  <a:gd name="connsiteX2" fmla="*/ 368245 w 468850"/>
                  <a:gd name="connsiteY2" fmla="*/ 357229 h 1085850"/>
                  <a:gd name="connsiteX3" fmla="*/ 458826 w 468850"/>
                  <a:gd name="connsiteY3" fmla="*/ 592449 h 1085850"/>
                  <a:gd name="connsiteX4" fmla="*/ 435464 w 468850"/>
                  <a:gd name="connsiteY4" fmla="*/ 856272 h 1085850"/>
                  <a:gd name="connsiteX5" fmla="*/ 238125 w 468850"/>
                  <a:gd name="connsiteY5" fmla="*/ 1085850 h 1085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8850" h="1085850">
                    <a:moveTo>
                      <a:pt x="0" y="0"/>
                    </a:moveTo>
                    <a:cubicBezTo>
                      <a:pt x="80962" y="24606"/>
                      <a:pt x="167226" y="45237"/>
                      <a:pt x="228600" y="104775"/>
                    </a:cubicBezTo>
                    <a:cubicBezTo>
                      <a:pt x="289974" y="164313"/>
                      <a:pt x="329874" y="275950"/>
                      <a:pt x="368245" y="357229"/>
                    </a:cubicBezTo>
                    <a:cubicBezTo>
                      <a:pt x="406616" y="438508"/>
                      <a:pt x="447623" y="509275"/>
                      <a:pt x="458826" y="592449"/>
                    </a:cubicBezTo>
                    <a:cubicBezTo>
                      <a:pt x="470029" y="675623"/>
                      <a:pt x="481502" y="783247"/>
                      <a:pt x="435464" y="856272"/>
                    </a:cubicBezTo>
                    <a:cubicBezTo>
                      <a:pt x="389427" y="929297"/>
                      <a:pt x="329406" y="1027112"/>
                      <a:pt x="238125" y="1085850"/>
                    </a:cubicBezTo>
                  </a:path>
                </a:pathLst>
              </a:custGeom>
              <a:noFill/>
              <a:ln w="28575">
                <a:solidFill>
                  <a:srgbClr val="FF000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9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00529" y="3954627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0" name="Figura a mano libera 369"/>
              <p:cNvSpPr/>
              <p:nvPr/>
            </p:nvSpPr>
            <p:spPr>
              <a:xfrm>
                <a:off x="1881013" y="1558722"/>
                <a:ext cx="459367" cy="24445"/>
              </a:xfrm>
              <a:custGeom>
                <a:avLst/>
                <a:gdLst>
                  <a:gd name="connsiteX0" fmla="*/ 0 w 393405"/>
                  <a:gd name="connsiteY0" fmla="*/ 21266 h 21266"/>
                  <a:gd name="connsiteX1" fmla="*/ 127591 w 393405"/>
                  <a:gd name="connsiteY1" fmla="*/ 0 h 21266"/>
                  <a:gd name="connsiteX2" fmla="*/ 127591 w 393405"/>
                  <a:gd name="connsiteY2" fmla="*/ 0 h 21266"/>
                  <a:gd name="connsiteX3" fmla="*/ 329609 w 393405"/>
                  <a:gd name="connsiteY3" fmla="*/ 10633 h 21266"/>
                  <a:gd name="connsiteX4" fmla="*/ 393405 w 393405"/>
                  <a:gd name="connsiteY4" fmla="*/ 21266 h 21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3405" h="21266">
                    <a:moveTo>
                      <a:pt x="0" y="21266"/>
                    </a:moveTo>
                    <a:lnTo>
                      <a:pt x="127591" y="0"/>
                    </a:lnTo>
                    <a:lnTo>
                      <a:pt x="127591" y="0"/>
                    </a:lnTo>
                    <a:lnTo>
                      <a:pt x="329609" y="10633"/>
                    </a:lnTo>
                    <a:cubicBezTo>
                      <a:pt x="373911" y="14177"/>
                      <a:pt x="383658" y="17721"/>
                      <a:pt x="393405" y="21266"/>
                    </a:cubicBezTo>
                  </a:path>
                </a:pathLst>
              </a:custGeom>
              <a:noFill/>
              <a:ln w="28575">
                <a:solidFill>
                  <a:srgbClr val="FF000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1" name="Figura a mano libera 370"/>
              <p:cNvSpPr/>
              <p:nvPr/>
            </p:nvSpPr>
            <p:spPr>
              <a:xfrm>
                <a:off x="1963720" y="1403126"/>
                <a:ext cx="852824" cy="516731"/>
              </a:xfrm>
              <a:custGeom>
                <a:avLst/>
                <a:gdLst>
                  <a:gd name="connsiteX0" fmla="*/ 0 w 762000"/>
                  <a:gd name="connsiteY0" fmla="*/ 0 h 457200"/>
                  <a:gd name="connsiteX1" fmla="*/ 571500 w 762000"/>
                  <a:gd name="connsiteY1" fmla="*/ 247650 h 457200"/>
                  <a:gd name="connsiteX2" fmla="*/ 762000 w 762000"/>
                  <a:gd name="connsiteY2" fmla="*/ 457200 h 457200"/>
                  <a:gd name="connsiteX0" fmla="*/ 0 w 762000"/>
                  <a:gd name="connsiteY0" fmla="*/ 0 h 457200"/>
                  <a:gd name="connsiteX1" fmla="*/ 504825 w 762000"/>
                  <a:gd name="connsiteY1" fmla="*/ 247650 h 457200"/>
                  <a:gd name="connsiteX2" fmla="*/ 762000 w 762000"/>
                  <a:gd name="connsiteY2" fmla="*/ 457200 h 457200"/>
                  <a:gd name="connsiteX0" fmla="*/ 0 w 714375"/>
                  <a:gd name="connsiteY0" fmla="*/ 0 h 457200"/>
                  <a:gd name="connsiteX1" fmla="*/ 457200 w 714375"/>
                  <a:gd name="connsiteY1" fmla="*/ 247650 h 457200"/>
                  <a:gd name="connsiteX2" fmla="*/ 714375 w 714375"/>
                  <a:gd name="connsiteY2" fmla="*/ 457200 h 457200"/>
                  <a:gd name="connsiteX0" fmla="*/ 0 w 676275"/>
                  <a:gd name="connsiteY0" fmla="*/ 0 h 447675"/>
                  <a:gd name="connsiteX1" fmla="*/ 419100 w 676275"/>
                  <a:gd name="connsiteY1" fmla="*/ 238125 h 447675"/>
                  <a:gd name="connsiteX2" fmla="*/ 676275 w 676275"/>
                  <a:gd name="connsiteY2" fmla="*/ 447675 h 44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6275" h="447675">
                    <a:moveTo>
                      <a:pt x="0" y="0"/>
                    </a:moveTo>
                    <a:cubicBezTo>
                      <a:pt x="222250" y="85725"/>
                      <a:pt x="306388" y="163513"/>
                      <a:pt x="419100" y="238125"/>
                    </a:cubicBezTo>
                    <a:cubicBezTo>
                      <a:pt x="531812" y="312737"/>
                      <a:pt x="644525" y="381000"/>
                      <a:pt x="676275" y="447675"/>
                    </a:cubicBezTo>
                  </a:path>
                </a:pathLst>
              </a:custGeom>
              <a:noFill/>
              <a:ln w="28575">
                <a:solidFill>
                  <a:srgbClr val="3760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2" name="Figura a mano libera 371"/>
              <p:cNvSpPr/>
              <p:nvPr/>
            </p:nvSpPr>
            <p:spPr>
              <a:xfrm>
                <a:off x="1842376" y="1398989"/>
                <a:ext cx="75979" cy="259523"/>
              </a:xfrm>
              <a:custGeom>
                <a:avLst/>
                <a:gdLst>
                  <a:gd name="connsiteX0" fmla="*/ 51035 w 51035"/>
                  <a:gd name="connsiteY0" fmla="*/ 0 h 196850"/>
                  <a:gd name="connsiteX1" fmla="*/ 6585 w 51035"/>
                  <a:gd name="connsiteY1" fmla="*/ 101600 h 196850"/>
                  <a:gd name="connsiteX2" fmla="*/ 235 w 51035"/>
                  <a:gd name="connsiteY2" fmla="*/ 196850 h 196850"/>
                  <a:gd name="connsiteX0" fmla="*/ 103603 w 103604"/>
                  <a:gd name="connsiteY0" fmla="*/ 0 h 304480"/>
                  <a:gd name="connsiteX1" fmla="*/ 9535 w 103604"/>
                  <a:gd name="connsiteY1" fmla="*/ 209230 h 304480"/>
                  <a:gd name="connsiteX2" fmla="*/ 3185 w 103604"/>
                  <a:gd name="connsiteY2" fmla="*/ 304480 h 304480"/>
                  <a:gd name="connsiteX0" fmla="*/ 100418 w 100418"/>
                  <a:gd name="connsiteY0" fmla="*/ 0 h 304480"/>
                  <a:gd name="connsiteX1" fmla="*/ 41792 w 100418"/>
                  <a:gd name="connsiteY1" fmla="*/ 121168 h 304480"/>
                  <a:gd name="connsiteX2" fmla="*/ 0 w 100418"/>
                  <a:gd name="connsiteY2" fmla="*/ 304480 h 304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418" h="304480">
                    <a:moveTo>
                      <a:pt x="100418" y="0"/>
                    </a:moveTo>
                    <a:cubicBezTo>
                      <a:pt x="82426" y="34396"/>
                      <a:pt x="58528" y="70421"/>
                      <a:pt x="41792" y="121168"/>
                    </a:cubicBezTo>
                    <a:cubicBezTo>
                      <a:pt x="25056" y="171915"/>
                      <a:pt x="0" y="304480"/>
                      <a:pt x="0" y="304480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3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50139" y="1315189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4" name="Figura a mano libera 373"/>
              <p:cNvSpPr/>
              <p:nvPr/>
            </p:nvSpPr>
            <p:spPr>
              <a:xfrm>
                <a:off x="4908503" y="4095749"/>
                <a:ext cx="94073" cy="283340"/>
              </a:xfrm>
              <a:custGeom>
                <a:avLst/>
                <a:gdLst>
                  <a:gd name="connsiteX0" fmla="*/ 0 w 521066"/>
                  <a:gd name="connsiteY0" fmla="*/ 1017766 h 1055507"/>
                  <a:gd name="connsiteX1" fmla="*/ 119269 w 521066"/>
                  <a:gd name="connsiteY1" fmla="*/ 1041620 h 1055507"/>
                  <a:gd name="connsiteX2" fmla="*/ 111318 w 521066"/>
                  <a:gd name="connsiteY2" fmla="*/ 1041620 h 1055507"/>
                  <a:gd name="connsiteX3" fmla="*/ 206734 w 521066"/>
                  <a:gd name="connsiteY3" fmla="*/ 866692 h 1055507"/>
                  <a:gd name="connsiteX4" fmla="*/ 310100 w 521066"/>
                  <a:gd name="connsiteY4" fmla="*/ 842838 h 1055507"/>
                  <a:gd name="connsiteX5" fmla="*/ 310100 w 521066"/>
                  <a:gd name="connsiteY5" fmla="*/ 842838 h 1055507"/>
                  <a:gd name="connsiteX6" fmla="*/ 286247 w 521066"/>
                  <a:gd name="connsiteY6" fmla="*/ 659958 h 1055507"/>
                  <a:gd name="connsiteX7" fmla="*/ 286247 w 521066"/>
                  <a:gd name="connsiteY7" fmla="*/ 659958 h 1055507"/>
                  <a:gd name="connsiteX8" fmla="*/ 405516 w 521066"/>
                  <a:gd name="connsiteY8" fmla="*/ 548640 h 1055507"/>
                  <a:gd name="connsiteX9" fmla="*/ 516834 w 521066"/>
                  <a:gd name="connsiteY9" fmla="*/ 572493 h 1055507"/>
                  <a:gd name="connsiteX10" fmla="*/ 485029 w 521066"/>
                  <a:gd name="connsiteY10" fmla="*/ 397565 h 1055507"/>
                  <a:gd name="connsiteX11" fmla="*/ 365760 w 521066"/>
                  <a:gd name="connsiteY11" fmla="*/ 318052 h 1055507"/>
                  <a:gd name="connsiteX12" fmla="*/ 286247 w 521066"/>
                  <a:gd name="connsiteY12" fmla="*/ 246490 h 1055507"/>
                  <a:gd name="connsiteX13" fmla="*/ 318052 w 521066"/>
                  <a:gd name="connsiteY13" fmla="*/ 71561 h 1055507"/>
                  <a:gd name="connsiteX14" fmla="*/ 318052 w 521066"/>
                  <a:gd name="connsiteY14" fmla="*/ 71561 h 1055507"/>
                  <a:gd name="connsiteX15" fmla="*/ 365760 w 521066"/>
                  <a:gd name="connsiteY15" fmla="*/ 0 h 1055507"/>
                  <a:gd name="connsiteX0" fmla="*/ 0 w 511898"/>
                  <a:gd name="connsiteY0" fmla="*/ 1017766 h 1055507"/>
                  <a:gd name="connsiteX1" fmla="*/ 119269 w 511898"/>
                  <a:gd name="connsiteY1" fmla="*/ 1041620 h 1055507"/>
                  <a:gd name="connsiteX2" fmla="*/ 111318 w 511898"/>
                  <a:gd name="connsiteY2" fmla="*/ 1041620 h 1055507"/>
                  <a:gd name="connsiteX3" fmla="*/ 206734 w 511898"/>
                  <a:gd name="connsiteY3" fmla="*/ 866692 h 1055507"/>
                  <a:gd name="connsiteX4" fmla="*/ 310100 w 511898"/>
                  <a:gd name="connsiteY4" fmla="*/ 842838 h 1055507"/>
                  <a:gd name="connsiteX5" fmla="*/ 310100 w 511898"/>
                  <a:gd name="connsiteY5" fmla="*/ 842838 h 1055507"/>
                  <a:gd name="connsiteX6" fmla="*/ 286247 w 511898"/>
                  <a:gd name="connsiteY6" fmla="*/ 659958 h 1055507"/>
                  <a:gd name="connsiteX7" fmla="*/ 286247 w 511898"/>
                  <a:gd name="connsiteY7" fmla="*/ 659958 h 1055507"/>
                  <a:gd name="connsiteX8" fmla="*/ 405516 w 511898"/>
                  <a:gd name="connsiteY8" fmla="*/ 548640 h 1055507"/>
                  <a:gd name="connsiteX9" fmla="*/ 506202 w 511898"/>
                  <a:gd name="connsiteY9" fmla="*/ 519331 h 1055507"/>
                  <a:gd name="connsiteX10" fmla="*/ 485029 w 511898"/>
                  <a:gd name="connsiteY10" fmla="*/ 397565 h 1055507"/>
                  <a:gd name="connsiteX11" fmla="*/ 365760 w 511898"/>
                  <a:gd name="connsiteY11" fmla="*/ 318052 h 1055507"/>
                  <a:gd name="connsiteX12" fmla="*/ 286247 w 511898"/>
                  <a:gd name="connsiteY12" fmla="*/ 246490 h 1055507"/>
                  <a:gd name="connsiteX13" fmla="*/ 318052 w 511898"/>
                  <a:gd name="connsiteY13" fmla="*/ 71561 h 1055507"/>
                  <a:gd name="connsiteX14" fmla="*/ 318052 w 511898"/>
                  <a:gd name="connsiteY14" fmla="*/ 71561 h 1055507"/>
                  <a:gd name="connsiteX15" fmla="*/ 365760 w 511898"/>
                  <a:gd name="connsiteY15" fmla="*/ 0 h 1055507"/>
                  <a:gd name="connsiteX0" fmla="*/ 11148 w 403777"/>
                  <a:gd name="connsiteY0" fmla="*/ 1041620 h 1055507"/>
                  <a:gd name="connsiteX1" fmla="*/ 3197 w 403777"/>
                  <a:gd name="connsiteY1" fmla="*/ 1041620 h 1055507"/>
                  <a:gd name="connsiteX2" fmla="*/ 98613 w 403777"/>
                  <a:gd name="connsiteY2" fmla="*/ 866692 h 1055507"/>
                  <a:gd name="connsiteX3" fmla="*/ 201979 w 403777"/>
                  <a:gd name="connsiteY3" fmla="*/ 842838 h 1055507"/>
                  <a:gd name="connsiteX4" fmla="*/ 201979 w 403777"/>
                  <a:gd name="connsiteY4" fmla="*/ 842838 h 1055507"/>
                  <a:gd name="connsiteX5" fmla="*/ 178126 w 403777"/>
                  <a:gd name="connsiteY5" fmla="*/ 659958 h 1055507"/>
                  <a:gd name="connsiteX6" fmla="*/ 178126 w 403777"/>
                  <a:gd name="connsiteY6" fmla="*/ 659958 h 1055507"/>
                  <a:gd name="connsiteX7" fmla="*/ 297395 w 403777"/>
                  <a:gd name="connsiteY7" fmla="*/ 548640 h 1055507"/>
                  <a:gd name="connsiteX8" fmla="*/ 398081 w 403777"/>
                  <a:gd name="connsiteY8" fmla="*/ 519331 h 1055507"/>
                  <a:gd name="connsiteX9" fmla="*/ 376908 w 403777"/>
                  <a:gd name="connsiteY9" fmla="*/ 397565 h 1055507"/>
                  <a:gd name="connsiteX10" fmla="*/ 257639 w 403777"/>
                  <a:gd name="connsiteY10" fmla="*/ 318052 h 1055507"/>
                  <a:gd name="connsiteX11" fmla="*/ 178126 w 403777"/>
                  <a:gd name="connsiteY11" fmla="*/ 246490 h 1055507"/>
                  <a:gd name="connsiteX12" fmla="*/ 209931 w 403777"/>
                  <a:gd name="connsiteY12" fmla="*/ 71561 h 1055507"/>
                  <a:gd name="connsiteX13" fmla="*/ 209931 w 403777"/>
                  <a:gd name="connsiteY13" fmla="*/ 71561 h 1055507"/>
                  <a:gd name="connsiteX14" fmla="*/ 257639 w 403777"/>
                  <a:gd name="connsiteY14" fmla="*/ 0 h 1055507"/>
                  <a:gd name="connsiteX0" fmla="*/ 0 w 392629"/>
                  <a:gd name="connsiteY0" fmla="*/ 1041620 h 1041620"/>
                  <a:gd name="connsiteX1" fmla="*/ 87465 w 392629"/>
                  <a:gd name="connsiteY1" fmla="*/ 866692 h 1041620"/>
                  <a:gd name="connsiteX2" fmla="*/ 190831 w 392629"/>
                  <a:gd name="connsiteY2" fmla="*/ 842838 h 1041620"/>
                  <a:gd name="connsiteX3" fmla="*/ 190831 w 392629"/>
                  <a:gd name="connsiteY3" fmla="*/ 842838 h 1041620"/>
                  <a:gd name="connsiteX4" fmla="*/ 166978 w 392629"/>
                  <a:gd name="connsiteY4" fmla="*/ 659958 h 1041620"/>
                  <a:gd name="connsiteX5" fmla="*/ 166978 w 392629"/>
                  <a:gd name="connsiteY5" fmla="*/ 659958 h 1041620"/>
                  <a:gd name="connsiteX6" fmla="*/ 286247 w 392629"/>
                  <a:gd name="connsiteY6" fmla="*/ 548640 h 1041620"/>
                  <a:gd name="connsiteX7" fmla="*/ 386933 w 392629"/>
                  <a:gd name="connsiteY7" fmla="*/ 519331 h 1041620"/>
                  <a:gd name="connsiteX8" fmla="*/ 365760 w 392629"/>
                  <a:gd name="connsiteY8" fmla="*/ 397565 h 1041620"/>
                  <a:gd name="connsiteX9" fmla="*/ 246491 w 392629"/>
                  <a:gd name="connsiteY9" fmla="*/ 318052 h 1041620"/>
                  <a:gd name="connsiteX10" fmla="*/ 166978 w 392629"/>
                  <a:gd name="connsiteY10" fmla="*/ 246490 h 1041620"/>
                  <a:gd name="connsiteX11" fmla="*/ 198783 w 392629"/>
                  <a:gd name="connsiteY11" fmla="*/ 71561 h 1041620"/>
                  <a:gd name="connsiteX12" fmla="*/ 198783 w 392629"/>
                  <a:gd name="connsiteY12" fmla="*/ 71561 h 1041620"/>
                  <a:gd name="connsiteX13" fmla="*/ 246491 w 392629"/>
                  <a:gd name="connsiteY13" fmla="*/ 0 h 1041620"/>
                  <a:gd name="connsiteX0" fmla="*/ 0 w 305164"/>
                  <a:gd name="connsiteY0" fmla="*/ 866692 h 866692"/>
                  <a:gd name="connsiteX1" fmla="*/ 103366 w 305164"/>
                  <a:gd name="connsiteY1" fmla="*/ 842838 h 866692"/>
                  <a:gd name="connsiteX2" fmla="*/ 103366 w 305164"/>
                  <a:gd name="connsiteY2" fmla="*/ 842838 h 866692"/>
                  <a:gd name="connsiteX3" fmla="*/ 79513 w 305164"/>
                  <a:gd name="connsiteY3" fmla="*/ 659958 h 866692"/>
                  <a:gd name="connsiteX4" fmla="*/ 79513 w 305164"/>
                  <a:gd name="connsiteY4" fmla="*/ 659958 h 866692"/>
                  <a:gd name="connsiteX5" fmla="*/ 198782 w 305164"/>
                  <a:gd name="connsiteY5" fmla="*/ 548640 h 866692"/>
                  <a:gd name="connsiteX6" fmla="*/ 299468 w 305164"/>
                  <a:gd name="connsiteY6" fmla="*/ 519331 h 866692"/>
                  <a:gd name="connsiteX7" fmla="*/ 278295 w 305164"/>
                  <a:gd name="connsiteY7" fmla="*/ 397565 h 866692"/>
                  <a:gd name="connsiteX8" fmla="*/ 159026 w 305164"/>
                  <a:gd name="connsiteY8" fmla="*/ 318052 h 866692"/>
                  <a:gd name="connsiteX9" fmla="*/ 79513 w 305164"/>
                  <a:gd name="connsiteY9" fmla="*/ 246490 h 866692"/>
                  <a:gd name="connsiteX10" fmla="*/ 111318 w 305164"/>
                  <a:gd name="connsiteY10" fmla="*/ 71561 h 866692"/>
                  <a:gd name="connsiteX11" fmla="*/ 111318 w 305164"/>
                  <a:gd name="connsiteY11" fmla="*/ 71561 h 866692"/>
                  <a:gd name="connsiteX12" fmla="*/ 159026 w 305164"/>
                  <a:gd name="connsiteY12" fmla="*/ 0 h 866692"/>
                  <a:gd name="connsiteX0" fmla="*/ 24905 w 226703"/>
                  <a:gd name="connsiteY0" fmla="*/ 842838 h 842838"/>
                  <a:gd name="connsiteX1" fmla="*/ 24905 w 226703"/>
                  <a:gd name="connsiteY1" fmla="*/ 842838 h 842838"/>
                  <a:gd name="connsiteX2" fmla="*/ 1052 w 226703"/>
                  <a:gd name="connsiteY2" fmla="*/ 659958 h 842838"/>
                  <a:gd name="connsiteX3" fmla="*/ 1052 w 226703"/>
                  <a:gd name="connsiteY3" fmla="*/ 659958 h 842838"/>
                  <a:gd name="connsiteX4" fmla="*/ 120321 w 226703"/>
                  <a:gd name="connsiteY4" fmla="*/ 548640 h 842838"/>
                  <a:gd name="connsiteX5" fmla="*/ 221007 w 226703"/>
                  <a:gd name="connsiteY5" fmla="*/ 519331 h 842838"/>
                  <a:gd name="connsiteX6" fmla="*/ 199834 w 226703"/>
                  <a:gd name="connsiteY6" fmla="*/ 397565 h 842838"/>
                  <a:gd name="connsiteX7" fmla="*/ 80565 w 226703"/>
                  <a:gd name="connsiteY7" fmla="*/ 318052 h 842838"/>
                  <a:gd name="connsiteX8" fmla="*/ 1052 w 226703"/>
                  <a:gd name="connsiteY8" fmla="*/ 246490 h 842838"/>
                  <a:gd name="connsiteX9" fmla="*/ 32857 w 226703"/>
                  <a:gd name="connsiteY9" fmla="*/ 71561 h 842838"/>
                  <a:gd name="connsiteX10" fmla="*/ 32857 w 226703"/>
                  <a:gd name="connsiteY10" fmla="*/ 71561 h 842838"/>
                  <a:gd name="connsiteX11" fmla="*/ 80565 w 226703"/>
                  <a:gd name="connsiteY11" fmla="*/ 0 h 842838"/>
                  <a:gd name="connsiteX0" fmla="*/ 24905 w 226703"/>
                  <a:gd name="connsiteY0" fmla="*/ 842838 h 842838"/>
                  <a:gd name="connsiteX1" fmla="*/ 1052 w 226703"/>
                  <a:gd name="connsiteY1" fmla="*/ 659958 h 842838"/>
                  <a:gd name="connsiteX2" fmla="*/ 1052 w 226703"/>
                  <a:gd name="connsiteY2" fmla="*/ 659958 h 842838"/>
                  <a:gd name="connsiteX3" fmla="*/ 120321 w 226703"/>
                  <a:gd name="connsiteY3" fmla="*/ 548640 h 842838"/>
                  <a:gd name="connsiteX4" fmla="*/ 221007 w 226703"/>
                  <a:gd name="connsiteY4" fmla="*/ 519331 h 842838"/>
                  <a:gd name="connsiteX5" fmla="*/ 199834 w 226703"/>
                  <a:gd name="connsiteY5" fmla="*/ 397565 h 842838"/>
                  <a:gd name="connsiteX6" fmla="*/ 80565 w 226703"/>
                  <a:gd name="connsiteY6" fmla="*/ 318052 h 842838"/>
                  <a:gd name="connsiteX7" fmla="*/ 1052 w 226703"/>
                  <a:gd name="connsiteY7" fmla="*/ 246490 h 842838"/>
                  <a:gd name="connsiteX8" fmla="*/ 32857 w 226703"/>
                  <a:gd name="connsiteY8" fmla="*/ 71561 h 842838"/>
                  <a:gd name="connsiteX9" fmla="*/ 32857 w 226703"/>
                  <a:gd name="connsiteY9" fmla="*/ 71561 h 842838"/>
                  <a:gd name="connsiteX10" fmla="*/ 80565 w 226703"/>
                  <a:gd name="connsiteY10" fmla="*/ 0 h 842838"/>
                  <a:gd name="connsiteX0" fmla="*/ 1052 w 226703"/>
                  <a:gd name="connsiteY0" fmla="*/ 659958 h 659958"/>
                  <a:gd name="connsiteX1" fmla="*/ 1052 w 226703"/>
                  <a:gd name="connsiteY1" fmla="*/ 659958 h 659958"/>
                  <a:gd name="connsiteX2" fmla="*/ 120321 w 226703"/>
                  <a:gd name="connsiteY2" fmla="*/ 548640 h 659958"/>
                  <a:gd name="connsiteX3" fmla="*/ 221007 w 226703"/>
                  <a:gd name="connsiteY3" fmla="*/ 519331 h 659958"/>
                  <a:gd name="connsiteX4" fmla="*/ 199834 w 226703"/>
                  <a:gd name="connsiteY4" fmla="*/ 397565 h 659958"/>
                  <a:gd name="connsiteX5" fmla="*/ 80565 w 226703"/>
                  <a:gd name="connsiteY5" fmla="*/ 318052 h 659958"/>
                  <a:gd name="connsiteX6" fmla="*/ 1052 w 226703"/>
                  <a:gd name="connsiteY6" fmla="*/ 246490 h 659958"/>
                  <a:gd name="connsiteX7" fmla="*/ 32857 w 226703"/>
                  <a:gd name="connsiteY7" fmla="*/ 71561 h 659958"/>
                  <a:gd name="connsiteX8" fmla="*/ 32857 w 226703"/>
                  <a:gd name="connsiteY8" fmla="*/ 71561 h 659958"/>
                  <a:gd name="connsiteX9" fmla="*/ 80565 w 226703"/>
                  <a:gd name="connsiteY9" fmla="*/ 0 h 659958"/>
                  <a:gd name="connsiteX0" fmla="*/ 1052 w 226703"/>
                  <a:gd name="connsiteY0" fmla="*/ 659958 h 659958"/>
                  <a:gd name="connsiteX1" fmla="*/ 120321 w 226703"/>
                  <a:gd name="connsiteY1" fmla="*/ 548640 h 659958"/>
                  <a:gd name="connsiteX2" fmla="*/ 221007 w 226703"/>
                  <a:gd name="connsiteY2" fmla="*/ 519331 h 659958"/>
                  <a:gd name="connsiteX3" fmla="*/ 199834 w 226703"/>
                  <a:gd name="connsiteY3" fmla="*/ 397565 h 659958"/>
                  <a:gd name="connsiteX4" fmla="*/ 80565 w 226703"/>
                  <a:gd name="connsiteY4" fmla="*/ 318052 h 659958"/>
                  <a:gd name="connsiteX5" fmla="*/ 1052 w 226703"/>
                  <a:gd name="connsiteY5" fmla="*/ 246490 h 659958"/>
                  <a:gd name="connsiteX6" fmla="*/ 32857 w 226703"/>
                  <a:gd name="connsiteY6" fmla="*/ 71561 h 659958"/>
                  <a:gd name="connsiteX7" fmla="*/ 32857 w 226703"/>
                  <a:gd name="connsiteY7" fmla="*/ 71561 h 659958"/>
                  <a:gd name="connsiteX8" fmla="*/ 80565 w 226703"/>
                  <a:gd name="connsiteY8" fmla="*/ 0 h 659958"/>
                  <a:gd name="connsiteX0" fmla="*/ 120321 w 226703"/>
                  <a:gd name="connsiteY0" fmla="*/ 548640 h 548640"/>
                  <a:gd name="connsiteX1" fmla="*/ 221007 w 226703"/>
                  <a:gd name="connsiteY1" fmla="*/ 519331 h 548640"/>
                  <a:gd name="connsiteX2" fmla="*/ 199834 w 226703"/>
                  <a:gd name="connsiteY2" fmla="*/ 397565 h 548640"/>
                  <a:gd name="connsiteX3" fmla="*/ 80565 w 226703"/>
                  <a:gd name="connsiteY3" fmla="*/ 318052 h 548640"/>
                  <a:gd name="connsiteX4" fmla="*/ 1052 w 226703"/>
                  <a:gd name="connsiteY4" fmla="*/ 246490 h 548640"/>
                  <a:gd name="connsiteX5" fmla="*/ 32857 w 226703"/>
                  <a:gd name="connsiteY5" fmla="*/ 71561 h 548640"/>
                  <a:gd name="connsiteX6" fmla="*/ 32857 w 226703"/>
                  <a:gd name="connsiteY6" fmla="*/ 71561 h 548640"/>
                  <a:gd name="connsiteX7" fmla="*/ 80565 w 226703"/>
                  <a:gd name="connsiteY7" fmla="*/ 0 h 548640"/>
                  <a:gd name="connsiteX0" fmla="*/ 221007 w 226703"/>
                  <a:gd name="connsiteY0" fmla="*/ 519331 h 519331"/>
                  <a:gd name="connsiteX1" fmla="*/ 199834 w 226703"/>
                  <a:gd name="connsiteY1" fmla="*/ 397565 h 519331"/>
                  <a:gd name="connsiteX2" fmla="*/ 80565 w 226703"/>
                  <a:gd name="connsiteY2" fmla="*/ 318052 h 519331"/>
                  <a:gd name="connsiteX3" fmla="*/ 1052 w 226703"/>
                  <a:gd name="connsiteY3" fmla="*/ 246490 h 519331"/>
                  <a:gd name="connsiteX4" fmla="*/ 32857 w 226703"/>
                  <a:gd name="connsiteY4" fmla="*/ 71561 h 519331"/>
                  <a:gd name="connsiteX5" fmla="*/ 32857 w 226703"/>
                  <a:gd name="connsiteY5" fmla="*/ 71561 h 519331"/>
                  <a:gd name="connsiteX6" fmla="*/ 80565 w 226703"/>
                  <a:gd name="connsiteY6" fmla="*/ 0 h 519331"/>
                  <a:gd name="connsiteX0" fmla="*/ 199834 w 199834"/>
                  <a:gd name="connsiteY0" fmla="*/ 397565 h 397565"/>
                  <a:gd name="connsiteX1" fmla="*/ 80565 w 199834"/>
                  <a:gd name="connsiteY1" fmla="*/ 318052 h 397565"/>
                  <a:gd name="connsiteX2" fmla="*/ 1052 w 199834"/>
                  <a:gd name="connsiteY2" fmla="*/ 246490 h 397565"/>
                  <a:gd name="connsiteX3" fmla="*/ 32857 w 199834"/>
                  <a:gd name="connsiteY3" fmla="*/ 71561 h 397565"/>
                  <a:gd name="connsiteX4" fmla="*/ 32857 w 199834"/>
                  <a:gd name="connsiteY4" fmla="*/ 71561 h 397565"/>
                  <a:gd name="connsiteX5" fmla="*/ 80565 w 199834"/>
                  <a:gd name="connsiteY5" fmla="*/ 0 h 397565"/>
                  <a:gd name="connsiteX0" fmla="*/ 80565 w 80565"/>
                  <a:gd name="connsiteY0" fmla="*/ 318052 h 318052"/>
                  <a:gd name="connsiteX1" fmla="*/ 1052 w 80565"/>
                  <a:gd name="connsiteY1" fmla="*/ 246490 h 318052"/>
                  <a:gd name="connsiteX2" fmla="*/ 32857 w 80565"/>
                  <a:gd name="connsiteY2" fmla="*/ 71561 h 318052"/>
                  <a:gd name="connsiteX3" fmla="*/ 32857 w 80565"/>
                  <a:gd name="connsiteY3" fmla="*/ 71561 h 318052"/>
                  <a:gd name="connsiteX4" fmla="*/ 80565 w 80565"/>
                  <a:gd name="connsiteY4" fmla="*/ 0 h 318052"/>
                  <a:gd name="connsiteX0" fmla="*/ 1052 w 80565"/>
                  <a:gd name="connsiteY0" fmla="*/ 246490 h 246490"/>
                  <a:gd name="connsiteX1" fmla="*/ 32857 w 80565"/>
                  <a:gd name="connsiteY1" fmla="*/ 71561 h 246490"/>
                  <a:gd name="connsiteX2" fmla="*/ 32857 w 80565"/>
                  <a:gd name="connsiteY2" fmla="*/ 71561 h 246490"/>
                  <a:gd name="connsiteX3" fmla="*/ 80565 w 80565"/>
                  <a:gd name="connsiteY3" fmla="*/ 0 h 246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565" h="246490">
                    <a:moveTo>
                      <a:pt x="1052" y="246490"/>
                    </a:moveTo>
                    <a:cubicBezTo>
                      <a:pt x="-6899" y="205408"/>
                      <a:pt x="32857" y="71561"/>
                      <a:pt x="32857" y="71561"/>
                    </a:cubicBezTo>
                    <a:lnTo>
                      <a:pt x="32857" y="71561"/>
                    </a:lnTo>
                    <a:lnTo>
                      <a:pt x="80565" y="0"/>
                    </a:ln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5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41923" y="3966536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6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22805" y="3968521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7" name="Figura a mano libera 376"/>
              <p:cNvSpPr/>
              <p:nvPr/>
            </p:nvSpPr>
            <p:spPr>
              <a:xfrm>
                <a:off x="4753917" y="4008969"/>
                <a:ext cx="389949" cy="102459"/>
              </a:xfrm>
              <a:custGeom>
                <a:avLst/>
                <a:gdLst>
                  <a:gd name="connsiteX0" fmla="*/ 0 w 333955"/>
                  <a:gd name="connsiteY0" fmla="*/ 25841 h 97536"/>
                  <a:gd name="connsiteX1" fmla="*/ 222637 w 333955"/>
                  <a:gd name="connsiteY1" fmla="*/ 97403 h 97536"/>
                  <a:gd name="connsiteX2" fmla="*/ 270344 w 333955"/>
                  <a:gd name="connsiteY2" fmla="*/ 9939 h 97536"/>
                  <a:gd name="connsiteX3" fmla="*/ 333955 w 333955"/>
                  <a:gd name="connsiteY3" fmla="*/ 1988 h 97536"/>
                  <a:gd name="connsiteX4" fmla="*/ 333955 w 333955"/>
                  <a:gd name="connsiteY4" fmla="*/ 1988 h 97536"/>
                  <a:gd name="connsiteX0" fmla="*/ 0 w 333955"/>
                  <a:gd name="connsiteY0" fmla="*/ 25356 h 89133"/>
                  <a:gd name="connsiteX1" fmla="*/ 190831 w 333955"/>
                  <a:gd name="connsiteY1" fmla="*/ 88966 h 89133"/>
                  <a:gd name="connsiteX2" fmla="*/ 270344 w 333955"/>
                  <a:gd name="connsiteY2" fmla="*/ 9454 h 89133"/>
                  <a:gd name="connsiteX3" fmla="*/ 333955 w 333955"/>
                  <a:gd name="connsiteY3" fmla="*/ 1503 h 89133"/>
                  <a:gd name="connsiteX4" fmla="*/ 333955 w 333955"/>
                  <a:gd name="connsiteY4" fmla="*/ 1503 h 89133"/>
                  <a:gd name="connsiteX0" fmla="*/ 0 w 334309"/>
                  <a:gd name="connsiteY0" fmla="*/ 25356 h 89133"/>
                  <a:gd name="connsiteX1" fmla="*/ 190831 w 334309"/>
                  <a:gd name="connsiteY1" fmla="*/ 88966 h 89133"/>
                  <a:gd name="connsiteX2" fmla="*/ 270344 w 334309"/>
                  <a:gd name="connsiteY2" fmla="*/ 9454 h 89133"/>
                  <a:gd name="connsiteX3" fmla="*/ 333955 w 334309"/>
                  <a:gd name="connsiteY3" fmla="*/ 1503 h 89133"/>
                  <a:gd name="connsiteX4" fmla="*/ 294198 w 334309"/>
                  <a:gd name="connsiteY4" fmla="*/ 9454 h 89133"/>
                  <a:gd name="connsiteX0" fmla="*/ 0 w 333955"/>
                  <a:gd name="connsiteY0" fmla="*/ 25356 h 89133"/>
                  <a:gd name="connsiteX1" fmla="*/ 190831 w 333955"/>
                  <a:gd name="connsiteY1" fmla="*/ 88966 h 89133"/>
                  <a:gd name="connsiteX2" fmla="*/ 270344 w 333955"/>
                  <a:gd name="connsiteY2" fmla="*/ 9454 h 89133"/>
                  <a:gd name="connsiteX3" fmla="*/ 333955 w 333955"/>
                  <a:gd name="connsiteY3" fmla="*/ 1503 h 89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955" h="89133">
                    <a:moveTo>
                      <a:pt x="0" y="25356"/>
                    </a:moveTo>
                    <a:cubicBezTo>
                      <a:pt x="88790" y="62462"/>
                      <a:pt x="145774" y="91616"/>
                      <a:pt x="190831" y="88966"/>
                    </a:cubicBezTo>
                    <a:cubicBezTo>
                      <a:pt x="235888" y="86316"/>
                      <a:pt x="246490" y="24031"/>
                      <a:pt x="270344" y="9454"/>
                    </a:cubicBezTo>
                    <a:cubicBezTo>
                      <a:pt x="294198" y="-5123"/>
                      <a:pt x="329979" y="1503"/>
                      <a:pt x="333955" y="1503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8" name="Rettangolo 377"/>
              <p:cNvSpPr/>
              <p:nvPr/>
            </p:nvSpPr>
            <p:spPr>
              <a:xfrm>
                <a:off x="4598754" y="538531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eggio Calabria</a:t>
                </a:r>
              </a:p>
            </p:txBody>
          </p:sp>
          <p:sp>
            <p:nvSpPr>
              <p:cNvPr id="379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0414" y="5213792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0" name="Figura a mano libera 379"/>
              <p:cNvSpPr/>
              <p:nvPr/>
            </p:nvSpPr>
            <p:spPr>
              <a:xfrm>
                <a:off x="3339045" y="2214134"/>
                <a:ext cx="143425" cy="109945"/>
              </a:xfrm>
              <a:custGeom>
                <a:avLst/>
                <a:gdLst>
                  <a:gd name="connsiteX0" fmla="*/ 0 w 122830"/>
                  <a:gd name="connsiteY0" fmla="*/ 0 h 95646"/>
                  <a:gd name="connsiteX1" fmla="*/ 40944 w 122830"/>
                  <a:gd name="connsiteY1" fmla="*/ 81886 h 95646"/>
                  <a:gd name="connsiteX2" fmla="*/ 122830 w 122830"/>
                  <a:gd name="connsiteY2" fmla="*/ 95534 h 95646"/>
                  <a:gd name="connsiteX3" fmla="*/ 122830 w 122830"/>
                  <a:gd name="connsiteY3" fmla="*/ 95534 h 95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830" h="95646">
                    <a:moveTo>
                      <a:pt x="0" y="0"/>
                    </a:moveTo>
                    <a:cubicBezTo>
                      <a:pt x="10236" y="32982"/>
                      <a:pt x="20472" y="65964"/>
                      <a:pt x="40944" y="81886"/>
                    </a:cubicBezTo>
                    <a:cubicBezTo>
                      <a:pt x="61416" y="97808"/>
                      <a:pt x="122830" y="95534"/>
                      <a:pt x="122830" y="95534"/>
                    </a:cubicBezTo>
                    <a:lnTo>
                      <a:pt x="122830" y="95534"/>
                    </a:lnTo>
                  </a:path>
                </a:pathLst>
              </a:custGeom>
              <a:noFill/>
              <a:ln w="28575">
                <a:solidFill>
                  <a:srgbClr val="EF892A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1" name="Figura a mano libera 380"/>
              <p:cNvSpPr/>
              <p:nvPr/>
            </p:nvSpPr>
            <p:spPr>
              <a:xfrm>
                <a:off x="4799400" y="3597164"/>
                <a:ext cx="159361" cy="88535"/>
              </a:xfrm>
              <a:custGeom>
                <a:avLst/>
                <a:gdLst>
                  <a:gd name="connsiteX0" fmla="*/ 0 w 122830"/>
                  <a:gd name="connsiteY0" fmla="*/ 0 h 95646"/>
                  <a:gd name="connsiteX1" fmla="*/ 40944 w 122830"/>
                  <a:gd name="connsiteY1" fmla="*/ 81886 h 95646"/>
                  <a:gd name="connsiteX2" fmla="*/ 122830 w 122830"/>
                  <a:gd name="connsiteY2" fmla="*/ 95534 h 95646"/>
                  <a:gd name="connsiteX3" fmla="*/ 122830 w 122830"/>
                  <a:gd name="connsiteY3" fmla="*/ 95534 h 95646"/>
                  <a:gd name="connsiteX0" fmla="*/ 0 w 136478"/>
                  <a:gd name="connsiteY0" fmla="*/ 0 h 88730"/>
                  <a:gd name="connsiteX1" fmla="*/ 54592 w 136478"/>
                  <a:gd name="connsiteY1" fmla="*/ 75062 h 88730"/>
                  <a:gd name="connsiteX2" fmla="*/ 136478 w 136478"/>
                  <a:gd name="connsiteY2" fmla="*/ 88710 h 88730"/>
                  <a:gd name="connsiteX3" fmla="*/ 136478 w 136478"/>
                  <a:gd name="connsiteY3" fmla="*/ 88710 h 88730"/>
                  <a:gd name="connsiteX0" fmla="*/ 0 w 142543"/>
                  <a:gd name="connsiteY0" fmla="*/ 0 h 90098"/>
                  <a:gd name="connsiteX1" fmla="*/ 54592 w 142543"/>
                  <a:gd name="connsiteY1" fmla="*/ 75062 h 90098"/>
                  <a:gd name="connsiteX2" fmla="*/ 136478 w 142543"/>
                  <a:gd name="connsiteY2" fmla="*/ 88710 h 90098"/>
                  <a:gd name="connsiteX3" fmla="*/ 136478 w 142543"/>
                  <a:gd name="connsiteY3" fmla="*/ 54591 h 90098"/>
                  <a:gd name="connsiteX0" fmla="*/ 0 w 136478"/>
                  <a:gd name="connsiteY0" fmla="*/ 0 h 77021"/>
                  <a:gd name="connsiteX1" fmla="*/ 54592 w 136478"/>
                  <a:gd name="connsiteY1" fmla="*/ 75062 h 77021"/>
                  <a:gd name="connsiteX2" fmla="*/ 136478 w 136478"/>
                  <a:gd name="connsiteY2" fmla="*/ 54591 h 7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6478" h="77021">
                    <a:moveTo>
                      <a:pt x="0" y="0"/>
                    </a:moveTo>
                    <a:cubicBezTo>
                      <a:pt x="10236" y="32982"/>
                      <a:pt x="31846" y="65964"/>
                      <a:pt x="54592" y="75062"/>
                    </a:cubicBezTo>
                    <a:cubicBezTo>
                      <a:pt x="77338" y="84160"/>
                      <a:pt x="119419" y="58856"/>
                      <a:pt x="136478" y="54591"/>
                    </a:cubicBezTo>
                  </a:path>
                </a:pathLst>
              </a:custGeom>
              <a:noFill/>
              <a:ln w="28575">
                <a:solidFill>
                  <a:srgbClr val="EF892A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2" name="Figura a mano libera 381"/>
              <p:cNvSpPr/>
              <p:nvPr/>
            </p:nvSpPr>
            <p:spPr>
              <a:xfrm>
                <a:off x="3483152" y="2323507"/>
                <a:ext cx="103917" cy="65204"/>
              </a:xfrm>
              <a:custGeom>
                <a:avLst/>
                <a:gdLst>
                  <a:gd name="connsiteX0" fmla="*/ 0 w 542925"/>
                  <a:gd name="connsiteY0" fmla="*/ 0 h 342900"/>
                  <a:gd name="connsiteX1" fmla="*/ 361950 w 542925"/>
                  <a:gd name="connsiteY1" fmla="*/ 200025 h 342900"/>
                  <a:gd name="connsiteX2" fmla="*/ 542925 w 542925"/>
                  <a:gd name="connsiteY2" fmla="*/ 342900 h 342900"/>
                  <a:gd name="connsiteX0" fmla="*/ 0 w 361950"/>
                  <a:gd name="connsiteY0" fmla="*/ 0 h 200025"/>
                  <a:gd name="connsiteX1" fmla="*/ 361950 w 361950"/>
                  <a:gd name="connsiteY1" fmla="*/ 200025 h 200025"/>
                  <a:gd name="connsiteX0" fmla="*/ 0 w 88995"/>
                  <a:gd name="connsiteY0" fmla="*/ 0 h 56724"/>
                  <a:gd name="connsiteX1" fmla="*/ 88995 w 88995"/>
                  <a:gd name="connsiteY1" fmla="*/ 56724 h 56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995" h="56724">
                    <a:moveTo>
                      <a:pt x="0" y="0"/>
                    </a:moveTo>
                    <a:cubicBezTo>
                      <a:pt x="135731" y="71437"/>
                      <a:pt x="-1492" y="-426"/>
                      <a:pt x="88995" y="56724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3" name="Rettangolo 382"/>
              <p:cNvSpPr/>
              <p:nvPr/>
            </p:nvSpPr>
            <p:spPr>
              <a:xfrm>
                <a:off x="3491702" y="2201292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ncona</a:t>
                </a:r>
              </a:p>
            </p:txBody>
          </p:sp>
          <p:sp>
            <p:nvSpPr>
              <p:cNvPr id="384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25049" y="2359143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5" name="Figura a mano libera 384"/>
              <p:cNvSpPr/>
              <p:nvPr/>
            </p:nvSpPr>
            <p:spPr>
              <a:xfrm>
                <a:off x="5186729" y="3760896"/>
                <a:ext cx="502580" cy="409581"/>
              </a:xfrm>
              <a:custGeom>
                <a:avLst/>
                <a:gdLst>
                  <a:gd name="connsiteX0" fmla="*/ 0 w 1504950"/>
                  <a:gd name="connsiteY0" fmla="*/ 0 h 1000125"/>
                  <a:gd name="connsiteX1" fmla="*/ 342900 w 1504950"/>
                  <a:gd name="connsiteY1" fmla="*/ 247650 h 1000125"/>
                  <a:gd name="connsiteX2" fmla="*/ 533400 w 1504950"/>
                  <a:gd name="connsiteY2" fmla="*/ 409575 h 1000125"/>
                  <a:gd name="connsiteX3" fmla="*/ 923925 w 1504950"/>
                  <a:gd name="connsiteY3" fmla="*/ 590550 h 1000125"/>
                  <a:gd name="connsiteX4" fmla="*/ 1428750 w 1504950"/>
                  <a:gd name="connsiteY4" fmla="*/ 866775 h 1000125"/>
                  <a:gd name="connsiteX5" fmla="*/ 1504950 w 1504950"/>
                  <a:gd name="connsiteY5" fmla="*/ 1000125 h 1000125"/>
                  <a:gd name="connsiteX0" fmla="*/ 0 w 1162050"/>
                  <a:gd name="connsiteY0" fmla="*/ 0 h 752475"/>
                  <a:gd name="connsiteX1" fmla="*/ 190500 w 1162050"/>
                  <a:gd name="connsiteY1" fmla="*/ 161925 h 752475"/>
                  <a:gd name="connsiteX2" fmla="*/ 581025 w 1162050"/>
                  <a:gd name="connsiteY2" fmla="*/ 342900 h 752475"/>
                  <a:gd name="connsiteX3" fmla="*/ 1085850 w 1162050"/>
                  <a:gd name="connsiteY3" fmla="*/ 619125 h 752475"/>
                  <a:gd name="connsiteX4" fmla="*/ 1162050 w 1162050"/>
                  <a:gd name="connsiteY4" fmla="*/ 752475 h 752475"/>
                  <a:gd name="connsiteX0" fmla="*/ 0 w 971550"/>
                  <a:gd name="connsiteY0" fmla="*/ 0 h 590550"/>
                  <a:gd name="connsiteX1" fmla="*/ 390525 w 971550"/>
                  <a:gd name="connsiteY1" fmla="*/ 180975 h 590550"/>
                  <a:gd name="connsiteX2" fmla="*/ 895350 w 971550"/>
                  <a:gd name="connsiteY2" fmla="*/ 457200 h 590550"/>
                  <a:gd name="connsiteX3" fmla="*/ 971550 w 971550"/>
                  <a:gd name="connsiteY3" fmla="*/ 590550 h 590550"/>
                  <a:gd name="connsiteX0" fmla="*/ 0 w 650828"/>
                  <a:gd name="connsiteY0" fmla="*/ 0 h 460896"/>
                  <a:gd name="connsiteX1" fmla="*/ 69803 w 650828"/>
                  <a:gd name="connsiteY1" fmla="*/ 51321 h 460896"/>
                  <a:gd name="connsiteX2" fmla="*/ 574628 w 650828"/>
                  <a:gd name="connsiteY2" fmla="*/ 327546 h 460896"/>
                  <a:gd name="connsiteX3" fmla="*/ 650828 w 650828"/>
                  <a:gd name="connsiteY3" fmla="*/ 460896 h 460896"/>
                  <a:gd name="connsiteX0" fmla="*/ 0 w 581025"/>
                  <a:gd name="connsiteY0" fmla="*/ 0 h 409575"/>
                  <a:gd name="connsiteX1" fmla="*/ 504825 w 581025"/>
                  <a:gd name="connsiteY1" fmla="*/ 276225 h 409575"/>
                  <a:gd name="connsiteX2" fmla="*/ 581025 w 581025"/>
                  <a:gd name="connsiteY2" fmla="*/ 409575 h 409575"/>
                  <a:gd name="connsiteX0" fmla="*/ 0 w 642440"/>
                  <a:gd name="connsiteY0" fmla="*/ 0 h 464166"/>
                  <a:gd name="connsiteX1" fmla="*/ 566240 w 642440"/>
                  <a:gd name="connsiteY1" fmla="*/ 330816 h 464166"/>
                  <a:gd name="connsiteX2" fmla="*/ 642440 w 642440"/>
                  <a:gd name="connsiteY2" fmla="*/ 464166 h 464166"/>
                  <a:gd name="connsiteX0" fmla="*/ 0 w 512989"/>
                  <a:gd name="connsiteY0" fmla="*/ 0 h 387214"/>
                  <a:gd name="connsiteX1" fmla="*/ 436789 w 512989"/>
                  <a:gd name="connsiteY1" fmla="*/ 253864 h 387214"/>
                  <a:gd name="connsiteX2" fmla="*/ 512989 w 512989"/>
                  <a:gd name="connsiteY2" fmla="*/ 387214 h 387214"/>
                  <a:gd name="connsiteX0" fmla="*/ 0 w 444456"/>
                  <a:gd name="connsiteY0" fmla="*/ 0 h 371824"/>
                  <a:gd name="connsiteX1" fmla="*/ 368256 w 444456"/>
                  <a:gd name="connsiteY1" fmla="*/ 238474 h 371824"/>
                  <a:gd name="connsiteX2" fmla="*/ 444456 w 444456"/>
                  <a:gd name="connsiteY2" fmla="*/ 371824 h 371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4456" h="371824">
                    <a:moveTo>
                      <a:pt x="0" y="0"/>
                    </a:moveTo>
                    <a:cubicBezTo>
                      <a:pt x="95771" y="54591"/>
                      <a:pt x="271418" y="170211"/>
                      <a:pt x="368256" y="238474"/>
                    </a:cubicBezTo>
                    <a:cubicBezTo>
                      <a:pt x="465094" y="306737"/>
                      <a:pt x="422231" y="355949"/>
                      <a:pt x="444456" y="371824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6" name="Figura a mano libera 385"/>
              <p:cNvSpPr/>
              <p:nvPr/>
            </p:nvSpPr>
            <p:spPr>
              <a:xfrm>
                <a:off x="5031085" y="3713848"/>
                <a:ext cx="159361" cy="88535"/>
              </a:xfrm>
              <a:custGeom>
                <a:avLst/>
                <a:gdLst>
                  <a:gd name="connsiteX0" fmla="*/ 0 w 122830"/>
                  <a:gd name="connsiteY0" fmla="*/ 0 h 95646"/>
                  <a:gd name="connsiteX1" fmla="*/ 40944 w 122830"/>
                  <a:gd name="connsiteY1" fmla="*/ 81886 h 95646"/>
                  <a:gd name="connsiteX2" fmla="*/ 122830 w 122830"/>
                  <a:gd name="connsiteY2" fmla="*/ 95534 h 95646"/>
                  <a:gd name="connsiteX3" fmla="*/ 122830 w 122830"/>
                  <a:gd name="connsiteY3" fmla="*/ 95534 h 95646"/>
                  <a:gd name="connsiteX0" fmla="*/ 0 w 136478"/>
                  <a:gd name="connsiteY0" fmla="*/ 0 h 88730"/>
                  <a:gd name="connsiteX1" fmla="*/ 54592 w 136478"/>
                  <a:gd name="connsiteY1" fmla="*/ 75062 h 88730"/>
                  <a:gd name="connsiteX2" fmla="*/ 136478 w 136478"/>
                  <a:gd name="connsiteY2" fmla="*/ 88710 h 88730"/>
                  <a:gd name="connsiteX3" fmla="*/ 136478 w 136478"/>
                  <a:gd name="connsiteY3" fmla="*/ 88710 h 88730"/>
                  <a:gd name="connsiteX0" fmla="*/ 0 w 142543"/>
                  <a:gd name="connsiteY0" fmla="*/ 0 h 90098"/>
                  <a:gd name="connsiteX1" fmla="*/ 54592 w 142543"/>
                  <a:gd name="connsiteY1" fmla="*/ 75062 h 90098"/>
                  <a:gd name="connsiteX2" fmla="*/ 136478 w 142543"/>
                  <a:gd name="connsiteY2" fmla="*/ 88710 h 90098"/>
                  <a:gd name="connsiteX3" fmla="*/ 136478 w 142543"/>
                  <a:gd name="connsiteY3" fmla="*/ 54591 h 90098"/>
                  <a:gd name="connsiteX0" fmla="*/ 0 w 136478"/>
                  <a:gd name="connsiteY0" fmla="*/ 0 h 77021"/>
                  <a:gd name="connsiteX1" fmla="*/ 54592 w 136478"/>
                  <a:gd name="connsiteY1" fmla="*/ 75062 h 77021"/>
                  <a:gd name="connsiteX2" fmla="*/ 136478 w 136478"/>
                  <a:gd name="connsiteY2" fmla="*/ 54591 h 7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6478" h="77021">
                    <a:moveTo>
                      <a:pt x="0" y="0"/>
                    </a:moveTo>
                    <a:cubicBezTo>
                      <a:pt x="10236" y="32982"/>
                      <a:pt x="31846" y="65964"/>
                      <a:pt x="54592" y="75062"/>
                    </a:cubicBezTo>
                    <a:cubicBezTo>
                      <a:pt x="77338" y="84160"/>
                      <a:pt x="119419" y="58856"/>
                      <a:pt x="136478" y="54591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7" name="Rettangolo 386"/>
              <p:cNvSpPr/>
              <p:nvPr/>
            </p:nvSpPr>
            <p:spPr>
              <a:xfrm>
                <a:off x="5041723" y="3484047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ari</a:t>
                </a:r>
              </a:p>
            </p:txBody>
          </p:sp>
          <p:sp>
            <p:nvSpPr>
              <p:cNvPr id="388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54219" y="3623499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9" name="Figura a mano libera 388"/>
              <p:cNvSpPr/>
              <p:nvPr/>
            </p:nvSpPr>
            <p:spPr>
              <a:xfrm>
                <a:off x="3757381" y="5315110"/>
                <a:ext cx="244050" cy="20021"/>
              </a:xfrm>
              <a:custGeom>
                <a:avLst/>
                <a:gdLst>
                  <a:gd name="connsiteX0" fmla="*/ 0 w 209006"/>
                  <a:gd name="connsiteY0" fmla="*/ 17417 h 17417"/>
                  <a:gd name="connsiteX1" fmla="*/ 209006 w 209006"/>
                  <a:gd name="connsiteY1" fmla="*/ 0 h 17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9006" h="17417">
                    <a:moveTo>
                      <a:pt x="0" y="17417"/>
                    </a:moveTo>
                    <a:lnTo>
                      <a:pt x="209006" y="0"/>
                    </a:ln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0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39672" y="4137728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1" name="Rettangolo 390"/>
              <p:cNvSpPr/>
              <p:nvPr/>
            </p:nvSpPr>
            <p:spPr>
              <a:xfrm>
                <a:off x="2158519" y="1653355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iacenza</a:t>
                </a:r>
              </a:p>
            </p:txBody>
          </p:sp>
          <p:sp>
            <p:nvSpPr>
              <p:cNvPr id="392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00903" y="1549977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3" name="Rettangolo 392"/>
              <p:cNvSpPr/>
              <p:nvPr/>
            </p:nvSpPr>
            <p:spPr>
              <a:xfrm>
                <a:off x="3252866" y="1892422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avenna</a:t>
                </a:r>
              </a:p>
            </p:txBody>
          </p:sp>
          <p:sp>
            <p:nvSpPr>
              <p:cNvPr id="394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25607" y="1889627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5" name="Figura a mano libera 394"/>
              <p:cNvSpPr/>
              <p:nvPr/>
            </p:nvSpPr>
            <p:spPr>
              <a:xfrm>
                <a:off x="3171463" y="1994159"/>
                <a:ext cx="63744" cy="149037"/>
              </a:xfrm>
              <a:custGeom>
                <a:avLst/>
                <a:gdLst>
                  <a:gd name="connsiteX0" fmla="*/ 0 w 54591"/>
                  <a:gd name="connsiteY0" fmla="*/ 0 h 129654"/>
                  <a:gd name="connsiteX1" fmla="*/ 20472 w 54591"/>
                  <a:gd name="connsiteY1" fmla="*/ 88711 h 129654"/>
                  <a:gd name="connsiteX2" fmla="*/ 54591 w 54591"/>
                  <a:gd name="connsiteY2" fmla="*/ 129654 h 129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591" h="129654">
                    <a:moveTo>
                      <a:pt x="0" y="0"/>
                    </a:moveTo>
                    <a:cubicBezTo>
                      <a:pt x="5687" y="33551"/>
                      <a:pt x="11374" y="67102"/>
                      <a:pt x="20472" y="88711"/>
                    </a:cubicBezTo>
                    <a:cubicBezTo>
                      <a:pt x="29570" y="110320"/>
                      <a:pt x="42080" y="119987"/>
                      <a:pt x="54591" y="129654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6" name="Figura a mano libera 395"/>
              <p:cNvSpPr/>
              <p:nvPr/>
            </p:nvSpPr>
            <p:spPr>
              <a:xfrm>
                <a:off x="2906387" y="1984530"/>
                <a:ext cx="422637" cy="229929"/>
              </a:xfrm>
              <a:custGeom>
                <a:avLst/>
                <a:gdLst>
                  <a:gd name="connsiteX0" fmla="*/ 0 w 542925"/>
                  <a:gd name="connsiteY0" fmla="*/ 0 h 342900"/>
                  <a:gd name="connsiteX1" fmla="*/ 361950 w 542925"/>
                  <a:gd name="connsiteY1" fmla="*/ 200025 h 342900"/>
                  <a:gd name="connsiteX2" fmla="*/ 542925 w 542925"/>
                  <a:gd name="connsiteY2" fmla="*/ 342900 h 342900"/>
                  <a:gd name="connsiteX0" fmla="*/ 0 w 361950"/>
                  <a:gd name="connsiteY0" fmla="*/ 0 h 200025"/>
                  <a:gd name="connsiteX1" fmla="*/ 361950 w 361950"/>
                  <a:gd name="connsiteY1" fmla="*/ 200025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950" h="200025">
                    <a:moveTo>
                      <a:pt x="0" y="0"/>
                    </a:moveTo>
                    <a:cubicBezTo>
                      <a:pt x="135731" y="71437"/>
                      <a:pt x="271463" y="142875"/>
                      <a:pt x="361950" y="200025"/>
                    </a:cubicBezTo>
                  </a:path>
                </a:pathLst>
              </a:custGeom>
              <a:noFill/>
              <a:ln w="28575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7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811181" y="1893028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8" name="Rettangolo 397"/>
              <p:cNvSpPr/>
              <p:nvPr/>
            </p:nvSpPr>
            <p:spPr>
              <a:xfrm>
                <a:off x="2032926" y="1049026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ergamo</a:t>
                </a:r>
              </a:p>
            </p:txBody>
          </p:sp>
          <p:sp>
            <p:nvSpPr>
              <p:cNvPr id="399" name="Figura a mano libera 398"/>
              <p:cNvSpPr/>
              <p:nvPr/>
            </p:nvSpPr>
            <p:spPr>
              <a:xfrm>
                <a:off x="2183431" y="1264659"/>
                <a:ext cx="95617" cy="101973"/>
              </a:xfrm>
              <a:custGeom>
                <a:avLst/>
                <a:gdLst>
                  <a:gd name="connsiteX0" fmla="*/ 0 w 81887"/>
                  <a:gd name="connsiteY0" fmla="*/ 0 h 88711"/>
                  <a:gd name="connsiteX1" fmla="*/ 61415 w 81887"/>
                  <a:gd name="connsiteY1" fmla="*/ 61415 h 88711"/>
                  <a:gd name="connsiteX2" fmla="*/ 81887 w 81887"/>
                  <a:gd name="connsiteY2" fmla="*/ 88711 h 8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1887" h="88711">
                    <a:moveTo>
                      <a:pt x="0" y="0"/>
                    </a:moveTo>
                    <a:lnTo>
                      <a:pt x="61415" y="61415"/>
                    </a:lnTo>
                    <a:cubicBezTo>
                      <a:pt x="75063" y="76200"/>
                      <a:pt x="78475" y="82455"/>
                      <a:pt x="81887" y="88711"/>
                    </a:cubicBezTo>
                  </a:path>
                </a:pathLst>
              </a:custGeom>
              <a:noFill/>
              <a:ln w="28575">
                <a:solidFill>
                  <a:schemeClr val="accent3">
                    <a:lumMod val="60000"/>
                    <a:lumOff val="40000"/>
                  </a:schemeClr>
                </a:solidFill>
                <a:tailEnd type="non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0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67255" y="1341841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1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117758" y="1195695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29" name="Figura a mano libera 228"/>
            <p:cNvSpPr/>
            <p:nvPr/>
          </p:nvSpPr>
          <p:spPr>
            <a:xfrm>
              <a:off x="2519572" y="1266604"/>
              <a:ext cx="34336" cy="341823"/>
            </a:xfrm>
            <a:custGeom>
              <a:avLst/>
              <a:gdLst>
                <a:gd name="connsiteX0" fmla="*/ 0 w 57657"/>
                <a:gd name="connsiteY0" fmla="*/ 0 h 323850"/>
                <a:gd name="connsiteX1" fmla="*/ 50800 w 57657"/>
                <a:gd name="connsiteY1" fmla="*/ 184150 h 323850"/>
                <a:gd name="connsiteX2" fmla="*/ 57150 w 57657"/>
                <a:gd name="connsiteY2" fmla="*/ 323850 h 323850"/>
                <a:gd name="connsiteX0" fmla="*/ 0 w 31750"/>
                <a:gd name="connsiteY0" fmla="*/ 0 h 330200"/>
                <a:gd name="connsiteX1" fmla="*/ 25400 w 31750"/>
                <a:gd name="connsiteY1" fmla="*/ 190500 h 330200"/>
                <a:gd name="connsiteX2" fmla="*/ 31750 w 31750"/>
                <a:gd name="connsiteY2" fmla="*/ 330200 h 33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" h="330200">
                  <a:moveTo>
                    <a:pt x="0" y="0"/>
                  </a:moveTo>
                  <a:cubicBezTo>
                    <a:pt x="20637" y="65087"/>
                    <a:pt x="20108" y="135467"/>
                    <a:pt x="25400" y="190500"/>
                  </a:cubicBezTo>
                  <a:cubicBezTo>
                    <a:pt x="30692" y="245533"/>
                    <a:pt x="31750" y="330200"/>
                    <a:pt x="31750" y="330200"/>
                  </a:cubicBezTo>
                </a:path>
              </a:pathLst>
            </a:custGeom>
            <a:noFill/>
            <a:ln w="28575">
              <a:solidFill>
                <a:srgbClr val="00B050"/>
              </a:solidFill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402" name="AutoShape 249">
            <a:extLst>
              <a:ext uri="{FF2B5EF4-FFF2-40B4-BE49-F238E27FC236}">
                <a16:creationId xmlns:a16="http://schemas.microsoft.com/office/drawing/2014/main" id="{54475D12-B129-48DD-B2AC-30DFD26028D4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4465871" y="1696845"/>
            <a:ext cx="3096000" cy="925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3" name="AutoShape 250">
            <a:extLst>
              <a:ext uri="{FF2B5EF4-FFF2-40B4-BE49-F238E27FC236}">
                <a16:creationId xmlns:a16="http://schemas.microsoft.com/office/drawing/2014/main" id="{BC3CCFD3-1AFE-4C9A-91D0-C610DD3752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51475" y="1398437"/>
            <a:ext cx="4705773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Infrastrutture diverse per esigenze diverse</a:t>
            </a:r>
          </a:p>
        </p:txBody>
      </p:sp>
      <p:cxnSp>
        <p:nvCxnSpPr>
          <p:cNvPr id="404" name="AutoShape 249">
            <a:extLst>
              <a:ext uri="{FF2B5EF4-FFF2-40B4-BE49-F238E27FC236}">
                <a16:creationId xmlns:a16="http://schemas.microsoft.com/office/drawing/2014/main" id="{54475D12-B129-48DD-B2AC-30DFD26028D4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8410545" y="1697268"/>
            <a:ext cx="3096000" cy="925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6" name="AutoShape 250">
            <a:extLst>
              <a:ext uri="{FF2B5EF4-FFF2-40B4-BE49-F238E27FC236}">
                <a16:creationId xmlns:a16="http://schemas.microsoft.com/office/drawing/2014/main" id="{BC3CCFD3-1AFE-4C9A-91D0-C610DD3752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71492" y="1398437"/>
            <a:ext cx="3204000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 panose="020F0502020204030204"/>
                <a:ea typeface="Arial Unicode MS" pitchFamily="34" charset="-128"/>
                <a:cs typeface="Arial Unicode MS" pitchFamily="34" charset="-128"/>
              </a:rPr>
              <a:t>Tempi obiettivo principali aree urbane</a:t>
            </a:r>
          </a:p>
        </p:txBody>
      </p:sp>
      <p:grpSp>
        <p:nvGrpSpPr>
          <p:cNvPr id="579" name="Gruppo 578"/>
          <p:cNvGrpSpPr/>
          <p:nvPr/>
        </p:nvGrpSpPr>
        <p:grpSpPr>
          <a:xfrm>
            <a:off x="8040217" y="1780965"/>
            <a:ext cx="3552612" cy="4180599"/>
            <a:chOff x="4145111" y="1572002"/>
            <a:chExt cx="3552612" cy="4180599"/>
          </a:xfrm>
        </p:grpSpPr>
        <p:pic>
          <p:nvPicPr>
            <p:cNvPr id="580" name="Immagine 579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45111" y="1572002"/>
              <a:ext cx="3552612" cy="4118810"/>
            </a:xfrm>
            <a:prstGeom prst="rect">
              <a:avLst/>
            </a:prstGeom>
          </p:spPr>
        </p:pic>
        <p:sp>
          <p:nvSpPr>
            <p:cNvPr id="581" name="Rettangolo 580"/>
            <p:cNvSpPr/>
            <p:nvPr/>
          </p:nvSpPr>
          <p:spPr>
            <a:xfrm>
              <a:off x="4282298" y="5046325"/>
              <a:ext cx="286439" cy="45719"/>
            </a:xfrm>
            <a:prstGeom prst="rect">
              <a:avLst/>
            </a:prstGeom>
            <a:solidFill>
              <a:srgbClr val="F994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2" name="Rettangolo 581"/>
            <p:cNvSpPr/>
            <p:nvPr/>
          </p:nvSpPr>
          <p:spPr>
            <a:xfrm>
              <a:off x="4343841" y="5224727"/>
              <a:ext cx="1452276" cy="3691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3" name="Rettangolo 582"/>
            <p:cNvSpPr/>
            <p:nvPr/>
          </p:nvSpPr>
          <p:spPr>
            <a:xfrm>
              <a:off x="4524543" y="5218243"/>
              <a:ext cx="1392424" cy="53435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SOCRONE</a:t>
              </a:r>
            </a:p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MPI OBIETTIVO INDICATIVI RIFERITI ALLE PRINCIPALI AREE URBANE</a:t>
              </a:r>
            </a:p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4" name="Rettangolo 583"/>
            <p:cNvSpPr/>
            <p:nvPr/>
          </p:nvSpPr>
          <p:spPr>
            <a:xfrm>
              <a:off x="4531971" y="4990330"/>
              <a:ext cx="1656039" cy="1827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RETTTICI DI INTERESSE NAZIONALE</a:t>
              </a:r>
            </a:p>
          </p:txBody>
        </p:sp>
        <p:sp>
          <p:nvSpPr>
            <p:cNvPr id="585" name="Ovale 584"/>
            <p:cNvSpPr/>
            <p:nvPr/>
          </p:nvSpPr>
          <p:spPr>
            <a:xfrm>
              <a:off x="4255880" y="5219366"/>
              <a:ext cx="294222" cy="21792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86" name="Rettangolo 585"/>
          <p:cNvSpPr/>
          <p:nvPr/>
        </p:nvSpPr>
        <p:spPr>
          <a:xfrm>
            <a:off x="9706997" y="3819885"/>
            <a:ext cx="399068" cy="102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ma</a:t>
            </a:r>
          </a:p>
        </p:txBody>
      </p:sp>
    </p:spTree>
    <p:extLst>
      <p:ext uri="{BB962C8B-B14F-4D97-AF65-F5344CB8AC3E}">
        <p14:creationId xmlns:p14="http://schemas.microsoft.com/office/powerpoint/2010/main" val="35023904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14483" y="-253698"/>
            <a:ext cx="11176620" cy="866367"/>
          </a:xfrm>
        </p:spPr>
        <p:txBody>
          <a:bodyPr/>
          <a:lstStyle/>
          <a:p>
            <a:r>
              <a:rPr lang="it-IT" altLang="it-IT" dirty="0">
                <a:solidFill>
                  <a:srgbClr val="DC002E"/>
                </a:solidFill>
              </a:rPr>
              <a:t>Direttrici di interesse nazionale</a:t>
            </a:r>
          </a:p>
        </p:txBody>
      </p:sp>
      <p:sp>
        <p:nvSpPr>
          <p:cNvPr id="227" name="Segnaposto contenuto 29"/>
          <p:cNvSpPr>
            <a:spLocks noGrp="1"/>
          </p:cNvSpPr>
          <p:nvPr>
            <p:ph idx="13"/>
          </p:nvPr>
        </p:nvSpPr>
        <p:spPr>
          <a:xfrm>
            <a:off x="414483" y="612669"/>
            <a:ext cx="11176620" cy="390933"/>
          </a:xfrm>
        </p:spPr>
        <p:txBody>
          <a:bodyPr>
            <a:normAutofit/>
          </a:bodyPr>
          <a:lstStyle/>
          <a:p>
            <a:r>
              <a:rPr lang="it-IT" dirty="0"/>
              <a:t>Per estendere a tutto il Paese connettività e alte prestazioni</a:t>
            </a:r>
          </a:p>
        </p:txBody>
      </p:sp>
      <p:cxnSp>
        <p:nvCxnSpPr>
          <p:cNvPr id="259" name="Connettore diritto 258">
            <a:extLst>
              <a:ext uri="{FF2B5EF4-FFF2-40B4-BE49-F238E27FC236}">
                <a16:creationId xmlns:a16="http://schemas.microsoft.com/office/drawing/2014/main" id="{7E5045B8-3B99-4430-8E36-84FC7B212CA8}"/>
              </a:ext>
            </a:extLst>
          </p:cNvPr>
          <p:cNvCxnSpPr>
            <a:cxnSpLocks/>
            <a:stCxn id="468" idx="3"/>
            <a:endCxn id="371" idx="2"/>
          </p:cNvCxnSpPr>
          <p:nvPr/>
        </p:nvCxnSpPr>
        <p:spPr>
          <a:xfrm>
            <a:off x="7052871" y="5246322"/>
            <a:ext cx="309562" cy="3498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Connettore diritto 259">
            <a:extLst>
              <a:ext uri="{FF2B5EF4-FFF2-40B4-BE49-F238E27FC236}">
                <a16:creationId xmlns:a16="http://schemas.microsoft.com/office/drawing/2014/main" id="{C4D4E85E-63F9-4B77-8B86-65EE394D5787}"/>
              </a:ext>
            </a:extLst>
          </p:cNvPr>
          <p:cNvCxnSpPr>
            <a:cxnSpLocks/>
            <a:stCxn id="455" idx="3"/>
            <a:endCxn id="277" idx="82"/>
          </p:cNvCxnSpPr>
          <p:nvPr/>
        </p:nvCxnSpPr>
        <p:spPr>
          <a:xfrm flipV="1">
            <a:off x="2570810" y="2512715"/>
            <a:ext cx="1219390" cy="17625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Connettore diritto 261">
            <a:extLst>
              <a:ext uri="{FF2B5EF4-FFF2-40B4-BE49-F238E27FC236}">
                <a16:creationId xmlns:a16="http://schemas.microsoft.com/office/drawing/2014/main" id="{82415DAB-E459-4CCB-9E79-B61E0D0460AF}"/>
              </a:ext>
            </a:extLst>
          </p:cNvPr>
          <p:cNvCxnSpPr>
            <a:cxnSpLocks/>
            <a:stCxn id="460" idx="1"/>
          </p:cNvCxnSpPr>
          <p:nvPr/>
        </p:nvCxnSpPr>
        <p:spPr>
          <a:xfrm flipH="1">
            <a:off x="6886861" y="3219479"/>
            <a:ext cx="886954" cy="820345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3" name="Gruppo 262">
            <a:extLst>
              <a:ext uri="{FF2B5EF4-FFF2-40B4-BE49-F238E27FC236}">
                <a16:creationId xmlns:a16="http://schemas.microsoft.com/office/drawing/2014/main" id="{22C6FDB6-B561-4C9D-8D50-3F70C5B7A1A6}"/>
              </a:ext>
            </a:extLst>
          </p:cNvPr>
          <p:cNvGrpSpPr/>
          <p:nvPr/>
        </p:nvGrpSpPr>
        <p:grpSpPr>
          <a:xfrm>
            <a:off x="3024261" y="1103165"/>
            <a:ext cx="5958114" cy="5755621"/>
            <a:chOff x="383572" y="610586"/>
            <a:chExt cx="5958114" cy="5755621"/>
          </a:xfrm>
        </p:grpSpPr>
        <p:sp>
          <p:nvSpPr>
            <p:cNvPr id="264" name="Rettangolo 263">
              <a:extLst>
                <a:ext uri="{FF2B5EF4-FFF2-40B4-BE49-F238E27FC236}">
                  <a16:creationId xmlns:a16="http://schemas.microsoft.com/office/drawing/2014/main" id="{165BBAB9-43F7-4657-87E0-CB8FA5DE0F1A}"/>
                </a:ext>
              </a:extLst>
            </p:cNvPr>
            <p:cNvSpPr/>
            <p:nvPr/>
          </p:nvSpPr>
          <p:spPr>
            <a:xfrm>
              <a:off x="2164703" y="610586"/>
              <a:ext cx="1301148" cy="2140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onaco/Berlino</a:t>
              </a:r>
            </a:p>
          </p:txBody>
        </p:sp>
        <p:grpSp>
          <p:nvGrpSpPr>
            <p:cNvPr id="265" name="Gruppo 264">
              <a:extLst>
                <a:ext uri="{FF2B5EF4-FFF2-40B4-BE49-F238E27FC236}">
                  <a16:creationId xmlns:a16="http://schemas.microsoft.com/office/drawing/2014/main" id="{B516594D-4A20-40E8-A690-005562B27D29}"/>
                </a:ext>
              </a:extLst>
            </p:cNvPr>
            <p:cNvGrpSpPr/>
            <p:nvPr/>
          </p:nvGrpSpPr>
          <p:grpSpPr>
            <a:xfrm>
              <a:off x="383572" y="846888"/>
              <a:ext cx="5958114" cy="5519319"/>
              <a:chOff x="350057" y="474607"/>
              <a:chExt cx="5958114" cy="5519319"/>
            </a:xfrm>
          </p:grpSpPr>
          <p:sp>
            <p:nvSpPr>
              <p:cNvPr id="267" name="Figura a mano libera 51">
                <a:extLst>
                  <a:ext uri="{FF2B5EF4-FFF2-40B4-BE49-F238E27FC236}">
                    <a16:creationId xmlns:a16="http://schemas.microsoft.com/office/drawing/2014/main" id="{35945F01-300C-490A-BDD1-4F48AE3B7140}"/>
                  </a:ext>
                </a:extLst>
              </p:cNvPr>
              <p:cNvSpPr/>
              <p:nvPr/>
            </p:nvSpPr>
            <p:spPr bwMode="auto">
              <a:xfrm>
                <a:off x="4237875" y="3249018"/>
                <a:ext cx="1514619" cy="1102067"/>
              </a:xfrm>
              <a:custGeom>
                <a:avLst/>
                <a:gdLst>
                  <a:gd name="connsiteX0" fmla="*/ 1023937 w 1883568"/>
                  <a:gd name="connsiteY0" fmla="*/ 1012031 h 1409700"/>
                  <a:gd name="connsiteX1" fmla="*/ 1100137 w 1883568"/>
                  <a:gd name="connsiteY1" fmla="*/ 945356 h 1409700"/>
                  <a:gd name="connsiteX2" fmla="*/ 1152525 w 1883568"/>
                  <a:gd name="connsiteY2" fmla="*/ 942975 h 1409700"/>
                  <a:gd name="connsiteX3" fmla="*/ 1193006 w 1883568"/>
                  <a:gd name="connsiteY3" fmla="*/ 966787 h 1409700"/>
                  <a:gd name="connsiteX4" fmla="*/ 1202531 w 1883568"/>
                  <a:gd name="connsiteY4" fmla="*/ 985837 h 1409700"/>
                  <a:gd name="connsiteX5" fmla="*/ 1190625 w 1883568"/>
                  <a:gd name="connsiteY5" fmla="*/ 1014412 h 1409700"/>
                  <a:gd name="connsiteX6" fmla="*/ 1264443 w 1883568"/>
                  <a:gd name="connsiteY6" fmla="*/ 1054893 h 1409700"/>
                  <a:gd name="connsiteX7" fmla="*/ 1323975 w 1883568"/>
                  <a:gd name="connsiteY7" fmla="*/ 1069181 h 1409700"/>
                  <a:gd name="connsiteX8" fmla="*/ 1350168 w 1883568"/>
                  <a:gd name="connsiteY8" fmla="*/ 1090612 h 1409700"/>
                  <a:gd name="connsiteX9" fmla="*/ 1385887 w 1883568"/>
                  <a:gd name="connsiteY9" fmla="*/ 1076325 h 1409700"/>
                  <a:gd name="connsiteX10" fmla="*/ 1540668 w 1883568"/>
                  <a:gd name="connsiteY10" fmla="*/ 1081087 h 1409700"/>
                  <a:gd name="connsiteX11" fmla="*/ 1569243 w 1883568"/>
                  <a:gd name="connsiteY11" fmla="*/ 1128712 h 1409700"/>
                  <a:gd name="connsiteX12" fmla="*/ 1612106 w 1883568"/>
                  <a:gd name="connsiteY12" fmla="*/ 1188243 h 1409700"/>
                  <a:gd name="connsiteX13" fmla="*/ 1616868 w 1883568"/>
                  <a:gd name="connsiteY13" fmla="*/ 1219200 h 1409700"/>
                  <a:gd name="connsiteX14" fmla="*/ 1600200 w 1883568"/>
                  <a:gd name="connsiteY14" fmla="*/ 1243012 h 1409700"/>
                  <a:gd name="connsiteX15" fmla="*/ 1626393 w 1883568"/>
                  <a:gd name="connsiteY15" fmla="*/ 1254918 h 1409700"/>
                  <a:gd name="connsiteX16" fmla="*/ 1609725 w 1883568"/>
                  <a:gd name="connsiteY16" fmla="*/ 1283493 h 1409700"/>
                  <a:gd name="connsiteX17" fmla="*/ 1702593 w 1883568"/>
                  <a:gd name="connsiteY17" fmla="*/ 1369218 h 1409700"/>
                  <a:gd name="connsiteX18" fmla="*/ 1721643 w 1883568"/>
                  <a:gd name="connsiteY18" fmla="*/ 1376362 h 1409700"/>
                  <a:gd name="connsiteX19" fmla="*/ 1776412 w 1883568"/>
                  <a:gd name="connsiteY19" fmla="*/ 1390650 h 1409700"/>
                  <a:gd name="connsiteX20" fmla="*/ 1826418 w 1883568"/>
                  <a:gd name="connsiteY20" fmla="*/ 1409700 h 1409700"/>
                  <a:gd name="connsiteX21" fmla="*/ 1826418 w 1883568"/>
                  <a:gd name="connsiteY21" fmla="*/ 1357312 h 1409700"/>
                  <a:gd name="connsiteX22" fmla="*/ 1819275 w 1883568"/>
                  <a:gd name="connsiteY22" fmla="*/ 1319212 h 1409700"/>
                  <a:gd name="connsiteX23" fmla="*/ 1840706 w 1883568"/>
                  <a:gd name="connsiteY23" fmla="*/ 1281112 h 1409700"/>
                  <a:gd name="connsiteX24" fmla="*/ 1843087 w 1883568"/>
                  <a:gd name="connsiteY24" fmla="*/ 1235868 h 1409700"/>
                  <a:gd name="connsiteX25" fmla="*/ 1883568 w 1883568"/>
                  <a:gd name="connsiteY25" fmla="*/ 1188243 h 1409700"/>
                  <a:gd name="connsiteX26" fmla="*/ 1869281 w 1883568"/>
                  <a:gd name="connsiteY26" fmla="*/ 1145381 h 1409700"/>
                  <a:gd name="connsiteX27" fmla="*/ 1843087 w 1883568"/>
                  <a:gd name="connsiteY27" fmla="*/ 1073943 h 1409700"/>
                  <a:gd name="connsiteX28" fmla="*/ 1793081 w 1883568"/>
                  <a:gd name="connsiteY28" fmla="*/ 1031081 h 1409700"/>
                  <a:gd name="connsiteX29" fmla="*/ 1731168 w 1883568"/>
                  <a:gd name="connsiteY29" fmla="*/ 973931 h 1409700"/>
                  <a:gd name="connsiteX30" fmla="*/ 1674018 w 1883568"/>
                  <a:gd name="connsiteY30" fmla="*/ 947737 h 1409700"/>
                  <a:gd name="connsiteX31" fmla="*/ 1609725 w 1883568"/>
                  <a:gd name="connsiteY31" fmla="*/ 888206 h 1409700"/>
                  <a:gd name="connsiteX32" fmla="*/ 1595437 w 1883568"/>
                  <a:gd name="connsiteY32" fmla="*/ 838200 h 1409700"/>
                  <a:gd name="connsiteX33" fmla="*/ 1538287 w 1883568"/>
                  <a:gd name="connsiteY33" fmla="*/ 842962 h 1409700"/>
                  <a:gd name="connsiteX34" fmla="*/ 1552575 w 1883568"/>
                  <a:gd name="connsiteY34" fmla="*/ 814387 h 1409700"/>
                  <a:gd name="connsiteX35" fmla="*/ 1483518 w 1883568"/>
                  <a:gd name="connsiteY35" fmla="*/ 812006 h 1409700"/>
                  <a:gd name="connsiteX36" fmla="*/ 1390650 w 1883568"/>
                  <a:gd name="connsiteY36" fmla="*/ 754856 h 1409700"/>
                  <a:gd name="connsiteX37" fmla="*/ 1352550 w 1883568"/>
                  <a:gd name="connsiteY37" fmla="*/ 762000 h 1409700"/>
                  <a:gd name="connsiteX38" fmla="*/ 1250156 w 1883568"/>
                  <a:gd name="connsiteY38" fmla="*/ 676275 h 1409700"/>
                  <a:gd name="connsiteX39" fmla="*/ 1221581 w 1883568"/>
                  <a:gd name="connsiteY39" fmla="*/ 640556 h 1409700"/>
                  <a:gd name="connsiteX40" fmla="*/ 1071562 w 1883568"/>
                  <a:gd name="connsiteY40" fmla="*/ 566737 h 1409700"/>
                  <a:gd name="connsiteX41" fmla="*/ 971550 w 1883568"/>
                  <a:gd name="connsiteY41" fmla="*/ 528637 h 1409700"/>
                  <a:gd name="connsiteX42" fmla="*/ 845343 w 1883568"/>
                  <a:gd name="connsiteY42" fmla="*/ 483393 h 1409700"/>
                  <a:gd name="connsiteX43" fmla="*/ 719137 w 1883568"/>
                  <a:gd name="connsiteY43" fmla="*/ 433387 h 1409700"/>
                  <a:gd name="connsiteX44" fmla="*/ 631031 w 1883568"/>
                  <a:gd name="connsiteY44" fmla="*/ 373856 h 1409700"/>
                  <a:gd name="connsiteX45" fmla="*/ 507206 w 1883568"/>
                  <a:gd name="connsiteY45" fmla="*/ 304800 h 1409700"/>
                  <a:gd name="connsiteX46" fmla="*/ 476250 w 1883568"/>
                  <a:gd name="connsiteY46" fmla="*/ 238125 h 1409700"/>
                  <a:gd name="connsiteX47" fmla="*/ 547687 w 1883568"/>
                  <a:gd name="connsiteY47" fmla="*/ 197643 h 1409700"/>
                  <a:gd name="connsiteX48" fmla="*/ 652462 w 1883568"/>
                  <a:gd name="connsiteY48" fmla="*/ 121443 h 1409700"/>
                  <a:gd name="connsiteX49" fmla="*/ 645318 w 1883568"/>
                  <a:gd name="connsiteY49" fmla="*/ 52387 h 1409700"/>
                  <a:gd name="connsiteX50" fmla="*/ 623887 w 1883568"/>
                  <a:gd name="connsiteY50" fmla="*/ 19050 h 1409700"/>
                  <a:gd name="connsiteX51" fmla="*/ 554831 w 1883568"/>
                  <a:gd name="connsiteY51" fmla="*/ 0 h 1409700"/>
                  <a:gd name="connsiteX52" fmla="*/ 492918 w 1883568"/>
                  <a:gd name="connsiteY52" fmla="*/ 2381 h 1409700"/>
                  <a:gd name="connsiteX53" fmla="*/ 414337 w 1883568"/>
                  <a:gd name="connsiteY53" fmla="*/ 28575 h 1409700"/>
                  <a:gd name="connsiteX54" fmla="*/ 340518 w 1883568"/>
                  <a:gd name="connsiteY54" fmla="*/ 26193 h 1409700"/>
                  <a:gd name="connsiteX55" fmla="*/ 319087 w 1883568"/>
                  <a:gd name="connsiteY55" fmla="*/ 16668 h 1409700"/>
                  <a:gd name="connsiteX56" fmla="*/ 269081 w 1883568"/>
                  <a:gd name="connsiteY56" fmla="*/ 26193 h 1409700"/>
                  <a:gd name="connsiteX57" fmla="*/ 169068 w 1883568"/>
                  <a:gd name="connsiteY57" fmla="*/ 23812 h 1409700"/>
                  <a:gd name="connsiteX58" fmla="*/ 92868 w 1883568"/>
                  <a:gd name="connsiteY58" fmla="*/ 14287 h 1409700"/>
                  <a:gd name="connsiteX59" fmla="*/ 83343 w 1883568"/>
                  <a:gd name="connsiteY59" fmla="*/ 126206 h 1409700"/>
                  <a:gd name="connsiteX60" fmla="*/ 111918 w 1883568"/>
                  <a:gd name="connsiteY60" fmla="*/ 166687 h 1409700"/>
                  <a:gd name="connsiteX61" fmla="*/ 92868 w 1883568"/>
                  <a:gd name="connsiteY61" fmla="*/ 190500 h 1409700"/>
                  <a:gd name="connsiteX62" fmla="*/ 54768 w 1883568"/>
                  <a:gd name="connsiteY62" fmla="*/ 223837 h 1409700"/>
                  <a:gd name="connsiteX63" fmla="*/ 19050 w 1883568"/>
                  <a:gd name="connsiteY63" fmla="*/ 195262 h 1409700"/>
                  <a:gd name="connsiteX64" fmla="*/ 0 w 1883568"/>
                  <a:gd name="connsiteY64" fmla="*/ 254793 h 1409700"/>
                  <a:gd name="connsiteX65" fmla="*/ 23812 w 1883568"/>
                  <a:gd name="connsiteY65" fmla="*/ 290512 h 1409700"/>
                  <a:gd name="connsiteX66" fmla="*/ 38100 w 1883568"/>
                  <a:gd name="connsiteY66" fmla="*/ 330993 h 1409700"/>
                  <a:gd name="connsiteX67" fmla="*/ 78581 w 1883568"/>
                  <a:gd name="connsiteY67" fmla="*/ 354806 h 1409700"/>
                  <a:gd name="connsiteX68" fmla="*/ 57150 w 1883568"/>
                  <a:gd name="connsiteY68" fmla="*/ 378618 h 1409700"/>
                  <a:gd name="connsiteX69" fmla="*/ 80962 w 1883568"/>
                  <a:gd name="connsiteY69" fmla="*/ 419100 h 1409700"/>
                  <a:gd name="connsiteX70" fmla="*/ 164306 w 1883568"/>
                  <a:gd name="connsiteY70" fmla="*/ 461962 h 1409700"/>
                  <a:gd name="connsiteX71" fmla="*/ 188118 w 1883568"/>
                  <a:gd name="connsiteY71" fmla="*/ 471487 h 1409700"/>
                  <a:gd name="connsiteX72" fmla="*/ 171450 w 1883568"/>
                  <a:gd name="connsiteY72" fmla="*/ 483393 h 1409700"/>
                  <a:gd name="connsiteX73" fmla="*/ 150018 w 1883568"/>
                  <a:gd name="connsiteY73" fmla="*/ 516731 h 1409700"/>
                  <a:gd name="connsiteX74" fmla="*/ 188118 w 1883568"/>
                  <a:gd name="connsiteY74" fmla="*/ 573881 h 1409700"/>
                  <a:gd name="connsiteX75" fmla="*/ 257175 w 1883568"/>
                  <a:gd name="connsiteY75" fmla="*/ 559593 h 1409700"/>
                  <a:gd name="connsiteX76" fmla="*/ 273843 w 1883568"/>
                  <a:gd name="connsiteY76" fmla="*/ 583406 h 1409700"/>
                  <a:gd name="connsiteX77" fmla="*/ 297656 w 1883568"/>
                  <a:gd name="connsiteY77" fmla="*/ 583406 h 1409700"/>
                  <a:gd name="connsiteX78" fmla="*/ 323850 w 1883568"/>
                  <a:gd name="connsiteY78" fmla="*/ 600075 h 1409700"/>
                  <a:gd name="connsiteX79" fmla="*/ 354806 w 1883568"/>
                  <a:gd name="connsiteY79" fmla="*/ 581025 h 1409700"/>
                  <a:gd name="connsiteX80" fmla="*/ 409575 w 1883568"/>
                  <a:gd name="connsiteY80" fmla="*/ 578643 h 1409700"/>
                  <a:gd name="connsiteX81" fmla="*/ 450056 w 1883568"/>
                  <a:gd name="connsiteY81" fmla="*/ 578643 h 1409700"/>
                  <a:gd name="connsiteX82" fmla="*/ 488156 w 1883568"/>
                  <a:gd name="connsiteY82" fmla="*/ 533400 h 1409700"/>
                  <a:gd name="connsiteX83" fmla="*/ 531018 w 1883568"/>
                  <a:gd name="connsiteY83" fmla="*/ 571500 h 1409700"/>
                  <a:gd name="connsiteX84" fmla="*/ 547687 w 1883568"/>
                  <a:gd name="connsiteY84" fmla="*/ 588168 h 1409700"/>
                  <a:gd name="connsiteX85" fmla="*/ 559593 w 1883568"/>
                  <a:gd name="connsiteY85" fmla="*/ 597693 h 1409700"/>
                  <a:gd name="connsiteX86" fmla="*/ 583406 w 1883568"/>
                  <a:gd name="connsiteY86" fmla="*/ 614362 h 1409700"/>
                  <a:gd name="connsiteX87" fmla="*/ 533400 w 1883568"/>
                  <a:gd name="connsiteY87" fmla="*/ 650081 h 1409700"/>
                  <a:gd name="connsiteX88" fmla="*/ 581025 w 1883568"/>
                  <a:gd name="connsiteY88" fmla="*/ 681037 h 1409700"/>
                  <a:gd name="connsiteX89" fmla="*/ 623887 w 1883568"/>
                  <a:gd name="connsiteY89" fmla="*/ 709612 h 1409700"/>
                  <a:gd name="connsiteX90" fmla="*/ 661987 w 1883568"/>
                  <a:gd name="connsiteY90" fmla="*/ 671512 h 1409700"/>
                  <a:gd name="connsiteX91" fmla="*/ 678656 w 1883568"/>
                  <a:gd name="connsiteY91" fmla="*/ 683418 h 1409700"/>
                  <a:gd name="connsiteX92" fmla="*/ 700087 w 1883568"/>
                  <a:gd name="connsiteY92" fmla="*/ 759618 h 1409700"/>
                  <a:gd name="connsiteX93" fmla="*/ 752475 w 1883568"/>
                  <a:gd name="connsiteY93" fmla="*/ 792956 h 1409700"/>
                  <a:gd name="connsiteX94" fmla="*/ 783431 w 1883568"/>
                  <a:gd name="connsiteY94" fmla="*/ 838200 h 1409700"/>
                  <a:gd name="connsiteX95" fmla="*/ 795337 w 1883568"/>
                  <a:gd name="connsiteY95" fmla="*/ 807243 h 1409700"/>
                  <a:gd name="connsiteX96" fmla="*/ 852487 w 1883568"/>
                  <a:gd name="connsiteY96" fmla="*/ 792956 h 1409700"/>
                  <a:gd name="connsiteX97" fmla="*/ 902493 w 1883568"/>
                  <a:gd name="connsiteY97" fmla="*/ 800100 h 1409700"/>
                  <a:gd name="connsiteX98" fmla="*/ 947737 w 1883568"/>
                  <a:gd name="connsiteY98" fmla="*/ 823912 h 1409700"/>
                  <a:gd name="connsiteX99" fmla="*/ 928687 w 1883568"/>
                  <a:gd name="connsiteY99" fmla="*/ 878681 h 1409700"/>
                  <a:gd name="connsiteX100" fmla="*/ 931068 w 1883568"/>
                  <a:gd name="connsiteY100" fmla="*/ 928687 h 1409700"/>
                  <a:gd name="connsiteX101" fmla="*/ 931068 w 1883568"/>
                  <a:gd name="connsiteY101" fmla="*/ 983456 h 1409700"/>
                  <a:gd name="connsiteX102" fmla="*/ 962025 w 1883568"/>
                  <a:gd name="connsiteY102" fmla="*/ 973931 h 1409700"/>
                  <a:gd name="connsiteX103" fmla="*/ 1023937 w 1883568"/>
                  <a:gd name="connsiteY103" fmla="*/ 1012031 h 140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1883568" h="1409700">
                    <a:moveTo>
                      <a:pt x="1023937" y="1012031"/>
                    </a:moveTo>
                    <a:lnTo>
                      <a:pt x="1100137" y="945356"/>
                    </a:lnTo>
                    <a:lnTo>
                      <a:pt x="1152525" y="942975"/>
                    </a:lnTo>
                    <a:lnTo>
                      <a:pt x="1193006" y="966787"/>
                    </a:lnTo>
                    <a:lnTo>
                      <a:pt x="1202531" y="985837"/>
                    </a:lnTo>
                    <a:lnTo>
                      <a:pt x="1190625" y="1014412"/>
                    </a:lnTo>
                    <a:lnTo>
                      <a:pt x="1264443" y="1054893"/>
                    </a:lnTo>
                    <a:lnTo>
                      <a:pt x="1323975" y="1069181"/>
                    </a:lnTo>
                    <a:lnTo>
                      <a:pt x="1350168" y="1090612"/>
                    </a:lnTo>
                    <a:lnTo>
                      <a:pt x="1385887" y="1076325"/>
                    </a:lnTo>
                    <a:lnTo>
                      <a:pt x="1540668" y="1081087"/>
                    </a:lnTo>
                    <a:lnTo>
                      <a:pt x="1569243" y="1128712"/>
                    </a:lnTo>
                    <a:lnTo>
                      <a:pt x="1612106" y="1188243"/>
                    </a:lnTo>
                    <a:lnTo>
                      <a:pt x="1616868" y="1219200"/>
                    </a:lnTo>
                    <a:lnTo>
                      <a:pt x="1600200" y="1243012"/>
                    </a:lnTo>
                    <a:lnTo>
                      <a:pt x="1626393" y="1254918"/>
                    </a:lnTo>
                    <a:lnTo>
                      <a:pt x="1609725" y="1283493"/>
                    </a:lnTo>
                    <a:lnTo>
                      <a:pt x="1702593" y="1369218"/>
                    </a:lnTo>
                    <a:lnTo>
                      <a:pt x="1721643" y="1376362"/>
                    </a:lnTo>
                    <a:lnTo>
                      <a:pt x="1776412" y="1390650"/>
                    </a:lnTo>
                    <a:lnTo>
                      <a:pt x="1826418" y="1409700"/>
                    </a:lnTo>
                    <a:lnTo>
                      <a:pt x="1826418" y="1357312"/>
                    </a:lnTo>
                    <a:lnTo>
                      <a:pt x="1819275" y="1319212"/>
                    </a:lnTo>
                    <a:lnTo>
                      <a:pt x="1840706" y="1281112"/>
                    </a:lnTo>
                    <a:lnTo>
                      <a:pt x="1843087" y="1235868"/>
                    </a:lnTo>
                    <a:lnTo>
                      <a:pt x="1883568" y="1188243"/>
                    </a:lnTo>
                    <a:lnTo>
                      <a:pt x="1869281" y="1145381"/>
                    </a:lnTo>
                    <a:lnTo>
                      <a:pt x="1843087" y="1073943"/>
                    </a:lnTo>
                    <a:lnTo>
                      <a:pt x="1793081" y="1031081"/>
                    </a:lnTo>
                    <a:lnTo>
                      <a:pt x="1731168" y="973931"/>
                    </a:lnTo>
                    <a:lnTo>
                      <a:pt x="1674018" y="947737"/>
                    </a:lnTo>
                    <a:lnTo>
                      <a:pt x="1609725" y="888206"/>
                    </a:lnTo>
                    <a:lnTo>
                      <a:pt x="1595437" y="838200"/>
                    </a:lnTo>
                    <a:lnTo>
                      <a:pt x="1538287" y="842962"/>
                    </a:lnTo>
                    <a:lnTo>
                      <a:pt x="1552575" y="814387"/>
                    </a:lnTo>
                    <a:lnTo>
                      <a:pt x="1483518" y="812006"/>
                    </a:lnTo>
                    <a:lnTo>
                      <a:pt x="1390650" y="754856"/>
                    </a:lnTo>
                    <a:lnTo>
                      <a:pt x="1352550" y="762000"/>
                    </a:lnTo>
                    <a:lnTo>
                      <a:pt x="1250156" y="676275"/>
                    </a:lnTo>
                    <a:lnTo>
                      <a:pt x="1221581" y="640556"/>
                    </a:lnTo>
                    <a:lnTo>
                      <a:pt x="1071562" y="566737"/>
                    </a:lnTo>
                    <a:lnTo>
                      <a:pt x="971550" y="528637"/>
                    </a:lnTo>
                    <a:lnTo>
                      <a:pt x="845343" y="483393"/>
                    </a:lnTo>
                    <a:lnTo>
                      <a:pt x="719137" y="433387"/>
                    </a:lnTo>
                    <a:lnTo>
                      <a:pt x="631031" y="373856"/>
                    </a:lnTo>
                    <a:lnTo>
                      <a:pt x="507206" y="304800"/>
                    </a:lnTo>
                    <a:lnTo>
                      <a:pt x="476250" y="238125"/>
                    </a:lnTo>
                    <a:lnTo>
                      <a:pt x="547687" y="197643"/>
                    </a:lnTo>
                    <a:lnTo>
                      <a:pt x="652462" y="121443"/>
                    </a:lnTo>
                    <a:lnTo>
                      <a:pt x="645318" y="52387"/>
                    </a:lnTo>
                    <a:lnTo>
                      <a:pt x="623887" y="19050"/>
                    </a:lnTo>
                    <a:lnTo>
                      <a:pt x="554831" y="0"/>
                    </a:lnTo>
                    <a:lnTo>
                      <a:pt x="492918" y="2381"/>
                    </a:lnTo>
                    <a:lnTo>
                      <a:pt x="414337" y="28575"/>
                    </a:lnTo>
                    <a:lnTo>
                      <a:pt x="340518" y="26193"/>
                    </a:lnTo>
                    <a:lnTo>
                      <a:pt x="319087" y="16668"/>
                    </a:lnTo>
                    <a:lnTo>
                      <a:pt x="269081" y="26193"/>
                    </a:lnTo>
                    <a:lnTo>
                      <a:pt x="169068" y="23812"/>
                    </a:lnTo>
                    <a:lnTo>
                      <a:pt x="92868" y="14287"/>
                    </a:lnTo>
                    <a:lnTo>
                      <a:pt x="83343" y="126206"/>
                    </a:lnTo>
                    <a:lnTo>
                      <a:pt x="111918" y="166687"/>
                    </a:lnTo>
                    <a:lnTo>
                      <a:pt x="92868" y="190500"/>
                    </a:lnTo>
                    <a:lnTo>
                      <a:pt x="54768" y="223837"/>
                    </a:lnTo>
                    <a:lnTo>
                      <a:pt x="19050" y="195262"/>
                    </a:lnTo>
                    <a:lnTo>
                      <a:pt x="0" y="254793"/>
                    </a:lnTo>
                    <a:lnTo>
                      <a:pt x="23812" y="290512"/>
                    </a:lnTo>
                    <a:lnTo>
                      <a:pt x="38100" y="330993"/>
                    </a:lnTo>
                    <a:lnTo>
                      <a:pt x="78581" y="354806"/>
                    </a:lnTo>
                    <a:lnTo>
                      <a:pt x="57150" y="378618"/>
                    </a:lnTo>
                    <a:lnTo>
                      <a:pt x="80962" y="419100"/>
                    </a:lnTo>
                    <a:lnTo>
                      <a:pt x="164306" y="461962"/>
                    </a:lnTo>
                    <a:lnTo>
                      <a:pt x="188118" y="471487"/>
                    </a:lnTo>
                    <a:lnTo>
                      <a:pt x="171450" y="483393"/>
                    </a:lnTo>
                    <a:lnTo>
                      <a:pt x="150018" y="516731"/>
                    </a:lnTo>
                    <a:lnTo>
                      <a:pt x="188118" y="573881"/>
                    </a:lnTo>
                    <a:lnTo>
                      <a:pt x="257175" y="559593"/>
                    </a:lnTo>
                    <a:lnTo>
                      <a:pt x="273843" y="583406"/>
                    </a:lnTo>
                    <a:lnTo>
                      <a:pt x="297656" y="583406"/>
                    </a:lnTo>
                    <a:lnTo>
                      <a:pt x="323850" y="600075"/>
                    </a:lnTo>
                    <a:lnTo>
                      <a:pt x="354806" y="581025"/>
                    </a:lnTo>
                    <a:lnTo>
                      <a:pt x="409575" y="578643"/>
                    </a:lnTo>
                    <a:lnTo>
                      <a:pt x="450056" y="578643"/>
                    </a:lnTo>
                    <a:lnTo>
                      <a:pt x="488156" y="533400"/>
                    </a:lnTo>
                    <a:lnTo>
                      <a:pt x="531018" y="571500"/>
                    </a:lnTo>
                    <a:lnTo>
                      <a:pt x="547687" y="588168"/>
                    </a:lnTo>
                    <a:lnTo>
                      <a:pt x="559593" y="597693"/>
                    </a:lnTo>
                    <a:lnTo>
                      <a:pt x="583406" y="614362"/>
                    </a:lnTo>
                    <a:lnTo>
                      <a:pt x="533400" y="650081"/>
                    </a:lnTo>
                    <a:lnTo>
                      <a:pt x="581025" y="681037"/>
                    </a:lnTo>
                    <a:lnTo>
                      <a:pt x="623887" y="709612"/>
                    </a:lnTo>
                    <a:lnTo>
                      <a:pt x="661987" y="671512"/>
                    </a:lnTo>
                    <a:lnTo>
                      <a:pt x="678656" y="683418"/>
                    </a:lnTo>
                    <a:lnTo>
                      <a:pt x="700087" y="759618"/>
                    </a:lnTo>
                    <a:lnTo>
                      <a:pt x="752475" y="792956"/>
                    </a:lnTo>
                    <a:lnTo>
                      <a:pt x="783431" y="838200"/>
                    </a:lnTo>
                    <a:lnTo>
                      <a:pt x="795337" y="807243"/>
                    </a:lnTo>
                    <a:lnTo>
                      <a:pt x="852487" y="792956"/>
                    </a:lnTo>
                    <a:lnTo>
                      <a:pt x="902493" y="800100"/>
                    </a:lnTo>
                    <a:lnTo>
                      <a:pt x="947737" y="823912"/>
                    </a:lnTo>
                    <a:lnTo>
                      <a:pt x="928687" y="878681"/>
                    </a:lnTo>
                    <a:lnTo>
                      <a:pt x="931068" y="928687"/>
                    </a:lnTo>
                    <a:lnTo>
                      <a:pt x="931068" y="983456"/>
                    </a:lnTo>
                    <a:lnTo>
                      <a:pt x="962025" y="973931"/>
                    </a:lnTo>
                    <a:lnTo>
                      <a:pt x="1023937" y="101203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8" name="Figura a mano libera 52">
                <a:extLst>
                  <a:ext uri="{FF2B5EF4-FFF2-40B4-BE49-F238E27FC236}">
                    <a16:creationId xmlns:a16="http://schemas.microsoft.com/office/drawing/2014/main" id="{8BCFD3AB-AF04-4670-ACDF-E0143D27ED25}"/>
                  </a:ext>
                </a:extLst>
              </p:cNvPr>
              <p:cNvSpPr/>
              <p:nvPr/>
            </p:nvSpPr>
            <p:spPr bwMode="auto">
              <a:xfrm>
                <a:off x="4524183" y="4188413"/>
                <a:ext cx="683880" cy="1153359"/>
              </a:xfrm>
              <a:custGeom>
                <a:avLst/>
                <a:gdLst>
                  <a:gd name="connsiteX0" fmla="*/ 81481 w 851025"/>
                  <a:gd name="connsiteY0" fmla="*/ 144856 h 1475715"/>
                  <a:gd name="connsiteX1" fmla="*/ 99588 w 851025"/>
                  <a:gd name="connsiteY1" fmla="*/ 90535 h 1475715"/>
                  <a:gd name="connsiteX2" fmla="*/ 140328 w 851025"/>
                  <a:gd name="connsiteY2" fmla="*/ 108642 h 1475715"/>
                  <a:gd name="connsiteX3" fmla="*/ 176542 w 851025"/>
                  <a:gd name="connsiteY3" fmla="*/ 90535 h 1475715"/>
                  <a:gd name="connsiteX4" fmla="*/ 208229 w 851025"/>
                  <a:gd name="connsiteY4" fmla="*/ 113169 h 1475715"/>
                  <a:gd name="connsiteX5" fmla="*/ 253497 w 851025"/>
                  <a:gd name="connsiteY5" fmla="*/ 158436 h 1475715"/>
                  <a:gd name="connsiteX6" fmla="*/ 312344 w 851025"/>
                  <a:gd name="connsiteY6" fmla="*/ 140329 h 1475715"/>
                  <a:gd name="connsiteX7" fmla="*/ 375719 w 851025"/>
                  <a:gd name="connsiteY7" fmla="*/ 126749 h 1475715"/>
                  <a:gd name="connsiteX8" fmla="*/ 393825 w 851025"/>
                  <a:gd name="connsiteY8" fmla="*/ 144856 h 1475715"/>
                  <a:gd name="connsiteX9" fmla="*/ 402879 w 851025"/>
                  <a:gd name="connsiteY9" fmla="*/ 95062 h 1475715"/>
                  <a:gd name="connsiteX10" fmla="*/ 402879 w 851025"/>
                  <a:gd name="connsiteY10" fmla="*/ 36214 h 1475715"/>
                  <a:gd name="connsiteX11" fmla="*/ 420986 w 851025"/>
                  <a:gd name="connsiteY11" fmla="*/ 0 h 1475715"/>
                  <a:gd name="connsiteX12" fmla="*/ 502467 w 851025"/>
                  <a:gd name="connsiteY12" fmla="*/ 9054 h 1475715"/>
                  <a:gd name="connsiteX13" fmla="*/ 538681 w 851025"/>
                  <a:gd name="connsiteY13" fmla="*/ 18107 h 1475715"/>
                  <a:gd name="connsiteX14" fmla="*/ 525101 w 851025"/>
                  <a:gd name="connsiteY14" fmla="*/ 67901 h 1475715"/>
                  <a:gd name="connsiteX15" fmla="*/ 525101 w 851025"/>
                  <a:gd name="connsiteY15" fmla="*/ 104115 h 1475715"/>
                  <a:gd name="connsiteX16" fmla="*/ 525101 w 851025"/>
                  <a:gd name="connsiteY16" fmla="*/ 104115 h 1475715"/>
                  <a:gd name="connsiteX17" fmla="*/ 466253 w 851025"/>
                  <a:gd name="connsiteY17" fmla="*/ 226337 h 1475715"/>
                  <a:gd name="connsiteX18" fmla="*/ 466253 w 851025"/>
                  <a:gd name="connsiteY18" fmla="*/ 276131 h 1475715"/>
                  <a:gd name="connsiteX19" fmla="*/ 484360 w 851025"/>
                  <a:gd name="connsiteY19" fmla="*/ 312345 h 1475715"/>
                  <a:gd name="connsiteX20" fmla="*/ 493414 w 851025"/>
                  <a:gd name="connsiteY20" fmla="*/ 330452 h 1475715"/>
                  <a:gd name="connsiteX21" fmla="*/ 565841 w 851025"/>
                  <a:gd name="connsiteY21" fmla="*/ 353085 h 1475715"/>
                  <a:gd name="connsiteX22" fmla="*/ 602055 w 851025"/>
                  <a:gd name="connsiteY22" fmla="*/ 348559 h 1475715"/>
                  <a:gd name="connsiteX23" fmla="*/ 706170 w 851025"/>
                  <a:gd name="connsiteY23" fmla="*/ 411933 h 1475715"/>
                  <a:gd name="connsiteX24" fmla="*/ 755964 w 851025"/>
                  <a:gd name="connsiteY24" fmla="*/ 425513 h 1475715"/>
                  <a:gd name="connsiteX25" fmla="*/ 755964 w 851025"/>
                  <a:gd name="connsiteY25" fmla="*/ 461727 h 1475715"/>
                  <a:gd name="connsiteX26" fmla="*/ 810285 w 851025"/>
                  <a:gd name="connsiteY26" fmla="*/ 479834 h 1475715"/>
                  <a:gd name="connsiteX27" fmla="*/ 792178 w 851025"/>
                  <a:gd name="connsiteY27" fmla="*/ 552262 h 1475715"/>
                  <a:gd name="connsiteX28" fmla="*/ 814812 w 851025"/>
                  <a:gd name="connsiteY28" fmla="*/ 597529 h 1475715"/>
                  <a:gd name="connsiteX29" fmla="*/ 814812 w 851025"/>
                  <a:gd name="connsiteY29" fmla="*/ 651850 h 1475715"/>
                  <a:gd name="connsiteX30" fmla="*/ 810285 w 851025"/>
                  <a:gd name="connsiteY30" fmla="*/ 697117 h 1475715"/>
                  <a:gd name="connsiteX31" fmla="*/ 823865 w 851025"/>
                  <a:gd name="connsiteY31" fmla="*/ 719751 h 1475715"/>
                  <a:gd name="connsiteX32" fmla="*/ 851025 w 851025"/>
                  <a:gd name="connsiteY32" fmla="*/ 733331 h 1475715"/>
                  <a:gd name="connsiteX33" fmla="*/ 828392 w 851025"/>
                  <a:gd name="connsiteY33" fmla="*/ 751438 h 1475715"/>
                  <a:gd name="connsiteX34" fmla="*/ 832919 w 851025"/>
                  <a:gd name="connsiteY34" fmla="*/ 787652 h 1475715"/>
                  <a:gd name="connsiteX35" fmla="*/ 796705 w 851025"/>
                  <a:gd name="connsiteY35" fmla="*/ 814812 h 1475715"/>
                  <a:gd name="connsiteX36" fmla="*/ 746911 w 851025"/>
                  <a:gd name="connsiteY36" fmla="*/ 787652 h 1475715"/>
                  <a:gd name="connsiteX37" fmla="*/ 692590 w 851025"/>
                  <a:gd name="connsiteY37" fmla="*/ 774072 h 1475715"/>
                  <a:gd name="connsiteX38" fmla="*/ 588475 w 851025"/>
                  <a:gd name="connsiteY38" fmla="*/ 819339 h 1475715"/>
                  <a:gd name="connsiteX39" fmla="*/ 506994 w 851025"/>
                  <a:gd name="connsiteY39" fmla="*/ 900820 h 1475715"/>
                  <a:gd name="connsiteX40" fmla="*/ 497940 w 851025"/>
                  <a:gd name="connsiteY40" fmla="*/ 955141 h 1475715"/>
                  <a:gd name="connsiteX41" fmla="*/ 511520 w 851025"/>
                  <a:gd name="connsiteY41" fmla="*/ 1023042 h 1475715"/>
                  <a:gd name="connsiteX42" fmla="*/ 525101 w 851025"/>
                  <a:gd name="connsiteY42" fmla="*/ 1072836 h 1475715"/>
                  <a:gd name="connsiteX43" fmla="*/ 525101 w 851025"/>
                  <a:gd name="connsiteY43" fmla="*/ 1136210 h 1475715"/>
                  <a:gd name="connsiteX44" fmla="*/ 502467 w 851025"/>
                  <a:gd name="connsiteY44" fmla="*/ 1176951 h 1475715"/>
                  <a:gd name="connsiteX45" fmla="*/ 448146 w 851025"/>
                  <a:gd name="connsiteY45" fmla="*/ 1195058 h 1475715"/>
                  <a:gd name="connsiteX46" fmla="*/ 402879 w 851025"/>
                  <a:gd name="connsiteY46" fmla="*/ 1213165 h 1475715"/>
                  <a:gd name="connsiteX47" fmla="*/ 357612 w 851025"/>
                  <a:gd name="connsiteY47" fmla="*/ 1231272 h 1475715"/>
                  <a:gd name="connsiteX48" fmla="*/ 294237 w 851025"/>
                  <a:gd name="connsiteY48" fmla="*/ 1344440 h 1475715"/>
                  <a:gd name="connsiteX49" fmla="*/ 285184 w 851025"/>
                  <a:gd name="connsiteY49" fmla="*/ 1398761 h 1475715"/>
                  <a:gd name="connsiteX50" fmla="*/ 276130 w 851025"/>
                  <a:gd name="connsiteY50" fmla="*/ 1448555 h 1475715"/>
                  <a:gd name="connsiteX51" fmla="*/ 221810 w 851025"/>
                  <a:gd name="connsiteY51" fmla="*/ 1475715 h 1475715"/>
                  <a:gd name="connsiteX52" fmla="*/ 153909 w 851025"/>
                  <a:gd name="connsiteY52" fmla="*/ 1466662 h 1475715"/>
                  <a:gd name="connsiteX53" fmla="*/ 99588 w 851025"/>
                  <a:gd name="connsiteY53" fmla="*/ 1475715 h 1475715"/>
                  <a:gd name="connsiteX54" fmla="*/ 9053 w 851025"/>
                  <a:gd name="connsiteY54" fmla="*/ 1444028 h 1475715"/>
                  <a:gd name="connsiteX55" fmla="*/ 4526 w 851025"/>
                  <a:gd name="connsiteY55" fmla="*/ 1403287 h 1475715"/>
                  <a:gd name="connsiteX56" fmla="*/ 36214 w 851025"/>
                  <a:gd name="connsiteY56" fmla="*/ 1389707 h 1475715"/>
                  <a:gd name="connsiteX57" fmla="*/ 0 w 851025"/>
                  <a:gd name="connsiteY57" fmla="*/ 1339913 h 1475715"/>
                  <a:gd name="connsiteX58" fmla="*/ 13580 w 851025"/>
                  <a:gd name="connsiteY58" fmla="*/ 1339913 h 1475715"/>
                  <a:gd name="connsiteX59" fmla="*/ 13580 w 851025"/>
                  <a:gd name="connsiteY59" fmla="*/ 1267485 h 1475715"/>
                  <a:gd name="connsiteX60" fmla="*/ 76954 w 851025"/>
                  <a:gd name="connsiteY60" fmla="*/ 1249378 h 1475715"/>
                  <a:gd name="connsiteX61" fmla="*/ 162962 w 851025"/>
                  <a:gd name="connsiteY61" fmla="*/ 1167897 h 1475715"/>
                  <a:gd name="connsiteX62" fmla="*/ 181069 w 851025"/>
                  <a:gd name="connsiteY62" fmla="*/ 1090943 h 1475715"/>
                  <a:gd name="connsiteX63" fmla="*/ 167489 w 851025"/>
                  <a:gd name="connsiteY63" fmla="*/ 1045676 h 1475715"/>
                  <a:gd name="connsiteX64" fmla="*/ 117695 w 851025"/>
                  <a:gd name="connsiteY64" fmla="*/ 1009462 h 1475715"/>
                  <a:gd name="connsiteX65" fmla="*/ 135802 w 851025"/>
                  <a:gd name="connsiteY65" fmla="*/ 977775 h 1475715"/>
                  <a:gd name="connsiteX66" fmla="*/ 181069 w 851025"/>
                  <a:gd name="connsiteY66" fmla="*/ 959668 h 1475715"/>
                  <a:gd name="connsiteX67" fmla="*/ 239917 w 851025"/>
                  <a:gd name="connsiteY67" fmla="*/ 927980 h 1475715"/>
                  <a:gd name="connsiteX68" fmla="*/ 276130 w 851025"/>
                  <a:gd name="connsiteY68" fmla="*/ 955141 h 1475715"/>
                  <a:gd name="connsiteX69" fmla="*/ 316871 w 851025"/>
                  <a:gd name="connsiteY69" fmla="*/ 914400 h 1475715"/>
                  <a:gd name="connsiteX70" fmla="*/ 339505 w 851025"/>
                  <a:gd name="connsiteY70" fmla="*/ 855553 h 1475715"/>
                  <a:gd name="connsiteX71" fmla="*/ 348558 w 851025"/>
                  <a:gd name="connsiteY71" fmla="*/ 814812 h 1475715"/>
                  <a:gd name="connsiteX72" fmla="*/ 312344 w 851025"/>
                  <a:gd name="connsiteY72" fmla="*/ 787652 h 1475715"/>
                  <a:gd name="connsiteX73" fmla="*/ 298764 w 851025"/>
                  <a:gd name="connsiteY73" fmla="*/ 778598 h 1475715"/>
                  <a:gd name="connsiteX74" fmla="*/ 235390 w 851025"/>
                  <a:gd name="connsiteY74" fmla="*/ 715224 h 1475715"/>
                  <a:gd name="connsiteX75" fmla="*/ 248970 w 851025"/>
                  <a:gd name="connsiteY75" fmla="*/ 588476 h 1475715"/>
                  <a:gd name="connsiteX76" fmla="*/ 199176 w 851025"/>
                  <a:gd name="connsiteY76" fmla="*/ 457200 h 1475715"/>
                  <a:gd name="connsiteX77" fmla="*/ 162962 w 851025"/>
                  <a:gd name="connsiteY77" fmla="*/ 384773 h 1475715"/>
                  <a:gd name="connsiteX78" fmla="*/ 140328 w 851025"/>
                  <a:gd name="connsiteY78" fmla="*/ 389299 h 1475715"/>
                  <a:gd name="connsiteX79" fmla="*/ 108641 w 851025"/>
                  <a:gd name="connsiteY79" fmla="*/ 316872 h 1475715"/>
                  <a:gd name="connsiteX80" fmla="*/ 108641 w 851025"/>
                  <a:gd name="connsiteY80" fmla="*/ 285184 h 1475715"/>
                  <a:gd name="connsiteX81" fmla="*/ 99588 w 851025"/>
                  <a:gd name="connsiteY81" fmla="*/ 239917 h 1475715"/>
                  <a:gd name="connsiteX82" fmla="*/ 81481 w 851025"/>
                  <a:gd name="connsiteY82" fmla="*/ 144856 h 147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851025" h="1475715">
                    <a:moveTo>
                      <a:pt x="81481" y="144856"/>
                    </a:moveTo>
                    <a:lnTo>
                      <a:pt x="99588" y="90535"/>
                    </a:lnTo>
                    <a:lnTo>
                      <a:pt x="140328" y="108642"/>
                    </a:lnTo>
                    <a:lnTo>
                      <a:pt x="176542" y="90535"/>
                    </a:lnTo>
                    <a:lnTo>
                      <a:pt x="208229" y="113169"/>
                    </a:lnTo>
                    <a:lnTo>
                      <a:pt x="253497" y="158436"/>
                    </a:lnTo>
                    <a:lnTo>
                      <a:pt x="312344" y="140329"/>
                    </a:lnTo>
                    <a:lnTo>
                      <a:pt x="375719" y="126749"/>
                    </a:lnTo>
                    <a:lnTo>
                      <a:pt x="393825" y="144856"/>
                    </a:lnTo>
                    <a:lnTo>
                      <a:pt x="402879" y="95062"/>
                    </a:lnTo>
                    <a:lnTo>
                      <a:pt x="402879" y="36214"/>
                    </a:lnTo>
                    <a:lnTo>
                      <a:pt x="420986" y="0"/>
                    </a:lnTo>
                    <a:lnTo>
                      <a:pt x="502467" y="9054"/>
                    </a:lnTo>
                    <a:lnTo>
                      <a:pt x="538681" y="18107"/>
                    </a:lnTo>
                    <a:lnTo>
                      <a:pt x="525101" y="67901"/>
                    </a:lnTo>
                    <a:lnTo>
                      <a:pt x="525101" y="104115"/>
                    </a:lnTo>
                    <a:lnTo>
                      <a:pt x="525101" y="104115"/>
                    </a:lnTo>
                    <a:lnTo>
                      <a:pt x="466253" y="226337"/>
                    </a:lnTo>
                    <a:lnTo>
                      <a:pt x="466253" y="276131"/>
                    </a:lnTo>
                    <a:lnTo>
                      <a:pt x="484360" y="312345"/>
                    </a:lnTo>
                    <a:lnTo>
                      <a:pt x="493414" y="330452"/>
                    </a:lnTo>
                    <a:lnTo>
                      <a:pt x="565841" y="353085"/>
                    </a:lnTo>
                    <a:lnTo>
                      <a:pt x="602055" y="348559"/>
                    </a:lnTo>
                    <a:lnTo>
                      <a:pt x="706170" y="411933"/>
                    </a:lnTo>
                    <a:lnTo>
                      <a:pt x="755964" y="425513"/>
                    </a:lnTo>
                    <a:lnTo>
                      <a:pt x="755964" y="461727"/>
                    </a:lnTo>
                    <a:lnTo>
                      <a:pt x="810285" y="479834"/>
                    </a:lnTo>
                    <a:lnTo>
                      <a:pt x="792178" y="552262"/>
                    </a:lnTo>
                    <a:lnTo>
                      <a:pt x="814812" y="597529"/>
                    </a:lnTo>
                    <a:lnTo>
                      <a:pt x="814812" y="651850"/>
                    </a:lnTo>
                    <a:lnTo>
                      <a:pt x="810285" y="697117"/>
                    </a:lnTo>
                    <a:lnTo>
                      <a:pt x="823865" y="719751"/>
                    </a:lnTo>
                    <a:lnTo>
                      <a:pt x="851025" y="733331"/>
                    </a:lnTo>
                    <a:lnTo>
                      <a:pt x="828392" y="751438"/>
                    </a:lnTo>
                    <a:lnTo>
                      <a:pt x="832919" y="787652"/>
                    </a:lnTo>
                    <a:lnTo>
                      <a:pt x="796705" y="814812"/>
                    </a:lnTo>
                    <a:lnTo>
                      <a:pt x="746911" y="787652"/>
                    </a:lnTo>
                    <a:lnTo>
                      <a:pt x="692590" y="774072"/>
                    </a:lnTo>
                    <a:lnTo>
                      <a:pt x="588475" y="819339"/>
                    </a:lnTo>
                    <a:lnTo>
                      <a:pt x="506994" y="900820"/>
                    </a:lnTo>
                    <a:lnTo>
                      <a:pt x="497940" y="955141"/>
                    </a:lnTo>
                    <a:lnTo>
                      <a:pt x="511520" y="1023042"/>
                    </a:lnTo>
                    <a:lnTo>
                      <a:pt x="525101" y="1072836"/>
                    </a:lnTo>
                    <a:lnTo>
                      <a:pt x="525101" y="1136210"/>
                    </a:lnTo>
                    <a:lnTo>
                      <a:pt x="502467" y="1176951"/>
                    </a:lnTo>
                    <a:lnTo>
                      <a:pt x="448146" y="1195058"/>
                    </a:lnTo>
                    <a:lnTo>
                      <a:pt x="402879" y="1213165"/>
                    </a:lnTo>
                    <a:lnTo>
                      <a:pt x="357612" y="1231272"/>
                    </a:lnTo>
                    <a:lnTo>
                      <a:pt x="294237" y="1344440"/>
                    </a:lnTo>
                    <a:lnTo>
                      <a:pt x="285184" y="1398761"/>
                    </a:lnTo>
                    <a:lnTo>
                      <a:pt x="276130" y="1448555"/>
                    </a:lnTo>
                    <a:lnTo>
                      <a:pt x="221810" y="1475715"/>
                    </a:lnTo>
                    <a:lnTo>
                      <a:pt x="153909" y="1466662"/>
                    </a:lnTo>
                    <a:lnTo>
                      <a:pt x="99588" y="1475715"/>
                    </a:lnTo>
                    <a:lnTo>
                      <a:pt x="9053" y="1444028"/>
                    </a:lnTo>
                    <a:lnTo>
                      <a:pt x="4526" y="1403287"/>
                    </a:lnTo>
                    <a:lnTo>
                      <a:pt x="36214" y="1389707"/>
                    </a:lnTo>
                    <a:lnTo>
                      <a:pt x="0" y="1339913"/>
                    </a:lnTo>
                    <a:lnTo>
                      <a:pt x="13580" y="1339913"/>
                    </a:lnTo>
                    <a:lnTo>
                      <a:pt x="13580" y="1267485"/>
                    </a:lnTo>
                    <a:lnTo>
                      <a:pt x="76954" y="1249378"/>
                    </a:lnTo>
                    <a:lnTo>
                      <a:pt x="162962" y="1167897"/>
                    </a:lnTo>
                    <a:lnTo>
                      <a:pt x="181069" y="1090943"/>
                    </a:lnTo>
                    <a:lnTo>
                      <a:pt x="167489" y="1045676"/>
                    </a:lnTo>
                    <a:lnTo>
                      <a:pt x="117695" y="1009462"/>
                    </a:lnTo>
                    <a:lnTo>
                      <a:pt x="135802" y="977775"/>
                    </a:lnTo>
                    <a:lnTo>
                      <a:pt x="181069" y="959668"/>
                    </a:lnTo>
                    <a:lnTo>
                      <a:pt x="239917" y="927980"/>
                    </a:lnTo>
                    <a:lnTo>
                      <a:pt x="276130" y="955141"/>
                    </a:lnTo>
                    <a:lnTo>
                      <a:pt x="316871" y="914400"/>
                    </a:lnTo>
                    <a:lnTo>
                      <a:pt x="339505" y="855553"/>
                    </a:lnTo>
                    <a:lnTo>
                      <a:pt x="348558" y="814812"/>
                    </a:lnTo>
                    <a:lnTo>
                      <a:pt x="312344" y="787652"/>
                    </a:lnTo>
                    <a:lnTo>
                      <a:pt x="298764" y="778598"/>
                    </a:lnTo>
                    <a:lnTo>
                      <a:pt x="235390" y="715224"/>
                    </a:lnTo>
                    <a:lnTo>
                      <a:pt x="248970" y="588476"/>
                    </a:lnTo>
                    <a:lnTo>
                      <a:pt x="199176" y="457200"/>
                    </a:lnTo>
                    <a:lnTo>
                      <a:pt x="162962" y="384773"/>
                    </a:lnTo>
                    <a:lnTo>
                      <a:pt x="140328" y="389299"/>
                    </a:lnTo>
                    <a:lnTo>
                      <a:pt x="108641" y="316872"/>
                    </a:lnTo>
                    <a:lnTo>
                      <a:pt x="108641" y="285184"/>
                    </a:lnTo>
                    <a:lnTo>
                      <a:pt x="99588" y="239917"/>
                    </a:lnTo>
                    <a:lnTo>
                      <a:pt x="81481" y="1448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9" name="Figura a mano libera 53">
                <a:extLst>
                  <a:ext uri="{FF2B5EF4-FFF2-40B4-BE49-F238E27FC236}">
                    <a16:creationId xmlns:a16="http://schemas.microsoft.com/office/drawing/2014/main" id="{EF8C0BF0-6142-422C-9DAD-2FB4542D9B44}"/>
                  </a:ext>
                </a:extLst>
              </p:cNvPr>
              <p:cNvSpPr/>
              <p:nvPr/>
            </p:nvSpPr>
            <p:spPr bwMode="auto">
              <a:xfrm>
                <a:off x="3141591" y="5133670"/>
                <a:ext cx="1401877" cy="860256"/>
              </a:xfrm>
              <a:custGeom>
                <a:avLst/>
                <a:gdLst>
                  <a:gd name="connsiteX0" fmla="*/ 1688306 w 1745456"/>
                  <a:gd name="connsiteY0" fmla="*/ 0 h 1097756"/>
                  <a:gd name="connsiteX1" fmla="*/ 1745456 w 1745456"/>
                  <a:gd name="connsiteY1" fmla="*/ 23812 h 1097756"/>
                  <a:gd name="connsiteX2" fmla="*/ 1697831 w 1745456"/>
                  <a:gd name="connsiteY2" fmla="*/ 57150 h 1097756"/>
                  <a:gd name="connsiteX3" fmla="*/ 1657350 w 1745456"/>
                  <a:gd name="connsiteY3" fmla="*/ 178594 h 1097756"/>
                  <a:gd name="connsiteX4" fmla="*/ 1533525 w 1745456"/>
                  <a:gd name="connsiteY4" fmla="*/ 321469 h 1097756"/>
                  <a:gd name="connsiteX5" fmla="*/ 1507331 w 1745456"/>
                  <a:gd name="connsiteY5" fmla="*/ 397669 h 1097756"/>
                  <a:gd name="connsiteX6" fmla="*/ 1493044 w 1745456"/>
                  <a:gd name="connsiteY6" fmla="*/ 428625 h 1097756"/>
                  <a:gd name="connsiteX7" fmla="*/ 1504950 w 1745456"/>
                  <a:gd name="connsiteY7" fmla="*/ 483394 h 1097756"/>
                  <a:gd name="connsiteX8" fmla="*/ 1471613 w 1745456"/>
                  <a:gd name="connsiteY8" fmla="*/ 500062 h 1097756"/>
                  <a:gd name="connsiteX9" fmla="*/ 1440656 w 1745456"/>
                  <a:gd name="connsiteY9" fmla="*/ 547687 h 1097756"/>
                  <a:gd name="connsiteX10" fmla="*/ 1443038 w 1745456"/>
                  <a:gd name="connsiteY10" fmla="*/ 657225 h 1097756"/>
                  <a:gd name="connsiteX11" fmla="*/ 1519238 w 1745456"/>
                  <a:gd name="connsiteY11" fmla="*/ 685800 h 1097756"/>
                  <a:gd name="connsiteX12" fmla="*/ 1538288 w 1745456"/>
                  <a:gd name="connsiteY12" fmla="*/ 702469 h 1097756"/>
                  <a:gd name="connsiteX13" fmla="*/ 1502569 w 1745456"/>
                  <a:gd name="connsiteY13" fmla="*/ 707231 h 1097756"/>
                  <a:gd name="connsiteX14" fmla="*/ 1519238 w 1745456"/>
                  <a:gd name="connsiteY14" fmla="*/ 785812 h 1097756"/>
                  <a:gd name="connsiteX15" fmla="*/ 1557338 w 1745456"/>
                  <a:gd name="connsiteY15" fmla="*/ 795337 h 1097756"/>
                  <a:gd name="connsiteX16" fmla="*/ 1574006 w 1745456"/>
                  <a:gd name="connsiteY16" fmla="*/ 816769 h 1097756"/>
                  <a:gd name="connsiteX17" fmla="*/ 1559719 w 1745456"/>
                  <a:gd name="connsiteY17" fmla="*/ 845344 h 1097756"/>
                  <a:gd name="connsiteX18" fmla="*/ 1550194 w 1745456"/>
                  <a:gd name="connsiteY18" fmla="*/ 876300 h 1097756"/>
                  <a:gd name="connsiteX19" fmla="*/ 1531144 w 1745456"/>
                  <a:gd name="connsiteY19" fmla="*/ 885825 h 1097756"/>
                  <a:gd name="connsiteX20" fmla="*/ 1478756 w 1745456"/>
                  <a:gd name="connsiteY20" fmla="*/ 912019 h 1097756"/>
                  <a:gd name="connsiteX21" fmla="*/ 1450181 w 1745456"/>
                  <a:gd name="connsiteY21" fmla="*/ 971550 h 1097756"/>
                  <a:gd name="connsiteX22" fmla="*/ 1464469 w 1745456"/>
                  <a:gd name="connsiteY22" fmla="*/ 1062037 h 1097756"/>
                  <a:gd name="connsiteX23" fmla="*/ 1483519 w 1745456"/>
                  <a:gd name="connsiteY23" fmla="*/ 1092994 h 1097756"/>
                  <a:gd name="connsiteX24" fmla="*/ 1445419 w 1745456"/>
                  <a:gd name="connsiteY24" fmla="*/ 1097756 h 1097756"/>
                  <a:gd name="connsiteX25" fmla="*/ 1426369 w 1745456"/>
                  <a:gd name="connsiteY25" fmla="*/ 1057275 h 1097756"/>
                  <a:gd name="connsiteX26" fmla="*/ 1400175 w 1745456"/>
                  <a:gd name="connsiteY26" fmla="*/ 1057275 h 1097756"/>
                  <a:gd name="connsiteX27" fmla="*/ 1385888 w 1745456"/>
                  <a:gd name="connsiteY27" fmla="*/ 1073944 h 1097756"/>
                  <a:gd name="connsiteX28" fmla="*/ 1328738 w 1745456"/>
                  <a:gd name="connsiteY28" fmla="*/ 1033462 h 1097756"/>
                  <a:gd name="connsiteX29" fmla="*/ 1264444 w 1745456"/>
                  <a:gd name="connsiteY29" fmla="*/ 1062037 h 1097756"/>
                  <a:gd name="connsiteX30" fmla="*/ 1202531 w 1745456"/>
                  <a:gd name="connsiteY30" fmla="*/ 1026319 h 1097756"/>
                  <a:gd name="connsiteX31" fmla="*/ 1147763 w 1745456"/>
                  <a:gd name="connsiteY31" fmla="*/ 1002506 h 1097756"/>
                  <a:gd name="connsiteX32" fmla="*/ 1126331 w 1745456"/>
                  <a:gd name="connsiteY32" fmla="*/ 1002506 h 1097756"/>
                  <a:gd name="connsiteX33" fmla="*/ 1090613 w 1745456"/>
                  <a:gd name="connsiteY33" fmla="*/ 978694 h 1097756"/>
                  <a:gd name="connsiteX34" fmla="*/ 1004888 w 1745456"/>
                  <a:gd name="connsiteY34" fmla="*/ 831056 h 1097756"/>
                  <a:gd name="connsiteX35" fmla="*/ 897731 w 1745456"/>
                  <a:gd name="connsiteY35" fmla="*/ 792956 h 1097756"/>
                  <a:gd name="connsiteX36" fmla="*/ 854869 w 1745456"/>
                  <a:gd name="connsiteY36" fmla="*/ 792956 h 1097756"/>
                  <a:gd name="connsiteX37" fmla="*/ 802481 w 1745456"/>
                  <a:gd name="connsiteY37" fmla="*/ 792956 h 1097756"/>
                  <a:gd name="connsiteX38" fmla="*/ 790575 w 1745456"/>
                  <a:gd name="connsiteY38" fmla="*/ 807244 h 1097756"/>
                  <a:gd name="connsiteX39" fmla="*/ 769144 w 1745456"/>
                  <a:gd name="connsiteY39" fmla="*/ 769144 h 1097756"/>
                  <a:gd name="connsiteX40" fmla="*/ 719138 w 1745456"/>
                  <a:gd name="connsiteY40" fmla="*/ 759619 h 1097756"/>
                  <a:gd name="connsiteX41" fmla="*/ 666750 w 1745456"/>
                  <a:gd name="connsiteY41" fmla="*/ 721519 h 1097756"/>
                  <a:gd name="connsiteX42" fmla="*/ 631031 w 1745456"/>
                  <a:gd name="connsiteY42" fmla="*/ 683419 h 1097756"/>
                  <a:gd name="connsiteX43" fmla="*/ 626269 w 1745456"/>
                  <a:gd name="connsiteY43" fmla="*/ 681037 h 1097756"/>
                  <a:gd name="connsiteX44" fmla="*/ 566738 w 1745456"/>
                  <a:gd name="connsiteY44" fmla="*/ 673894 h 1097756"/>
                  <a:gd name="connsiteX45" fmla="*/ 526256 w 1745456"/>
                  <a:gd name="connsiteY45" fmla="*/ 654844 h 1097756"/>
                  <a:gd name="connsiteX46" fmla="*/ 471488 w 1745456"/>
                  <a:gd name="connsiteY46" fmla="*/ 607219 h 1097756"/>
                  <a:gd name="connsiteX47" fmla="*/ 411956 w 1745456"/>
                  <a:gd name="connsiteY47" fmla="*/ 540544 h 1097756"/>
                  <a:gd name="connsiteX48" fmla="*/ 392906 w 1745456"/>
                  <a:gd name="connsiteY48" fmla="*/ 526256 h 1097756"/>
                  <a:gd name="connsiteX49" fmla="*/ 333375 w 1745456"/>
                  <a:gd name="connsiteY49" fmla="*/ 523875 h 1097756"/>
                  <a:gd name="connsiteX50" fmla="*/ 300038 w 1745456"/>
                  <a:gd name="connsiteY50" fmla="*/ 504825 h 1097756"/>
                  <a:gd name="connsiteX51" fmla="*/ 271463 w 1745456"/>
                  <a:gd name="connsiteY51" fmla="*/ 469106 h 1097756"/>
                  <a:gd name="connsiteX52" fmla="*/ 164306 w 1745456"/>
                  <a:gd name="connsiteY52" fmla="*/ 473869 h 1097756"/>
                  <a:gd name="connsiteX53" fmla="*/ 142875 w 1745456"/>
                  <a:gd name="connsiteY53" fmla="*/ 490537 h 1097756"/>
                  <a:gd name="connsiteX54" fmla="*/ 83344 w 1745456"/>
                  <a:gd name="connsiteY54" fmla="*/ 411956 h 1097756"/>
                  <a:gd name="connsiteX55" fmla="*/ 52388 w 1745456"/>
                  <a:gd name="connsiteY55" fmla="*/ 414337 h 1097756"/>
                  <a:gd name="connsiteX56" fmla="*/ 28575 w 1745456"/>
                  <a:gd name="connsiteY56" fmla="*/ 378619 h 1097756"/>
                  <a:gd name="connsiteX57" fmla="*/ 26194 w 1745456"/>
                  <a:gd name="connsiteY57" fmla="*/ 342900 h 1097756"/>
                  <a:gd name="connsiteX58" fmla="*/ 4763 w 1745456"/>
                  <a:gd name="connsiteY58" fmla="*/ 323850 h 1097756"/>
                  <a:gd name="connsiteX59" fmla="*/ 35719 w 1745456"/>
                  <a:gd name="connsiteY59" fmla="*/ 295275 h 1097756"/>
                  <a:gd name="connsiteX60" fmla="*/ 0 w 1745456"/>
                  <a:gd name="connsiteY60" fmla="*/ 266700 h 1097756"/>
                  <a:gd name="connsiteX61" fmla="*/ 42863 w 1745456"/>
                  <a:gd name="connsiteY61" fmla="*/ 233362 h 1097756"/>
                  <a:gd name="connsiteX62" fmla="*/ 45244 w 1745456"/>
                  <a:gd name="connsiteY62" fmla="*/ 176212 h 1097756"/>
                  <a:gd name="connsiteX63" fmla="*/ 92869 w 1745456"/>
                  <a:gd name="connsiteY63" fmla="*/ 140494 h 1097756"/>
                  <a:gd name="connsiteX64" fmla="*/ 140494 w 1745456"/>
                  <a:gd name="connsiteY64" fmla="*/ 116681 h 1097756"/>
                  <a:gd name="connsiteX65" fmla="*/ 190500 w 1745456"/>
                  <a:gd name="connsiteY65" fmla="*/ 76200 h 1097756"/>
                  <a:gd name="connsiteX66" fmla="*/ 219075 w 1745456"/>
                  <a:gd name="connsiteY66" fmla="*/ 147637 h 1097756"/>
                  <a:gd name="connsiteX67" fmla="*/ 273844 w 1745456"/>
                  <a:gd name="connsiteY67" fmla="*/ 180975 h 1097756"/>
                  <a:gd name="connsiteX68" fmla="*/ 319088 w 1745456"/>
                  <a:gd name="connsiteY68" fmla="*/ 154781 h 1097756"/>
                  <a:gd name="connsiteX69" fmla="*/ 359569 w 1745456"/>
                  <a:gd name="connsiteY69" fmla="*/ 154781 h 1097756"/>
                  <a:gd name="connsiteX70" fmla="*/ 357188 w 1745456"/>
                  <a:gd name="connsiteY70" fmla="*/ 123825 h 1097756"/>
                  <a:gd name="connsiteX71" fmla="*/ 366713 w 1745456"/>
                  <a:gd name="connsiteY71" fmla="*/ 69056 h 1097756"/>
                  <a:gd name="connsiteX72" fmla="*/ 402431 w 1745456"/>
                  <a:gd name="connsiteY72" fmla="*/ 85725 h 1097756"/>
                  <a:gd name="connsiteX73" fmla="*/ 447675 w 1745456"/>
                  <a:gd name="connsiteY73" fmla="*/ 85725 h 1097756"/>
                  <a:gd name="connsiteX74" fmla="*/ 481013 w 1745456"/>
                  <a:gd name="connsiteY74" fmla="*/ 54769 h 1097756"/>
                  <a:gd name="connsiteX75" fmla="*/ 516731 w 1745456"/>
                  <a:gd name="connsiteY75" fmla="*/ 71437 h 1097756"/>
                  <a:gd name="connsiteX76" fmla="*/ 528638 w 1745456"/>
                  <a:gd name="connsiteY76" fmla="*/ 102394 h 1097756"/>
                  <a:gd name="connsiteX77" fmla="*/ 511969 w 1745456"/>
                  <a:gd name="connsiteY77" fmla="*/ 133350 h 1097756"/>
                  <a:gd name="connsiteX78" fmla="*/ 595313 w 1745456"/>
                  <a:gd name="connsiteY78" fmla="*/ 126206 h 1097756"/>
                  <a:gd name="connsiteX79" fmla="*/ 595313 w 1745456"/>
                  <a:gd name="connsiteY79" fmla="*/ 126206 h 1097756"/>
                  <a:gd name="connsiteX80" fmla="*/ 621506 w 1745456"/>
                  <a:gd name="connsiteY80" fmla="*/ 159544 h 1097756"/>
                  <a:gd name="connsiteX81" fmla="*/ 647700 w 1745456"/>
                  <a:gd name="connsiteY81" fmla="*/ 204787 h 1097756"/>
                  <a:gd name="connsiteX82" fmla="*/ 726281 w 1745456"/>
                  <a:gd name="connsiteY82" fmla="*/ 221456 h 1097756"/>
                  <a:gd name="connsiteX83" fmla="*/ 785813 w 1745456"/>
                  <a:gd name="connsiteY83" fmla="*/ 211931 h 1097756"/>
                  <a:gd name="connsiteX84" fmla="*/ 857250 w 1745456"/>
                  <a:gd name="connsiteY84" fmla="*/ 176212 h 1097756"/>
                  <a:gd name="connsiteX85" fmla="*/ 888206 w 1745456"/>
                  <a:gd name="connsiteY85" fmla="*/ 176212 h 1097756"/>
                  <a:gd name="connsiteX86" fmla="*/ 959644 w 1745456"/>
                  <a:gd name="connsiteY86" fmla="*/ 192881 h 1097756"/>
                  <a:gd name="connsiteX87" fmla="*/ 1059656 w 1745456"/>
                  <a:gd name="connsiteY87" fmla="*/ 192881 h 1097756"/>
                  <a:gd name="connsiteX88" fmla="*/ 1166813 w 1745456"/>
                  <a:gd name="connsiteY88" fmla="*/ 171450 h 1097756"/>
                  <a:gd name="connsiteX89" fmla="*/ 1245394 w 1745456"/>
                  <a:gd name="connsiteY89" fmla="*/ 119062 h 1097756"/>
                  <a:gd name="connsiteX90" fmla="*/ 1273969 w 1745456"/>
                  <a:gd name="connsiteY90" fmla="*/ 102394 h 1097756"/>
                  <a:gd name="connsiteX91" fmla="*/ 1366838 w 1745456"/>
                  <a:gd name="connsiteY91" fmla="*/ 76200 h 1097756"/>
                  <a:gd name="connsiteX92" fmla="*/ 1402556 w 1745456"/>
                  <a:gd name="connsiteY92" fmla="*/ 114300 h 1097756"/>
                  <a:gd name="connsiteX93" fmla="*/ 1462088 w 1745456"/>
                  <a:gd name="connsiteY93" fmla="*/ 128587 h 1097756"/>
                  <a:gd name="connsiteX94" fmla="*/ 1512094 w 1745456"/>
                  <a:gd name="connsiteY94" fmla="*/ 107156 h 1097756"/>
                  <a:gd name="connsiteX95" fmla="*/ 1528763 w 1745456"/>
                  <a:gd name="connsiteY95" fmla="*/ 61912 h 1097756"/>
                  <a:gd name="connsiteX96" fmla="*/ 1585913 w 1745456"/>
                  <a:gd name="connsiteY96" fmla="*/ 61912 h 1097756"/>
                  <a:gd name="connsiteX97" fmla="*/ 1621631 w 1745456"/>
                  <a:gd name="connsiteY97" fmla="*/ 42862 h 1097756"/>
                  <a:gd name="connsiteX98" fmla="*/ 1688306 w 1745456"/>
                  <a:gd name="connsiteY98" fmla="*/ 0 h 109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745456" h="1097756">
                    <a:moveTo>
                      <a:pt x="1688306" y="0"/>
                    </a:moveTo>
                    <a:lnTo>
                      <a:pt x="1745456" y="23812"/>
                    </a:lnTo>
                    <a:lnTo>
                      <a:pt x="1697831" y="57150"/>
                    </a:lnTo>
                    <a:lnTo>
                      <a:pt x="1657350" y="178594"/>
                    </a:lnTo>
                    <a:lnTo>
                      <a:pt x="1533525" y="321469"/>
                    </a:lnTo>
                    <a:lnTo>
                      <a:pt x="1507331" y="397669"/>
                    </a:lnTo>
                    <a:lnTo>
                      <a:pt x="1493044" y="428625"/>
                    </a:lnTo>
                    <a:lnTo>
                      <a:pt x="1504950" y="483394"/>
                    </a:lnTo>
                    <a:lnTo>
                      <a:pt x="1471613" y="500062"/>
                    </a:lnTo>
                    <a:lnTo>
                      <a:pt x="1440656" y="547687"/>
                    </a:lnTo>
                    <a:lnTo>
                      <a:pt x="1443038" y="657225"/>
                    </a:lnTo>
                    <a:lnTo>
                      <a:pt x="1519238" y="685800"/>
                    </a:lnTo>
                    <a:lnTo>
                      <a:pt x="1538288" y="702469"/>
                    </a:lnTo>
                    <a:lnTo>
                      <a:pt x="1502569" y="707231"/>
                    </a:lnTo>
                    <a:lnTo>
                      <a:pt x="1519238" y="785812"/>
                    </a:lnTo>
                    <a:lnTo>
                      <a:pt x="1557338" y="795337"/>
                    </a:lnTo>
                    <a:lnTo>
                      <a:pt x="1574006" y="816769"/>
                    </a:lnTo>
                    <a:lnTo>
                      <a:pt x="1559719" y="845344"/>
                    </a:lnTo>
                    <a:lnTo>
                      <a:pt x="1550194" y="876300"/>
                    </a:lnTo>
                    <a:lnTo>
                      <a:pt x="1531144" y="885825"/>
                    </a:lnTo>
                    <a:lnTo>
                      <a:pt x="1478756" y="912019"/>
                    </a:lnTo>
                    <a:lnTo>
                      <a:pt x="1450181" y="971550"/>
                    </a:lnTo>
                    <a:lnTo>
                      <a:pt x="1464469" y="1062037"/>
                    </a:lnTo>
                    <a:lnTo>
                      <a:pt x="1483519" y="1092994"/>
                    </a:lnTo>
                    <a:lnTo>
                      <a:pt x="1445419" y="1097756"/>
                    </a:lnTo>
                    <a:lnTo>
                      <a:pt x="1426369" y="1057275"/>
                    </a:lnTo>
                    <a:lnTo>
                      <a:pt x="1400175" y="1057275"/>
                    </a:lnTo>
                    <a:lnTo>
                      <a:pt x="1385888" y="1073944"/>
                    </a:lnTo>
                    <a:lnTo>
                      <a:pt x="1328738" y="1033462"/>
                    </a:lnTo>
                    <a:lnTo>
                      <a:pt x="1264444" y="1062037"/>
                    </a:lnTo>
                    <a:lnTo>
                      <a:pt x="1202531" y="1026319"/>
                    </a:lnTo>
                    <a:lnTo>
                      <a:pt x="1147763" y="1002506"/>
                    </a:lnTo>
                    <a:lnTo>
                      <a:pt x="1126331" y="1002506"/>
                    </a:lnTo>
                    <a:lnTo>
                      <a:pt x="1090613" y="978694"/>
                    </a:lnTo>
                    <a:lnTo>
                      <a:pt x="1004888" y="831056"/>
                    </a:lnTo>
                    <a:lnTo>
                      <a:pt x="897731" y="792956"/>
                    </a:lnTo>
                    <a:lnTo>
                      <a:pt x="854869" y="792956"/>
                    </a:lnTo>
                    <a:lnTo>
                      <a:pt x="802481" y="792956"/>
                    </a:lnTo>
                    <a:lnTo>
                      <a:pt x="790575" y="807244"/>
                    </a:lnTo>
                    <a:lnTo>
                      <a:pt x="769144" y="769144"/>
                    </a:lnTo>
                    <a:lnTo>
                      <a:pt x="719138" y="759619"/>
                    </a:lnTo>
                    <a:lnTo>
                      <a:pt x="666750" y="721519"/>
                    </a:lnTo>
                    <a:lnTo>
                      <a:pt x="631031" y="683419"/>
                    </a:lnTo>
                    <a:lnTo>
                      <a:pt x="626269" y="681037"/>
                    </a:lnTo>
                    <a:lnTo>
                      <a:pt x="566738" y="673894"/>
                    </a:lnTo>
                    <a:lnTo>
                      <a:pt x="526256" y="654844"/>
                    </a:lnTo>
                    <a:lnTo>
                      <a:pt x="471488" y="607219"/>
                    </a:lnTo>
                    <a:lnTo>
                      <a:pt x="411956" y="540544"/>
                    </a:lnTo>
                    <a:lnTo>
                      <a:pt x="392906" y="526256"/>
                    </a:lnTo>
                    <a:lnTo>
                      <a:pt x="333375" y="523875"/>
                    </a:lnTo>
                    <a:lnTo>
                      <a:pt x="300038" y="504825"/>
                    </a:lnTo>
                    <a:lnTo>
                      <a:pt x="271463" y="469106"/>
                    </a:lnTo>
                    <a:lnTo>
                      <a:pt x="164306" y="473869"/>
                    </a:lnTo>
                    <a:lnTo>
                      <a:pt x="142875" y="490537"/>
                    </a:lnTo>
                    <a:lnTo>
                      <a:pt x="83344" y="411956"/>
                    </a:lnTo>
                    <a:lnTo>
                      <a:pt x="52388" y="414337"/>
                    </a:lnTo>
                    <a:lnTo>
                      <a:pt x="28575" y="378619"/>
                    </a:lnTo>
                    <a:lnTo>
                      <a:pt x="26194" y="342900"/>
                    </a:lnTo>
                    <a:lnTo>
                      <a:pt x="4763" y="323850"/>
                    </a:lnTo>
                    <a:lnTo>
                      <a:pt x="35719" y="295275"/>
                    </a:lnTo>
                    <a:lnTo>
                      <a:pt x="0" y="266700"/>
                    </a:lnTo>
                    <a:lnTo>
                      <a:pt x="42863" y="233362"/>
                    </a:lnTo>
                    <a:cubicBezTo>
                      <a:pt x="43657" y="214312"/>
                      <a:pt x="44450" y="195262"/>
                      <a:pt x="45244" y="176212"/>
                    </a:cubicBezTo>
                    <a:lnTo>
                      <a:pt x="92869" y="140494"/>
                    </a:lnTo>
                    <a:lnTo>
                      <a:pt x="140494" y="116681"/>
                    </a:lnTo>
                    <a:lnTo>
                      <a:pt x="190500" y="76200"/>
                    </a:lnTo>
                    <a:lnTo>
                      <a:pt x="219075" y="147637"/>
                    </a:lnTo>
                    <a:lnTo>
                      <a:pt x="273844" y="180975"/>
                    </a:lnTo>
                    <a:lnTo>
                      <a:pt x="319088" y="154781"/>
                    </a:lnTo>
                    <a:lnTo>
                      <a:pt x="359569" y="154781"/>
                    </a:lnTo>
                    <a:lnTo>
                      <a:pt x="357188" y="123825"/>
                    </a:lnTo>
                    <a:lnTo>
                      <a:pt x="366713" y="69056"/>
                    </a:lnTo>
                    <a:lnTo>
                      <a:pt x="402431" y="85725"/>
                    </a:lnTo>
                    <a:lnTo>
                      <a:pt x="447675" y="85725"/>
                    </a:lnTo>
                    <a:lnTo>
                      <a:pt x="481013" y="54769"/>
                    </a:lnTo>
                    <a:lnTo>
                      <a:pt x="516731" y="71437"/>
                    </a:lnTo>
                    <a:lnTo>
                      <a:pt x="528638" y="102394"/>
                    </a:lnTo>
                    <a:lnTo>
                      <a:pt x="511969" y="133350"/>
                    </a:lnTo>
                    <a:lnTo>
                      <a:pt x="595313" y="126206"/>
                    </a:lnTo>
                    <a:lnTo>
                      <a:pt x="595313" y="126206"/>
                    </a:lnTo>
                    <a:lnTo>
                      <a:pt x="621506" y="159544"/>
                    </a:lnTo>
                    <a:lnTo>
                      <a:pt x="647700" y="204787"/>
                    </a:lnTo>
                    <a:lnTo>
                      <a:pt x="726281" y="221456"/>
                    </a:lnTo>
                    <a:lnTo>
                      <a:pt x="785813" y="211931"/>
                    </a:lnTo>
                    <a:lnTo>
                      <a:pt x="857250" y="176212"/>
                    </a:lnTo>
                    <a:lnTo>
                      <a:pt x="888206" y="176212"/>
                    </a:lnTo>
                    <a:lnTo>
                      <a:pt x="959644" y="192881"/>
                    </a:lnTo>
                    <a:lnTo>
                      <a:pt x="1059656" y="192881"/>
                    </a:lnTo>
                    <a:lnTo>
                      <a:pt x="1166813" y="171450"/>
                    </a:lnTo>
                    <a:lnTo>
                      <a:pt x="1245394" y="119062"/>
                    </a:lnTo>
                    <a:lnTo>
                      <a:pt x="1273969" y="102394"/>
                    </a:lnTo>
                    <a:lnTo>
                      <a:pt x="1366838" y="76200"/>
                    </a:lnTo>
                    <a:lnTo>
                      <a:pt x="1402556" y="114300"/>
                    </a:lnTo>
                    <a:lnTo>
                      <a:pt x="1462088" y="128587"/>
                    </a:lnTo>
                    <a:lnTo>
                      <a:pt x="1512094" y="107156"/>
                    </a:lnTo>
                    <a:lnTo>
                      <a:pt x="1528763" y="61912"/>
                    </a:lnTo>
                    <a:lnTo>
                      <a:pt x="1585913" y="61912"/>
                    </a:lnTo>
                    <a:lnTo>
                      <a:pt x="1621631" y="42862"/>
                    </a:lnTo>
                    <a:lnTo>
                      <a:pt x="168830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0" name="Figura a mano libera 55">
                <a:extLst>
                  <a:ext uri="{FF2B5EF4-FFF2-40B4-BE49-F238E27FC236}">
                    <a16:creationId xmlns:a16="http://schemas.microsoft.com/office/drawing/2014/main" id="{BE92586F-723E-4EEB-A8FE-1A12D176D33E}"/>
                  </a:ext>
                </a:extLst>
              </p:cNvPr>
              <p:cNvSpPr/>
              <p:nvPr/>
            </p:nvSpPr>
            <p:spPr bwMode="auto">
              <a:xfrm>
                <a:off x="3757231" y="3480570"/>
                <a:ext cx="848543" cy="786980"/>
              </a:xfrm>
              <a:custGeom>
                <a:avLst/>
                <a:gdLst>
                  <a:gd name="connsiteX0" fmla="*/ 0 w 1057275"/>
                  <a:gd name="connsiteY0" fmla="*/ 202406 h 1007268"/>
                  <a:gd name="connsiteX1" fmla="*/ 21431 w 1057275"/>
                  <a:gd name="connsiteY1" fmla="*/ 188118 h 1007268"/>
                  <a:gd name="connsiteX2" fmla="*/ 54768 w 1057275"/>
                  <a:gd name="connsiteY2" fmla="*/ 145256 h 1007268"/>
                  <a:gd name="connsiteX3" fmla="*/ 59531 w 1057275"/>
                  <a:gd name="connsiteY3" fmla="*/ 126206 h 1007268"/>
                  <a:gd name="connsiteX4" fmla="*/ 64293 w 1057275"/>
                  <a:gd name="connsiteY4" fmla="*/ 47625 h 1007268"/>
                  <a:gd name="connsiteX5" fmla="*/ 128587 w 1057275"/>
                  <a:gd name="connsiteY5" fmla="*/ 30956 h 1007268"/>
                  <a:gd name="connsiteX6" fmla="*/ 166687 w 1057275"/>
                  <a:gd name="connsiteY6" fmla="*/ 42862 h 1007268"/>
                  <a:gd name="connsiteX7" fmla="*/ 173831 w 1057275"/>
                  <a:gd name="connsiteY7" fmla="*/ 0 h 1007268"/>
                  <a:gd name="connsiteX8" fmla="*/ 247650 w 1057275"/>
                  <a:gd name="connsiteY8" fmla="*/ 16668 h 1007268"/>
                  <a:gd name="connsiteX9" fmla="*/ 285750 w 1057275"/>
                  <a:gd name="connsiteY9" fmla="*/ 40481 h 1007268"/>
                  <a:gd name="connsiteX10" fmla="*/ 350043 w 1057275"/>
                  <a:gd name="connsiteY10" fmla="*/ 52387 h 1007268"/>
                  <a:gd name="connsiteX11" fmla="*/ 369093 w 1057275"/>
                  <a:gd name="connsiteY11" fmla="*/ 78581 h 1007268"/>
                  <a:gd name="connsiteX12" fmla="*/ 395287 w 1057275"/>
                  <a:gd name="connsiteY12" fmla="*/ 92868 h 1007268"/>
                  <a:gd name="connsiteX13" fmla="*/ 409575 w 1057275"/>
                  <a:gd name="connsiteY13" fmla="*/ 85725 h 1007268"/>
                  <a:gd name="connsiteX14" fmla="*/ 416718 w 1057275"/>
                  <a:gd name="connsiteY14" fmla="*/ 97631 h 1007268"/>
                  <a:gd name="connsiteX15" fmla="*/ 478631 w 1057275"/>
                  <a:gd name="connsiteY15" fmla="*/ 66675 h 1007268"/>
                  <a:gd name="connsiteX16" fmla="*/ 514350 w 1057275"/>
                  <a:gd name="connsiteY16" fmla="*/ 66675 h 1007268"/>
                  <a:gd name="connsiteX17" fmla="*/ 514350 w 1057275"/>
                  <a:gd name="connsiteY17" fmla="*/ 42862 h 1007268"/>
                  <a:gd name="connsiteX18" fmla="*/ 545306 w 1057275"/>
                  <a:gd name="connsiteY18" fmla="*/ 54768 h 1007268"/>
                  <a:gd name="connsiteX19" fmla="*/ 602456 w 1057275"/>
                  <a:gd name="connsiteY19" fmla="*/ 33337 h 1007268"/>
                  <a:gd name="connsiteX20" fmla="*/ 635793 w 1057275"/>
                  <a:gd name="connsiteY20" fmla="*/ 21431 h 1007268"/>
                  <a:gd name="connsiteX21" fmla="*/ 647700 w 1057275"/>
                  <a:gd name="connsiteY21" fmla="*/ 50006 h 1007268"/>
                  <a:gd name="connsiteX22" fmla="*/ 681037 w 1057275"/>
                  <a:gd name="connsiteY22" fmla="*/ 59531 h 1007268"/>
                  <a:gd name="connsiteX23" fmla="*/ 650081 w 1057275"/>
                  <a:gd name="connsiteY23" fmla="*/ 85725 h 1007268"/>
                  <a:gd name="connsiteX24" fmla="*/ 673893 w 1057275"/>
                  <a:gd name="connsiteY24" fmla="*/ 123825 h 1007268"/>
                  <a:gd name="connsiteX25" fmla="*/ 716756 w 1057275"/>
                  <a:gd name="connsiteY25" fmla="*/ 140493 h 1007268"/>
                  <a:gd name="connsiteX26" fmla="*/ 754856 w 1057275"/>
                  <a:gd name="connsiteY26" fmla="*/ 157162 h 1007268"/>
                  <a:gd name="connsiteX27" fmla="*/ 778668 w 1057275"/>
                  <a:gd name="connsiteY27" fmla="*/ 176212 h 1007268"/>
                  <a:gd name="connsiteX28" fmla="*/ 759618 w 1057275"/>
                  <a:gd name="connsiteY28" fmla="*/ 185737 h 1007268"/>
                  <a:gd name="connsiteX29" fmla="*/ 759618 w 1057275"/>
                  <a:gd name="connsiteY29" fmla="*/ 204787 h 1007268"/>
                  <a:gd name="connsiteX30" fmla="*/ 742950 w 1057275"/>
                  <a:gd name="connsiteY30" fmla="*/ 226218 h 1007268"/>
                  <a:gd name="connsiteX31" fmla="*/ 752475 w 1057275"/>
                  <a:gd name="connsiteY31" fmla="*/ 240506 h 1007268"/>
                  <a:gd name="connsiteX32" fmla="*/ 778668 w 1057275"/>
                  <a:gd name="connsiteY32" fmla="*/ 271462 h 1007268"/>
                  <a:gd name="connsiteX33" fmla="*/ 814387 w 1057275"/>
                  <a:gd name="connsiteY33" fmla="*/ 276225 h 1007268"/>
                  <a:gd name="connsiteX34" fmla="*/ 845343 w 1057275"/>
                  <a:gd name="connsiteY34" fmla="*/ 269081 h 1007268"/>
                  <a:gd name="connsiteX35" fmla="*/ 885825 w 1057275"/>
                  <a:gd name="connsiteY35" fmla="*/ 283368 h 1007268"/>
                  <a:gd name="connsiteX36" fmla="*/ 902493 w 1057275"/>
                  <a:gd name="connsiteY36" fmla="*/ 290512 h 1007268"/>
                  <a:gd name="connsiteX37" fmla="*/ 921543 w 1057275"/>
                  <a:gd name="connsiteY37" fmla="*/ 309562 h 1007268"/>
                  <a:gd name="connsiteX38" fmla="*/ 923925 w 1057275"/>
                  <a:gd name="connsiteY38" fmla="*/ 340518 h 1007268"/>
                  <a:gd name="connsiteX39" fmla="*/ 923925 w 1057275"/>
                  <a:gd name="connsiteY39" fmla="*/ 378618 h 1007268"/>
                  <a:gd name="connsiteX40" fmla="*/ 892968 w 1057275"/>
                  <a:gd name="connsiteY40" fmla="*/ 404812 h 1007268"/>
                  <a:gd name="connsiteX41" fmla="*/ 831056 w 1057275"/>
                  <a:gd name="connsiteY41" fmla="*/ 411956 h 1007268"/>
                  <a:gd name="connsiteX42" fmla="*/ 823912 w 1057275"/>
                  <a:gd name="connsiteY42" fmla="*/ 435768 h 1007268"/>
                  <a:gd name="connsiteX43" fmla="*/ 826293 w 1057275"/>
                  <a:gd name="connsiteY43" fmla="*/ 469106 h 1007268"/>
                  <a:gd name="connsiteX44" fmla="*/ 828675 w 1057275"/>
                  <a:gd name="connsiteY44" fmla="*/ 500062 h 1007268"/>
                  <a:gd name="connsiteX45" fmla="*/ 854868 w 1057275"/>
                  <a:gd name="connsiteY45" fmla="*/ 538162 h 1007268"/>
                  <a:gd name="connsiteX46" fmla="*/ 892968 w 1057275"/>
                  <a:gd name="connsiteY46" fmla="*/ 557212 h 1007268"/>
                  <a:gd name="connsiteX47" fmla="*/ 864393 w 1057275"/>
                  <a:gd name="connsiteY47" fmla="*/ 588168 h 1007268"/>
                  <a:gd name="connsiteX48" fmla="*/ 900112 w 1057275"/>
                  <a:gd name="connsiteY48" fmla="*/ 621506 h 1007268"/>
                  <a:gd name="connsiteX49" fmla="*/ 916781 w 1057275"/>
                  <a:gd name="connsiteY49" fmla="*/ 645318 h 1007268"/>
                  <a:gd name="connsiteX50" fmla="*/ 923925 w 1057275"/>
                  <a:gd name="connsiteY50" fmla="*/ 678656 h 1007268"/>
                  <a:gd name="connsiteX51" fmla="*/ 900112 w 1057275"/>
                  <a:gd name="connsiteY51" fmla="*/ 681037 h 1007268"/>
                  <a:gd name="connsiteX52" fmla="*/ 945356 w 1057275"/>
                  <a:gd name="connsiteY52" fmla="*/ 704850 h 1007268"/>
                  <a:gd name="connsiteX53" fmla="*/ 985837 w 1057275"/>
                  <a:gd name="connsiteY53" fmla="*/ 740568 h 1007268"/>
                  <a:gd name="connsiteX54" fmla="*/ 1002506 w 1057275"/>
                  <a:gd name="connsiteY54" fmla="*/ 747712 h 1007268"/>
                  <a:gd name="connsiteX55" fmla="*/ 1016793 w 1057275"/>
                  <a:gd name="connsiteY55" fmla="*/ 790575 h 1007268"/>
                  <a:gd name="connsiteX56" fmla="*/ 1054893 w 1057275"/>
                  <a:gd name="connsiteY56" fmla="*/ 802481 h 1007268"/>
                  <a:gd name="connsiteX57" fmla="*/ 1057275 w 1057275"/>
                  <a:gd name="connsiteY57" fmla="*/ 840581 h 1007268"/>
                  <a:gd name="connsiteX58" fmla="*/ 1031081 w 1057275"/>
                  <a:gd name="connsiteY58" fmla="*/ 862012 h 1007268"/>
                  <a:gd name="connsiteX59" fmla="*/ 997743 w 1057275"/>
                  <a:gd name="connsiteY59" fmla="*/ 881062 h 1007268"/>
                  <a:gd name="connsiteX60" fmla="*/ 1002506 w 1057275"/>
                  <a:gd name="connsiteY60" fmla="*/ 921543 h 1007268"/>
                  <a:gd name="connsiteX61" fmla="*/ 971550 w 1057275"/>
                  <a:gd name="connsiteY61" fmla="*/ 945356 h 1007268"/>
                  <a:gd name="connsiteX62" fmla="*/ 928687 w 1057275"/>
                  <a:gd name="connsiteY62" fmla="*/ 950118 h 1007268"/>
                  <a:gd name="connsiteX63" fmla="*/ 904875 w 1057275"/>
                  <a:gd name="connsiteY63" fmla="*/ 950118 h 1007268"/>
                  <a:gd name="connsiteX64" fmla="*/ 873918 w 1057275"/>
                  <a:gd name="connsiteY64" fmla="*/ 981075 h 1007268"/>
                  <a:gd name="connsiteX65" fmla="*/ 845343 w 1057275"/>
                  <a:gd name="connsiteY65" fmla="*/ 1007268 h 1007268"/>
                  <a:gd name="connsiteX66" fmla="*/ 797718 w 1057275"/>
                  <a:gd name="connsiteY66" fmla="*/ 983456 h 1007268"/>
                  <a:gd name="connsiteX67" fmla="*/ 776287 w 1057275"/>
                  <a:gd name="connsiteY67" fmla="*/ 954881 h 1007268"/>
                  <a:gd name="connsiteX68" fmla="*/ 738187 w 1057275"/>
                  <a:gd name="connsiteY68" fmla="*/ 921543 h 1007268"/>
                  <a:gd name="connsiteX69" fmla="*/ 742950 w 1057275"/>
                  <a:gd name="connsiteY69" fmla="*/ 904875 h 1007268"/>
                  <a:gd name="connsiteX70" fmla="*/ 711993 w 1057275"/>
                  <a:gd name="connsiteY70" fmla="*/ 907256 h 1007268"/>
                  <a:gd name="connsiteX71" fmla="*/ 714375 w 1057275"/>
                  <a:gd name="connsiteY71" fmla="*/ 871537 h 1007268"/>
                  <a:gd name="connsiteX72" fmla="*/ 678656 w 1057275"/>
                  <a:gd name="connsiteY72" fmla="*/ 892968 h 1007268"/>
                  <a:gd name="connsiteX73" fmla="*/ 661987 w 1057275"/>
                  <a:gd name="connsiteY73" fmla="*/ 885825 h 1007268"/>
                  <a:gd name="connsiteX74" fmla="*/ 626268 w 1057275"/>
                  <a:gd name="connsiteY74" fmla="*/ 847725 h 1007268"/>
                  <a:gd name="connsiteX75" fmla="*/ 600075 w 1057275"/>
                  <a:gd name="connsiteY75" fmla="*/ 850106 h 1007268"/>
                  <a:gd name="connsiteX76" fmla="*/ 600075 w 1057275"/>
                  <a:gd name="connsiteY76" fmla="*/ 850106 h 1007268"/>
                  <a:gd name="connsiteX77" fmla="*/ 611981 w 1057275"/>
                  <a:gd name="connsiteY77" fmla="*/ 821531 h 1007268"/>
                  <a:gd name="connsiteX78" fmla="*/ 614362 w 1057275"/>
                  <a:gd name="connsiteY78" fmla="*/ 781050 h 1007268"/>
                  <a:gd name="connsiteX79" fmla="*/ 640556 w 1057275"/>
                  <a:gd name="connsiteY79" fmla="*/ 754856 h 1007268"/>
                  <a:gd name="connsiteX80" fmla="*/ 621506 w 1057275"/>
                  <a:gd name="connsiteY80" fmla="*/ 721518 h 1007268"/>
                  <a:gd name="connsiteX81" fmla="*/ 597693 w 1057275"/>
                  <a:gd name="connsiteY81" fmla="*/ 671512 h 1007268"/>
                  <a:gd name="connsiteX82" fmla="*/ 573881 w 1057275"/>
                  <a:gd name="connsiteY82" fmla="*/ 619125 h 1007268"/>
                  <a:gd name="connsiteX83" fmla="*/ 526256 w 1057275"/>
                  <a:gd name="connsiteY83" fmla="*/ 561975 h 1007268"/>
                  <a:gd name="connsiteX84" fmla="*/ 504825 w 1057275"/>
                  <a:gd name="connsiteY84" fmla="*/ 545306 h 1007268"/>
                  <a:gd name="connsiteX85" fmla="*/ 492918 w 1057275"/>
                  <a:gd name="connsiteY85" fmla="*/ 545306 h 1007268"/>
                  <a:gd name="connsiteX86" fmla="*/ 481012 w 1057275"/>
                  <a:gd name="connsiteY86" fmla="*/ 573881 h 1007268"/>
                  <a:gd name="connsiteX87" fmla="*/ 476250 w 1057275"/>
                  <a:gd name="connsiteY87" fmla="*/ 583406 h 1007268"/>
                  <a:gd name="connsiteX88" fmla="*/ 445293 w 1057275"/>
                  <a:gd name="connsiteY88" fmla="*/ 566737 h 1007268"/>
                  <a:gd name="connsiteX89" fmla="*/ 404812 w 1057275"/>
                  <a:gd name="connsiteY89" fmla="*/ 592931 h 1007268"/>
                  <a:gd name="connsiteX90" fmla="*/ 402431 w 1057275"/>
                  <a:gd name="connsiteY90" fmla="*/ 600075 h 1007268"/>
                  <a:gd name="connsiteX91" fmla="*/ 373856 w 1057275"/>
                  <a:gd name="connsiteY91" fmla="*/ 592931 h 1007268"/>
                  <a:gd name="connsiteX92" fmla="*/ 345281 w 1057275"/>
                  <a:gd name="connsiteY92" fmla="*/ 588168 h 1007268"/>
                  <a:gd name="connsiteX93" fmla="*/ 316706 w 1057275"/>
                  <a:gd name="connsiteY93" fmla="*/ 602456 h 1007268"/>
                  <a:gd name="connsiteX94" fmla="*/ 290512 w 1057275"/>
                  <a:gd name="connsiteY94" fmla="*/ 626268 h 1007268"/>
                  <a:gd name="connsiteX95" fmla="*/ 273843 w 1057275"/>
                  <a:gd name="connsiteY95" fmla="*/ 619125 h 1007268"/>
                  <a:gd name="connsiteX96" fmla="*/ 300037 w 1057275"/>
                  <a:gd name="connsiteY96" fmla="*/ 581025 h 1007268"/>
                  <a:gd name="connsiteX97" fmla="*/ 357187 w 1057275"/>
                  <a:gd name="connsiteY97" fmla="*/ 545306 h 1007268"/>
                  <a:gd name="connsiteX98" fmla="*/ 369093 w 1057275"/>
                  <a:gd name="connsiteY98" fmla="*/ 526256 h 1007268"/>
                  <a:gd name="connsiteX99" fmla="*/ 340518 w 1057275"/>
                  <a:gd name="connsiteY99" fmla="*/ 495300 h 1007268"/>
                  <a:gd name="connsiteX100" fmla="*/ 321468 w 1057275"/>
                  <a:gd name="connsiteY100" fmla="*/ 502443 h 1007268"/>
                  <a:gd name="connsiteX101" fmla="*/ 266700 w 1057275"/>
                  <a:gd name="connsiteY101" fmla="*/ 447675 h 1007268"/>
                  <a:gd name="connsiteX102" fmla="*/ 266700 w 1057275"/>
                  <a:gd name="connsiteY102" fmla="*/ 447675 h 1007268"/>
                  <a:gd name="connsiteX103" fmla="*/ 216693 w 1057275"/>
                  <a:gd name="connsiteY103" fmla="*/ 459581 h 1007268"/>
                  <a:gd name="connsiteX104" fmla="*/ 216693 w 1057275"/>
                  <a:gd name="connsiteY104" fmla="*/ 459581 h 1007268"/>
                  <a:gd name="connsiteX105" fmla="*/ 197643 w 1057275"/>
                  <a:gd name="connsiteY105" fmla="*/ 464343 h 1007268"/>
                  <a:gd name="connsiteX106" fmla="*/ 178593 w 1057275"/>
                  <a:gd name="connsiteY106" fmla="*/ 447675 h 1007268"/>
                  <a:gd name="connsiteX107" fmla="*/ 176212 w 1057275"/>
                  <a:gd name="connsiteY107" fmla="*/ 433387 h 1007268"/>
                  <a:gd name="connsiteX108" fmla="*/ 166687 w 1057275"/>
                  <a:gd name="connsiteY108" fmla="*/ 459581 h 1007268"/>
                  <a:gd name="connsiteX109" fmla="*/ 164306 w 1057275"/>
                  <a:gd name="connsiteY109" fmla="*/ 483393 h 1007268"/>
                  <a:gd name="connsiteX110" fmla="*/ 164306 w 1057275"/>
                  <a:gd name="connsiteY110" fmla="*/ 483393 h 1007268"/>
                  <a:gd name="connsiteX111" fmla="*/ 126206 w 1057275"/>
                  <a:gd name="connsiteY111" fmla="*/ 507206 h 1007268"/>
                  <a:gd name="connsiteX112" fmla="*/ 111918 w 1057275"/>
                  <a:gd name="connsiteY112" fmla="*/ 497681 h 1007268"/>
                  <a:gd name="connsiteX113" fmla="*/ 138112 w 1057275"/>
                  <a:gd name="connsiteY113" fmla="*/ 464343 h 1007268"/>
                  <a:gd name="connsiteX114" fmla="*/ 135731 w 1057275"/>
                  <a:gd name="connsiteY114" fmla="*/ 409575 h 1007268"/>
                  <a:gd name="connsiteX115" fmla="*/ 102393 w 1057275"/>
                  <a:gd name="connsiteY115" fmla="*/ 373856 h 1007268"/>
                  <a:gd name="connsiteX116" fmla="*/ 80962 w 1057275"/>
                  <a:gd name="connsiteY116" fmla="*/ 302418 h 1007268"/>
                  <a:gd name="connsiteX117" fmla="*/ 30956 w 1057275"/>
                  <a:gd name="connsiteY117" fmla="*/ 247650 h 1007268"/>
                  <a:gd name="connsiteX118" fmla="*/ 0 w 1057275"/>
                  <a:gd name="connsiteY118" fmla="*/ 202406 h 100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1057275" h="1007268">
                    <a:moveTo>
                      <a:pt x="0" y="202406"/>
                    </a:moveTo>
                    <a:lnTo>
                      <a:pt x="21431" y="188118"/>
                    </a:lnTo>
                    <a:lnTo>
                      <a:pt x="54768" y="145256"/>
                    </a:lnTo>
                    <a:lnTo>
                      <a:pt x="59531" y="126206"/>
                    </a:lnTo>
                    <a:lnTo>
                      <a:pt x="64293" y="47625"/>
                    </a:lnTo>
                    <a:lnTo>
                      <a:pt x="128587" y="30956"/>
                    </a:lnTo>
                    <a:lnTo>
                      <a:pt x="166687" y="42862"/>
                    </a:lnTo>
                    <a:lnTo>
                      <a:pt x="173831" y="0"/>
                    </a:lnTo>
                    <a:lnTo>
                      <a:pt x="247650" y="16668"/>
                    </a:lnTo>
                    <a:lnTo>
                      <a:pt x="285750" y="40481"/>
                    </a:lnTo>
                    <a:lnTo>
                      <a:pt x="350043" y="52387"/>
                    </a:lnTo>
                    <a:lnTo>
                      <a:pt x="369093" y="78581"/>
                    </a:lnTo>
                    <a:lnTo>
                      <a:pt x="395287" y="92868"/>
                    </a:lnTo>
                    <a:lnTo>
                      <a:pt x="409575" y="85725"/>
                    </a:lnTo>
                    <a:lnTo>
                      <a:pt x="416718" y="97631"/>
                    </a:lnTo>
                    <a:lnTo>
                      <a:pt x="478631" y="66675"/>
                    </a:lnTo>
                    <a:lnTo>
                      <a:pt x="514350" y="66675"/>
                    </a:lnTo>
                    <a:lnTo>
                      <a:pt x="514350" y="42862"/>
                    </a:lnTo>
                    <a:lnTo>
                      <a:pt x="545306" y="54768"/>
                    </a:lnTo>
                    <a:lnTo>
                      <a:pt x="602456" y="33337"/>
                    </a:lnTo>
                    <a:lnTo>
                      <a:pt x="635793" y="21431"/>
                    </a:lnTo>
                    <a:lnTo>
                      <a:pt x="647700" y="50006"/>
                    </a:lnTo>
                    <a:lnTo>
                      <a:pt x="681037" y="59531"/>
                    </a:lnTo>
                    <a:lnTo>
                      <a:pt x="650081" y="85725"/>
                    </a:lnTo>
                    <a:lnTo>
                      <a:pt x="673893" y="123825"/>
                    </a:lnTo>
                    <a:lnTo>
                      <a:pt x="716756" y="140493"/>
                    </a:lnTo>
                    <a:lnTo>
                      <a:pt x="754856" y="157162"/>
                    </a:lnTo>
                    <a:lnTo>
                      <a:pt x="778668" y="176212"/>
                    </a:lnTo>
                    <a:lnTo>
                      <a:pt x="759618" y="185737"/>
                    </a:lnTo>
                    <a:lnTo>
                      <a:pt x="759618" y="204787"/>
                    </a:lnTo>
                    <a:lnTo>
                      <a:pt x="742950" y="226218"/>
                    </a:lnTo>
                    <a:lnTo>
                      <a:pt x="752475" y="240506"/>
                    </a:lnTo>
                    <a:lnTo>
                      <a:pt x="778668" y="271462"/>
                    </a:lnTo>
                    <a:lnTo>
                      <a:pt x="814387" y="276225"/>
                    </a:lnTo>
                    <a:lnTo>
                      <a:pt x="845343" y="269081"/>
                    </a:lnTo>
                    <a:lnTo>
                      <a:pt x="885825" y="283368"/>
                    </a:lnTo>
                    <a:lnTo>
                      <a:pt x="902493" y="290512"/>
                    </a:lnTo>
                    <a:lnTo>
                      <a:pt x="921543" y="309562"/>
                    </a:lnTo>
                    <a:lnTo>
                      <a:pt x="923925" y="340518"/>
                    </a:lnTo>
                    <a:lnTo>
                      <a:pt x="923925" y="378618"/>
                    </a:lnTo>
                    <a:lnTo>
                      <a:pt x="892968" y="404812"/>
                    </a:lnTo>
                    <a:lnTo>
                      <a:pt x="831056" y="411956"/>
                    </a:lnTo>
                    <a:lnTo>
                      <a:pt x="823912" y="435768"/>
                    </a:lnTo>
                    <a:lnTo>
                      <a:pt x="826293" y="469106"/>
                    </a:lnTo>
                    <a:lnTo>
                      <a:pt x="828675" y="500062"/>
                    </a:lnTo>
                    <a:lnTo>
                      <a:pt x="854868" y="538162"/>
                    </a:lnTo>
                    <a:lnTo>
                      <a:pt x="892968" y="557212"/>
                    </a:lnTo>
                    <a:lnTo>
                      <a:pt x="864393" y="588168"/>
                    </a:lnTo>
                    <a:lnTo>
                      <a:pt x="900112" y="621506"/>
                    </a:lnTo>
                    <a:lnTo>
                      <a:pt x="916781" y="645318"/>
                    </a:lnTo>
                    <a:lnTo>
                      <a:pt x="923925" y="678656"/>
                    </a:lnTo>
                    <a:lnTo>
                      <a:pt x="900112" y="681037"/>
                    </a:lnTo>
                    <a:lnTo>
                      <a:pt x="945356" y="704850"/>
                    </a:lnTo>
                    <a:lnTo>
                      <a:pt x="985837" y="740568"/>
                    </a:lnTo>
                    <a:lnTo>
                      <a:pt x="1002506" y="747712"/>
                    </a:lnTo>
                    <a:lnTo>
                      <a:pt x="1016793" y="790575"/>
                    </a:lnTo>
                    <a:lnTo>
                      <a:pt x="1054893" y="802481"/>
                    </a:lnTo>
                    <a:lnTo>
                      <a:pt x="1057275" y="840581"/>
                    </a:lnTo>
                    <a:lnTo>
                      <a:pt x="1031081" y="862012"/>
                    </a:lnTo>
                    <a:lnTo>
                      <a:pt x="997743" y="881062"/>
                    </a:lnTo>
                    <a:lnTo>
                      <a:pt x="1002506" y="921543"/>
                    </a:lnTo>
                    <a:lnTo>
                      <a:pt x="971550" y="945356"/>
                    </a:lnTo>
                    <a:lnTo>
                      <a:pt x="928687" y="950118"/>
                    </a:lnTo>
                    <a:lnTo>
                      <a:pt x="904875" y="950118"/>
                    </a:lnTo>
                    <a:lnTo>
                      <a:pt x="873918" y="981075"/>
                    </a:lnTo>
                    <a:lnTo>
                      <a:pt x="845343" y="1007268"/>
                    </a:lnTo>
                    <a:lnTo>
                      <a:pt x="797718" y="983456"/>
                    </a:lnTo>
                    <a:lnTo>
                      <a:pt x="776287" y="954881"/>
                    </a:lnTo>
                    <a:lnTo>
                      <a:pt x="738187" y="921543"/>
                    </a:lnTo>
                    <a:lnTo>
                      <a:pt x="742950" y="904875"/>
                    </a:lnTo>
                    <a:lnTo>
                      <a:pt x="711993" y="907256"/>
                    </a:lnTo>
                    <a:lnTo>
                      <a:pt x="714375" y="871537"/>
                    </a:lnTo>
                    <a:lnTo>
                      <a:pt x="678656" y="892968"/>
                    </a:lnTo>
                    <a:lnTo>
                      <a:pt x="661987" y="885825"/>
                    </a:lnTo>
                    <a:lnTo>
                      <a:pt x="626268" y="847725"/>
                    </a:lnTo>
                    <a:lnTo>
                      <a:pt x="600075" y="850106"/>
                    </a:lnTo>
                    <a:lnTo>
                      <a:pt x="600075" y="850106"/>
                    </a:lnTo>
                    <a:lnTo>
                      <a:pt x="611981" y="821531"/>
                    </a:lnTo>
                    <a:lnTo>
                      <a:pt x="614362" y="781050"/>
                    </a:lnTo>
                    <a:lnTo>
                      <a:pt x="640556" y="754856"/>
                    </a:lnTo>
                    <a:lnTo>
                      <a:pt x="621506" y="721518"/>
                    </a:lnTo>
                    <a:lnTo>
                      <a:pt x="597693" y="671512"/>
                    </a:lnTo>
                    <a:lnTo>
                      <a:pt x="573881" y="619125"/>
                    </a:lnTo>
                    <a:lnTo>
                      <a:pt x="526256" y="561975"/>
                    </a:lnTo>
                    <a:lnTo>
                      <a:pt x="504825" y="545306"/>
                    </a:lnTo>
                    <a:lnTo>
                      <a:pt x="492918" y="545306"/>
                    </a:lnTo>
                    <a:lnTo>
                      <a:pt x="481012" y="573881"/>
                    </a:lnTo>
                    <a:lnTo>
                      <a:pt x="476250" y="583406"/>
                    </a:lnTo>
                    <a:lnTo>
                      <a:pt x="445293" y="566737"/>
                    </a:lnTo>
                    <a:lnTo>
                      <a:pt x="404812" y="592931"/>
                    </a:lnTo>
                    <a:lnTo>
                      <a:pt x="402431" y="600075"/>
                    </a:lnTo>
                    <a:lnTo>
                      <a:pt x="373856" y="592931"/>
                    </a:lnTo>
                    <a:lnTo>
                      <a:pt x="345281" y="588168"/>
                    </a:lnTo>
                    <a:lnTo>
                      <a:pt x="316706" y="602456"/>
                    </a:lnTo>
                    <a:lnTo>
                      <a:pt x="290512" y="626268"/>
                    </a:lnTo>
                    <a:lnTo>
                      <a:pt x="273843" y="619125"/>
                    </a:lnTo>
                    <a:lnTo>
                      <a:pt x="300037" y="581025"/>
                    </a:lnTo>
                    <a:lnTo>
                      <a:pt x="357187" y="545306"/>
                    </a:lnTo>
                    <a:lnTo>
                      <a:pt x="369093" y="526256"/>
                    </a:lnTo>
                    <a:lnTo>
                      <a:pt x="340518" y="495300"/>
                    </a:lnTo>
                    <a:lnTo>
                      <a:pt x="321468" y="502443"/>
                    </a:lnTo>
                    <a:lnTo>
                      <a:pt x="266700" y="447675"/>
                    </a:lnTo>
                    <a:lnTo>
                      <a:pt x="266700" y="447675"/>
                    </a:lnTo>
                    <a:lnTo>
                      <a:pt x="216693" y="459581"/>
                    </a:lnTo>
                    <a:lnTo>
                      <a:pt x="216693" y="459581"/>
                    </a:lnTo>
                    <a:lnTo>
                      <a:pt x="197643" y="464343"/>
                    </a:lnTo>
                    <a:lnTo>
                      <a:pt x="178593" y="447675"/>
                    </a:lnTo>
                    <a:lnTo>
                      <a:pt x="176212" y="433387"/>
                    </a:lnTo>
                    <a:lnTo>
                      <a:pt x="166687" y="459581"/>
                    </a:lnTo>
                    <a:lnTo>
                      <a:pt x="164306" y="483393"/>
                    </a:lnTo>
                    <a:lnTo>
                      <a:pt x="164306" y="483393"/>
                    </a:lnTo>
                    <a:lnTo>
                      <a:pt x="126206" y="507206"/>
                    </a:lnTo>
                    <a:lnTo>
                      <a:pt x="111918" y="497681"/>
                    </a:lnTo>
                    <a:lnTo>
                      <a:pt x="138112" y="464343"/>
                    </a:lnTo>
                    <a:lnTo>
                      <a:pt x="135731" y="409575"/>
                    </a:lnTo>
                    <a:lnTo>
                      <a:pt x="102393" y="373856"/>
                    </a:lnTo>
                    <a:lnTo>
                      <a:pt x="80962" y="302418"/>
                    </a:lnTo>
                    <a:lnTo>
                      <a:pt x="30956" y="247650"/>
                    </a:lnTo>
                    <a:lnTo>
                      <a:pt x="0" y="20240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1" name="Figura a mano libera 56">
                <a:extLst>
                  <a:ext uri="{FF2B5EF4-FFF2-40B4-BE49-F238E27FC236}">
                    <a16:creationId xmlns:a16="http://schemas.microsoft.com/office/drawing/2014/main" id="{8E5ACD3E-7150-4F15-9A31-8956B50DA1CF}"/>
                  </a:ext>
                </a:extLst>
              </p:cNvPr>
              <p:cNvSpPr/>
              <p:nvPr/>
            </p:nvSpPr>
            <p:spPr bwMode="auto">
              <a:xfrm>
                <a:off x="4420340" y="3669621"/>
                <a:ext cx="626023" cy="641895"/>
              </a:xfrm>
              <a:custGeom>
                <a:avLst/>
                <a:gdLst>
                  <a:gd name="connsiteX0" fmla="*/ 676275 w 778669"/>
                  <a:gd name="connsiteY0" fmla="*/ 666750 h 819150"/>
                  <a:gd name="connsiteX1" fmla="*/ 721519 w 778669"/>
                  <a:gd name="connsiteY1" fmla="*/ 616744 h 819150"/>
                  <a:gd name="connsiteX2" fmla="*/ 723900 w 778669"/>
                  <a:gd name="connsiteY2" fmla="*/ 585788 h 819150"/>
                  <a:gd name="connsiteX3" fmla="*/ 745332 w 778669"/>
                  <a:gd name="connsiteY3" fmla="*/ 545306 h 819150"/>
                  <a:gd name="connsiteX4" fmla="*/ 778669 w 778669"/>
                  <a:gd name="connsiteY4" fmla="*/ 483394 h 819150"/>
                  <a:gd name="connsiteX5" fmla="*/ 762000 w 778669"/>
                  <a:gd name="connsiteY5" fmla="*/ 471488 h 819150"/>
                  <a:gd name="connsiteX6" fmla="*/ 740569 w 778669"/>
                  <a:gd name="connsiteY6" fmla="*/ 435769 h 819150"/>
                  <a:gd name="connsiteX7" fmla="*/ 714375 w 778669"/>
                  <a:gd name="connsiteY7" fmla="*/ 447675 h 819150"/>
                  <a:gd name="connsiteX8" fmla="*/ 707232 w 778669"/>
                  <a:gd name="connsiteY8" fmla="*/ 404813 h 819150"/>
                  <a:gd name="connsiteX9" fmla="*/ 702469 w 778669"/>
                  <a:gd name="connsiteY9" fmla="*/ 335756 h 819150"/>
                  <a:gd name="connsiteX10" fmla="*/ 711994 w 778669"/>
                  <a:gd name="connsiteY10" fmla="*/ 292894 h 819150"/>
                  <a:gd name="connsiteX11" fmla="*/ 700088 w 778669"/>
                  <a:gd name="connsiteY11" fmla="*/ 266700 h 819150"/>
                  <a:gd name="connsiteX12" fmla="*/ 676275 w 778669"/>
                  <a:gd name="connsiteY12" fmla="*/ 261938 h 819150"/>
                  <a:gd name="connsiteX13" fmla="*/ 640557 w 778669"/>
                  <a:gd name="connsiteY13" fmla="*/ 247650 h 819150"/>
                  <a:gd name="connsiteX14" fmla="*/ 597694 w 778669"/>
                  <a:gd name="connsiteY14" fmla="*/ 247650 h 819150"/>
                  <a:gd name="connsiteX15" fmla="*/ 578644 w 778669"/>
                  <a:gd name="connsiteY15" fmla="*/ 257175 h 819150"/>
                  <a:gd name="connsiteX16" fmla="*/ 554832 w 778669"/>
                  <a:gd name="connsiteY16" fmla="*/ 278606 h 819150"/>
                  <a:gd name="connsiteX17" fmla="*/ 557213 w 778669"/>
                  <a:gd name="connsiteY17" fmla="*/ 302419 h 819150"/>
                  <a:gd name="connsiteX18" fmla="*/ 531019 w 778669"/>
                  <a:gd name="connsiteY18" fmla="*/ 261938 h 819150"/>
                  <a:gd name="connsiteX19" fmla="*/ 478632 w 778669"/>
                  <a:gd name="connsiteY19" fmla="*/ 226219 h 819150"/>
                  <a:gd name="connsiteX20" fmla="*/ 454819 w 778669"/>
                  <a:gd name="connsiteY20" fmla="*/ 190500 h 819150"/>
                  <a:gd name="connsiteX21" fmla="*/ 440532 w 778669"/>
                  <a:gd name="connsiteY21" fmla="*/ 142875 h 819150"/>
                  <a:gd name="connsiteX22" fmla="*/ 404813 w 778669"/>
                  <a:gd name="connsiteY22" fmla="*/ 138113 h 819150"/>
                  <a:gd name="connsiteX23" fmla="*/ 397669 w 778669"/>
                  <a:gd name="connsiteY23" fmla="*/ 166688 h 819150"/>
                  <a:gd name="connsiteX24" fmla="*/ 361950 w 778669"/>
                  <a:gd name="connsiteY24" fmla="*/ 145256 h 819150"/>
                  <a:gd name="connsiteX25" fmla="*/ 326232 w 778669"/>
                  <a:gd name="connsiteY25" fmla="*/ 123825 h 819150"/>
                  <a:gd name="connsiteX26" fmla="*/ 304800 w 778669"/>
                  <a:gd name="connsiteY26" fmla="*/ 123825 h 819150"/>
                  <a:gd name="connsiteX27" fmla="*/ 333375 w 778669"/>
                  <a:gd name="connsiteY27" fmla="*/ 109538 h 819150"/>
                  <a:gd name="connsiteX28" fmla="*/ 335757 w 778669"/>
                  <a:gd name="connsiteY28" fmla="*/ 95250 h 819150"/>
                  <a:gd name="connsiteX29" fmla="*/ 342900 w 778669"/>
                  <a:gd name="connsiteY29" fmla="*/ 59531 h 819150"/>
                  <a:gd name="connsiteX30" fmla="*/ 307182 w 778669"/>
                  <a:gd name="connsiteY30" fmla="*/ 52388 h 819150"/>
                  <a:gd name="connsiteX31" fmla="*/ 297657 w 778669"/>
                  <a:gd name="connsiteY31" fmla="*/ 21431 h 819150"/>
                  <a:gd name="connsiteX32" fmla="*/ 245269 w 778669"/>
                  <a:gd name="connsiteY32" fmla="*/ 0 h 819150"/>
                  <a:gd name="connsiteX33" fmla="*/ 230982 w 778669"/>
                  <a:gd name="connsiteY33" fmla="*/ 26194 h 819150"/>
                  <a:gd name="connsiteX34" fmla="*/ 173832 w 778669"/>
                  <a:gd name="connsiteY34" fmla="*/ 40481 h 819150"/>
                  <a:gd name="connsiteX35" fmla="*/ 159544 w 778669"/>
                  <a:gd name="connsiteY35" fmla="*/ 40481 h 819150"/>
                  <a:gd name="connsiteX36" fmla="*/ 128588 w 778669"/>
                  <a:gd name="connsiteY36" fmla="*/ 40481 h 819150"/>
                  <a:gd name="connsiteX37" fmla="*/ 100013 w 778669"/>
                  <a:gd name="connsiteY37" fmla="*/ 47625 h 819150"/>
                  <a:gd name="connsiteX38" fmla="*/ 102394 w 778669"/>
                  <a:gd name="connsiteY38" fmla="*/ 69056 h 819150"/>
                  <a:gd name="connsiteX39" fmla="*/ 92869 w 778669"/>
                  <a:gd name="connsiteY39" fmla="*/ 116681 h 819150"/>
                  <a:gd name="connsiteX40" fmla="*/ 100013 w 778669"/>
                  <a:gd name="connsiteY40" fmla="*/ 147638 h 819150"/>
                  <a:gd name="connsiteX41" fmla="*/ 69057 w 778669"/>
                  <a:gd name="connsiteY41" fmla="*/ 159544 h 819150"/>
                  <a:gd name="connsiteX42" fmla="*/ 11907 w 778669"/>
                  <a:gd name="connsiteY42" fmla="*/ 169069 h 819150"/>
                  <a:gd name="connsiteX43" fmla="*/ 0 w 778669"/>
                  <a:gd name="connsiteY43" fmla="*/ 192881 h 819150"/>
                  <a:gd name="connsiteX44" fmla="*/ 14288 w 778669"/>
                  <a:gd name="connsiteY44" fmla="*/ 259556 h 819150"/>
                  <a:gd name="connsiteX45" fmla="*/ 38100 w 778669"/>
                  <a:gd name="connsiteY45" fmla="*/ 300038 h 819150"/>
                  <a:gd name="connsiteX46" fmla="*/ 69057 w 778669"/>
                  <a:gd name="connsiteY46" fmla="*/ 309563 h 819150"/>
                  <a:gd name="connsiteX47" fmla="*/ 45244 w 778669"/>
                  <a:gd name="connsiteY47" fmla="*/ 338138 h 819150"/>
                  <a:gd name="connsiteX48" fmla="*/ 54769 w 778669"/>
                  <a:gd name="connsiteY48" fmla="*/ 361950 h 819150"/>
                  <a:gd name="connsiteX49" fmla="*/ 90488 w 778669"/>
                  <a:gd name="connsiteY49" fmla="*/ 409575 h 819150"/>
                  <a:gd name="connsiteX50" fmla="*/ 107157 w 778669"/>
                  <a:gd name="connsiteY50" fmla="*/ 435769 h 819150"/>
                  <a:gd name="connsiteX51" fmla="*/ 85725 w 778669"/>
                  <a:gd name="connsiteY51" fmla="*/ 445294 h 819150"/>
                  <a:gd name="connsiteX52" fmla="*/ 150019 w 778669"/>
                  <a:gd name="connsiteY52" fmla="*/ 488156 h 819150"/>
                  <a:gd name="connsiteX53" fmla="*/ 164307 w 778669"/>
                  <a:gd name="connsiteY53" fmla="*/ 497681 h 819150"/>
                  <a:gd name="connsiteX54" fmla="*/ 164307 w 778669"/>
                  <a:gd name="connsiteY54" fmla="*/ 497681 h 819150"/>
                  <a:gd name="connsiteX55" fmla="*/ 192882 w 778669"/>
                  <a:gd name="connsiteY55" fmla="*/ 545306 h 819150"/>
                  <a:gd name="connsiteX56" fmla="*/ 238125 w 778669"/>
                  <a:gd name="connsiteY56" fmla="*/ 561975 h 819150"/>
                  <a:gd name="connsiteX57" fmla="*/ 235744 w 778669"/>
                  <a:gd name="connsiteY57" fmla="*/ 604838 h 819150"/>
                  <a:gd name="connsiteX58" fmla="*/ 185738 w 778669"/>
                  <a:gd name="connsiteY58" fmla="*/ 621506 h 819150"/>
                  <a:gd name="connsiteX59" fmla="*/ 178594 w 778669"/>
                  <a:gd name="connsiteY59" fmla="*/ 659606 h 819150"/>
                  <a:gd name="connsiteX60" fmla="*/ 183357 w 778669"/>
                  <a:gd name="connsiteY60" fmla="*/ 681038 h 819150"/>
                  <a:gd name="connsiteX61" fmla="*/ 133350 w 778669"/>
                  <a:gd name="connsiteY61" fmla="*/ 711994 h 819150"/>
                  <a:gd name="connsiteX62" fmla="*/ 161925 w 778669"/>
                  <a:gd name="connsiteY62" fmla="*/ 735806 h 819150"/>
                  <a:gd name="connsiteX63" fmla="*/ 164307 w 778669"/>
                  <a:gd name="connsiteY63" fmla="*/ 754856 h 819150"/>
                  <a:gd name="connsiteX64" fmla="*/ 178594 w 778669"/>
                  <a:gd name="connsiteY64" fmla="*/ 778669 h 819150"/>
                  <a:gd name="connsiteX65" fmla="*/ 202407 w 778669"/>
                  <a:gd name="connsiteY65" fmla="*/ 802481 h 819150"/>
                  <a:gd name="connsiteX66" fmla="*/ 211932 w 778669"/>
                  <a:gd name="connsiteY66" fmla="*/ 807244 h 819150"/>
                  <a:gd name="connsiteX67" fmla="*/ 242888 w 778669"/>
                  <a:gd name="connsiteY67" fmla="*/ 752475 h 819150"/>
                  <a:gd name="connsiteX68" fmla="*/ 261938 w 778669"/>
                  <a:gd name="connsiteY68" fmla="*/ 773906 h 819150"/>
                  <a:gd name="connsiteX69" fmla="*/ 328613 w 778669"/>
                  <a:gd name="connsiteY69" fmla="*/ 752475 h 819150"/>
                  <a:gd name="connsiteX70" fmla="*/ 390525 w 778669"/>
                  <a:gd name="connsiteY70" fmla="*/ 819150 h 819150"/>
                  <a:gd name="connsiteX71" fmla="*/ 478632 w 778669"/>
                  <a:gd name="connsiteY71" fmla="*/ 819150 h 819150"/>
                  <a:gd name="connsiteX72" fmla="*/ 514350 w 778669"/>
                  <a:gd name="connsiteY72" fmla="*/ 788194 h 819150"/>
                  <a:gd name="connsiteX73" fmla="*/ 528638 w 778669"/>
                  <a:gd name="connsiteY73" fmla="*/ 804863 h 819150"/>
                  <a:gd name="connsiteX74" fmla="*/ 528638 w 778669"/>
                  <a:gd name="connsiteY74" fmla="*/ 709613 h 819150"/>
                  <a:gd name="connsiteX75" fmla="*/ 547688 w 778669"/>
                  <a:gd name="connsiteY75" fmla="*/ 664369 h 819150"/>
                  <a:gd name="connsiteX76" fmla="*/ 590550 w 778669"/>
                  <a:gd name="connsiteY76" fmla="*/ 661988 h 819150"/>
                  <a:gd name="connsiteX77" fmla="*/ 676275 w 778669"/>
                  <a:gd name="connsiteY77" fmla="*/ 66675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778669" h="819150">
                    <a:moveTo>
                      <a:pt x="676275" y="666750"/>
                    </a:moveTo>
                    <a:lnTo>
                      <a:pt x="721519" y="616744"/>
                    </a:lnTo>
                    <a:lnTo>
                      <a:pt x="723900" y="585788"/>
                    </a:lnTo>
                    <a:lnTo>
                      <a:pt x="745332" y="545306"/>
                    </a:lnTo>
                    <a:lnTo>
                      <a:pt x="778669" y="483394"/>
                    </a:lnTo>
                    <a:lnTo>
                      <a:pt x="762000" y="471488"/>
                    </a:lnTo>
                    <a:lnTo>
                      <a:pt x="740569" y="435769"/>
                    </a:lnTo>
                    <a:lnTo>
                      <a:pt x="714375" y="447675"/>
                    </a:lnTo>
                    <a:lnTo>
                      <a:pt x="707232" y="404813"/>
                    </a:lnTo>
                    <a:lnTo>
                      <a:pt x="702469" y="335756"/>
                    </a:lnTo>
                    <a:lnTo>
                      <a:pt x="711994" y="292894"/>
                    </a:lnTo>
                    <a:lnTo>
                      <a:pt x="700088" y="266700"/>
                    </a:lnTo>
                    <a:lnTo>
                      <a:pt x="676275" y="261938"/>
                    </a:lnTo>
                    <a:lnTo>
                      <a:pt x="640557" y="247650"/>
                    </a:lnTo>
                    <a:lnTo>
                      <a:pt x="597694" y="247650"/>
                    </a:lnTo>
                    <a:lnTo>
                      <a:pt x="578644" y="257175"/>
                    </a:lnTo>
                    <a:lnTo>
                      <a:pt x="554832" y="278606"/>
                    </a:lnTo>
                    <a:lnTo>
                      <a:pt x="557213" y="302419"/>
                    </a:lnTo>
                    <a:lnTo>
                      <a:pt x="531019" y="261938"/>
                    </a:lnTo>
                    <a:lnTo>
                      <a:pt x="478632" y="226219"/>
                    </a:lnTo>
                    <a:lnTo>
                      <a:pt x="454819" y="190500"/>
                    </a:lnTo>
                    <a:lnTo>
                      <a:pt x="440532" y="142875"/>
                    </a:lnTo>
                    <a:lnTo>
                      <a:pt x="404813" y="138113"/>
                    </a:lnTo>
                    <a:lnTo>
                      <a:pt x="397669" y="166688"/>
                    </a:lnTo>
                    <a:lnTo>
                      <a:pt x="361950" y="145256"/>
                    </a:lnTo>
                    <a:lnTo>
                      <a:pt x="326232" y="123825"/>
                    </a:lnTo>
                    <a:lnTo>
                      <a:pt x="304800" y="123825"/>
                    </a:lnTo>
                    <a:lnTo>
                      <a:pt x="333375" y="109538"/>
                    </a:lnTo>
                    <a:lnTo>
                      <a:pt x="335757" y="95250"/>
                    </a:lnTo>
                    <a:lnTo>
                      <a:pt x="342900" y="59531"/>
                    </a:lnTo>
                    <a:lnTo>
                      <a:pt x="307182" y="52388"/>
                    </a:lnTo>
                    <a:lnTo>
                      <a:pt x="297657" y="21431"/>
                    </a:lnTo>
                    <a:lnTo>
                      <a:pt x="245269" y="0"/>
                    </a:lnTo>
                    <a:lnTo>
                      <a:pt x="230982" y="26194"/>
                    </a:lnTo>
                    <a:lnTo>
                      <a:pt x="173832" y="40481"/>
                    </a:lnTo>
                    <a:lnTo>
                      <a:pt x="159544" y="40481"/>
                    </a:lnTo>
                    <a:lnTo>
                      <a:pt x="128588" y="40481"/>
                    </a:lnTo>
                    <a:lnTo>
                      <a:pt x="100013" y="47625"/>
                    </a:lnTo>
                    <a:lnTo>
                      <a:pt x="102394" y="69056"/>
                    </a:lnTo>
                    <a:lnTo>
                      <a:pt x="92869" y="116681"/>
                    </a:lnTo>
                    <a:lnTo>
                      <a:pt x="100013" y="147638"/>
                    </a:lnTo>
                    <a:lnTo>
                      <a:pt x="69057" y="159544"/>
                    </a:lnTo>
                    <a:lnTo>
                      <a:pt x="11907" y="169069"/>
                    </a:lnTo>
                    <a:lnTo>
                      <a:pt x="0" y="192881"/>
                    </a:lnTo>
                    <a:lnTo>
                      <a:pt x="14288" y="259556"/>
                    </a:lnTo>
                    <a:lnTo>
                      <a:pt x="38100" y="300038"/>
                    </a:lnTo>
                    <a:lnTo>
                      <a:pt x="69057" y="309563"/>
                    </a:lnTo>
                    <a:lnTo>
                      <a:pt x="45244" y="338138"/>
                    </a:lnTo>
                    <a:lnTo>
                      <a:pt x="54769" y="361950"/>
                    </a:lnTo>
                    <a:lnTo>
                      <a:pt x="90488" y="409575"/>
                    </a:lnTo>
                    <a:lnTo>
                      <a:pt x="107157" y="435769"/>
                    </a:lnTo>
                    <a:lnTo>
                      <a:pt x="85725" y="445294"/>
                    </a:lnTo>
                    <a:lnTo>
                      <a:pt x="150019" y="488156"/>
                    </a:lnTo>
                    <a:lnTo>
                      <a:pt x="164307" y="497681"/>
                    </a:lnTo>
                    <a:lnTo>
                      <a:pt x="164307" y="497681"/>
                    </a:lnTo>
                    <a:lnTo>
                      <a:pt x="192882" y="545306"/>
                    </a:lnTo>
                    <a:lnTo>
                      <a:pt x="238125" y="561975"/>
                    </a:lnTo>
                    <a:lnTo>
                      <a:pt x="235744" y="604838"/>
                    </a:lnTo>
                    <a:lnTo>
                      <a:pt x="185738" y="621506"/>
                    </a:lnTo>
                    <a:lnTo>
                      <a:pt x="178594" y="659606"/>
                    </a:lnTo>
                    <a:lnTo>
                      <a:pt x="183357" y="681038"/>
                    </a:lnTo>
                    <a:lnTo>
                      <a:pt x="133350" y="711994"/>
                    </a:lnTo>
                    <a:lnTo>
                      <a:pt x="161925" y="735806"/>
                    </a:lnTo>
                    <a:lnTo>
                      <a:pt x="164307" y="754856"/>
                    </a:lnTo>
                    <a:lnTo>
                      <a:pt x="178594" y="778669"/>
                    </a:lnTo>
                    <a:lnTo>
                      <a:pt x="202407" y="802481"/>
                    </a:lnTo>
                    <a:lnTo>
                      <a:pt x="211932" y="807244"/>
                    </a:lnTo>
                    <a:lnTo>
                      <a:pt x="242888" y="752475"/>
                    </a:lnTo>
                    <a:lnTo>
                      <a:pt x="261938" y="773906"/>
                    </a:lnTo>
                    <a:lnTo>
                      <a:pt x="328613" y="752475"/>
                    </a:lnTo>
                    <a:lnTo>
                      <a:pt x="390525" y="819150"/>
                    </a:lnTo>
                    <a:lnTo>
                      <a:pt x="478632" y="819150"/>
                    </a:lnTo>
                    <a:lnTo>
                      <a:pt x="514350" y="788194"/>
                    </a:lnTo>
                    <a:lnTo>
                      <a:pt x="528638" y="804863"/>
                    </a:lnTo>
                    <a:lnTo>
                      <a:pt x="528638" y="709613"/>
                    </a:lnTo>
                    <a:lnTo>
                      <a:pt x="547688" y="664369"/>
                    </a:lnTo>
                    <a:lnTo>
                      <a:pt x="590550" y="661988"/>
                    </a:lnTo>
                    <a:lnTo>
                      <a:pt x="676275" y="6667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2" name="Figura a mano libera 57">
                <a:extLst>
                  <a:ext uri="{FF2B5EF4-FFF2-40B4-BE49-F238E27FC236}">
                    <a16:creationId xmlns:a16="http://schemas.microsoft.com/office/drawing/2014/main" id="{4485C439-DC31-4643-8CFA-40FD4CF0DEDD}"/>
                  </a:ext>
                </a:extLst>
              </p:cNvPr>
              <p:cNvSpPr/>
              <p:nvPr/>
            </p:nvSpPr>
            <p:spPr bwMode="auto">
              <a:xfrm>
                <a:off x="3840306" y="3199192"/>
                <a:ext cx="488060" cy="356119"/>
              </a:xfrm>
              <a:custGeom>
                <a:avLst/>
                <a:gdLst>
                  <a:gd name="connsiteX0" fmla="*/ 571500 w 609600"/>
                  <a:gd name="connsiteY0" fmla="*/ 83344 h 454819"/>
                  <a:gd name="connsiteX1" fmla="*/ 528638 w 609600"/>
                  <a:gd name="connsiteY1" fmla="*/ 47625 h 454819"/>
                  <a:gd name="connsiteX2" fmla="*/ 514350 w 609600"/>
                  <a:gd name="connsiteY2" fmla="*/ 19050 h 454819"/>
                  <a:gd name="connsiteX3" fmla="*/ 457200 w 609600"/>
                  <a:gd name="connsiteY3" fmla="*/ 23812 h 454819"/>
                  <a:gd name="connsiteX4" fmla="*/ 423863 w 609600"/>
                  <a:gd name="connsiteY4" fmla="*/ 0 h 454819"/>
                  <a:gd name="connsiteX5" fmla="*/ 388144 w 609600"/>
                  <a:gd name="connsiteY5" fmla="*/ 45244 h 454819"/>
                  <a:gd name="connsiteX6" fmla="*/ 369094 w 609600"/>
                  <a:gd name="connsiteY6" fmla="*/ 88106 h 454819"/>
                  <a:gd name="connsiteX7" fmla="*/ 342900 w 609600"/>
                  <a:gd name="connsiteY7" fmla="*/ 114300 h 454819"/>
                  <a:gd name="connsiteX8" fmla="*/ 261938 w 609600"/>
                  <a:gd name="connsiteY8" fmla="*/ 207169 h 454819"/>
                  <a:gd name="connsiteX9" fmla="*/ 252413 w 609600"/>
                  <a:gd name="connsiteY9" fmla="*/ 140494 h 454819"/>
                  <a:gd name="connsiteX10" fmla="*/ 252413 w 609600"/>
                  <a:gd name="connsiteY10" fmla="*/ 140494 h 454819"/>
                  <a:gd name="connsiteX11" fmla="*/ 242888 w 609600"/>
                  <a:gd name="connsiteY11" fmla="*/ 126206 h 454819"/>
                  <a:gd name="connsiteX12" fmla="*/ 219075 w 609600"/>
                  <a:gd name="connsiteY12" fmla="*/ 126206 h 454819"/>
                  <a:gd name="connsiteX13" fmla="*/ 195263 w 609600"/>
                  <a:gd name="connsiteY13" fmla="*/ 116681 h 454819"/>
                  <a:gd name="connsiteX14" fmla="*/ 195263 w 609600"/>
                  <a:gd name="connsiteY14" fmla="*/ 128587 h 454819"/>
                  <a:gd name="connsiteX15" fmla="*/ 171450 w 609600"/>
                  <a:gd name="connsiteY15" fmla="*/ 102394 h 454819"/>
                  <a:gd name="connsiteX16" fmla="*/ 147638 w 609600"/>
                  <a:gd name="connsiteY16" fmla="*/ 109537 h 454819"/>
                  <a:gd name="connsiteX17" fmla="*/ 114300 w 609600"/>
                  <a:gd name="connsiteY17" fmla="*/ 142875 h 454819"/>
                  <a:gd name="connsiteX18" fmla="*/ 85725 w 609600"/>
                  <a:gd name="connsiteY18" fmla="*/ 152400 h 454819"/>
                  <a:gd name="connsiteX19" fmla="*/ 109538 w 609600"/>
                  <a:gd name="connsiteY19" fmla="*/ 173831 h 454819"/>
                  <a:gd name="connsiteX20" fmla="*/ 109538 w 609600"/>
                  <a:gd name="connsiteY20" fmla="*/ 173831 h 454819"/>
                  <a:gd name="connsiteX21" fmla="*/ 61913 w 609600"/>
                  <a:gd name="connsiteY21" fmla="*/ 192881 h 454819"/>
                  <a:gd name="connsiteX22" fmla="*/ 35719 w 609600"/>
                  <a:gd name="connsiteY22" fmla="*/ 219075 h 454819"/>
                  <a:gd name="connsiteX23" fmla="*/ 45244 w 609600"/>
                  <a:gd name="connsiteY23" fmla="*/ 242887 h 454819"/>
                  <a:gd name="connsiteX24" fmla="*/ 9525 w 609600"/>
                  <a:gd name="connsiteY24" fmla="*/ 230981 h 454819"/>
                  <a:gd name="connsiteX25" fmla="*/ 9525 w 609600"/>
                  <a:gd name="connsiteY25" fmla="*/ 230981 h 454819"/>
                  <a:gd name="connsiteX26" fmla="*/ 16669 w 609600"/>
                  <a:gd name="connsiteY26" fmla="*/ 297656 h 454819"/>
                  <a:gd name="connsiteX27" fmla="*/ 30957 w 609600"/>
                  <a:gd name="connsiteY27" fmla="*/ 352425 h 454819"/>
                  <a:gd name="connsiteX28" fmla="*/ 0 w 609600"/>
                  <a:gd name="connsiteY28" fmla="*/ 376237 h 454819"/>
                  <a:gd name="connsiteX29" fmla="*/ 35719 w 609600"/>
                  <a:gd name="connsiteY29" fmla="*/ 388144 h 454819"/>
                  <a:gd name="connsiteX30" fmla="*/ 61913 w 609600"/>
                  <a:gd name="connsiteY30" fmla="*/ 400050 h 454819"/>
                  <a:gd name="connsiteX31" fmla="*/ 73819 w 609600"/>
                  <a:gd name="connsiteY31" fmla="*/ 357187 h 454819"/>
                  <a:gd name="connsiteX32" fmla="*/ 145257 w 609600"/>
                  <a:gd name="connsiteY32" fmla="*/ 378619 h 454819"/>
                  <a:gd name="connsiteX33" fmla="*/ 188119 w 609600"/>
                  <a:gd name="connsiteY33" fmla="*/ 404812 h 454819"/>
                  <a:gd name="connsiteX34" fmla="*/ 252413 w 609600"/>
                  <a:gd name="connsiteY34" fmla="*/ 416719 h 454819"/>
                  <a:gd name="connsiteX35" fmla="*/ 292894 w 609600"/>
                  <a:gd name="connsiteY35" fmla="*/ 452437 h 454819"/>
                  <a:gd name="connsiteX36" fmla="*/ 323850 w 609600"/>
                  <a:gd name="connsiteY36" fmla="*/ 454819 h 454819"/>
                  <a:gd name="connsiteX37" fmla="*/ 388144 w 609600"/>
                  <a:gd name="connsiteY37" fmla="*/ 428625 h 454819"/>
                  <a:gd name="connsiteX38" fmla="*/ 411957 w 609600"/>
                  <a:gd name="connsiteY38" fmla="*/ 419100 h 454819"/>
                  <a:gd name="connsiteX39" fmla="*/ 414338 w 609600"/>
                  <a:gd name="connsiteY39" fmla="*/ 404812 h 454819"/>
                  <a:gd name="connsiteX40" fmla="*/ 459582 w 609600"/>
                  <a:gd name="connsiteY40" fmla="*/ 409575 h 454819"/>
                  <a:gd name="connsiteX41" fmla="*/ 528638 w 609600"/>
                  <a:gd name="connsiteY41" fmla="*/ 388144 h 454819"/>
                  <a:gd name="connsiteX42" fmla="*/ 504825 w 609600"/>
                  <a:gd name="connsiteY42" fmla="*/ 311944 h 454819"/>
                  <a:gd name="connsiteX43" fmla="*/ 516732 w 609600"/>
                  <a:gd name="connsiteY43" fmla="*/ 259556 h 454819"/>
                  <a:gd name="connsiteX44" fmla="*/ 552450 w 609600"/>
                  <a:gd name="connsiteY44" fmla="*/ 288131 h 454819"/>
                  <a:gd name="connsiteX45" fmla="*/ 609600 w 609600"/>
                  <a:gd name="connsiteY45" fmla="*/ 233362 h 454819"/>
                  <a:gd name="connsiteX46" fmla="*/ 592932 w 609600"/>
                  <a:gd name="connsiteY46" fmla="*/ 197644 h 454819"/>
                  <a:gd name="connsiteX47" fmla="*/ 571500 w 609600"/>
                  <a:gd name="connsiteY47" fmla="*/ 83344 h 454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9600" h="454819">
                    <a:moveTo>
                      <a:pt x="571500" y="83344"/>
                    </a:moveTo>
                    <a:lnTo>
                      <a:pt x="528638" y="47625"/>
                    </a:lnTo>
                    <a:lnTo>
                      <a:pt x="514350" y="19050"/>
                    </a:lnTo>
                    <a:lnTo>
                      <a:pt x="457200" y="23812"/>
                    </a:lnTo>
                    <a:lnTo>
                      <a:pt x="423863" y="0"/>
                    </a:lnTo>
                    <a:lnTo>
                      <a:pt x="388144" y="45244"/>
                    </a:lnTo>
                    <a:lnTo>
                      <a:pt x="369094" y="88106"/>
                    </a:lnTo>
                    <a:lnTo>
                      <a:pt x="342900" y="114300"/>
                    </a:lnTo>
                    <a:lnTo>
                      <a:pt x="261938" y="207169"/>
                    </a:lnTo>
                    <a:lnTo>
                      <a:pt x="252413" y="140494"/>
                    </a:lnTo>
                    <a:lnTo>
                      <a:pt x="252413" y="140494"/>
                    </a:lnTo>
                    <a:lnTo>
                      <a:pt x="242888" y="126206"/>
                    </a:lnTo>
                    <a:lnTo>
                      <a:pt x="219075" y="126206"/>
                    </a:lnTo>
                    <a:lnTo>
                      <a:pt x="195263" y="116681"/>
                    </a:lnTo>
                    <a:lnTo>
                      <a:pt x="195263" y="128587"/>
                    </a:lnTo>
                    <a:lnTo>
                      <a:pt x="171450" y="102394"/>
                    </a:lnTo>
                    <a:lnTo>
                      <a:pt x="147638" y="109537"/>
                    </a:lnTo>
                    <a:lnTo>
                      <a:pt x="114300" y="142875"/>
                    </a:lnTo>
                    <a:lnTo>
                      <a:pt x="85725" y="152400"/>
                    </a:lnTo>
                    <a:lnTo>
                      <a:pt x="109538" y="173831"/>
                    </a:lnTo>
                    <a:lnTo>
                      <a:pt x="109538" y="173831"/>
                    </a:lnTo>
                    <a:lnTo>
                      <a:pt x="61913" y="192881"/>
                    </a:lnTo>
                    <a:lnTo>
                      <a:pt x="35719" y="219075"/>
                    </a:lnTo>
                    <a:lnTo>
                      <a:pt x="45244" y="242887"/>
                    </a:lnTo>
                    <a:lnTo>
                      <a:pt x="9525" y="230981"/>
                    </a:lnTo>
                    <a:lnTo>
                      <a:pt x="9525" y="230981"/>
                    </a:lnTo>
                    <a:lnTo>
                      <a:pt x="16669" y="297656"/>
                    </a:lnTo>
                    <a:lnTo>
                      <a:pt x="30957" y="352425"/>
                    </a:lnTo>
                    <a:lnTo>
                      <a:pt x="0" y="376237"/>
                    </a:lnTo>
                    <a:lnTo>
                      <a:pt x="35719" y="388144"/>
                    </a:lnTo>
                    <a:lnTo>
                      <a:pt x="61913" y="400050"/>
                    </a:lnTo>
                    <a:lnTo>
                      <a:pt x="73819" y="357187"/>
                    </a:lnTo>
                    <a:lnTo>
                      <a:pt x="145257" y="378619"/>
                    </a:lnTo>
                    <a:lnTo>
                      <a:pt x="188119" y="404812"/>
                    </a:lnTo>
                    <a:lnTo>
                      <a:pt x="252413" y="416719"/>
                    </a:lnTo>
                    <a:lnTo>
                      <a:pt x="292894" y="452437"/>
                    </a:lnTo>
                    <a:lnTo>
                      <a:pt x="323850" y="454819"/>
                    </a:lnTo>
                    <a:lnTo>
                      <a:pt x="388144" y="428625"/>
                    </a:lnTo>
                    <a:lnTo>
                      <a:pt x="411957" y="419100"/>
                    </a:lnTo>
                    <a:lnTo>
                      <a:pt x="414338" y="404812"/>
                    </a:lnTo>
                    <a:lnTo>
                      <a:pt x="459582" y="409575"/>
                    </a:lnTo>
                    <a:lnTo>
                      <a:pt x="528638" y="388144"/>
                    </a:lnTo>
                    <a:lnTo>
                      <a:pt x="504825" y="311944"/>
                    </a:lnTo>
                    <a:lnTo>
                      <a:pt x="516732" y="259556"/>
                    </a:lnTo>
                    <a:lnTo>
                      <a:pt x="552450" y="288131"/>
                    </a:lnTo>
                    <a:lnTo>
                      <a:pt x="609600" y="233362"/>
                    </a:lnTo>
                    <a:lnTo>
                      <a:pt x="592932" y="197644"/>
                    </a:lnTo>
                    <a:cubicBezTo>
                      <a:pt x="593726" y="168275"/>
                      <a:pt x="594519" y="138906"/>
                      <a:pt x="571500" y="8334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3" name="Figura a mano libera 59">
                <a:extLst>
                  <a:ext uri="{FF2B5EF4-FFF2-40B4-BE49-F238E27FC236}">
                    <a16:creationId xmlns:a16="http://schemas.microsoft.com/office/drawing/2014/main" id="{E7BC988F-0587-4D03-BFF9-7872FAFFAF6F}"/>
                  </a:ext>
                </a:extLst>
              </p:cNvPr>
              <p:cNvSpPr/>
              <p:nvPr/>
            </p:nvSpPr>
            <p:spPr bwMode="auto">
              <a:xfrm>
                <a:off x="3450153" y="2765400"/>
                <a:ext cx="732832" cy="636033"/>
              </a:xfrm>
              <a:custGeom>
                <a:avLst/>
                <a:gdLst>
                  <a:gd name="connsiteX0" fmla="*/ 464344 w 912019"/>
                  <a:gd name="connsiteY0" fmla="*/ 0 h 812006"/>
                  <a:gd name="connsiteX1" fmla="*/ 369094 w 912019"/>
                  <a:gd name="connsiteY1" fmla="*/ 21431 h 812006"/>
                  <a:gd name="connsiteX2" fmla="*/ 352425 w 912019"/>
                  <a:gd name="connsiteY2" fmla="*/ 42862 h 812006"/>
                  <a:gd name="connsiteX3" fmla="*/ 330994 w 912019"/>
                  <a:gd name="connsiteY3" fmla="*/ 61912 h 812006"/>
                  <a:gd name="connsiteX4" fmla="*/ 314325 w 912019"/>
                  <a:gd name="connsiteY4" fmla="*/ 57150 h 812006"/>
                  <a:gd name="connsiteX5" fmla="*/ 278607 w 912019"/>
                  <a:gd name="connsiteY5" fmla="*/ 57150 h 812006"/>
                  <a:gd name="connsiteX6" fmla="*/ 264319 w 912019"/>
                  <a:gd name="connsiteY6" fmla="*/ 90487 h 812006"/>
                  <a:gd name="connsiteX7" fmla="*/ 257175 w 912019"/>
                  <a:gd name="connsiteY7" fmla="*/ 102393 h 812006"/>
                  <a:gd name="connsiteX8" fmla="*/ 185738 w 912019"/>
                  <a:gd name="connsiteY8" fmla="*/ 138112 h 812006"/>
                  <a:gd name="connsiteX9" fmla="*/ 202407 w 912019"/>
                  <a:gd name="connsiteY9" fmla="*/ 150018 h 812006"/>
                  <a:gd name="connsiteX10" fmla="*/ 207169 w 912019"/>
                  <a:gd name="connsiteY10" fmla="*/ 171450 h 812006"/>
                  <a:gd name="connsiteX11" fmla="*/ 197644 w 912019"/>
                  <a:gd name="connsiteY11" fmla="*/ 197643 h 812006"/>
                  <a:gd name="connsiteX12" fmla="*/ 159544 w 912019"/>
                  <a:gd name="connsiteY12" fmla="*/ 207168 h 812006"/>
                  <a:gd name="connsiteX13" fmla="*/ 102394 w 912019"/>
                  <a:gd name="connsiteY13" fmla="*/ 190500 h 812006"/>
                  <a:gd name="connsiteX14" fmla="*/ 83344 w 912019"/>
                  <a:gd name="connsiteY14" fmla="*/ 221456 h 812006"/>
                  <a:gd name="connsiteX15" fmla="*/ 90488 w 912019"/>
                  <a:gd name="connsiteY15" fmla="*/ 264318 h 812006"/>
                  <a:gd name="connsiteX16" fmla="*/ 73819 w 912019"/>
                  <a:gd name="connsiteY16" fmla="*/ 278606 h 812006"/>
                  <a:gd name="connsiteX17" fmla="*/ 50007 w 912019"/>
                  <a:gd name="connsiteY17" fmla="*/ 295275 h 812006"/>
                  <a:gd name="connsiteX18" fmla="*/ 85725 w 912019"/>
                  <a:gd name="connsiteY18" fmla="*/ 335756 h 812006"/>
                  <a:gd name="connsiteX19" fmla="*/ 97632 w 912019"/>
                  <a:gd name="connsiteY19" fmla="*/ 371475 h 812006"/>
                  <a:gd name="connsiteX20" fmla="*/ 121444 w 912019"/>
                  <a:gd name="connsiteY20" fmla="*/ 404812 h 812006"/>
                  <a:gd name="connsiteX21" fmla="*/ 154782 w 912019"/>
                  <a:gd name="connsiteY21" fmla="*/ 440531 h 812006"/>
                  <a:gd name="connsiteX22" fmla="*/ 176213 w 912019"/>
                  <a:gd name="connsiteY22" fmla="*/ 454818 h 812006"/>
                  <a:gd name="connsiteX23" fmla="*/ 178594 w 912019"/>
                  <a:gd name="connsiteY23" fmla="*/ 478631 h 812006"/>
                  <a:gd name="connsiteX24" fmla="*/ 159544 w 912019"/>
                  <a:gd name="connsiteY24" fmla="*/ 502443 h 812006"/>
                  <a:gd name="connsiteX25" fmla="*/ 135732 w 912019"/>
                  <a:gd name="connsiteY25" fmla="*/ 502443 h 812006"/>
                  <a:gd name="connsiteX26" fmla="*/ 114300 w 912019"/>
                  <a:gd name="connsiteY26" fmla="*/ 502443 h 812006"/>
                  <a:gd name="connsiteX27" fmla="*/ 97632 w 912019"/>
                  <a:gd name="connsiteY27" fmla="*/ 492918 h 812006"/>
                  <a:gd name="connsiteX28" fmla="*/ 33338 w 912019"/>
                  <a:gd name="connsiteY28" fmla="*/ 461962 h 812006"/>
                  <a:gd name="connsiteX29" fmla="*/ 30957 w 912019"/>
                  <a:gd name="connsiteY29" fmla="*/ 492918 h 812006"/>
                  <a:gd name="connsiteX30" fmla="*/ 11907 w 912019"/>
                  <a:gd name="connsiteY30" fmla="*/ 500062 h 812006"/>
                  <a:gd name="connsiteX31" fmla="*/ 0 w 912019"/>
                  <a:gd name="connsiteY31" fmla="*/ 528637 h 812006"/>
                  <a:gd name="connsiteX32" fmla="*/ 11907 w 912019"/>
                  <a:gd name="connsiteY32" fmla="*/ 569118 h 812006"/>
                  <a:gd name="connsiteX33" fmla="*/ 102394 w 912019"/>
                  <a:gd name="connsiteY33" fmla="*/ 595312 h 812006"/>
                  <a:gd name="connsiteX34" fmla="*/ 180975 w 912019"/>
                  <a:gd name="connsiteY34" fmla="*/ 640556 h 812006"/>
                  <a:gd name="connsiteX35" fmla="*/ 192882 w 912019"/>
                  <a:gd name="connsiteY35" fmla="*/ 714375 h 812006"/>
                  <a:gd name="connsiteX36" fmla="*/ 221457 w 912019"/>
                  <a:gd name="connsiteY36" fmla="*/ 700087 h 812006"/>
                  <a:gd name="connsiteX37" fmla="*/ 269082 w 912019"/>
                  <a:gd name="connsiteY37" fmla="*/ 742950 h 812006"/>
                  <a:gd name="connsiteX38" fmla="*/ 302419 w 912019"/>
                  <a:gd name="connsiteY38" fmla="*/ 735806 h 812006"/>
                  <a:gd name="connsiteX39" fmla="*/ 347663 w 912019"/>
                  <a:gd name="connsiteY39" fmla="*/ 709612 h 812006"/>
                  <a:gd name="connsiteX40" fmla="*/ 366713 w 912019"/>
                  <a:gd name="connsiteY40" fmla="*/ 728662 h 812006"/>
                  <a:gd name="connsiteX41" fmla="*/ 402432 w 912019"/>
                  <a:gd name="connsiteY41" fmla="*/ 762000 h 812006"/>
                  <a:gd name="connsiteX42" fmla="*/ 402432 w 912019"/>
                  <a:gd name="connsiteY42" fmla="*/ 762000 h 812006"/>
                  <a:gd name="connsiteX43" fmla="*/ 459582 w 912019"/>
                  <a:gd name="connsiteY43" fmla="*/ 785812 h 812006"/>
                  <a:gd name="connsiteX44" fmla="*/ 478632 w 912019"/>
                  <a:gd name="connsiteY44" fmla="*/ 812006 h 812006"/>
                  <a:gd name="connsiteX45" fmla="*/ 478632 w 912019"/>
                  <a:gd name="connsiteY45" fmla="*/ 812006 h 812006"/>
                  <a:gd name="connsiteX46" fmla="*/ 478632 w 912019"/>
                  <a:gd name="connsiteY46" fmla="*/ 783431 h 812006"/>
                  <a:gd name="connsiteX47" fmla="*/ 533400 w 912019"/>
                  <a:gd name="connsiteY47" fmla="*/ 800100 h 812006"/>
                  <a:gd name="connsiteX48" fmla="*/ 545307 w 912019"/>
                  <a:gd name="connsiteY48" fmla="*/ 735806 h 812006"/>
                  <a:gd name="connsiteX49" fmla="*/ 590550 w 912019"/>
                  <a:gd name="connsiteY49" fmla="*/ 733425 h 812006"/>
                  <a:gd name="connsiteX50" fmla="*/ 578644 w 912019"/>
                  <a:gd name="connsiteY50" fmla="*/ 707231 h 812006"/>
                  <a:gd name="connsiteX51" fmla="*/ 657225 w 912019"/>
                  <a:gd name="connsiteY51" fmla="*/ 652462 h 812006"/>
                  <a:gd name="connsiteX52" fmla="*/ 669132 w 912019"/>
                  <a:gd name="connsiteY52" fmla="*/ 683418 h 812006"/>
                  <a:gd name="connsiteX53" fmla="*/ 726282 w 912019"/>
                  <a:gd name="connsiteY53" fmla="*/ 681037 h 812006"/>
                  <a:gd name="connsiteX54" fmla="*/ 740569 w 912019"/>
                  <a:gd name="connsiteY54" fmla="*/ 685800 h 812006"/>
                  <a:gd name="connsiteX55" fmla="*/ 745332 w 912019"/>
                  <a:gd name="connsiteY55" fmla="*/ 754856 h 812006"/>
                  <a:gd name="connsiteX56" fmla="*/ 850107 w 912019"/>
                  <a:gd name="connsiteY56" fmla="*/ 640556 h 812006"/>
                  <a:gd name="connsiteX57" fmla="*/ 912019 w 912019"/>
                  <a:gd name="connsiteY57" fmla="*/ 547687 h 812006"/>
                  <a:gd name="connsiteX58" fmla="*/ 876300 w 912019"/>
                  <a:gd name="connsiteY58" fmla="*/ 542925 h 812006"/>
                  <a:gd name="connsiteX59" fmla="*/ 866775 w 912019"/>
                  <a:gd name="connsiteY59" fmla="*/ 481012 h 812006"/>
                  <a:gd name="connsiteX60" fmla="*/ 831057 w 912019"/>
                  <a:gd name="connsiteY60" fmla="*/ 457200 h 812006"/>
                  <a:gd name="connsiteX61" fmla="*/ 781050 w 912019"/>
                  <a:gd name="connsiteY61" fmla="*/ 457200 h 812006"/>
                  <a:gd name="connsiteX62" fmla="*/ 721519 w 912019"/>
                  <a:gd name="connsiteY62" fmla="*/ 395287 h 812006"/>
                  <a:gd name="connsiteX63" fmla="*/ 711994 w 912019"/>
                  <a:gd name="connsiteY63" fmla="*/ 345281 h 812006"/>
                  <a:gd name="connsiteX64" fmla="*/ 645319 w 912019"/>
                  <a:gd name="connsiteY64" fmla="*/ 314325 h 812006"/>
                  <a:gd name="connsiteX65" fmla="*/ 611982 w 912019"/>
                  <a:gd name="connsiteY65" fmla="*/ 288131 h 812006"/>
                  <a:gd name="connsiteX66" fmla="*/ 540544 w 912019"/>
                  <a:gd name="connsiteY66" fmla="*/ 188118 h 812006"/>
                  <a:gd name="connsiteX67" fmla="*/ 490538 w 912019"/>
                  <a:gd name="connsiteY67" fmla="*/ 100012 h 812006"/>
                  <a:gd name="connsiteX68" fmla="*/ 464344 w 912019"/>
                  <a:gd name="connsiteY68" fmla="*/ 0 h 812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912019" h="812006">
                    <a:moveTo>
                      <a:pt x="464344" y="0"/>
                    </a:moveTo>
                    <a:lnTo>
                      <a:pt x="369094" y="21431"/>
                    </a:lnTo>
                    <a:lnTo>
                      <a:pt x="352425" y="42862"/>
                    </a:lnTo>
                    <a:lnTo>
                      <a:pt x="330994" y="61912"/>
                    </a:lnTo>
                    <a:lnTo>
                      <a:pt x="314325" y="57150"/>
                    </a:lnTo>
                    <a:lnTo>
                      <a:pt x="278607" y="57150"/>
                    </a:lnTo>
                    <a:lnTo>
                      <a:pt x="264319" y="90487"/>
                    </a:lnTo>
                    <a:lnTo>
                      <a:pt x="257175" y="102393"/>
                    </a:lnTo>
                    <a:lnTo>
                      <a:pt x="185738" y="138112"/>
                    </a:lnTo>
                    <a:lnTo>
                      <a:pt x="202407" y="150018"/>
                    </a:lnTo>
                    <a:lnTo>
                      <a:pt x="207169" y="171450"/>
                    </a:lnTo>
                    <a:lnTo>
                      <a:pt x="197644" y="197643"/>
                    </a:lnTo>
                    <a:lnTo>
                      <a:pt x="159544" y="207168"/>
                    </a:lnTo>
                    <a:lnTo>
                      <a:pt x="102394" y="190500"/>
                    </a:lnTo>
                    <a:lnTo>
                      <a:pt x="83344" y="221456"/>
                    </a:lnTo>
                    <a:lnTo>
                      <a:pt x="90488" y="264318"/>
                    </a:lnTo>
                    <a:lnTo>
                      <a:pt x="73819" y="278606"/>
                    </a:lnTo>
                    <a:lnTo>
                      <a:pt x="50007" y="295275"/>
                    </a:lnTo>
                    <a:lnTo>
                      <a:pt x="85725" y="335756"/>
                    </a:lnTo>
                    <a:lnTo>
                      <a:pt x="97632" y="371475"/>
                    </a:lnTo>
                    <a:lnTo>
                      <a:pt x="121444" y="404812"/>
                    </a:lnTo>
                    <a:lnTo>
                      <a:pt x="154782" y="440531"/>
                    </a:lnTo>
                    <a:lnTo>
                      <a:pt x="176213" y="454818"/>
                    </a:lnTo>
                    <a:lnTo>
                      <a:pt x="178594" y="478631"/>
                    </a:lnTo>
                    <a:lnTo>
                      <a:pt x="159544" y="502443"/>
                    </a:lnTo>
                    <a:lnTo>
                      <a:pt x="135732" y="502443"/>
                    </a:lnTo>
                    <a:lnTo>
                      <a:pt x="114300" y="502443"/>
                    </a:lnTo>
                    <a:lnTo>
                      <a:pt x="97632" y="492918"/>
                    </a:lnTo>
                    <a:lnTo>
                      <a:pt x="33338" y="461962"/>
                    </a:lnTo>
                    <a:lnTo>
                      <a:pt x="30957" y="492918"/>
                    </a:lnTo>
                    <a:lnTo>
                      <a:pt x="11907" y="500062"/>
                    </a:lnTo>
                    <a:lnTo>
                      <a:pt x="0" y="528637"/>
                    </a:lnTo>
                    <a:lnTo>
                      <a:pt x="11907" y="569118"/>
                    </a:lnTo>
                    <a:lnTo>
                      <a:pt x="102394" y="595312"/>
                    </a:lnTo>
                    <a:lnTo>
                      <a:pt x="180975" y="640556"/>
                    </a:lnTo>
                    <a:lnTo>
                      <a:pt x="192882" y="714375"/>
                    </a:lnTo>
                    <a:lnTo>
                      <a:pt x="221457" y="700087"/>
                    </a:lnTo>
                    <a:lnTo>
                      <a:pt x="269082" y="742950"/>
                    </a:lnTo>
                    <a:lnTo>
                      <a:pt x="302419" y="735806"/>
                    </a:lnTo>
                    <a:lnTo>
                      <a:pt x="347663" y="709612"/>
                    </a:lnTo>
                    <a:lnTo>
                      <a:pt x="366713" y="728662"/>
                    </a:lnTo>
                    <a:lnTo>
                      <a:pt x="402432" y="762000"/>
                    </a:lnTo>
                    <a:lnTo>
                      <a:pt x="402432" y="762000"/>
                    </a:lnTo>
                    <a:lnTo>
                      <a:pt x="459582" y="785812"/>
                    </a:lnTo>
                    <a:lnTo>
                      <a:pt x="478632" y="812006"/>
                    </a:lnTo>
                    <a:lnTo>
                      <a:pt x="478632" y="812006"/>
                    </a:lnTo>
                    <a:lnTo>
                      <a:pt x="478632" y="783431"/>
                    </a:lnTo>
                    <a:lnTo>
                      <a:pt x="533400" y="800100"/>
                    </a:lnTo>
                    <a:lnTo>
                      <a:pt x="545307" y="735806"/>
                    </a:lnTo>
                    <a:lnTo>
                      <a:pt x="590550" y="733425"/>
                    </a:lnTo>
                    <a:lnTo>
                      <a:pt x="578644" y="707231"/>
                    </a:lnTo>
                    <a:lnTo>
                      <a:pt x="657225" y="652462"/>
                    </a:lnTo>
                    <a:lnTo>
                      <a:pt x="669132" y="683418"/>
                    </a:lnTo>
                    <a:lnTo>
                      <a:pt x="726282" y="681037"/>
                    </a:lnTo>
                    <a:lnTo>
                      <a:pt x="740569" y="685800"/>
                    </a:lnTo>
                    <a:lnTo>
                      <a:pt x="745332" y="754856"/>
                    </a:lnTo>
                    <a:lnTo>
                      <a:pt x="850107" y="640556"/>
                    </a:lnTo>
                    <a:lnTo>
                      <a:pt x="912019" y="547687"/>
                    </a:lnTo>
                    <a:lnTo>
                      <a:pt x="876300" y="542925"/>
                    </a:lnTo>
                    <a:lnTo>
                      <a:pt x="866775" y="481012"/>
                    </a:lnTo>
                    <a:lnTo>
                      <a:pt x="831057" y="457200"/>
                    </a:lnTo>
                    <a:lnTo>
                      <a:pt x="781050" y="457200"/>
                    </a:lnTo>
                    <a:lnTo>
                      <a:pt x="721519" y="395287"/>
                    </a:lnTo>
                    <a:lnTo>
                      <a:pt x="711994" y="345281"/>
                    </a:lnTo>
                    <a:lnTo>
                      <a:pt x="645319" y="314325"/>
                    </a:lnTo>
                    <a:lnTo>
                      <a:pt x="611982" y="288131"/>
                    </a:lnTo>
                    <a:lnTo>
                      <a:pt x="540544" y="188118"/>
                    </a:lnTo>
                    <a:lnTo>
                      <a:pt x="490538" y="100012"/>
                    </a:lnTo>
                    <a:lnTo>
                      <a:pt x="46434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4" name="Figura a mano libera 60">
                <a:extLst>
                  <a:ext uri="{FF2B5EF4-FFF2-40B4-BE49-F238E27FC236}">
                    <a16:creationId xmlns:a16="http://schemas.microsoft.com/office/drawing/2014/main" id="{95242BD2-58AB-4223-B508-944B9D700AF2}"/>
                  </a:ext>
                </a:extLst>
              </p:cNvPr>
              <p:cNvSpPr/>
              <p:nvPr/>
            </p:nvSpPr>
            <p:spPr bwMode="auto">
              <a:xfrm>
                <a:off x="1265007" y="1782040"/>
                <a:ext cx="999857" cy="426465"/>
              </a:xfrm>
              <a:custGeom>
                <a:avLst/>
                <a:gdLst>
                  <a:gd name="connsiteX0" fmla="*/ 1176337 w 1245394"/>
                  <a:gd name="connsiteY0" fmla="*/ 335756 h 545306"/>
                  <a:gd name="connsiteX1" fmla="*/ 1228725 w 1245394"/>
                  <a:gd name="connsiteY1" fmla="*/ 335756 h 545306"/>
                  <a:gd name="connsiteX2" fmla="*/ 1245394 w 1245394"/>
                  <a:gd name="connsiteY2" fmla="*/ 378618 h 545306"/>
                  <a:gd name="connsiteX3" fmla="*/ 1204912 w 1245394"/>
                  <a:gd name="connsiteY3" fmla="*/ 381000 h 545306"/>
                  <a:gd name="connsiteX4" fmla="*/ 1190625 w 1245394"/>
                  <a:gd name="connsiteY4" fmla="*/ 409575 h 545306"/>
                  <a:gd name="connsiteX5" fmla="*/ 1176337 w 1245394"/>
                  <a:gd name="connsiteY5" fmla="*/ 390525 h 545306"/>
                  <a:gd name="connsiteX6" fmla="*/ 1162050 w 1245394"/>
                  <a:gd name="connsiteY6" fmla="*/ 407193 h 545306"/>
                  <a:gd name="connsiteX7" fmla="*/ 1173956 w 1245394"/>
                  <a:gd name="connsiteY7" fmla="*/ 438150 h 545306"/>
                  <a:gd name="connsiteX8" fmla="*/ 1173956 w 1245394"/>
                  <a:gd name="connsiteY8" fmla="*/ 438150 h 545306"/>
                  <a:gd name="connsiteX9" fmla="*/ 1073944 w 1245394"/>
                  <a:gd name="connsiteY9" fmla="*/ 352425 h 545306"/>
                  <a:gd name="connsiteX10" fmla="*/ 1014412 w 1245394"/>
                  <a:gd name="connsiteY10" fmla="*/ 307181 h 545306"/>
                  <a:gd name="connsiteX11" fmla="*/ 978694 w 1245394"/>
                  <a:gd name="connsiteY11" fmla="*/ 273843 h 545306"/>
                  <a:gd name="connsiteX12" fmla="*/ 947737 w 1245394"/>
                  <a:gd name="connsiteY12" fmla="*/ 245268 h 545306"/>
                  <a:gd name="connsiteX13" fmla="*/ 885825 w 1245394"/>
                  <a:gd name="connsiteY13" fmla="*/ 219075 h 545306"/>
                  <a:gd name="connsiteX14" fmla="*/ 869156 w 1245394"/>
                  <a:gd name="connsiteY14" fmla="*/ 223837 h 545306"/>
                  <a:gd name="connsiteX15" fmla="*/ 859631 w 1245394"/>
                  <a:gd name="connsiteY15" fmla="*/ 240506 h 545306"/>
                  <a:gd name="connsiteX16" fmla="*/ 845344 w 1245394"/>
                  <a:gd name="connsiteY16" fmla="*/ 226218 h 545306"/>
                  <a:gd name="connsiteX17" fmla="*/ 828675 w 1245394"/>
                  <a:gd name="connsiteY17" fmla="*/ 204787 h 545306"/>
                  <a:gd name="connsiteX18" fmla="*/ 788194 w 1245394"/>
                  <a:gd name="connsiteY18" fmla="*/ 192881 h 545306"/>
                  <a:gd name="connsiteX19" fmla="*/ 707231 w 1245394"/>
                  <a:gd name="connsiteY19" fmla="*/ 164306 h 545306"/>
                  <a:gd name="connsiteX20" fmla="*/ 671512 w 1245394"/>
                  <a:gd name="connsiteY20" fmla="*/ 150018 h 545306"/>
                  <a:gd name="connsiteX21" fmla="*/ 614362 w 1245394"/>
                  <a:gd name="connsiteY21" fmla="*/ 171450 h 545306"/>
                  <a:gd name="connsiteX22" fmla="*/ 550069 w 1245394"/>
                  <a:gd name="connsiteY22" fmla="*/ 200025 h 545306"/>
                  <a:gd name="connsiteX23" fmla="*/ 483394 w 1245394"/>
                  <a:gd name="connsiteY23" fmla="*/ 235743 h 545306"/>
                  <a:gd name="connsiteX24" fmla="*/ 466725 w 1245394"/>
                  <a:gd name="connsiteY24" fmla="*/ 280987 h 545306"/>
                  <a:gd name="connsiteX25" fmla="*/ 445294 w 1245394"/>
                  <a:gd name="connsiteY25" fmla="*/ 314325 h 545306"/>
                  <a:gd name="connsiteX26" fmla="*/ 388144 w 1245394"/>
                  <a:gd name="connsiteY26" fmla="*/ 326231 h 545306"/>
                  <a:gd name="connsiteX27" fmla="*/ 364331 w 1245394"/>
                  <a:gd name="connsiteY27" fmla="*/ 369093 h 545306"/>
                  <a:gd name="connsiteX28" fmla="*/ 369094 w 1245394"/>
                  <a:gd name="connsiteY28" fmla="*/ 388143 h 545306"/>
                  <a:gd name="connsiteX29" fmla="*/ 342900 w 1245394"/>
                  <a:gd name="connsiteY29" fmla="*/ 411956 h 545306"/>
                  <a:gd name="connsiteX30" fmla="*/ 321469 w 1245394"/>
                  <a:gd name="connsiteY30" fmla="*/ 442912 h 545306"/>
                  <a:gd name="connsiteX31" fmla="*/ 311944 w 1245394"/>
                  <a:gd name="connsiteY31" fmla="*/ 478631 h 545306"/>
                  <a:gd name="connsiteX32" fmla="*/ 273844 w 1245394"/>
                  <a:gd name="connsiteY32" fmla="*/ 478631 h 545306"/>
                  <a:gd name="connsiteX33" fmla="*/ 235744 w 1245394"/>
                  <a:gd name="connsiteY33" fmla="*/ 502443 h 545306"/>
                  <a:gd name="connsiteX34" fmla="*/ 159544 w 1245394"/>
                  <a:gd name="connsiteY34" fmla="*/ 504825 h 545306"/>
                  <a:gd name="connsiteX35" fmla="*/ 126206 w 1245394"/>
                  <a:gd name="connsiteY35" fmla="*/ 521493 h 545306"/>
                  <a:gd name="connsiteX36" fmla="*/ 95250 w 1245394"/>
                  <a:gd name="connsiteY36" fmla="*/ 540543 h 545306"/>
                  <a:gd name="connsiteX37" fmla="*/ 64294 w 1245394"/>
                  <a:gd name="connsiteY37" fmla="*/ 542925 h 545306"/>
                  <a:gd name="connsiteX38" fmla="*/ 50006 w 1245394"/>
                  <a:gd name="connsiteY38" fmla="*/ 528637 h 545306"/>
                  <a:gd name="connsiteX39" fmla="*/ 28575 w 1245394"/>
                  <a:gd name="connsiteY39" fmla="*/ 545306 h 545306"/>
                  <a:gd name="connsiteX40" fmla="*/ 0 w 1245394"/>
                  <a:gd name="connsiteY40" fmla="*/ 545306 h 545306"/>
                  <a:gd name="connsiteX41" fmla="*/ 2381 w 1245394"/>
                  <a:gd name="connsiteY41" fmla="*/ 471487 h 545306"/>
                  <a:gd name="connsiteX42" fmla="*/ 35719 w 1245394"/>
                  <a:gd name="connsiteY42" fmla="*/ 454818 h 545306"/>
                  <a:gd name="connsiteX43" fmla="*/ 100012 w 1245394"/>
                  <a:gd name="connsiteY43" fmla="*/ 381000 h 545306"/>
                  <a:gd name="connsiteX44" fmla="*/ 130969 w 1245394"/>
                  <a:gd name="connsiteY44" fmla="*/ 340518 h 545306"/>
                  <a:gd name="connsiteX45" fmla="*/ 154781 w 1245394"/>
                  <a:gd name="connsiteY45" fmla="*/ 307181 h 545306"/>
                  <a:gd name="connsiteX46" fmla="*/ 219075 w 1245394"/>
                  <a:gd name="connsiteY46" fmla="*/ 338137 h 545306"/>
                  <a:gd name="connsiteX47" fmla="*/ 261937 w 1245394"/>
                  <a:gd name="connsiteY47" fmla="*/ 335756 h 545306"/>
                  <a:gd name="connsiteX48" fmla="*/ 283369 w 1245394"/>
                  <a:gd name="connsiteY48" fmla="*/ 302418 h 545306"/>
                  <a:gd name="connsiteX49" fmla="*/ 314325 w 1245394"/>
                  <a:gd name="connsiteY49" fmla="*/ 319087 h 545306"/>
                  <a:gd name="connsiteX50" fmla="*/ 316706 w 1245394"/>
                  <a:gd name="connsiteY50" fmla="*/ 273843 h 545306"/>
                  <a:gd name="connsiteX51" fmla="*/ 328612 w 1245394"/>
                  <a:gd name="connsiteY51" fmla="*/ 178593 h 545306"/>
                  <a:gd name="connsiteX52" fmla="*/ 354806 w 1245394"/>
                  <a:gd name="connsiteY52" fmla="*/ 157162 h 545306"/>
                  <a:gd name="connsiteX53" fmla="*/ 392906 w 1245394"/>
                  <a:gd name="connsiteY53" fmla="*/ 104775 h 545306"/>
                  <a:gd name="connsiteX54" fmla="*/ 402431 w 1245394"/>
                  <a:gd name="connsiteY54" fmla="*/ 71437 h 545306"/>
                  <a:gd name="connsiteX55" fmla="*/ 459581 w 1245394"/>
                  <a:gd name="connsiteY55" fmla="*/ 107156 h 545306"/>
                  <a:gd name="connsiteX56" fmla="*/ 528637 w 1245394"/>
                  <a:gd name="connsiteY56" fmla="*/ 88106 h 545306"/>
                  <a:gd name="connsiteX57" fmla="*/ 557212 w 1245394"/>
                  <a:gd name="connsiteY57" fmla="*/ 107156 h 545306"/>
                  <a:gd name="connsiteX58" fmla="*/ 590550 w 1245394"/>
                  <a:gd name="connsiteY58" fmla="*/ 45243 h 545306"/>
                  <a:gd name="connsiteX59" fmla="*/ 652462 w 1245394"/>
                  <a:gd name="connsiteY59" fmla="*/ 54768 h 545306"/>
                  <a:gd name="connsiteX60" fmla="*/ 676275 w 1245394"/>
                  <a:gd name="connsiteY60" fmla="*/ 102393 h 545306"/>
                  <a:gd name="connsiteX61" fmla="*/ 704850 w 1245394"/>
                  <a:gd name="connsiteY61" fmla="*/ 71437 h 545306"/>
                  <a:gd name="connsiteX62" fmla="*/ 742950 w 1245394"/>
                  <a:gd name="connsiteY62" fmla="*/ 80962 h 545306"/>
                  <a:gd name="connsiteX63" fmla="*/ 742950 w 1245394"/>
                  <a:gd name="connsiteY63" fmla="*/ 42862 h 545306"/>
                  <a:gd name="connsiteX64" fmla="*/ 776287 w 1245394"/>
                  <a:gd name="connsiteY64" fmla="*/ 0 h 545306"/>
                  <a:gd name="connsiteX65" fmla="*/ 814387 w 1245394"/>
                  <a:gd name="connsiteY65" fmla="*/ 42862 h 545306"/>
                  <a:gd name="connsiteX66" fmla="*/ 852487 w 1245394"/>
                  <a:gd name="connsiteY66" fmla="*/ 61912 h 545306"/>
                  <a:gd name="connsiteX67" fmla="*/ 859631 w 1245394"/>
                  <a:gd name="connsiteY67" fmla="*/ 78581 h 545306"/>
                  <a:gd name="connsiteX68" fmla="*/ 883444 w 1245394"/>
                  <a:gd name="connsiteY68" fmla="*/ 42862 h 545306"/>
                  <a:gd name="connsiteX69" fmla="*/ 928687 w 1245394"/>
                  <a:gd name="connsiteY69" fmla="*/ 76200 h 545306"/>
                  <a:gd name="connsiteX70" fmla="*/ 983456 w 1245394"/>
                  <a:gd name="connsiteY70" fmla="*/ 69056 h 545306"/>
                  <a:gd name="connsiteX71" fmla="*/ 1000125 w 1245394"/>
                  <a:gd name="connsiteY71" fmla="*/ 80962 h 545306"/>
                  <a:gd name="connsiteX72" fmla="*/ 1021556 w 1245394"/>
                  <a:gd name="connsiteY72" fmla="*/ 104775 h 545306"/>
                  <a:gd name="connsiteX73" fmla="*/ 1002506 w 1245394"/>
                  <a:gd name="connsiteY73" fmla="*/ 178593 h 545306"/>
                  <a:gd name="connsiteX74" fmla="*/ 1042987 w 1245394"/>
                  <a:gd name="connsiteY74" fmla="*/ 180975 h 545306"/>
                  <a:gd name="connsiteX75" fmla="*/ 1092994 w 1245394"/>
                  <a:gd name="connsiteY75" fmla="*/ 173831 h 545306"/>
                  <a:gd name="connsiteX76" fmla="*/ 1092994 w 1245394"/>
                  <a:gd name="connsiteY76" fmla="*/ 207168 h 545306"/>
                  <a:gd name="connsiteX77" fmla="*/ 1114425 w 1245394"/>
                  <a:gd name="connsiteY77" fmla="*/ 230981 h 545306"/>
                  <a:gd name="connsiteX78" fmla="*/ 1150144 w 1245394"/>
                  <a:gd name="connsiteY78" fmla="*/ 276225 h 545306"/>
                  <a:gd name="connsiteX79" fmla="*/ 1171575 w 1245394"/>
                  <a:gd name="connsiteY79" fmla="*/ 285750 h 545306"/>
                  <a:gd name="connsiteX80" fmla="*/ 1176337 w 1245394"/>
                  <a:gd name="connsiteY80" fmla="*/ 335756 h 545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1245394" h="545306">
                    <a:moveTo>
                      <a:pt x="1176337" y="335756"/>
                    </a:moveTo>
                    <a:lnTo>
                      <a:pt x="1228725" y="335756"/>
                    </a:lnTo>
                    <a:lnTo>
                      <a:pt x="1245394" y="378618"/>
                    </a:lnTo>
                    <a:lnTo>
                      <a:pt x="1204912" y="381000"/>
                    </a:lnTo>
                    <a:lnTo>
                      <a:pt x="1190625" y="409575"/>
                    </a:lnTo>
                    <a:lnTo>
                      <a:pt x="1176337" y="390525"/>
                    </a:lnTo>
                    <a:lnTo>
                      <a:pt x="1162050" y="407193"/>
                    </a:lnTo>
                    <a:lnTo>
                      <a:pt x="1173956" y="438150"/>
                    </a:lnTo>
                    <a:lnTo>
                      <a:pt x="1173956" y="438150"/>
                    </a:lnTo>
                    <a:lnTo>
                      <a:pt x="1073944" y="352425"/>
                    </a:lnTo>
                    <a:lnTo>
                      <a:pt x="1014412" y="307181"/>
                    </a:lnTo>
                    <a:lnTo>
                      <a:pt x="978694" y="273843"/>
                    </a:lnTo>
                    <a:lnTo>
                      <a:pt x="947737" y="245268"/>
                    </a:lnTo>
                    <a:lnTo>
                      <a:pt x="885825" y="219075"/>
                    </a:lnTo>
                    <a:lnTo>
                      <a:pt x="869156" y="223837"/>
                    </a:lnTo>
                    <a:lnTo>
                      <a:pt x="859631" y="240506"/>
                    </a:lnTo>
                    <a:lnTo>
                      <a:pt x="845344" y="226218"/>
                    </a:lnTo>
                    <a:lnTo>
                      <a:pt x="828675" y="204787"/>
                    </a:lnTo>
                    <a:lnTo>
                      <a:pt x="788194" y="192881"/>
                    </a:lnTo>
                    <a:lnTo>
                      <a:pt x="707231" y="164306"/>
                    </a:lnTo>
                    <a:lnTo>
                      <a:pt x="671512" y="150018"/>
                    </a:lnTo>
                    <a:lnTo>
                      <a:pt x="614362" y="171450"/>
                    </a:lnTo>
                    <a:lnTo>
                      <a:pt x="550069" y="200025"/>
                    </a:lnTo>
                    <a:lnTo>
                      <a:pt x="483394" y="235743"/>
                    </a:lnTo>
                    <a:lnTo>
                      <a:pt x="466725" y="280987"/>
                    </a:lnTo>
                    <a:lnTo>
                      <a:pt x="445294" y="314325"/>
                    </a:lnTo>
                    <a:lnTo>
                      <a:pt x="388144" y="326231"/>
                    </a:lnTo>
                    <a:lnTo>
                      <a:pt x="364331" y="369093"/>
                    </a:lnTo>
                    <a:lnTo>
                      <a:pt x="369094" y="388143"/>
                    </a:lnTo>
                    <a:lnTo>
                      <a:pt x="342900" y="411956"/>
                    </a:lnTo>
                    <a:lnTo>
                      <a:pt x="321469" y="442912"/>
                    </a:lnTo>
                    <a:lnTo>
                      <a:pt x="311944" y="478631"/>
                    </a:lnTo>
                    <a:lnTo>
                      <a:pt x="273844" y="478631"/>
                    </a:lnTo>
                    <a:lnTo>
                      <a:pt x="235744" y="502443"/>
                    </a:lnTo>
                    <a:lnTo>
                      <a:pt x="159544" y="504825"/>
                    </a:lnTo>
                    <a:lnTo>
                      <a:pt x="126206" y="521493"/>
                    </a:lnTo>
                    <a:lnTo>
                      <a:pt x="95250" y="540543"/>
                    </a:lnTo>
                    <a:lnTo>
                      <a:pt x="64294" y="542925"/>
                    </a:lnTo>
                    <a:lnTo>
                      <a:pt x="50006" y="528637"/>
                    </a:lnTo>
                    <a:lnTo>
                      <a:pt x="28575" y="545306"/>
                    </a:lnTo>
                    <a:lnTo>
                      <a:pt x="0" y="545306"/>
                    </a:lnTo>
                    <a:cubicBezTo>
                      <a:pt x="794" y="520700"/>
                      <a:pt x="1587" y="496093"/>
                      <a:pt x="2381" y="471487"/>
                    </a:cubicBezTo>
                    <a:lnTo>
                      <a:pt x="35719" y="454818"/>
                    </a:lnTo>
                    <a:lnTo>
                      <a:pt x="100012" y="381000"/>
                    </a:lnTo>
                    <a:lnTo>
                      <a:pt x="130969" y="340518"/>
                    </a:lnTo>
                    <a:lnTo>
                      <a:pt x="154781" y="307181"/>
                    </a:lnTo>
                    <a:lnTo>
                      <a:pt x="219075" y="338137"/>
                    </a:lnTo>
                    <a:lnTo>
                      <a:pt x="261937" y="335756"/>
                    </a:lnTo>
                    <a:lnTo>
                      <a:pt x="283369" y="302418"/>
                    </a:lnTo>
                    <a:lnTo>
                      <a:pt x="314325" y="319087"/>
                    </a:lnTo>
                    <a:lnTo>
                      <a:pt x="316706" y="273843"/>
                    </a:lnTo>
                    <a:lnTo>
                      <a:pt x="328612" y="178593"/>
                    </a:lnTo>
                    <a:lnTo>
                      <a:pt x="354806" y="157162"/>
                    </a:lnTo>
                    <a:lnTo>
                      <a:pt x="392906" y="104775"/>
                    </a:lnTo>
                    <a:lnTo>
                      <a:pt x="402431" y="71437"/>
                    </a:lnTo>
                    <a:lnTo>
                      <a:pt x="459581" y="107156"/>
                    </a:lnTo>
                    <a:lnTo>
                      <a:pt x="528637" y="88106"/>
                    </a:lnTo>
                    <a:lnTo>
                      <a:pt x="557212" y="107156"/>
                    </a:lnTo>
                    <a:lnTo>
                      <a:pt x="590550" y="45243"/>
                    </a:lnTo>
                    <a:lnTo>
                      <a:pt x="652462" y="54768"/>
                    </a:lnTo>
                    <a:lnTo>
                      <a:pt x="676275" y="102393"/>
                    </a:lnTo>
                    <a:lnTo>
                      <a:pt x="704850" y="71437"/>
                    </a:lnTo>
                    <a:lnTo>
                      <a:pt x="742950" y="80962"/>
                    </a:lnTo>
                    <a:lnTo>
                      <a:pt x="742950" y="42862"/>
                    </a:lnTo>
                    <a:lnTo>
                      <a:pt x="776287" y="0"/>
                    </a:lnTo>
                    <a:lnTo>
                      <a:pt x="814387" y="42862"/>
                    </a:lnTo>
                    <a:lnTo>
                      <a:pt x="852487" y="61912"/>
                    </a:lnTo>
                    <a:lnTo>
                      <a:pt x="859631" y="78581"/>
                    </a:lnTo>
                    <a:lnTo>
                      <a:pt x="883444" y="42862"/>
                    </a:lnTo>
                    <a:lnTo>
                      <a:pt x="928687" y="76200"/>
                    </a:lnTo>
                    <a:lnTo>
                      <a:pt x="983456" y="69056"/>
                    </a:lnTo>
                    <a:lnTo>
                      <a:pt x="1000125" y="80962"/>
                    </a:lnTo>
                    <a:lnTo>
                      <a:pt x="1021556" y="104775"/>
                    </a:lnTo>
                    <a:lnTo>
                      <a:pt x="1002506" y="178593"/>
                    </a:lnTo>
                    <a:lnTo>
                      <a:pt x="1042987" y="180975"/>
                    </a:lnTo>
                    <a:lnTo>
                      <a:pt x="1092994" y="173831"/>
                    </a:lnTo>
                    <a:lnTo>
                      <a:pt x="1092994" y="207168"/>
                    </a:lnTo>
                    <a:lnTo>
                      <a:pt x="1114425" y="230981"/>
                    </a:lnTo>
                    <a:lnTo>
                      <a:pt x="1150144" y="276225"/>
                    </a:lnTo>
                    <a:lnTo>
                      <a:pt x="1171575" y="285750"/>
                    </a:lnTo>
                    <a:lnTo>
                      <a:pt x="1176337" y="3357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5" name="Figura a mano libera 61">
                <a:extLst>
                  <a:ext uri="{FF2B5EF4-FFF2-40B4-BE49-F238E27FC236}">
                    <a16:creationId xmlns:a16="http://schemas.microsoft.com/office/drawing/2014/main" id="{4F02E92C-3CE0-4A87-AC4A-3CDD2BEA5EE1}"/>
                  </a:ext>
                </a:extLst>
              </p:cNvPr>
              <p:cNvSpPr/>
              <p:nvPr/>
            </p:nvSpPr>
            <p:spPr bwMode="auto">
              <a:xfrm>
                <a:off x="1963718" y="1571006"/>
                <a:ext cx="1422646" cy="741550"/>
              </a:xfrm>
              <a:custGeom>
                <a:avLst/>
                <a:gdLst>
                  <a:gd name="connsiteX0" fmla="*/ 11906 w 1774031"/>
                  <a:gd name="connsiteY0" fmla="*/ 311944 h 947738"/>
                  <a:gd name="connsiteX1" fmla="*/ 0 w 1774031"/>
                  <a:gd name="connsiteY1" fmla="*/ 292894 h 947738"/>
                  <a:gd name="connsiteX2" fmla="*/ 16669 w 1774031"/>
                  <a:gd name="connsiteY2" fmla="*/ 264319 h 947738"/>
                  <a:gd name="connsiteX3" fmla="*/ 52388 w 1774031"/>
                  <a:gd name="connsiteY3" fmla="*/ 266700 h 947738"/>
                  <a:gd name="connsiteX4" fmla="*/ 52388 w 1774031"/>
                  <a:gd name="connsiteY4" fmla="*/ 266700 h 947738"/>
                  <a:gd name="connsiteX5" fmla="*/ 83344 w 1774031"/>
                  <a:gd name="connsiteY5" fmla="*/ 242888 h 947738"/>
                  <a:gd name="connsiteX6" fmla="*/ 54769 w 1774031"/>
                  <a:gd name="connsiteY6" fmla="*/ 211932 h 947738"/>
                  <a:gd name="connsiteX7" fmla="*/ 85725 w 1774031"/>
                  <a:gd name="connsiteY7" fmla="*/ 180975 h 947738"/>
                  <a:gd name="connsiteX8" fmla="*/ 95250 w 1774031"/>
                  <a:gd name="connsiteY8" fmla="*/ 142875 h 947738"/>
                  <a:gd name="connsiteX9" fmla="*/ 64294 w 1774031"/>
                  <a:gd name="connsiteY9" fmla="*/ 135732 h 947738"/>
                  <a:gd name="connsiteX10" fmla="*/ 76200 w 1774031"/>
                  <a:gd name="connsiteY10" fmla="*/ 90488 h 947738"/>
                  <a:gd name="connsiteX11" fmla="*/ 121444 w 1774031"/>
                  <a:gd name="connsiteY11" fmla="*/ 33338 h 947738"/>
                  <a:gd name="connsiteX12" fmla="*/ 133350 w 1774031"/>
                  <a:gd name="connsiteY12" fmla="*/ 16669 h 947738"/>
                  <a:gd name="connsiteX13" fmla="*/ 145256 w 1774031"/>
                  <a:gd name="connsiteY13" fmla="*/ 4763 h 947738"/>
                  <a:gd name="connsiteX14" fmla="*/ 178594 w 1774031"/>
                  <a:gd name="connsiteY14" fmla="*/ 2382 h 947738"/>
                  <a:gd name="connsiteX15" fmla="*/ 180975 w 1774031"/>
                  <a:gd name="connsiteY15" fmla="*/ 21432 h 947738"/>
                  <a:gd name="connsiteX16" fmla="*/ 204788 w 1774031"/>
                  <a:gd name="connsiteY16" fmla="*/ 33338 h 947738"/>
                  <a:gd name="connsiteX17" fmla="*/ 235744 w 1774031"/>
                  <a:gd name="connsiteY17" fmla="*/ 33338 h 947738"/>
                  <a:gd name="connsiteX18" fmla="*/ 271463 w 1774031"/>
                  <a:gd name="connsiteY18" fmla="*/ 23813 h 947738"/>
                  <a:gd name="connsiteX19" fmla="*/ 295275 w 1774031"/>
                  <a:gd name="connsiteY19" fmla="*/ 11907 h 947738"/>
                  <a:gd name="connsiteX20" fmla="*/ 297656 w 1774031"/>
                  <a:gd name="connsiteY20" fmla="*/ 23813 h 947738"/>
                  <a:gd name="connsiteX21" fmla="*/ 328613 w 1774031"/>
                  <a:gd name="connsiteY21" fmla="*/ 23813 h 947738"/>
                  <a:gd name="connsiteX22" fmla="*/ 328613 w 1774031"/>
                  <a:gd name="connsiteY22" fmla="*/ 23813 h 947738"/>
                  <a:gd name="connsiteX23" fmla="*/ 371475 w 1774031"/>
                  <a:gd name="connsiteY23" fmla="*/ 0 h 947738"/>
                  <a:gd name="connsiteX24" fmla="*/ 376238 w 1774031"/>
                  <a:gd name="connsiteY24" fmla="*/ 28575 h 947738"/>
                  <a:gd name="connsiteX25" fmla="*/ 411956 w 1774031"/>
                  <a:gd name="connsiteY25" fmla="*/ 2382 h 947738"/>
                  <a:gd name="connsiteX26" fmla="*/ 440531 w 1774031"/>
                  <a:gd name="connsiteY26" fmla="*/ 23813 h 947738"/>
                  <a:gd name="connsiteX27" fmla="*/ 445294 w 1774031"/>
                  <a:gd name="connsiteY27" fmla="*/ 50007 h 947738"/>
                  <a:gd name="connsiteX28" fmla="*/ 466725 w 1774031"/>
                  <a:gd name="connsiteY28" fmla="*/ 66675 h 947738"/>
                  <a:gd name="connsiteX29" fmla="*/ 514350 w 1774031"/>
                  <a:gd name="connsiteY29" fmla="*/ 59532 h 947738"/>
                  <a:gd name="connsiteX30" fmla="*/ 514350 w 1774031"/>
                  <a:gd name="connsiteY30" fmla="*/ 83344 h 947738"/>
                  <a:gd name="connsiteX31" fmla="*/ 545306 w 1774031"/>
                  <a:gd name="connsiteY31" fmla="*/ 85725 h 947738"/>
                  <a:gd name="connsiteX32" fmla="*/ 564356 w 1774031"/>
                  <a:gd name="connsiteY32" fmla="*/ 102394 h 947738"/>
                  <a:gd name="connsiteX33" fmla="*/ 583406 w 1774031"/>
                  <a:gd name="connsiteY33" fmla="*/ 111919 h 947738"/>
                  <a:gd name="connsiteX34" fmla="*/ 602456 w 1774031"/>
                  <a:gd name="connsiteY34" fmla="*/ 119063 h 947738"/>
                  <a:gd name="connsiteX35" fmla="*/ 647700 w 1774031"/>
                  <a:gd name="connsiteY35" fmla="*/ 142875 h 947738"/>
                  <a:gd name="connsiteX36" fmla="*/ 700088 w 1774031"/>
                  <a:gd name="connsiteY36" fmla="*/ 164307 h 947738"/>
                  <a:gd name="connsiteX37" fmla="*/ 750094 w 1774031"/>
                  <a:gd name="connsiteY37" fmla="*/ 121444 h 947738"/>
                  <a:gd name="connsiteX38" fmla="*/ 766763 w 1774031"/>
                  <a:gd name="connsiteY38" fmla="*/ 109538 h 947738"/>
                  <a:gd name="connsiteX39" fmla="*/ 785813 w 1774031"/>
                  <a:gd name="connsiteY39" fmla="*/ 135732 h 947738"/>
                  <a:gd name="connsiteX40" fmla="*/ 807244 w 1774031"/>
                  <a:gd name="connsiteY40" fmla="*/ 152400 h 947738"/>
                  <a:gd name="connsiteX41" fmla="*/ 873919 w 1774031"/>
                  <a:gd name="connsiteY41" fmla="*/ 157163 h 947738"/>
                  <a:gd name="connsiteX42" fmla="*/ 907256 w 1774031"/>
                  <a:gd name="connsiteY42" fmla="*/ 135732 h 947738"/>
                  <a:gd name="connsiteX43" fmla="*/ 969169 w 1774031"/>
                  <a:gd name="connsiteY43" fmla="*/ 138113 h 947738"/>
                  <a:gd name="connsiteX44" fmla="*/ 992981 w 1774031"/>
                  <a:gd name="connsiteY44" fmla="*/ 145257 h 947738"/>
                  <a:gd name="connsiteX45" fmla="*/ 1023938 w 1774031"/>
                  <a:gd name="connsiteY45" fmla="*/ 147638 h 947738"/>
                  <a:gd name="connsiteX46" fmla="*/ 1066800 w 1774031"/>
                  <a:gd name="connsiteY46" fmla="*/ 133350 h 947738"/>
                  <a:gd name="connsiteX47" fmla="*/ 1131094 w 1774031"/>
                  <a:gd name="connsiteY47" fmla="*/ 142875 h 947738"/>
                  <a:gd name="connsiteX48" fmla="*/ 1176338 w 1774031"/>
                  <a:gd name="connsiteY48" fmla="*/ 161925 h 947738"/>
                  <a:gd name="connsiteX49" fmla="*/ 1200150 w 1774031"/>
                  <a:gd name="connsiteY49" fmla="*/ 192882 h 947738"/>
                  <a:gd name="connsiteX50" fmla="*/ 1264444 w 1774031"/>
                  <a:gd name="connsiteY50" fmla="*/ 157163 h 947738"/>
                  <a:gd name="connsiteX51" fmla="*/ 1314450 w 1774031"/>
                  <a:gd name="connsiteY51" fmla="*/ 130969 h 947738"/>
                  <a:gd name="connsiteX52" fmla="*/ 1354931 w 1774031"/>
                  <a:gd name="connsiteY52" fmla="*/ 138113 h 947738"/>
                  <a:gd name="connsiteX53" fmla="*/ 1409700 w 1774031"/>
                  <a:gd name="connsiteY53" fmla="*/ 138113 h 947738"/>
                  <a:gd name="connsiteX54" fmla="*/ 1438275 w 1774031"/>
                  <a:gd name="connsiteY54" fmla="*/ 157163 h 947738"/>
                  <a:gd name="connsiteX55" fmla="*/ 1495425 w 1774031"/>
                  <a:gd name="connsiteY55" fmla="*/ 183357 h 947738"/>
                  <a:gd name="connsiteX56" fmla="*/ 1524000 w 1774031"/>
                  <a:gd name="connsiteY56" fmla="*/ 157163 h 947738"/>
                  <a:gd name="connsiteX57" fmla="*/ 1540669 w 1774031"/>
                  <a:gd name="connsiteY57" fmla="*/ 226219 h 947738"/>
                  <a:gd name="connsiteX58" fmla="*/ 1512094 w 1774031"/>
                  <a:gd name="connsiteY58" fmla="*/ 247650 h 947738"/>
                  <a:gd name="connsiteX59" fmla="*/ 1500188 w 1774031"/>
                  <a:gd name="connsiteY59" fmla="*/ 288132 h 947738"/>
                  <a:gd name="connsiteX60" fmla="*/ 1512094 w 1774031"/>
                  <a:gd name="connsiteY60" fmla="*/ 364332 h 947738"/>
                  <a:gd name="connsiteX61" fmla="*/ 1524000 w 1774031"/>
                  <a:gd name="connsiteY61" fmla="*/ 452438 h 947738"/>
                  <a:gd name="connsiteX62" fmla="*/ 1526381 w 1774031"/>
                  <a:gd name="connsiteY62" fmla="*/ 490538 h 947738"/>
                  <a:gd name="connsiteX63" fmla="*/ 1552575 w 1774031"/>
                  <a:gd name="connsiteY63" fmla="*/ 559594 h 947738"/>
                  <a:gd name="connsiteX64" fmla="*/ 1559719 w 1774031"/>
                  <a:gd name="connsiteY64" fmla="*/ 607219 h 947738"/>
                  <a:gd name="connsiteX65" fmla="*/ 1574006 w 1774031"/>
                  <a:gd name="connsiteY65" fmla="*/ 664369 h 947738"/>
                  <a:gd name="connsiteX66" fmla="*/ 1638300 w 1774031"/>
                  <a:gd name="connsiteY66" fmla="*/ 723900 h 947738"/>
                  <a:gd name="connsiteX67" fmla="*/ 1674019 w 1774031"/>
                  <a:gd name="connsiteY67" fmla="*/ 759619 h 947738"/>
                  <a:gd name="connsiteX68" fmla="*/ 1712119 w 1774031"/>
                  <a:gd name="connsiteY68" fmla="*/ 788194 h 947738"/>
                  <a:gd name="connsiteX69" fmla="*/ 1750219 w 1774031"/>
                  <a:gd name="connsiteY69" fmla="*/ 804863 h 947738"/>
                  <a:gd name="connsiteX70" fmla="*/ 1774031 w 1774031"/>
                  <a:gd name="connsiteY70" fmla="*/ 812007 h 947738"/>
                  <a:gd name="connsiteX71" fmla="*/ 1747838 w 1774031"/>
                  <a:gd name="connsiteY71" fmla="*/ 869157 h 947738"/>
                  <a:gd name="connsiteX72" fmla="*/ 1716881 w 1774031"/>
                  <a:gd name="connsiteY72" fmla="*/ 876300 h 947738"/>
                  <a:gd name="connsiteX73" fmla="*/ 1690688 w 1774031"/>
                  <a:gd name="connsiteY73" fmla="*/ 904875 h 947738"/>
                  <a:gd name="connsiteX74" fmla="*/ 1654969 w 1774031"/>
                  <a:gd name="connsiteY74" fmla="*/ 873919 h 947738"/>
                  <a:gd name="connsiteX75" fmla="*/ 1621631 w 1774031"/>
                  <a:gd name="connsiteY75" fmla="*/ 831057 h 947738"/>
                  <a:gd name="connsiteX76" fmla="*/ 1595438 w 1774031"/>
                  <a:gd name="connsiteY76" fmla="*/ 850107 h 947738"/>
                  <a:gd name="connsiteX77" fmla="*/ 1576388 w 1774031"/>
                  <a:gd name="connsiteY77" fmla="*/ 809625 h 947738"/>
                  <a:gd name="connsiteX78" fmla="*/ 1502569 w 1774031"/>
                  <a:gd name="connsiteY78" fmla="*/ 835819 h 947738"/>
                  <a:gd name="connsiteX79" fmla="*/ 1466850 w 1774031"/>
                  <a:gd name="connsiteY79" fmla="*/ 838200 h 947738"/>
                  <a:gd name="connsiteX80" fmla="*/ 1452563 w 1774031"/>
                  <a:gd name="connsiteY80" fmla="*/ 838200 h 947738"/>
                  <a:gd name="connsiteX81" fmla="*/ 1407319 w 1774031"/>
                  <a:gd name="connsiteY81" fmla="*/ 947738 h 947738"/>
                  <a:gd name="connsiteX82" fmla="*/ 1338263 w 1774031"/>
                  <a:gd name="connsiteY82" fmla="*/ 909638 h 947738"/>
                  <a:gd name="connsiteX83" fmla="*/ 1231106 w 1774031"/>
                  <a:gd name="connsiteY83" fmla="*/ 871538 h 947738"/>
                  <a:gd name="connsiteX84" fmla="*/ 1233488 w 1774031"/>
                  <a:gd name="connsiteY84" fmla="*/ 821532 h 947738"/>
                  <a:gd name="connsiteX85" fmla="*/ 1209675 w 1774031"/>
                  <a:gd name="connsiteY85" fmla="*/ 809625 h 947738"/>
                  <a:gd name="connsiteX86" fmla="*/ 1262063 w 1774031"/>
                  <a:gd name="connsiteY86" fmla="*/ 695325 h 947738"/>
                  <a:gd name="connsiteX87" fmla="*/ 1183481 w 1774031"/>
                  <a:gd name="connsiteY87" fmla="*/ 711994 h 947738"/>
                  <a:gd name="connsiteX88" fmla="*/ 1185863 w 1774031"/>
                  <a:gd name="connsiteY88" fmla="*/ 669132 h 947738"/>
                  <a:gd name="connsiteX89" fmla="*/ 1131094 w 1774031"/>
                  <a:gd name="connsiteY89" fmla="*/ 669132 h 947738"/>
                  <a:gd name="connsiteX90" fmla="*/ 1095375 w 1774031"/>
                  <a:gd name="connsiteY90" fmla="*/ 626269 h 947738"/>
                  <a:gd name="connsiteX91" fmla="*/ 1078706 w 1774031"/>
                  <a:gd name="connsiteY91" fmla="*/ 619125 h 947738"/>
                  <a:gd name="connsiteX92" fmla="*/ 1050131 w 1774031"/>
                  <a:gd name="connsiteY92" fmla="*/ 645319 h 947738"/>
                  <a:gd name="connsiteX93" fmla="*/ 1009650 w 1774031"/>
                  <a:gd name="connsiteY93" fmla="*/ 669132 h 947738"/>
                  <a:gd name="connsiteX94" fmla="*/ 981075 w 1774031"/>
                  <a:gd name="connsiteY94" fmla="*/ 681038 h 947738"/>
                  <a:gd name="connsiteX95" fmla="*/ 1004888 w 1774031"/>
                  <a:gd name="connsiteY95" fmla="*/ 707232 h 947738"/>
                  <a:gd name="connsiteX96" fmla="*/ 985838 w 1774031"/>
                  <a:gd name="connsiteY96" fmla="*/ 702469 h 947738"/>
                  <a:gd name="connsiteX97" fmla="*/ 947738 w 1774031"/>
                  <a:gd name="connsiteY97" fmla="*/ 702469 h 947738"/>
                  <a:gd name="connsiteX98" fmla="*/ 947738 w 1774031"/>
                  <a:gd name="connsiteY98" fmla="*/ 702469 h 947738"/>
                  <a:gd name="connsiteX99" fmla="*/ 885825 w 1774031"/>
                  <a:gd name="connsiteY99" fmla="*/ 673894 h 947738"/>
                  <a:gd name="connsiteX100" fmla="*/ 847725 w 1774031"/>
                  <a:gd name="connsiteY100" fmla="*/ 728663 h 947738"/>
                  <a:gd name="connsiteX101" fmla="*/ 747713 w 1774031"/>
                  <a:gd name="connsiteY101" fmla="*/ 661988 h 947738"/>
                  <a:gd name="connsiteX102" fmla="*/ 704850 w 1774031"/>
                  <a:gd name="connsiteY102" fmla="*/ 657225 h 947738"/>
                  <a:gd name="connsiteX103" fmla="*/ 681038 w 1774031"/>
                  <a:gd name="connsiteY103" fmla="*/ 671513 h 947738"/>
                  <a:gd name="connsiteX104" fmla="*/ 647700 w 1774031"/>
                  <a:gd name="connsiteY104" fmla="*/ 633413 h 947738"/>
                  <a:gd name="connsiteX105" fmla="*/ 623888 w 1774031"/>
                  <a:gd name="connsiteY105" fmla="*/ 600075 h 947738"/>
                  <a:gd name="connsiteX106" fmla="*/ 573881 w 1774031"/>
                  <a:gd name="connsiteY106" fmla="*/ 566738 h 947738"/>
                  <a:gd name="connsiteX107" fmla="*/ 514350 w 1774031"/>
                  <a:gd name="connsiteY107" fmla="*/ 561975 h 947738"/>
                  <a:gd name="connsiteX108" fmla="*/ 431006 w 1774031"/>
                  <a:gd name="connsiteY108" fmla="*/ 521494 h 947738"/>
                  <a:gd name="connsiteX109" fmla="*/ 414338 w 1774031"/>
                  <a:gd name="connsiteY109" fmla="*/ 471488 h 947738"/>
                  <a:gd name="connsiteX110" fmla="*/ 404813 w 1774031"/>
                  <a:gd name="connsiteY110" fmla="*/ 423863 h 947738"/>
                  <a:gd name="connsiteX111" fmla="*/ 314325 w 1774031"/>
                  <a:gd name="connsiteY111" fmla="*/ 421482 h 947738"/>
                  <a:gd name="connsiteX112" fmla="*/ 292894 w 1774031"/>
                  <a:gd name="connsiteY112" fmla="*/ 461963 h 947738"/>
                  <a:gd name="connsiteX113" fmla="*/ 276225 w 1774031"/>
                  <a:gd name="connsiteY113" fmla="*/ 483394 h 947738"/>
                  <a:gd name="connsiteX114" fmla="*/ 233363 w 1774031"/>
                  <a:gd name="connsiteY114" fmla="*/ 495300 h 947738"/>
                  <a:gd name="connsiteX115" fmla="*/ 219075 w 1774031"/>
                  <a:gd name="connsiteY115" fmla="*/ 435769 h 947738"/>
                  <a:gd name="connsiteX116" fmla="*/ 133350 w 1774031"/>
                  <a:gd name="connsiteY116" fmla="*/ 454819 h 947738"/>
                  <a:gd name="connsiteX117" fmla="*/ 152400 w 1774031"/>
                  <a:gd name="connsiteY117" fmla="*/ 409575 h 947738"/>
                  <a:gd name="connsiteX118" fmla="*/ 164306 w 1774031"/>
                  <a:gd name="connsiteY118" fmla="*/ 369094 h 947738"/>
                  <a:gd name="connsiteX119" fmla="*/ 116681 w 1774031"/>
                  <a:gd name="connsiteY119" fmla="*/ 328613 h 947738"/>
                  <a:gd name="connsiteX120" fmla="*/ 64294 w 1774031"/>
                  <a:gd name="connsiteY120" fmla="*/ 340519 h 947738"/>
                  <a:gd name="connsiteX121" fmla="*/ 11906 w 1774031"/>
                  <a:gd name="connsiteY121" fmla="*/ 311944 h 94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1774031" h="947738">
                    <a:moveTo>
                      <a:pt x="11906" y="311944"/>
                    </a:moveTo>
                    <a:lnTo>
                      <a:pt x="0" y="292894"/>
                    </a:lnTo>
                    <a:lnTo>
                      <a:pt x="16669" y="264319"/>
                    </a:lnTo>
                    <a:lnTo>
                      <a:pt x="52388" y="266700"/>
                    </a:lnTo>
                    <a:lnTo>
                      <a:pt x="52388" y="266700"/>
                    </a:lnTo>
                    <a:lnTo>
                      <a:pt x="83344" y="242888"/>
                    </a:lnTo>
                    <a:lnTo>
                      <a:pt x="54769" y="211932"/>
                    </a:lnTo>
                    <a:lnTo>
                      <a:pt x="85725" y="180975"/>
                    </a:lnTo>
                    <a:lnTo>
                      <a:pt x="95250" y="142875"/>
                    </a:lnTo>
                    <a:lnTo>
                      <a:pt x="64294" y="135732"/>
                    </a:lnTo>
                    <a:lnTo>
                      <a:pt x="76200" y="90488"/>
                    </a:lnTo>
                    <a:lnTo>
                      <a:pt x="121444" y="33338"/>
                    </a:lnTo>
                    <a:lnTo>
                      <a:pt x="133350" y="16669"/>
                    </a:lnTo>
                    <a:lnTo>
                      <a:pt x="145256" y="4763"/>
                    </a:lnTo>
                    <a:lnTo>
                      <a:pt x="178594" y="2382"/>
                    </a:lnTo>
                    <a:lnTo>
                      <a:pt x="180975" y="21432"/>
                    </a:lnTo>
                    <a:lnTo>
                      <a:pt x="204788" y="33338"/>
                    </a:lnTo>
                    <a:lnTo>
                      <a:pt x="235744" y="33338"/>
                    </a:lnTo>
                    <a:lnTo>
                      <a:pt x="271463" y="23813"/>
                    </a:lnTo>
                    <a:lnTo>
                      <a:pt x="295275" y="11907"/>
                    </a:lnTo>
                    <a:lnTo>
                      <a:pt x="297656" y="23813"/>
                    </a:lnTo>
                    <a:lnTo>
                      <a:pt x="328613" y="23813"/>
                    </a:lnTo>
                    <a:lnTo>
                      <a:pt x="328613" y="23813"/>
                    </a:lnTo>
                    <a:lnTo>
                      <a:pt x="371475" y="0"/>
                    </a:lnTo>
                    <a:lnTo>
                      <a:pt x="376238" y="28575"/>
                    </a:lnTo>
                    <a:lnTo>
                      <a:pt x="411956" y="2382"/>
                    </a:lnTo>
                    <a:lnTo>
                      <a:pt x="440531" y="23813"/>
                    </a:lnTo>
                    <a:lnTo>
                      <a:pt x="445294" y="50007"/>
                    </a:lnTo>
                    <a:lnTo>
                      <a:pt x="466725" y="66675"/>
                    </a:lnTo>
                    <a:lnTo>
                      <a:pt x="514350" y="59532"/>
                    </a:lnTo>
                    <a:lnTo>
                      <a:pt x="514350" y="83344"/>
                    </a:lnTo>
                    <a:lnTo>
                      <a:pt x="545306" y="85725"/>
                    </a:lnTo>
                    <a:cubicBezTo>
                      <a:pt x="551656" y="91281"/>
                      <a:pt x="557403" y="97614"/>
                      <a:pt x="564356" y="102394"/>
                    </a:cubicBezTo>
                    <a:cubicBezTo>
                      <a:pt x="570206" y="106416"/>
                      <a:pt x="583406" y="111919"/>
                      <a:pt x="583406" y="111919"/>
                    </a:cubicBezTo>
                    <a:lnTo>
                      <a:pt x="602456" y="119063"/>
                    </a:lnTo>
                    <a:lnTo>
                      <a:pt x="647700" y="142875"/>
                    </a:lnTo>
                    <a:lnTo>
                      <a:pt x="700088" y="164307"/>
                    </a:lnTo>
                    <a:lnTo>
                      <a:pt x="750094" y="121444"/>
                    </a:lnTo>
                    <a:lnTo>
                      <a:pt x="766763" y="109538"/>
                    </a:lnTo>
                    <a:lnTo>
                      <a:pt x="785813" y="135732"/>
                    </a:lnTo>
                    <a:lnTo>
                      <a:pt x="807244" y="152400"/>
                    </a:lnTo>
                    <a:lnTo>
                      <a:pt x="873919" y="157163"/>
                    </a:lnTo>
                    <a:lnTo>
                      <a:pt x="907256" y="135732"/>
                    </a:lnTo>
                    <a:lnTo>
                      <a:pt x="969169" y="138113"/>
                    </a:lnTo>
                    <a:lnTo>
                      <a:pt x="992981" y="145257"/>
                    </a:lnTo>
                    <a:cubicBezTo>
                      <a:pt x="1017569" y="147989"/>
                      <a:pt x="1007225" y="147638"/>
                      <a:pt x="1023938" y="147638"/>
                    </a:cubicBezTo>
                    <a:lnTo>
                      <a:pt x="1066800" y="133350"/>
                    </a:lnTo>
                    <a:lnTo>
                      <a:pt x="1131094" y="142875"/>
                    </a:lnTo>
                    <a:lnTo>
                      <a:pt x="1176338" y="161925"/>
                    </a:lnTo>
                    <a:lnTo>
                      <a:pt x="1200150" y="192882"/>
                    </a:lnTo>
                    <a:lnTo>
                      <a:pt x="1264444" y="157163"/>
                    </a:lnTo>
                    <a:lnTo>
                      <a:pt x="1314450" y="130969"/>
                    </a:lnTo>
                    <a:lnTo>
                      <a:pt x="1354931" y="138113"/>
                    </a:lnTo>
                    <a:lnTo>
                      <a:pt x="1409700" y="138113"/>
                    </a:lnTo>
                    <a:lnTo>
                      <a:pt x="1438275" y="157163"/>
                    </a:lnTo>
                    <a:lnTo>
                      <a:pt x="1495425" y="183357"/>
                    </a:lnTo>
                    <a:lnTo>
                      <a:pt x="1524000" y="157163"/>
                    </a:lnTo>
                    <a:lnTo>
                      <a:pt x="1540669" y="226219"/>
                    </a:lnTo>
                    <a:lnTo>
                      <a:pt x="1512094" y="247650"/>
                    </a:lnTo>
                    <a:lnTo>
                      <a:pt x="1500188" y="288132"/>
                    </a:lnTo>
                    <a:lnTo>
                      <a:pt x="1512094" y="364332"/>
                    </a:lnTo>
                    <a:lnTo>
                      <a:pt x="1524000" y="452438"/>
                    </a:lnTo>
                    <a:lnTo>
                      <a:pt x="1526381" y="490538"/>
                    </a:lnTo>
                    <a:lnTo>
                      <a:pt x="1552575" y="559594"/>
                    </a:lnTo>
                    <a:lnTo>
                      <a:pt x="1559719" y="607219"/>
                    </a:lnTo>
                    <a:lnTo>
                      <a:pt x="1574006" y="664369"/>
                    </a:lnTo>
                    <a:lnTo>
                      <a:pt x="1638300" y="723900"/>
                    </a:lnTo>
                    <a:lnTo>
                      <a:pt x="1674019" y="759619"/>
                    </a:lnTo>
                    <a:lnTo>
                      <a:pt x="1712119" y="788194"/>
                    </a:lnTo>
                    <a:lnTo>
                      <a:pt x="1750219" y="804863"/>
                    </a:lnTo>
                    <a:lnTo>
                      <a:pt x="1774031" y="812007"/>
                    </a:lnTo>
                    <a:lnTo>
                      <a:pt x="1747838" y="869157"/>
                    </a:lnTo>
                    <a:lnTo>
                      <a:pt x="1716881" y="876300"/>
                    </a:lnTo>
                    <a:lnTo>
                      <a:pt x="1690688" y="904875"/>
                    </a:lnTo>
                    <a:lnTo>
                      <a:pt x="1654969" y="873919"/>
                    </a:lnTo>
                    <a:lnTo>
                      <a:pt x="1621631" y="831057"/>
                    </a:lnTo>
                    <a:lnTo>
                      <a:pt x="1595438" y="850107"/>
                    </a:lnTo>
                    <a:lnTo>
                      <a:pt x="1576388" y="809625"/>
                    </a:lnTo>
                    <a:lnTo>
                      <a:pt x="1502569" y="835819"/>
                    </a:lnTo>
                    <a:lnTo>
                      <a:pt x="1466850" y="838200"/>
                    </a:lnTo>
                    <a:lnTo>
                      <a:pt x="1452563" y="838200"/>
                    </a:lnTo>
                    <a:lnTo>
                      <a:pt x="1407319" y="947738"/>
                    </a:lnTo>
                    <a:lnTo>
                      <a:pt x="1338263" y="909638"/>
                    </a:lnTo>
                    <a:lnTo>
                      <a:pt x="1231106" y="871538"/>
                    </a:lnTo>
                    <a:lnTo>
                      <a:pt x="1233488" y="821532"/>
                    </a:lnTo>
                    <a:lnTo>
                      <a:pt x="1209675" y="809625"/>
                    </a:lnTo>
                    <a:lnTo>
                      <a:pt x="1262063" y="695325"/>
                    </a:lnTo>
                    <a:lnTo>
                      <a:pt x="1183481" y="711994"/>
                    </a:lnTo>
                    <a:lnTo>
                      <a:pt x="1185863" y="669132"/>
                    </a:lnTo>
                    <a:lnTo>
                      <a:pt x="1131094" y="669132"/>
                    </a:lnTo>
                    <a:lnTo>
                      <a:pt x="1095375" y="626269"/>
                    </a:lnTo>
                    <a:lnTo>
                      <a:pt x="1078706" y="619125"/>
                    </a:lnTo>
                    <a:lnTo>
                      <a:pt x="1050131" y="645319"/>
                    </a:lnTo>
                    <a:lnTo>
                      <a:pt x="1009650" y="669132"/>
                    </a:lnTo>
                    <a:lnTo>
                      <a:pt x="981075" y="681038"/>
                    </a:lnTo>
                    <a:lnTo>
                      <a:pt x="1004888" y="707232"/>
                    </a:lnTo>
                    <a:lnTo>
                      <a:pt x="985838" y="702469"/>
                    </a:lnTo>
                    <a:lnTo>
                      <a:pt x="947738" y="702469"/>
                    </a:lnTo>
                    <a:lnTo>
                      <a:pt x="947738" y="702469"/>
                    </a:lnTo>
                    <a:lnTo>
                      <a:pt x="885825" y="673894"/>
                    </a:lnTo>
                    <a:lnTo>
                      <a:pt x="847725" y="728663"/>
                    </a:lnTo>
                    <a:lnTo>
                      <a:pt x="747713" y="661988"/>
                    </a:lnTo>
                    <a:lnTo>
                      <a:pt x="704850" y="657225"/>
                    </a:lnTo>
                    <a:lnTo>
                      <a:pt x="681038" y="671513"/>
                    </a:lnTo>
                    <a:lnTo>
                      <a:pt x="647700" y="633413"/>
                    </a:lnTo>
                    <a:lnTo>
                      <a:pt x="623888" y="600075"/>
                    </a:lnTo>
                    <a:lnTo>
                      <a:pt x="573881" y="566738"/>
                    </a:lnTo>
                    <a:lnTo>
                      <a:pt x="514350" y="561975"/>
                    </a:lnTo>
                    <a:lnTo>
                      <a:pt x="431006" y="521494"/>
                    </a:lnTo>
                    <a:lnTo>
                      <a:pt x="414338" y="471488"/>
                    </a:lnTo>
                    <a:lnTo>
                      <a:pt x="404813" y="423863"/>
                    </a:lnTo>
                    <a:lnTo>
                      <a:pt x="314325" y="421482"/>
                    </a:lnTo>
                    <a:lnTo>
                      <a:pt x="292894" y="461963"/>
                    </a:lnTo>
                    <a:lnTo>
                      <a:pt x="276225" y="483394"/>
                    </a:lnTo>
                    <a:lnTo>
                      <a:pt x="233363" y="495300"/>
                    </a:lnTo>
                    <a:lnTo>
                      <a:pt x="219075" y="435769"/>
                    </a:lnTo>
                    <a:lnTo>
                      <a:pt x="133350" y="454819"/>
                    </a:lnTo>
                    <a:lnTo>
                      <a:pt x="152400" y="409575"/>
                    </a:lnTo>
                    <a:lnTo>
                      <a:pt x="164306" y="369094"/>
                    </a:lnTo>
                    <a:lnTo>
                      <a:pt x="116681" y="328613"/>
                    </a:lnTo>
                    <a:lnTo>
                      <a:pt x="64294" y="340519"/>
                    </a:lnTo>
                    <a:lnTo>
                      <a:pt x="11906" y="31194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6" name="Figura a mano libera 63">
                <a:extLst>
                  <a:ext uri="{FF2B5EF4-FFF2-40B4-BE49-F238E27FC236}">
                    <a16:creationId xmlns:a16="http://schemas.microsoft.com/office/drawing/2014/main" id="{B83885DD-7F95-420B-BE2A-42171B56746A}"/>
                  </a:ext>
                </a:extLst>
              </p:cNvPr>
              <p:cNvSpPr/>
              <p:nvPr/>
            </p:nvSpPr>
            <p:spPr bwMode="auto">
              <a:xfrm>
                <a:off x="1081057" y="1071265"/>
                <a:ext cx="436140" cy="262327"/>
              </a:xfrm>
              <a:custGeom>
                <a:avLst/>
                <a:gdLst>
                  <a:gd name="connsiteX0" fmla="*/ 121444 w 542925"/>
                  <a:gd name="connsiteY0" fmla="*/ 335756 h 335756"/>
                  <a:gd name="connsiteX1" fmla="*/ 135731 w 542925"/>
                  <a:gd name="connsiteY1" fmla="*/ 304800 h 335756"/>
                  <a:gd name="connsiteX2" fmla="*/ 195262 w 542925"/>
                  <a:gd name="connsiteY2" fmla="*/ 330994 h 335756"/>
                  <a:gd name="connsiteX3" fmla="*/ 242887 w 542925"/>
                  <a:gd name="connsiteY3" fmla="*/ 295275 h 335756"/>
                  <a:gd name="connsiteX4" fmla="*/ 335756 w 542925"/>
                  <a:gd name="connsiteY4" fmla="*/ 264319 h 335756"/>
                  <a:gd name="connsiteX5" fmla="*/ 404812 w 542925"/>
                  <a:gd name="connsiteY5" fmla="*/ 302419 h 335756"/>
                  <a:gd name="connsiteX6" fmla="*/ 483394 w 542925"/>
                  <a:gd name="connsiteY6" fmla="*/ 269081 h 335756"/>
                  <a:gd name="connsiteX7" fmla="*/ 521494 w 542925"/>
                  <a:gd name="connsiteY7" fmla="*/ 269081 h 335756"/>
                  <a:gd name="connsiteX8" fmla="*/ 535781 w 542925"/>
                  <a:gd name="connsiteY8" fmla="*/ 247650 h 335756"/>
                  <a:gd name="connsiteX9" fmla="*/ 526256 w 542925"/>
                  <a:gd name="connsiteY9" fmla="*/ 195263 h 335756"/>
                  <a:gd name="connsiteX10" fmla="*/ 542925 w 542925"/>
                  <a:gd name="connsiteY10" fmla="*/ 188119 h 335756"/>
                  <a:gd name="connsiteX11" fmla="*/ 511969 w 542925"/>
                  <a:gd name="connsiteY11" fmla="*/ 135731 h 335756"/>
                  <a:gd name="connsiteX12" fmla="*/ 519112 w 542925"/>
                  <a:gd name="connsiteY12" fmla="*/ 71438 h 335756"/>
                  <a:gd name="connsiteX13" fmla="*/ 521494 w 542925"/>
                  <a:gd name="connsiteY13" fmla="*/ 50006 h 335756"/>
                  <a:gd name="connsiteX14" fmla="*/ 500062 w 542925"/>
                  <a:gd name="connsiteY14" fmla="*/ 52388 h 335756"/>
                  <a:gd name="connsiteX15" fmla="*/ 452437 w 542925"/>
                  <a:gd name="connsiteY15" fmla="*/ 50006 h 335756"/>
                  <a:gd name="connsiteX16" fmla="*/ 445294 w 542925"/>
                  <a:gd name="connsiteY16" fmla="*/ 54769 h 335756"/>
                  <a:gd name="connsiteX17" fmla="*/ 426244 w 542925"/>
                  <a:gd name="connsiteY17" fmla="*/ 21431 h 335756"/>
                  <a:gd name="connsiteX18" fmla="*/ 404812 w 542925"/>
                  <a:gd name="connsiteY18" fmla="*/ 4763 h 335756"/>
                  <a:gd name="connsiteX19" fmla="*/ 364331 w 542925"/>
                  <a:gd name="connsiteY19" fmla="*/ 0 h 335756"/>
                  <a:gd name="connsiteX20" fmla="*/ 333375 w 542925"/>
                  <a:gd name="connsiteY20" fmla="*/ 30956 h 335756"/>
                  <a:gd name="connsiteX21" fmla="*/ 288131 w 542925"/>
                  <a:gd name="connsiteY21" fmla="*/ 42863 h 335756"/>
                  <a:gd name="connsiteX22" fmla="*/ 280987 w 542925"/>
                  <a:gd name="connsiteY22" fmla="*/ 64294 h 335756"/>
                  <a:gd name="connsiteX23" fmla="*/ 247650 w 542925"/>
                  <a:gd name="connsiteY23" fmla="*/ 30956 h 335756"/>
                  <a:gd name="connsiteX24" fmla="*/ 230981 w 542925"/>
                  <a:gd name="connsiteY24" fmla="*/ 54769 h 335756"/>
                  <a:gd name="connsiteX25" fmla="*/ 204787 w 542925"/>
                  <a:gd name="connsiteY25" fmla="*/ 76200 h 335756"/>
                  <a:gd name="connsiteX26" fmla="*/ 178594 w 542925"/>
                  <a:gd name="connsiteY26" fmla="*/ 78581 h 335756"/>
                  <a:gd name="connsiteX27" fmla="*/ 183356 w 542925"/>
                  <a:gd name="connsiteY27" fmla="*/ 54769 h 335756"/>
                  <a:gd name="connsiteX28" fmla="*/ 138112 w 542925"/>
                  <a:gd name="connsiteY28" fmla="*/ 64294 h 335756"/>
                  <a:gd name="connsiteX29" fmla="*/ 126206 w 542925"/>
                  <a:gd name="connsiteY29" fmla="*/ 88106 h 335756"/>
                  <a:gd name="connsiteX30" fmla="*/ 126206 w 542925"/>
                  <a:gd name="connsiteY30" fmla="*/ 52388 h 335756"/>
                  <a:gd name="connsiteX31" fmla="*/ 123825 w 542925"/>
                  <a:gd name="connsiteY31" fmla="*/ 28575 h 335756"/>
                  <a:gd name="connsiteX32" fmla="*/ 95250 w 542925"/>
                  <a:gd name="connsiteY32" fmla="*/ 45244 h 335756"/>
                  <a:gd name="connsiteX33" fmla="*/ 90487 w 542925"/>
                  <a:gd name="connsiteY33" fmla="*/ 64294 h 335756"/>
                  <a:gd name="connsiteX34" fmla="*/ 35719 w 542925"/>
                  <a:gd name="connsiteY34" fmla="*/ 69056 h 335756"/>
                  <a:gd name="connsiteX35" fmla="*/ 19050 w 542925"/>
                  <a:gd name="connsiteY35" fmla="*/ 83344 h 335756"/>
                  <a:gd name="connsiteX36" fmla="*/ 0 w 542925"/>
                  <a:gd name="connsiteY36" fmla="*/ 128588 h 335756"/>
                  <a:gd name="connsiteX37" fmla="*/ 16669 w 542925"/>
                  <a:gd name="connsiteY37" fmla="*/ 161925 h 335756"/>
                  <a:gd name="connsiteX38" fmla="*/ 50006 w 542925"/>
                  <a:gd name="connsiteY38" fmla="*/ 202406 h 335756"/>
                  <a:gd name="connsiteX39" fmla="*/ 76200 w 542925"/>
                  <a:gd name="connsiteY39" fmla="*/ 200025 h 335756"/>
                  <a:gd name="connsiteX40" fmla="*/ 88106 w 542925"/>
                  <a:gd name="connsiteY40" fmla="*/ 223838 h 335756"/>
                  <a:gd name="connsiteX41" fmla="*/ 69056 w 542925"/>
                  <a:gd name="connsiteY41" fmla="*/ 233363 h 335756"/>
                  <a:gd name="connsiteX42" fmla="*/ 52387 w 542925"/>
                  <a:gd name="connsiteY42" fmla="*/ 250031 h 335756"/>
                  <a:gd name="connsiteX43" fmla="*/ 121444 w 542925"/>
                  <a:gd name="connsiteY43" fmla="*/ 335756 h 335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42925" h="335756">
                    <a:moveTo>
                      <a:pt x="121444" y="335756"/>
                    </a:moveTo>
                    <a:lnTo>
                      <a:pt x="135731" y="304800"/>
                    </a:lnTo>
                    <a:lnTo>
                      <a:pt x="195262" y="330994"/>
                    </a:lnTo>
                    <a:lnTo>
                      <a:pt x="242887" y="295275"/>
                    </a:lnTo>
                    <a:lnTo>
                      <a:pt x="335756" y="264319"/>
                    </a:lnTo>
                    <a:lnTo>
                      <a:pt x="404812" y="302419"/>
                    </a:lnTo>
                    <a:lnTo>
                      <a:pt x="483394" y="269081"/>
                    </a:lnTo>
                    <a:lnTo>
                      <a:pt x="521494" y="269081"/>
                    </a:lnTo>
                    <a:lnTo>
                      <a:pt x="535781" y="247650"/>
                    </a:lnTo>
                    <a:lnTo>
                      <a:pt x="526256" y="195263"/>
                    </a:lnTo>
                    <a:lnTo>
                      <a:pt x="542925" y="188119"/>
                    </a:lnTo>
                    <a:lnTo>
                      <a:pt x="511969" y="135731"/>
                    </a:lnTo>
                    <a:lnTo>
                      <a:pt x="519112" y="71438"/>
                    </a:lnTo>
                    <a:lnTo>
                      <a:pt x="521494" y="50006"/>
                    </a:lnTo>
                    <a:lnTo>
                      <a:pt x="500062" y="52388"/>
                    </a:lnTo>
                    <a:lnTo>
                      <a:pt x="452437" y="50006"/>
                    </a:lnTo>
                    <a:lnTo>
                      <a:pt x="445294" y="54769"/>
                    </a:lnTo>
                    <a:lnTo>
                      <a:pt x="426244" y="21431"/>
                    </a:lnTo>
                    <a:lnTo>
                      <a:pt x="404812" y="4763"/>
                    </a:lnTo>
                    <a:lnTo>
                      <a:pt x="364331" y="0"/>
                    </a:lnTo>
                    <a:lnTo>
                      <a:pt x="333375" y="30956"/>
                    </a:lnTo>
                    <a:lnTo>
                      <a:pt x="288131" y="42863"/>
                    </a:lnTo>
                    <a:lnTo>
                      <a:pt x="280987" y="64294"/>
                    </a:lnTo>
                    <a:lnTo>
                      <a:pt x="247650" y="30956"/>
                    </a:lnTo>
                    <a:lnTo>
                      <a:pt x="230981" y="54769"/>
                    </a:lnTo>
                    <a:lnTo>
                      <a:pt x="204787" y="76200"/>
                    </a:lnTo>
                    <a:lnTo>
                      <a:pt x="178594" y="78581"/>
                    </a:lnTo>
                    <a:lnTo>
                      <a:pt x="183356" y="54769"/>
                    </a:lnTo>
                    <a:lnTo>
                      <a:pt x="138112" y="64294"/>
                    </a:lnTo>
                    <a:lnTo>
                      <a:pt x="126206" y="88106"/>
                    </a:lnTo>
                    <a:lnTo>
                      <a:pt x="126206" y="52388"/>
                    </a:lnTo>
                    <a:lnTo>
                      <a:pt x="123825" y="28575"/>
                    </a:lnTo>
                    <a:lnTo>
                      <a:pt x="95250" y="45244"/>
                    </a:lnTo>
                    <a:lnTo>
                      <a:pt x="90487" y="64294"/>
                    </a:lnTo>
                    <a:lnTo>
                      <a:pt x="35719" y="69056"/>
                    </a:lnTo>
                    <a:lnTo>
                      <a:pt x="19050" y="83344"/>
                    </a:lnTo>
                    <a:lnTo>
                      <a:pt x="0" y="128588"/>
                    </a:lnTo>
                    <a:lnTo>
                      <a:pt x="16669" y="161925"/>
                    </a:lnTo>
                    <a:lnTo>
                      <a:pt x="50006" y="202406"/>
                    </a:lnTo>
                    <a:lnTo>
                      <a:pt x="76200" y="200025"/>
                    </a:lnTo>
                    <a:lnTo>
                      <a:pt x="88106" y="223838"/>
                    </a:lnTo>
                    <a:lnTo>
                      <a:pt x="69056" y="233363"/>
                    </a:lnTo>
                    <a:lnTo>
                      <a:pt x="52387" y="250031"/>
                    </a:lnTo>
                    <a:lnTo>
                      <a:pt x="121444" y="3357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7" name="Figura a mano libera 65">
                <a:extLst>
                  <a:ext uri="{FF2B5EF4-FFF2-40B4-BE49-F238E27FC236}">
                    <a16:creationId xmlns:a16="http://schemas.microsoft.com/office/drawing/2014/main" id="{0A9E660C-E062-4AA0-8ECA-D2425978DC65}"/>
                  </a:ext>
                </a:extLst>
              </p:cNvPr>
              <p:cNvSpPr/>
              <p:nvPr/>
            </p:nvSpPr>
            <p:spPr bwMode="auto">
              <a:xfrm>
                <a:off x="980181" y="855836"/>
                <a:ext cx="1017657" cy="1197324"/>
              </a:xfrm>
              <a:custGeom>
                <a:avLst/>
                <a:gdLst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381125 w 1624012"/>
                  <a:gd name="connsiteY98" fmla="*/ 0 h 1533525"/>
                  <a:gd name="connsiteX99" fmla="*/ 1419225 w 1624012"/>
                  <a:gd name="connsiteY99" fmla="*/ 11906 h 1533525"/>
                  <a:gd name="connsiteX100" fmla="*/ 1440656 w 1624012"/>
                  <a:gd name="connsiteY100" fmla="*/ 7144 h 1533525"/>
                  <a:gd name="connsiteX101" fmla="*/ 1438275 w 1624012"/>
                  <a:gd name="connsiteY101" fmla="*/ 69056 h 1533525"/>
                  <a:gd name="connsiteX102" fmla="*/ 1440656 w 1624012"/>
                  <a:gd name="connsiteY102" fmla="*/ 104775 h 1533525"/>
                  <a:gd name="connsiteX103" fmla="*/ 1490662 w 1624012"/>
                  <a:gd name="connsiteY103" fmla="*/ 142875 h 1533525"/>
                  <a:gd name="connsiteX104" fmla="*/ 1543050 w 1624012"/>
                  <a:gd name="connsiteY104" fmla="*/ 147638 h 1533525"/>
                  <a:gd name="connsiteX105" fmla="*/ 1547812 w 1624012"/>
                  <a:gd name="connsiteY105" fmla="*/ 121444 h 1533525"/>
                  <a:gd name="connsiteX106" fmla="*/ 1574006 w 1624012"/>
                  <a:gd name="connsiteY106" fmla="*/ 121444 h 1533525"/>
                  <a:gd name="connsiteX107" fmla="*/ 1624012 w 1624012"/>
                  <a:gd name="connsiteY107" fmla="*/ 109538 h 1533525"/>
                  <a:gd name="connsiteX108" fmla="*/ 1057275 w 1624012"/>
                  <a:gd name="connsiteY108" fmla="*/ 264319 h 1533525"/>
                  <a:gd name="connsiteX109" fmla="*/ 1062037 w 1624012"/>
                  <a:gd name="connsiteY109" fmla="*/ 304800 h 1533525"/>
                  <a:gd name="connsiteX110" fmla="*/ 995362 w 1624012"/>
                  <a:gd name="connsiteY110" fmla="*/ 352425 h 1533525"/>
                  <a:gd name="connsiteX111" fmla="*/ 973931 w 1624012"/>
                  <a:gd name="connsiteY111" fmla="*/ 383381 h 1533525"/>
                  <a:gd name="connsiteX112" fmla="*/ 1000125 w 1624012"/>
                  <a:gd name="connsiteY112" fmla="*/ 428625 h 1533525"/>
                  <a:gd name="connsiteX113" fmla="*/ 983456 w 1624012"/>
                  <a:gd name="connsiteY113" fmla="*/ 466725 h 1533525"/>
                  <a:gd name="connsiteX114" fmla="*/ 1000125 w 1624012"/>
                  <a:gd name="connsiteY114" fmla="*/ 519113 h 1533525"/>
                  <a:gd name="connsiteX115" fmla="*/ 1033462 w 1624012"/>
                  <a:gd name="connsiteY115" fmla="*/ 519113 h 1533525"/>
                  <a:gd name="connsiteX116" fmla="*/ 1019175 w 1624012"/>
                  <a:gd name="connsiteY116" fmla="*/ 552450 h 1533525"/>
                  <a:gd name="connsiteX117" fmla="*/ 1035843 w 1624012"/>
                  <a:gd name="connsiteY117" fmla="*/ 590550 h 1533525"/>
                  <a:gd name="connsiteX118" fmla="*/ 1035843 w 1624012"/>
                  <a:gd name="connsiteY118" fmla="*/ 607219 h 1533525"/>
                  <a:gd name="connsiteX119" fmla="*/ 1045368 w 1624012"/>
                  <a:gd name="connsiteY119" fmla="*/ 645319 h 1533525"/>
                  <a:gd name="connsiteX120" fmla="*/ 1064418 w 1624012"/>
                  <a:gd name="connsiteY120" fmla="*/ 645319 h 1533525"/>
                  <a:gd name="connsiteX121" fmla="*/ 1078706 w 1624012"/>
                  <a:gd name="connsiteY121" fmla="*/ 666750 h 1533525"/>
                  <a:gd name="connsiteX122" fmla="*/ 1085850 w 1624012"/>
                  <a:gd name="connsiteY122" fmla="*/ 688181 h 1533525"/>
                  <a:gd name="connsiteX123" fmla="*/ 1076325 w 1624012"/>
                  <a:gd name="connsiteY123" fmla="*/ 719138 h 1533525"/>
                  <a:gd name="connsiteX124" fmla="*/ 1021556 w 1624012"/>
                  <a:gd name="connsiteY124" fmla="*/ 714375 h 1533525"/>
                  <a:gd name="connsiteX125" fmla="*/ 1002506 w 1624012"/>
                  <a:gd name="connsiteY125" fmla="*/ 721519 h 1533525"/>
                  <a:gd name="connsiteX126" fmla="*/ 995362 w 1624012"/>
                  <a:gd name="connsiteY126" fmla="*/ 726281 h 1533525"/>
                  <a:gd name="connsiteX127" fmla="*/ 995362 w 1624012"/>
                  <a:gd name="connsiteY127" fmla="*/ 726281 h 1533525"/>
                  <a:gd name="connsiteX128" fmla="*/ 923925 w 1624012"/>
                  <a:gd name="connsiteY128" fmla="*/ 721519 h 1533525"/>
                  <a:gd name="connsiteX129" fmla="*/ 940593 w 1624012"/>
                  <a:gd name="connsiteY129" fmla="*/ 778669 h 1533525"/>
                  <a:gd name="connsiteX130" fmla="*/ 938212 w 1624012"/>
                  <a:gd name="connsiteY130" fmla="*/ 847725 h 1533525"/>
                  <a:gd name="connsiteX131" fmla="*/ 954881 w 1624012"/>
                  <a:gd name="connsiteY131" fmla="*/ 871538 h 1533525"/>
                  <a:gd name="connsiteX132" fmla="*/ 997743 w 1624012"/>
                  <a:gd name="connsiteY132" fmla="*/ 919163 h 1533525"/>
                  <a:gd name="connsiteX133" fmla="*/ 1012031 w 1624012"/>
                  <a:gd name="connsiteY133" fmla="*/ 954881 h 1533525"/>
                  <a:gd name="connsiteX134" fmla="*/ 1031081 w 1624012"/>
                  <a:gd name="connsiteY134" fmla="*/ 954881 h 1533525"/>
                  <a:gd name="connsiteX135" fmla="*/ 1071562 w 1624012"/>
                  <a:gd name="connsiteY135" fmla="*/ 940594 h 1533525"/>
                  <a:gd name="connsiteX136" fmla="*/ 1102518 w 1624012"/>
                  <a:gd name="connsiteY136" fmla="*/ 933450 h 1533525"/>
                  <a:gd name="connsiteX137" fmla="*/ 1159668 w 1624012"/>
                  <a:gd name="connsiteY137" fmla="*/ 997744 h 1533525"/>
                  <a:gd name="connsiteX138" fmla="*/ 1178718 w 1624012"/>
                  <a:gd name="connsiteY138" fmla="*/ 1052513 h 1533525"/>
                  <a:gd name="connsiteX139" fmla="*/ 1190625 w 1624012"/>
                  <a:gd name="connsiteY139" fmla="*/ 1081088 h 1533525"/>
                  <a:gd name="connsiteX140" fmla="*/ 1212056 w 1624012"/>
                  <a:gd name="connsiteY140" fmla="*/ 1109663 h 1533525"/>
                  <a:gd name="connsiteX141" fmla="*/ 1231106 w 1624012"/>
                  <a:gd name="connsiteY141" fmla="*/ 1102519 h 1533525"/>
                  <a:gd name="connsiteX142" fmla="*/ 1231106 w 1624012"/>
                  <a:gd name="connsiteY142" fmla="*/ 1131094 h 1533525"/>
                  <a:gd name="connsiteX143" fmla="*/ 1233487 w 1624012"/>
                  <a:gd name="connsiteY143" fmla="*/ 1145381 h 1533525"/>
                  <a:gd name="connsiteX144" fmla="*/ 1266825 w 1624012"/>
                  <a:gd name="connsiteY144" fmla="*/ 1181100 h 1533525"/>
                  <a:gd name="connsiteX145" fmla="*/ 1233487 w 1624012"/>
                  <a:gd name="connsiteY145" fmla="*/ 1181100 h 1533525"/>
                  <a:gd name="connsiteX146" fmla="*/ 1228725 w 1624012"/>
                  <a:gd name="connsiteY146" fmla="*/ 1223963 h 1533525"/>
                  <a:gd name="connsiteX147" fmla="*/ 1226343 w 1624012"/>
                  <a:gd name="connsiteY147" fmla="*/ 1243013 h 1533525"/>
                  <a:gd name="connsiteX148" fmla="*/ 1216818 w 1624012"/>
                  <a:gd name="connsiteY148" fmla="*/ 1264444 h 1533525"/>
                  <a:gd name="connsiteX149" fmla="*/ 1190625 w 1624012"/>
                  <a:gd name="connsiteY149" fmla="*/ 1238250 h 1533525"/>
                  <a:gd name="connsiteX150" fmla="*/ 1157287 w 1624012"/>
                  <a:gd name="connsiteY150" fmla="*/ 1209675 h 1533525"/>
                  <a:gd name="connsiteX151" fmla="*/ 1131093 w 1624012"/>
                  <a:gd name="connsiteY151" fmla="*/ 1185863 h 1533525"/>
                  <a:gd name="connsiteX152" fmla="*/ 1107281 w 1624012"/>
                  <a:gd name="connsiteY152" fmla="*/ 1219200 h 1533525"/>
                  <a:gd name="connsiteX153" fmla="*/ 1104900 w 1624012"/>
                  <a:gd name="connsiteY153" fmla="*/ 1264444 h 1533525"/>
                  <a:gd name="connsiteX154" fmla="*/ 1062037 w 1624012"/>
                  <a:gd name="connsiteY154" fmla="*/ 1259681 h 1533525"/>
                  <a:gd name="connsiteX155" fmla="*/ 1026318 w 1624012"/>
                  <a:gd name="connsiteY155" fmla="*/ 1288256 h 1533525"/>
                  <a:gd name="connsiteX156" fmla="*/ 1007268 w 1624012"/>
                  <a:gd name="connsiteY156" fmla="*/ 1240631 h 1533525"/>
                  <a:gd name="connsiteX157" fmla="*/ 947737 w 1624012"/>
                  <a:gd name="connsiteY157" fmla="*/ 1231106 h 1533525"/>
                  <a:gd name="connsiteX158" fmla="*/ 921543 w 1624012"/>
                  <a:gd name="connsiteY158" fmla="*/ 1297781 h 1533525"/>
                  <a:gd name="connsiteX159" fmla="*/ 885825 w 1624012"/>
                  <a:gd name="connsiteY159" fmla="*/ 1278731 h 1533525"/>
                  <a:gd name="connsiteX160" fmla="*/ 816768 w 1624012"/>
                  <a:gd name="connsiteY160" fmla="*/ 1295400 h 1533525"/>
                  <a:gd name="connsiteX161" fmla="*/ 757237 w 1624012"/>
                  <a:gd name="connsiteY161" fmla="*/ 1259681 h 1533525"/>
                  <a:gd name="connsiteX162" fmla="*/ 742950 w 1624012"/>
                  <a:gd name="connsiteY162" fmla="*/ 1312069 h 1533525"/>
                  <a:gd name="connsiteX163" fmla="*/ 704850 w 1624012"/>
                  <a:gd name="connsiteY163" fmla="*/ 1345406 h 1533525"/>
                  <a:gd name="connsiteX164" fmla="*/ 692943 w 1624012"/>
                  <a:gd name="connsiteY164" fmla="*/ 1366838 h 1533525"/>
                  <a:gd name="connsiteX165" fmla="*/ 671512 w 1624012"/>
                  <a:gd name="connsiteY165" fmla="*/ 1509713 h 1533525"/>
                  <a:gd name="connsiteX166" fmla="*/ 633412 w 1624012"/>
                  <a:gd name="connsiteY166" fmla="*/ 1490663 h 1533525"/>
                  <a:gd name="connsiteX167" fmla="*/ 614362 w 1624012"/>
                  <a:gd name="connsiteY167" fmla="*/ 1504950 h 1533525"/>
                  <a:gd name="connsiteX168" fmla="*/ 581025 w 1624012"/>
                  <a:gd name="connsiteY168" fmla="*/ 1531144 h 1533525"/>
                  <a:gd name="connsiteX169" fmla="*/ 523875 w 1624012"/>
                  <a:gd name="connsiteY169" fmla="*/ 1502569 h 1533525"/>
                  <a:gd name="connsiteX170" fmla="*/ 514350 w 1624012"/>
                  <a:gd name="connsiteY170" fmla="*/ 1490663 h 1533525"/>
                  <a:gd name="connsiteX171" fmla="*/ 483393 w 1624012"/>
                  <a:gd name="connsiteY171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381125 w 1624012"/>
                  <a:gd name="connsiteY98" fmla="*/ 0 h 1533525"/>
                  <a:gd name="connsiteX99" fmla="*/ 1419225 w 1624012"/>
                  <a:gd name="connsiteY99" fmla="*/ 11906 h 1533525"/>
                  <a:gd name="connsiteX100" fmla="*/ 1438275 w 1624012"/>
                  <a:gd name="connsiteY100" fmla="*/ 69056 h 1533525"/>
                  <a:gd name="connsiteX101" fmla="*/ 1440656 w 1624012"/>
                  <a:gd name="connsiteY101" fmla="*/ 104775 h 1533525"/>
                  <a:gd name="connsiteX102" fmla="*/ 1490662 w 1624012"/>
                  <a:gd name="connsiteY102" fmla="*/ 142875 h 1533525"/>
                  <a:gd name="connsiteX103" fmla="*/ 1543050 w 1624012"/>
                  <a:gd name="connsiteY103" fmla="*/ 147638 h 1533525"/>
                  <a:gd name="connsiteX104" fmla="*/ 1547812 w 1624012"/>
                  <a:gd name="connsiteY104" fmla="*/ 121444 h 1533525"/>
                  <a:gd name="connsiteX105" fmla="*/ 1574006 w 1624012"/>
                  <a:gd name="connsiteY105" fmla="*/ 121444 h 1533525"/>
                  <a:gd name="connsiteX106" fmla="*/ 1624012 w 1624012"/>
                  <a:gd name="connsiteY106" fmla="*/ 109538 h 1533525"/>
                  <a:gd name="connsiteX107" fmla="*/ 1057275 w 1624012"/>
                  <a:gd name="connsiteY107" fmla="*/ 264319 h 1533525"/>
                  <a:gd name="connsiteX108" fmla="*/ 1062037 w 1624012"/>
                  <a:gd name="connsiteY108" fmla="*/ 304800 h 1533525"/>
                  <a:gd name="connsiteX109" fmla="*/ 995362 w 1624012"/>
                  <a:gd name="connsiteY109" fmla="*/ 352425 h 1533525"/>
                  <a:gd name="connsiteX110" fmla="*/ 973931 w 1624012"/>
                  <a:gd name="connsiteY110" fmla="*/ 383381 h 1533525"/>
                  <a:gd name="connsiteX111" fmla="*/ 1000125 w 1624012"/>
                  <a:gd name="connsiteY111" fmla="*/ 428625 h 1533525"/>
                  <a:gd name="connsiteX112" fmla="*/ 983456 w 1624012"/>
                  <a:gd name="connsiteY112" fmla="*/ 466725 h 1533525"/>
                  <a:gd name="connsiteX113" fmla="*/ 1000125 w 1624012"/>
                  <a:gd name="connsiteY113" fmla="*/ 519113 h 1533525"/>
                  <a:gd name="connsiteX114" fmla="*/ 1033462 w 1624012"/>
                  <a:gd name="connsiteY114" fmla="*/ 519113 h 1533525"/>
                  <a:gd name="connsiteX115" fmla="*/ 1019175 w 1624012"/>
                  <a:gd name="connsiteY115" fmla="*/ 552450 h 1533525"/>
                  <a:gd name="connsiteX116" fmla="*/ 1035843 w 1624012"/>
                  <a:gd name="connsiteY116" fmla="*/ 590550 h 1533525"/>
                  <a:gd name="connsiteX117" fmla="*/ 1035843 w 1624012"/>
                  <a:gd name="connsiteY117" fmla="*/ 607219 h 1533525"/>
                  <a:gd name="connsiteX118" fmla="*/ 1045368 w 1624012"/>
                  <a:gd name="connsiteY118" fmla="*/ 645319 h 1533525"/>
                  <a:gd name="connsiteX119" fmla="*/ 1064418 w 1624012"/>
                  <a:gd name="connsiteY119" fmla="*/ 645319 h 1533525"/>
                  <a:gd name="connsiteX120" fmla="*/ 1078706 w 1624012"/>
                  <a:gd name="connsiteY120" fmla="*/ 666750 h 1533525"/>
                  <a:gd name="connsiteX121" fmla="*/ 1085850 w 1624012"/>
                  <a:gd name="connsiteY121" fmla="*/ 688181 h 1533525"/>
                  <a:gd name="connsiteX122" fmla="*/ 1076325 w 1624012"/>
                  <a:gd name="connsiteY122" fmla="*/ 719138 h 1533525"/>
                  <a:gd name="connsiteX123" fmla="*/ 1021556 w 1624012"/>
                  <a:gd name="connsiteY123" fmla="*/ 714375 h 1533525"/>
                  <a:gd name="connsiteX124" fmla="*/ 1002506 w 1624012"/>
                  <a:gd name="connsiteY124" fmla="*/ 721519 h 1533525"/>
                  <a:gd name="connsiteX125" fmla="*/ 995362 w 1624012"/>
                  <a:gd name="connsiteY125" fmla="*/ 726281 h 1533525"/>
                  <a:gd name="connsiteX126" fmla="*/ 995362 w 1624012"/>
                  <a:gd name="connsiteY126" fmla="*/ 726281 h 1533525"/>
                  <a:gd name="connsiteX127" fmla="*/ 923925 w 1624012"/>
                  <a:gd name="connsiteY127" fmla="*/ 721519 h 1533525"/>
                  <a:gd name="connsiteX128" fmla="*/ 940593 w 1624012"/>
                  <a:gd name="connsiteY128" fmla="*/ 778669 h 1533525"/>
                  <a:gd name="connsiteX129" fmla="*/ 938212 w 1624012"/>
                  <a:gd name="connsiteY129" fmla="*/ 847725 h 1533525"/>
                  <a:gd name="connsiteX130" fmla="*/ 954881 w 1624012"/>
                  <a:gd name="connsiteY130" fmla="*/ 871538 h 1533525"/>
                  <a:gd name="connsiteX131" fmla="*/ 997743 w 1624012"/>
                  <a:gd name="connsiteY131" fmla="*/ 919163 h 1533525"/>
                  <a:gd name="connsiteX132" fmla="*/ 1012031 w 1624012"/>
                  <a:gd name="connsiteY132" fmla="*/ 954881 h 1533525"/>
                  <a:gd name="connsiteX133" fmla="*/ 1031081 w 1624012"/>
                  <a:gd name="connsiteY133" fmla="*/ 954881 h 1533525"/>
                  <a:gd name="connsiteX134" fmla="*/ 1071562 w 1624012"/>
                  <a:gd name="connsiteY134" fmla="*/ 940594 h 1533525"/>
                  <a:gd name="connsiteX135" fmla="*/ 1102518 w 1624012"/>
                  <a:gd name="connsiteY135" fmla="*/ 933450 h 1533525"/>
                  <a:gd name="connsiteX136" fmla="*/ 1159668 w 1624012"/>
                  <a:gd name="connsiteY136" fmla="*/ 997744 h 1533525"/>
                  <a:gd name="connsiteX137" fmla="*/ 1178718 w 1624012"/>
                  <a:gd name="connsiteY137" fmla="*/ 1052513 h 1533525"/>
                  <a:gd name="connsiteX138" fmla="*/ 1190625 w 1624012"/>
                  <a:gd name="connsiteY138" fmla="*/ 1081088 h 1533525"/>
                  <a:gd name="connsiteX139" fmla="*/ 1212056 w 1624012"/>
                  <a:gd name="connsiteY139" fmla="*/ 1109663 h 1533525"/>
                  <a:gd name="connsiteX140" fmla="*/ 1231106 w 1624012"/>
                  <a:gd name="connsiteY140" fmla="*/ 1102519 h 1533525"/>
                  <a:gd name="connsiteX141" fmla="*/ 1231106 w 1624012"/>
                  <a:gd name="connsiteY141" fmla="*/ 1131094 h 1533525"/>
                  <a:gd name="connsiteX142" fmla="*/ 1233487 w 1624012"/>
                  <a:gd name="connsiteY142" fmla="*/ 1145381 h 1533525"/>
                  <a:gd name="connsiteX143" fmla="*/ 1266825 w 1624012"/>
                  <a:gd name="connsiteY143" fmla="*/ 1181100 h 1533525"/>
                  <a:gd name="connsiteX144" fmla="*/ 1233487 w 1624012"/>
                  <a:gd name="connsiteY144" fmla="*/ 1181100 h 1533525"/>
                  <a:gd name="connsiteX145" fmla="*/ 1228725 w 1624012"/>
                  <a:gd name="connsiteY145" fmla="*/ 1223963 h 1533525"/>
                  <a:gd name="connsiteX146" fmla="*/ 1226343 w 1624012"/>
                  <a:gd name="connsiteY146" fmla="*/ 1243013 h 1533525"/>
                  <a:gd name="connsiteX147" fmla="*/ 1216818 w 1624012"/>
                  <a:gd name="connsiteY147" fmla="*/ 1264444 h 1533525"/>
                  <a:gd name="connsiteX148" fmla="*/ 1190625 w 1624012"/>
                  <a:gd name="connsiteY148" fmla="*/ 1238250 h 1533525"/>
                  <a:gd name="connsiteX149" fmla="*/ 1157287 w 1624012"/>
                  <a:gd name="connsiteY149" fmla="*/ 1209675 h 1533525"/>
                  <a:gd name="connsiteX150" fmla="*/ 1131093 w 1624012"/>
                  <a:gd name="connsiteY150" fmla="*/ 1185863 h 1533525"/>
                  <a:gd name="connsiteX151" fmla="*/ 1107281 w 1624012"/>
                  <a:gd name="connsiteY151" fmla="*/ 1219200 h 1533525"/>
                  <a:gd name="connsiteX152" fmla="*/ 1104900 w 1624012"/>
                  <a:gd name="connsiteY152" fmla="*/ 1264444 h 1533525"/>
                  <a:gd name="connsiteX153" fmla="*/ 1062037 w 1624012"/>
                  <a:gd name="connsiteY153" fmla="*/ 1259681 h 1533525"/>
                  <a:gd name="connsiteX154" fmla="*/ 1026318 w 1624012"/>
                  <a:gd name="connsiteY154" fmla="*/ 1288256 h 1533525"/>
                  <a:gd name="connsiteX155" fmla="*/ 1007268 w 1624012"/>
                  <a:gd name="connsiteY155" fmla="*/ 1240631 h 1533525"/>
                  <a:gd name="connsiteX156" fmla="*/ 947737 w 1624012"/>
                  <a:gd name="connsiteY156" fmla="*/ 1231106 h 1533525"/>
                  <a:gd name="connsiteX157" fmla="*/ 921543 w 1624012"/>
                  <a:gd name="connsiteY157" fmla="*/ 1297781 h 1533525"/>
                  <a:gd name="connsiteX158" fmla="*/ 885825 w 1624012"/>
                  <a:gd name="connsiteY158" fmla="*/ 1278731 h 1533525"/>
                  <a:gd name="connsiteX159" fmla="*/ 816768 w 1624012"/>
                  <a:gd name="connsiteY159" fmla="*/ 1295400 h 1533525"/>
                  <a:gd name="connsiteX160" fmla="*/ 757237 w 1624012"/>
                  <a:gd name="connsiteY160" fmla="*/ 1259681 h 1533525"/>
                  <a:gd name="connsiteX161" fmla="*/ 742950 w 1624012"/>
                  <a:gd name="connsiteY161" fmla="*/ 1312069 h 1533525"/>
                  <a:gd name="connsiteX162" fmla="*/ 704850 w 1624012"/>
                  <a:gd name="connsiteY162" fmla="*/ 1345406 h 1533525"/>
                  <a:gd name="connsiteX163" fmla="*/ 692943 w 1624012"/>
                  <a:gd name="connsiteY163" fmla="*/ 1366838 h 1533525"/>
                  <a:gd name="connsiteX164" fmla="*/ 671512 w 1624012"/>
                  <a:gd name="connsiteY164" fmla="*/ 1509713 h 1533525"/>
                  <a:gd name="connsiteX165" fmla="*/ 633412 w 1624012"/>
                  <a:gd name="connsiteY165" fmla="*/ 1490663 h 1533525"/>
                  <a:gd name="connsiteX166" fmla="*/ 614362 w 1624012"/>
                  <a:gd name="connsiteY166" fmla="*/ 1504950 h 1533525"/>
                  <a:gd name="connsiteX167" fmla="*/ 581025 w 1624012"/>
                  <a:gd name="connsiteY167" fmla="*/ 1531144 h 1533525"/>
                  <a:gd name="connsiteX168" fmla="*/ 523875 w 1624012"/>
                  <a:gd name="connsiteY168" fmla="*/ 1502569 h 1533525"/>
                  <a:gd name="connsiteX169" fmla="*/ 514350 w 1624012"/>
                  <a:gd name="connsiteY169" fmla="*/ 1490663 h 1533525"/>
                  <a:gd name="connsiteX170" fmla="*/ 483393 w 1624012"/>
                  <a:gd name="connsiteY170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419225 w 1624012"/>
                  <a:gd name="connsiteY98" fmla="*/ 11906 h 1533525"/>
                  <a:gd name="connsiteX99" fmla="*/ 1438275 w 1624012"/>
                  <a:gd name="connsiteY99" fmla="*/ 69056 h 1533525"/>
                  <a:gd name="connsiteX100" fmla="*/ 1440656 w 1624012"/>
                  <a:gd name="connsiteY100" fmla="*/ 104775 h 1533525"/>
                  <a:gd name="connsiteX101" fmla="*/ 1490662 w 1624012"/>
                  <a:gd name="connsiteY101" fmla="*/ 142875 h 1533525"/>
                  <a:gd name="connsiteX102" fmla="*/ 1543050 w 1624012"/>
                  <a:gd name="connsiteY102" fmla="*/ 147638 h 1533525"/>
                  <a:gd name="connsiteX103" fmla="*/ 1547812 w 1624012"/>
                  <a:gd name="connsiteY103" fmla="*/ 121444 h 1533525"/>
                  <a:gd name="connsiteX104" fmla="*/ 1574006 w 1624012"/>
                  <a:gd name="connsiteY104" fmla="*/ 121444 h 1533525"/>
                  <a:gd name="connsiteX105" fmla="*/ 1624012 w 1624012"/>
                  <a:gd name="connsiteY105" fmla="*/ 109538 h 1533525"/>
                  <a:gd name="connsiteX106" fmla="*/ 1057275 w 1624012"/>
                  <a:gd name="connsiteY106" fmla="*/ 264319 h 1533525"/>
                  <a:gd name="connsiteX107" fmla="*/ 1062037 w 1624012"/>
                  <a:gd name="connsiteY107" fmla="*/ 304800 h 1533525"/>
                  <a:gd name="connsiteX108" fmla="*/ 995362 w 1624012"/>
                  <a:gd name="connsiteY108" fmla="*/ 352425 h 1533525"/>
                  <a:gd name="connsiteX109" fmla="*/ 973931 w 1624012"/>
                  <a:gd name="connsiteY109" fmla="*/ 383381 h 1533525"/>
                  <a:gd name="connsiteX110" fmla="*/ 1000125 w 1624012"/>
                  <a:gd name="connsiteY110" fmla="*/ 428625 h 1533525"/>
                  <a:gd name="connsiteX111" fmla="*/ 983456 w 1624012"/>
                  <a:gd name="connsiteY111" fmla="*/ 466725 h 1533525"/>
                  <a:gd name="connsiteX112" fmla="*/ 1000125 w 1624012"/>
                  <a:gd name="connsiteY112" fmla="*/ 519113 h 1533525"/>
                  <a:gd name="connsiteX113" fmla="*/ 1033462 w 1624012"/>
                  <a:gd name="connsiteY113" fmla="*/ 519113 h 1533525"/>
                  <a:gd name="connsiteX114" fmla="*/ 1019175 w 1624012"/>
                  <a:gd name="connsiteY114" fmla="*/ 552450 h 1533525"/>
                  <a:gd name="connsiteX115" fmla="*/ 1035843 w 1624012"/>
                  <a:gd name="connsiteY115" fmla="*/ 590550 h 1533525"/>
                  <a:gd name="connsiteX116" fmla="*/ 1035843 w 1624012"/>
                  <a:gd name="connsiteY116" fmla="*/ 607219 h 1533525"/>
                  <a:gd name="connsiteX117" fmla="*/ 1045368 w 1624012"/>
                  <a:gd name="connsiteY117" fmla="*/ 645319 h 1533525"/>
                  <a:gd name="connsiteX118" fmla="*/ 1064418 w 1624012"/>
                  <a:gd name="connsiteY118" fmla="*/ 645319 h 1533525"/>
                  <a:gd name="connsiteX119" fmla="*/ 1078706 w 1624012"/>
                  <a:gd name="connsiteY119" fmla="*/ 666750 h 1533525"/>
                  <a:gd name="connsiteX120" fmla="*/ 1085850 w 1624012"/>
                  <a:gd name="connsiteY120" fmla="*/ 688181 h 1533525"/>
                  <a:gd name="connsiteX121" fmla="*/ 1076325 w 1624012"/>
                  <a:gd name="connsiteY121" fmla="*/ 719138 h 1533525"/>
                  <a:gd name="connsiteX122" fmla="*/ 1021556 w 1624012"/>
                  <a:gd name="connsiteY122" fmla="*/ 714375 h 1533525"/>
                  <a:gd name="connsiteX123" fmla="*/ 1002506 w 1624012"/>
                  <a:gd name="connsiteY123" fmla="*/ 721519 h 1533525"/>
                  <a:gd name="connsiteX124" fmla="*/ 995362 w 1624012"/>
                  <a:gd name="connsiteY124" fmla="*/ 726281 h 1533525"/>
                  <a:gd name="connsiteX125" fmla="*/ 995362 w 1624012"/>
                  <a:gd name="connsiteY125" fmla="*/ 726281 h 1533525"/>
                  <a:gd name="connsiteX126" fmla="*/ 923925 w 1624012"/>
                  <a:gd name="connsiteY126" fmla="*/ 721519 h 1533525"/>
                  <a:gd name="connsiteX127" fmla="*/ 940593 w 1624012"/>
                  <a:gd name="connsiteY127" fmla="*/ 778669 h 1533525"/>
                  <a:gd name="connsiteX128" fmla="*/ 938212 w 1624012"/>
                  <a:gd name="connsiteY128" fmla="*/ 847725 h 1533525"/>
                  <a:gd name="connsiteX129" fmla="*/ 954881 w 1624012"/>
                  <a:gd name="connsiteY129" fmla="*/ 871538 h 1533525"/>
                  <a:gd name="connsiteX130" fmla="*/ 997743 w 1624012"/>
                  <a:gd name="connsiteY130" fmla="*/ 919163 h 1533525"/>
                  <a:gd name="connsiteX131" fmla="*/ 1012031 w 1624012"/>
                  <a:gd name="connsiteY131" fmla="*/ 954881 h 1533525"/>
                  <a:gd name="connsiteX132" fmla="*/ 1031081 w 1624012"/>
                  <a:gd name="connsiteY132" fmla="*/ 954881 h 1533525"/>
                  <a:gd name="connsiteX133" fmla="*/ 1071562 w 1624012"/>
                  <a:gd name="connsiteY133" fmla="*/ 940594 h 1533525"/>
                  <a:gd name="connsiteX134" fmla="*/ 1102518 w 1624012"/>
                  <a:gd name="connsiteY134" fmla="*/ 933450 h 1533525"/>
                  <a:gd name="connsiteX135" fmla="*/ 1159668 w 1624012"/>
                  <a:gd name="connsiteY135" fmla="*/ 997744 h 1533525"/>
                  <a:gd name="connsiteX136" fmla="*/ 1178718 w 1624012"/>
                  <a:gd name="connsiteY136" fmla="*/ 1052513 h 1533525"/>
                  <a:gd name="connsiteX137" fmla="*/ 1190625 w 1624012"/>
                  <a:gd name="connsiteY137" fmla="*/ 1081088 h 1533525"/>
                  <a:gd name="connsiteX138" fmla="*/ 1212056 w 1624012"/>
                  <a:gd name="connsiteY138" fmla="*/ 1109663 h 1533525"/>
                  <a:gd name="connsiteX139" fmla="*/ 1231106 w 1624012"/>
                  <a:gd name="connsiteY139" fmla="*/ 1102519 h 1533525"/>
                  <a:gd name="connsiteX140" fmla="*/ 1231106 w 1624012"/>
                  <a:gd name="connsiteY140" fmla="*/ 1131094 h 1533525"/>
                  <a:gd name="connsiteX141" fmla="*/ 1233487 w 1624012"/>
                  <a:gd name="connsiteY141" fmla="*/ 1145381 h 1533525"/>
                  <a:gd name="connsiteX142" fmla="*/ 1266825 w 1624012"/>
                  <a:gd name="connsiteY142" fmla="*/ 1181100 h 1533525"/>
                  <a:gd name="connsiteX143" fmla="*/ 1233487 w 1624012"/>
                  <a:gd name="connsiteY143" fmla="*/ 1181100 h 1533525"/>
                  <a:gd name="connsiteX144" fmla="*/ 1228725 w 1624012"/>
                  <a:gd name="connsiteY144" fmla="*/ 1223963 h 1533525"/>
                  <a:gd name="connsiteX145" fmla="*/ 1226343 w 1624012"/>
                  <a:gd name="connsiteY145" fmla="*/ 1243013 h 1533525"/>
                  <a:gd name="connsiteX146" fmla="*/ 1216818 w 1624012"/>
                  <a:gd name="connsiteY146" fmla="*/ 1264444 h 1533525"/>
                  <a:gd name="connsiteX147" fmla="*/ 1190625 w 1624012"/>
                  <a:gd name="connsiteY147" fmla="*/ 1238250 h 1533525"/>
                  <a:gd name="connsiteX148" fmla="*/ 1157287 w 1624012"/>
                  <a:gd name="connsiteY148" fmla="*/ 1209675 h 1533525"/>
                  <a:gd name="connsiteX149" fmla="*/ 1131093 w 1624012"/>
                  <a:gd name="connsiteY149" fmla="*/ 1185863 h 1533525"/>
                  <a:gd name="connsiteX150" fmla="*/ 1107281 w 1624012"/>
                  <a:gd name="connsiteY150" fmla="*/ 1219200 h 1533525"/>
                  <a:gd name="connsiteX151" fmla="*/ 1104900 w 1624012"/>
                  <a:gd name="connsiteY151" fmla="*/ 1264444 h 1533525"/>
                  <a:gd name="connsiteX152" fmla="*/ 1062037 w 1624012"/>
                  <a:gd name="connsiteY152" fmla="*/ 1259681 h 1533525"/>
                  <a:gd name="connsiteX153" fmla="*/ 1026318 w 1624012"/>
                  <a:gd name="connsiteY153" fmla="*/ 1288256 h 1533525"/>
                  <a:gd name="connsiteX154" fmla="*/ 1007268 w 1624012"/>
                  <a:gd name="connsiteY154" fmla="*/ 1240631 h 1533525"/>
                  <a:gd name="connsiteX155" fmla="*/ 947737 w 1624012"/>
                  <a:gd name="connsiteY155" fmla="*/ 1231106 h 1533525"/>
                  <a:gd name="connsiteX156" fmla="*/ 921543 w 1624012"/>
                  <a:gd name="connsiteY156" fmla="*/ 1297781 h 1533525"/>
                  <a:gd name="connsiteX157" fmla="*/ 885825 w 1624012"/>
                  <a:gd name="connsiteY157" fmla="*/ 1278731 h 1533525"/>
                  <a:gd name="connsiteX158" fmla="*/ 816768 w 1624012"/>
                  <a:gd name="connsiteY158" fmla="*/ 1295400 h 1533525"/>
                  <a:gd name="connsiteX159" fmla="*/ 757237 w 1624012"/>
                  <a:gd name="connsiteY159" fmla="*/ 1259681 h 1533525"/>
                  <a:gd name="connsiteX160" fmla="*/ 742950 w 1624012"/>
                  <a:gd name="connsiteY160" fmla="*/ 1312069 h 1533525"/>
                  <a:gd name="connsiteX161" fmla="*/ 704850 w 1624012"/>
                  <a:gd name="connsiteY161" fmla="*/ 1345406 h 1533525"/>
                  <a:gd name="connsiteX162" fmla="*/ 692943 w 1624012"/>
                  <a:gd name="connsiteY162" fmla="*/ 1366838 h 1533525"/>
                  <a:gd name="connsiteX163" fmla="*/ 671512 w 1624012"/>
                  <a:gd name="connsiteY163" fmla="*/ 1509713 h 1533525"/>
                  <a:gd name="connsiteX164" fmla="*/ 633412 w 1624012"/>
                  <a:gd name="connsiteY164" fmla="*/ 1490663 h 1533525"/>
                  <a:gd name="connsiteX165" fmla="*/ 614362 w 1624012"/>
                  <a:gd name="connsiteY165" fmla="*/ 1504950 h 1533525"/>
                  <a:gd name="connsiteX166" fmla="*/ 581025 w 1624012"/>
                  <a:gd name="connsiteY166" fmla="*/ 1531144 h 1533525"/>
                  <a:gd name="connsiteX167" fmla="*/ 523875 w 1624012"/>
                  <a:gd name="connsiteY167" fmla="*/ 1502569 h 1533525"/>
                  <a:gd name="connsiteX168" fmla="*/ 514350 w 1624012"/>
                  <a:gd name="connsiteY168" fmla="*/ 1490663 h 1533525"/>
                  <a:gd name="connsiteX169" fmla="*/ 483393 w 1624012"/>
                  <a:gd name="connsiteY169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438275 w 1624012"/>
                  <a:gd name="connsiteY98" fmla="*/ 69056 h 1533525"/>
                  <a:gd name="connsiteX99" fmla="*/ 1440656 w 1624012"/>
                  <a:gd name="connsiteY99" fmla="*/ 104775 h 1533525"/>
                  <a:gd name="connsiteX100" fmla="*/ 1490662 w 1624012"/>
                  <a:gd name="connsiteY100" fmla="*/ 142875 h 1533525"/>
                  <a:gd name="connsiteX101" fmla="*/ 1543050 w 1624012"/>
                  <a:gd name="connsiteY101" fmla="*/ 147638 h 1533525"/>
                  <a:gd name="connsiteX102" fmla="*/ 1547812 w 1624012"/>
                  <a:gd name="connsiteY102" fmla="*/ 121444 h 1533525"/>
                  <a:gd name="connsiteX103" fmla="*/ 1574006 w 1624012"/>
                  <a:gd name="connsiteY103" fmla="*/ 121444 h 1533525"/>
                  <a:gd name="connsiteX104" fmla="*/ 1624012 w 1624012"/>
                  <a:gd name="connsiteY104" fmla="*/ 109538 h 1533525"/>
                  <a:gd name="connsiteX105" fmla="*/ 1057275 w 1624012"/>
                  <a:gd name="connsiteY105" fmla="*/ 264319 h 1533525"/>
                  <a:gd name="connsiteX106" fmla="*/ 1062037 w 1624012"/>
                  <a:gd name="connsiteY106" fmla="*/ 304800 h 1533525"/>
                  <a:gd name="connsiteX107" fmla="*/ 995362 w 1624012"/>
                  <a:gd name="connsiteY107" fmla="*/ 352425 h 1533525"/>
                  <a:gd name="connsiteX108" fmla="*/ 973931 w 1624012"/>
                  <a:gd name="connsiteY108" fmla="*/ 383381 h 1533525"/>
                  <a:gd name="connsiteX109" fmla="*/ 1000125 w 1624012"/>
                  <a:gd name="connsiteY109" fmla="*/ 428625 h 1533525"/>
                  <a:gd name="connsiteX110" fmla="*/ 983456 w 1624012"/>
                  <a:gd name="connsiteY110" fmla="*/ 466725 h 1533525"/>
                  <a:gd name="connsiteX111" fmla="*/ 1000125 w 1624012"/>
                  <a:gd name="connsiteY111" fmla="*/ 519113 h 1533525"/>
                  <a:gd name="connsiteX112" fmla="*/ 1033462 w 1624012"/>
                  <a:gd name="connsiteY112" fmla="*/ 519113 h 1533525"/>
                  <a:gd name="connsiteX113" fmla="*/ 1019175 w 1624012"/>
                  <a:gd name="connsiteY113" fmla="*/ 552450 h 1533525"/>
                  <a:gd name="connsiteX114" fmla="*/ 1035843 w 1624012"/>
                  <a:gd name="connsiteY114" fmla="*/ 590550 h 1533525"/>
                  <a:gd name="connsiteX115" fmla="*/ 1035843 w 1624012"/>
                  <a:gd name="connsiteY115" fmla="*/ 607219 h 1533525"/>
                  <a:gd name="connsiteX116" fmla="*/ 1045368 w 1624012"/>
                  <a:gd name="connsiteY116" fmla="*/ 645319 h 1533525"/>
                  <a:gd name="connsiteX117" fmla="*/ 1064418 w 1624012"/>
                  <a:gd name="connsiteY117" fmla="*/ 645319 h 1533525"/>
                  <a:gd name="connsiteX118" fmla="*/ 1078706 w 1624012"/>
                  <a:gd name="connsiteY118" fmla="*/ 666750 h 1533525"/>
                  <a:gd name="connsiteX119" fmla="*/ 1085850 w 1624012"/>
                  <a:gd name="connsiteY119" fmla="*/ 688181 h 1533525"/>
                  <a:gd name="connsiteX120" fmla="*/ 1076325 w 1624012"/>
                  <a:gd name="connsiteY120" fmla="*/ 719138 h 1533525"/>
                  <a:gd name="connsiteX121" fmla="*/ 1021556 w 1624012"/>
                  <a:gd name="connsiteY121" fmla="*/ 714375 h 1533525"/>
                  <a:gd name="connsiteX122" fmla="*/ 1002506 w 1624012"/>
                  <a:gd name="connsiteY122" fmla="*/ 721519 h 1533525"/>
                  <a:gd name="connsiteX123" fmla="*/ 995362 w 1624012"/>
                  <a:gd name="connsiteY123" fmla="*/ 726281 h 1533525"/>
                  <a:gd name="connsiteX124" fmla="*/ 995362 w 1624012"/>
                  <a:gd name="connsiteY124" fmla="*/ 726281 h 1533525"/>
                  <a:gd name="connsiteX125" fmla="*/ 923925 w 1624012"/>
                  <a:gd name="connsiteY125" fmla="*/ 721519 h 1533525"/>
                  <a:gd name="connsiteX126" fmla="*/ 940593 w 1624012"/>
                  <a:gd name="connsiteY126" fmla="*/ 778669 h 1533525"/>
                  <a:gd name="connsiteX127" fmla="*/ 938212 w 1624012"/>
                  <a:gd name="connsiteY127" fmla="*/ 847725 h 1533525"/>
                  <a:gd name="connsiteX128" fmla="*/ 954881 w 1624012"/>
                  <a:gd name="connsiteY128" fmla="*/ 871538 h 1533525"/>
                  <a:gd name="connsiteX129" fmla="*/ 997743 w 1624012"/>
                  <a:gd name="connsiteY129" fmla="*/ 919163 h 1533525"/>
                  <a:gd name="connsiteX130" fmla="*/ 1012031 w 1624012"/>
                  <a:gd name="connsiteY130" fmla="*/ 954881 h 1533525"/>
                  <a:gd name="connsiteX131" fmla="*/ 1031081 w 1624012"/>
                  <a:gd name="connsiteY131" fmla="*/ 954881 h 1533525"/>
                  <a:gd name="connsiteX132" fmla="*/ 1071562 w 1624012"/>
                  <a:gd name="connsiteY132" fmla="*/ 940594 h 1533525"/>
                  <a:gd name="connsiteX133" fmla="*/ 1102518 w 1624012"/>
                  <a:gd name="connsiteY133" fmla="*/ 933450 h 1533525"/>
                  <a:gd name="connsiteX134" fmla="*/ 1159668 w 1624012"/>
                  <a:gd name="connsiteY134" fmla="*/ 997744 h 1533525"/>
                  <a:gd name="connsiteX135" fmla="*/ 1178718 w 1624012"/>
                  <a:gd name="connsiteY135" fmla="*/ 1052513 h 1533525"/>
                  <a:gd name="connsiteX136" fmla="*/ 1190625 w 1624012"/>
                  <a:gd name="connsiteY136" fmla="*/ 1081088 h 1533525"/>
                  <a:gd name="connsiteX137" fmla="*/ 1212056 w 1624012"/>
                  <a:gd name="connsiteY137" fmla="*/ 1109663 h 1533525"/>
                  <a:gd name="connsiteX138" fmla="*/ 1231106 w 1624012"/>
                  <a:gd name="connsiteY138" fmla="*/ 1102519 h 1533525"/>
                  <a:gd name="connsiteX139" fmla="*/ 1231106 w 1624012"/>
                  <a:gd name="connsiteY139" fmla="*/ 1131094 h 1533525"/>
                  <a:gd name="connsiteX140" fmla="*/ 1233487 w 1624012"/>
                  <a:gd name="connsiteY140" fmla="*/ 1145381 h 1533525"/>
                  <a:gd name="connsiteX141" fmla="*/ 1266825 w 1624012"/>
                  <a:gd name="connsiteY141" fmla="*/ 1181100 h 1533525"/>
                  <a:gd name="connsiteX142" fmla="*/ 1233487 w 1624012"/>
                  <a:gd name="connsiteY142" fmla="*/ 1181100 h 1533525"/>
                  <a:gd name="connsiteX143" fmla="*/ 1228725 w 1624012"/>
                  <a:gd name="connsiteY143" fmla="*/ 1223963 h 1533525"/>
                  <a:gd name="connsiteX144" fmla="*/ 1226343 w 1624012"/>
                  <a:gd name="connsiteY144" fmla="*/ 1243013 h 1533525"/>
                  <a:gd name="connsiteX145" fmla="*/ 1216818 w 1624012"/>
                  <a:gd name="connsiteY145" fmla="*/ 1264444 h 1533525"/>
                  <a:gd name="connsiteX146" fmla="*/ 1190625 w 1624012"/>
                  <a:gd name="connsiteY146" fmla="*/ 1238250 h 1533525"/>
                  <a:gd name="connsiteX147" fmla="*/ 1157287 w 1624012"/>
                  <a:gd name="connsiteY147" fmla="*/ 1209675 h 1533525"/>
                  <a:gd name="connsiteX148" fmla="*/ 1131093 w 1624012"/>
                  <a:gd name="connsiteY148" fmla="*/ 1185863 h 1533525"/>
                  <a:gd name="connsiteX149" fmla="*/ 1107281 w 1624012"/>
                  <a:gd name="connsiteY149" fmla="*/ 1219200 h 1533525"/>
                  <a:gd name="connsiteX150" fmla="*/ 1104900 w 1624012"/>
                  <a:gd name="connsiteY150" fmla="*/ 1264444 h 1533525"/>
                  <a:gd name="connsiteX151" fmla="*/ 1062037 w 1624012"/>
                  <a:gd name="connsiteY151" fmla="*/ 1259681 h 1533525"/>
                  <a:gd name="connsiteX152" fmla="*/ 1026318 w 1624012"/>
                  <a:gd name="connsiteY152" fmla="*/ 1288256 h 1533525"/>
                  <a:gd name="connsiteX153" fmla="*/ 1007268 w 1624012"/>
                  <a:gd name="connsiteY153" fmla="*/ 1240631 h 1533525"/>
                  <a:gd name="connsiteX154" fmla="*/ 947737 w 1624012"/>
                  <a:gd name="connsiteY154" fmla="*/ 1231106 h 1533525"/>
                  <a:gd name="connsiteX155" fmla="*/ 921543 w 1624012"/>
                  <a:gd name="connsiteY155" fmla="*/ 1297781 h 1533525"/>
                  <a:gd name="connsiteX156" fmla="*/ 885825 w 1624012"/>
                  <a:gd name="connsiteY156" fmla="*/ 1278731 h 1533525"/>
                  <a:gd name="connsiteX157" fmla="*/ 816768 w 1624012"/>
                  <a:gd name="connsiteY157" fmla="*/ 1295400 h 1533525"/>
                  <a:gd name="connsiteX158" fmla="*/ 757237 w 1624012"/>
                  <a:gd name="connsiteY158" fmla="*/ 1259681 h 1533525"/>
                  <a:gd name="connsiteX159" fmla="*/ 742950 w 1624012"/>
                  <a:gd name="connsiteY159" fmla="*/ 1312069 h 1533525"/>
                  <a:gd name="connsiteX160" fmla="*/ 704850 w 1624012"/>
                  <a:gd name="connsiteY160" fmla="*/ 1345406 h 1533525"/>
                  <a:gd name="connsiteX161" fmla="*/ 692943 w 1624012"/>
                  <a:gd name="connsiteY161" fmla="*/ 1366838 h 1533525"/>
                  <a:gd name="connsiteX162" fmla="*/ 671512 w 1624012"/>
                  <a:gd name="connsiteY162" fmla="*/ 1509713 h 1533525"/>
                  <a:gd name="connsiteX163" fmla="*/ 633412 w 1624012"/>
                  <a:gd name="connsiteY163" fmla="*/ 1490663 h 1533525"/>
                  <a:gd name="connsiteX164" fmla="*/ 614362 w 1624012"/>
                  <a:gd name="connsiteY164" fmla="*/ 1504950 h 1533525"/>
                  <a:gd name="connsiteX165" fmla="*/ 581025 w 1624012"/>
                  <a:gd name="connsiteY165" fmla="*/ 1531144 h 1533525"/>
                  <a:gd name="connsiteX166" fmla="*/ 523875 w 1624012"/>
                  <a:gd name="connsiteY166" fmla="*/ 1502569 h 1533525"/>
                  <a:gd name="connsiteX167" fmla="*/ 514350 w 1624012"/>
                  <a:gd name="connsiteY167" fmla="*/ 1490663 h 1533525"/>
                  <a:gd name="connsiteX168" fmla="*/ 483393 w 1624012"/>
                  <a:gd name="connsiteY168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38275 w 1624012"/>
                  <a:gd name="connsiteY97" fmla="*/ 69056 h 1533525"/>
                  <a:gd name="connsiteX98" fmla="*/ 1440656 w 1624012"/>
                  <a:gd name="connsiteY98" fmla="*/ 104775 h 1533525"/>
                  <a:gd name="connsiteX99" fmla="*/ 1490662 w 1624012"/>
                  <a:gd name="connsiteY99" fmla="*/ 142875 h 1533525"/>
                  <a:gd name="connsiteX100" fmla="*/ 1543050 w 1624012"/>
                  <a:gd name="connsiteY100" fmla="*/ 147638 h 1533525"/>
                  <a:gd name="connsiteX101" fmla="*/ 1547812 w 1624012"/>
                  <a:gd name="connsiteY101" fmla="*/ 121444 h 1533525"/>
                  <a:gd name="connsiteX102" fmla="*/ 1574006 w 1624012"/>
                  <a:gd name="connsiteY102" fmla="*/ 121444 h 1533525"/>
                  <a:gd name="connsiteX103" fmla="*/ 1624012 w 1624012"/>
                  <a:gd name="connsiteY103" fmla="*/ 109538 h 1533525"/>
                  <a:gd name="connsiteX104" fmla="*/ 1057275 w 1624012"/>
                  <a:gd name="connsiteY104" fmla="*/ 264319 h 1533525"/>
                  <a:gd name="connsiteX105" fmla="*/ 1062037 w 1624012"/>
                  <a:gd name="connsiteY105" fmla="*/ 304800 h 1533525"/>
                  <a:gd name="connsiteX106" fmla="*/ 995362 w 1624012"/>
                  <a:gd name="connsiteY106" fmla="*/ 352425 h 1533525"/>
                  <a:gd name="connsiteX107" fmla="*/ 973931 w 1624012"/>
                  <a:gd name="connsiteY107" fmla="*/ 383381 h 1533525"/>
                  <a:gd name="connsiteX108" fmla="*/ 1000125 w 1624012"/>
                  <a:gd name="connsiteY108" fmla="*/ 428625 h 1533525"/>
                  <a:gd name="connsiteX109" fmla="*/ 983456 w 1624012"/>
                  <a:gd name="connsiteY109" fmla="*/ 466725 h 1533525"/>
                  <a:gd name="connsiteX110" fmla="*/ 1000125 w 1624012"/>
                  <a:gd name="connsiteY110" fmla="*/ 519113 h 1533525"/>
                  <a:gd name="connsiteX111" fmla="*/ 1033462 w 1624012"/>
                  <a:gd name="connsiteY111" fmla="*/ 519113 h 1533525"/>
                  <a:gd name="connsiteX112" fmla="*/ 1019175 w 1624012"/>
                  <a:gd name="connsiteY112" fmla="*/ 552450 h 1533525"/>
                  <a:gd name="connsiteX113" fmla="*/ 1035843 w 1624012"/>
                  <a:gd name="connsiteY113" fmla="*/ 590550 h 1533525"/>
                  <a:gd name="connsiteX114" fmla="*/ 1035843 w 1624012"/>
                  <a:gd name="connsiteY114" fmla="*/ 607219 h 1533525"/>
                  <a:gd name="connsiteX115" fmla="*/ 1045368 w 1624012"/>
                  <a:gd name="connsiteY115" fmla="*/ 645319 h 1533525"/>
                  <a:gd name="connsiteX116" fmla="*/ 1064418 w 1624012"/>
                  <a:gd name="connsiteY116" fmla="*/ 645319 h 1533525"/>
                  <a:gd name="connsiteX117" fmla="*/ 1078706 w 1624012"/>
                  <a:gd name="connsiteY117" fmla="*/ 666750 h 1533525"/>
                  <a:gd name="connsiteX118" fmla="*/ 1085850 w 1624012"/>
                  <a:gd name="connsiteY118" fmla="*/ 688181 h 1533525"/>
                  <a:gd name="connsiteX119" fmla="*/ 1076325 w 1624012"/>
                  <a:gd name="connsiteY119" fmla="*/ 719138 h 1533525"/>
                  <a:gd name="connsiteX120" fmla="*/ 1021556 w 1624012"/>
                  <a:gd name="connsiteY120" fmla="*/ 714375 h 1533525"/>
                  <a:gd name="connsiteX121" fmla="*/ 1002506 w 1624012"/>
                  <a:gd name="connsiteY121" fmla="*/ 721519 h 1533525"/>
                  <a:gd name="connsiteX122" fmla="*/ 995362 w 1624012"/>
                  <a:gd name="connsiteY122" fmla="*/ 726281 h 1533525"/>
                  <a:gd name="connsiteX123" fmla="*/ 995362 w 1624012"/>
                  <a:gd name="connsiteY123" fmla="*/ 726281 h 1533525"/>
                  <a:gd name="connsiteX124" fmla="*/ 923925 w 1624012"/>
                  <a:gd name="connsiteY124" fmla="*/ 721519 h 1533525"/>
                  <a:gd name="connsiteX125" fmla="*/ 940593 w 1624012"/>
                  <a:gd name="connsiteY125" fmla="*/ 778669 h 1533525"/>
                  <a:gd name="connsiteX126" fmla="*/ 938212 w 1624012"/>
                  <a:gd name="connsiteY126" fmla="*/ 847725 h 1533525"/>
                  <a:gd name="connsiteX127" fmla="*/ 954881 w 1624012"/>
                  <a:gd name="connsiteY127" fmla="*/ 871538 h 1533525"/>
                  <a:gd name="connsiteX128" fmla="*/ 997743 w 1624012"/>
                  <a:gd name="connsiteY128" fmla="*/ 919163 h 1533525"/>
                  <a:gd name="connsiteX129" fmla="*/ 1012031 w 1624012"/>
                  <a:gd name="connsiteY129" fmla="*/ 954881 h 1533525"/>
                  <a:gd name="connsiteX130" fmla="*/ 1031081 w 1624012"/>
                  <a:gd name="connsiteY130" fmla="*/ 954881 h 1533525"/>
                  <a:gd name="connsiteX131" fmla="*/ 1071562 w 1624012"/>
                  <a:gd name="connsiteY131" fmla="*/ 940594 h 1533525"/>
                  <a:gd name="connsiteX132" fmla="*/ 1102518 w 1624012"/>
                  <a:gd name="connsiteY132" fmla="*/ 933450 h 1533525"/>
                  <a:gd name="connsiteX133" fmla="*/ 1159668 w 1624012"/>
                  <a:gd name="connsiteY133" fmla="*/ 997744 h 1533525"/>
                  <a:gd name="connsiteX134" fmla="*/ 1178718 w 1624012"/>
                  <a:gd name="connsiteY134" fmla="*/ 1052513 h 1533525"/>
                  <a:gd name="connsiteX135" fmla="*/ 1190625 w 1624012"/>
                  <a:gd name="connsiteY135" fmla="*/ 1081088 h 1533525"/>
                  <a:gd name="connsiteX136" fmla="*/ 1212056 w 1624012"/>
                  <a:gd name="connsiteY136" fmla="*/ 1109663 h 1533525"/>
                  <a:gd name="connsiteX137" fmla="*/ 1231106 w 1624012"/>
                  <a:gd name="connsiteY137" fmla="*/ 1102519 h 1533525"/>
                  <a:gd name="connsiteX138" fmla="*/ 1231106 w 1624012"/>
                  <a:gd name="connsiteY138" fmla="*/ 1131094 h 1533525"/>
                  <a:gd name="connsiteX139" fmla="*/ 1233487 w 1624012"/>
                  <a:gd name="connsiteY139" fmla="*/ 1145381 h 1533525"/>
                  <a:gd name="connsiteX140" fmla="*/ 1266825 w 1624012"/>
                  <a:gd name="connsiteY140" fmla="*/ 1181100 h 1533525"/>
                  <a:gd name="connsiteX141" fmla="*/ 1233487 w 1624012"/>
                  <a:gd name="connsiteY141" fmla="*/ 1181100 h 1533525"/>
                  <a:gd name="connsiteX142" fmla="*/ 1228725 w 1624012"/>
                  <a:gd name="connsiteY142" fmla="*/ 1223963 h 1533525"/>
                  <a:gd name="connsiteX143" fmla="*/ 1226343 w 1624012"/>
                  <a:gd name="connsiteY143" fmla="*/ 1243013 h 1533525"/>
                  <a:gd name="connsiteX144" fmla="*/ 1216818 w 1624012"/>
                  <a:gd name="connsiteY144" fmla="*/ 1264444 h 1533525"/>
                  <a:gd name="connsiteX145" fmla="*/ 1190625 w 1624012"/>
                  <a:gd name="connsiteY145" fmla="*/ 1238250 h 1533525"/>
                  <a:gd name="connsiteX146" fmla="*/ 1157287 w 1624012"/>
                  <a:gd name="connsiteY146" fmla="*/ 1209675 h 1533525"/>
                  <a:gd name="connsiteX147" fmla="*/ 1131093 w 1624012"/>
                  <a:gd name="connsiteY147" fmla="*/ 1185863 h 1533525"/>
                  <a:gd name="connsiteX148" fmla="*/ 1107281 w 1624012"/>
                  <a:gd name="connsiteY148" fmla="*/ 1219200 h 1533525"/>
                  <a:gd name="connsiteX149" fmla="*/ 1104900 w 1624012"/>
                  <a:gd name="connsiteY149" fmla="*/ 1264444 h 1533525"/>
                  <a:gd name="connsiteX150" fmla="*/ 1062037 w 1624012"/>
                  <a:gd name="connsiteY150" fmla="*/ 1259681 h 1533525"/>
                  <a:gd name="connsiteX151" fmla="*/ 1026318 w 1624012"/>
                  <a:gd name="connsiteY151" fmla="*/ 1288256 h 1533525"/>
                  <a:gd name="connsiteX152" fmla="*/ 1007268 w 1624012"/>
                  <a:gd name="connsiteY152" fmla="*/ 1240631 h 1533525"/>
                  <a:gd name="connsiteX153" fmla="*/ 947737 w 1624012"/>
                  <a:gd name="connsiteY153" fmla="*/ 1231106 h 1533525"/>
                  <a:gd name="connsiteX154" fmla="*/ 921543 w 1624012"/>
                  <a:gd name="connsiteY154" fmla="*/ 1297781 h 1533525"/>
                  <a:gd name="connsiteX155" fmla="*/ 885825 w 1624012"/>
                  <a:gd name="connsiteY155" fmla="*/ 1278731 h 1533525"/>
                  <a:gd name="connsiteX156" fmla="*/ 816768 w 1624012"/>
                  <a:gd name="connsiteY156" fmla="*/ 1295400 h 1533525"/>
                  <a:gd name="connsiteX157" fmla="*/ 757237 w 1624012"/>
                  <a:gd name="connsiteY157" fmla="*/ 1259681 h 1533525"/>
                  <a:gd name="connsiteX158" fmla="*/ 742950 w 1624012"/>
                  <a:gd name="connsiteY158" fmla="*/ 1312069 h 1533525"/>
                  <a:gd name="connsiteX159" fmla="*/ 704850 w 1624012"/>
                  <a:gd name="connsiteY159" fmla="*/ 1345406 h 1533525"/>
                  <a:gd name="connsiteX160" fmla="*/ 692943 w 1624012"/>
                  <a:gd name="connsiteY160" fmla="*/ 1366838 h 1533525"/>
                  <a:gd name="connsiteX161" fmla="*/ 671512 w 1624012"/>
                  <a:gd name="connsiteY161" fmla="*/ 1509713 h 1533525"/>
                  <a:gd name="connsiteX162" fmla="*/ 633412 w 1624012"/>
                  <a:gd name="connsiteY162" fmla="*/ 1490663 h 1533525"/>
                  <a:gd name="connsiteX163" fmla="*/ 614362 w 1624012"/>
                  <a:gd name="connsiteY163" fmla="*/ 1504950 h 1533525"/>
                  <a:gd name="connsiteX164" fmla="*/ 581025 w 1624012"/>
                  <a:gd name="connsiteY164" fmla="*/ 1531144 h 1533525"/>
                  <a:gd name="connsiteX165" fmla="*/ 523875 w 1624012"/>
                  <a:gd name="connsiteY165" fmla="*/ 1502569 h 1533525"/>
                  <a:gd name="connsiteX166" fmla="*/ 514350 w 1624012"/>
                  <a:gd name="connsiteY166" fmla="*/ 1490663 h 1533525"/>
                  <a:gd name="connsiteX167" fmla="*/ 483393 w 1624012"/>
                  <a:gd name="connsiteY167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40656 w 1624012"/>
                  <a:gd name="connsiteY97" fmla="*/ 104775 h 1533525"/>
                  <a:gd name="connsiteX98" fmla="*/ 1490662 w 1624012"/>
                  <a:gd name="connsiteY98" fmla="*/ 142875 h 1533525"/>
                  <a:gd name="connsiteX99" fmla="*/ 1543050 w 1624012"/>
                  <a:gd name="connsiteY99" fmla="*/ 147638 h 1533525"/>
                  <a:gd name="connsiteX100" fmla="*/ 1547812 w 1624012"/>
                  <a:gd name="connsiteY100" fmla="*/ 121444 h 1533525"/>
                  <a:gd name="connsiteX101" fmla="*/ 1574006 w 1624012"/>
                  <a:gd name="connsiteY101" fmla="*/ 121444 h 1533525"/>
                  <a:gd name="connsiteX102" fmla="*/ 1624012 w 1624012"/>
                  <a:gd name="connsiteY102" fmla="*/ 109538 h 1533525"/>
                  <a:gd name="connsiteX103" fmla="*/ 1057275 w 1624012"/>
                  <a:gd name="connsiteY103" fmla="*/ 264319 h 1533525"/>
                  <a:gd name="connsiteX104" fmla="*/ 1062037 w 1624012"/>
                  <a:gd name="connsiteY104" fmla="*/ 304800 h 1533525"/>
                  <a:gd name="connsiteX105" fmla="*/ 995362 w 1624012"/>
                  <a:gd name="connsiteY105" fmla="*/ 352425 h 1533525"/>
                  <a:gd name="connsiteX106" fmla="*/ 973931 w 1624012"/>
                  <a:gd name="connsiteY106" fmla="*/ 383381 h 1533525"/>
                  <a:gd name="connsiteX107" fmla="*/ 1000125 w 1624012"/>
                  <a:gd name="connsiteY107" fmla="*/ 428625 h 1533525"/>
                  <a:gd name="connsiteX108" fmla="*/ 983456 w 1624012"/>
                  <a:gd name="connsiteY108" fmla="*/ 466725 h 1533525"/>
                  <a:gd name="connsiteX109" fmla="*/ 1000125 w 1624012"/>
                  <a:gd name="connsiteY109" fmla="*/ 519113 h 1533525"/>
                  <a:gd name="connsiteX110" fmla="*/ 1033462 w 1624012"/>
                  <a:gd name="connsiteY110" fmla="*/ 519113 h 1533525"/>
                  <a:gd name="connsiteX111" fmla="*/ 1019175 w 1624012"/>
                  <a:gd name="connsiteY111" fmla="*/ 552450 h 1533525"/>
                  <a:gd name="connsiteX112" fmla="*/ 1035843 w 1624012"/>
                  <a:gd name="connsiteY112" fmla="*/ 590550 h 1533525"/>
                  <a:gd name="connsiteX113" fmla="*/ 1035843 w 1624012"/>
                  <a:gd name="connsiteY113" fmla="*/ 607219 h 1533525"/>
                  <a:gd name="connsiteX114" fmla="*/ 1045368 w 1624012"/>
                  <a:gd name="connsiteY114" fmla="*/ 645319 h 1533525"/>
                  <a:gd name="connsiteX115" fmla="*/ 1064418 w 1624012"/>
                  <a:gd name="connsiteY115" fmla="*/ 645319 h 1533525"/>
                  <a:gd name="connsiteX116" fmla="*/ 1078706 w 1624012"/>
                  <a:gd name="connsiteY116" fmla="*/ 666750 h 1533525"/>
                  <a:gd name="connsiteX117" fmla="*/ 1085850 w 1624012"/>
                  <a:gd name="connsiteY117" fmla="*/ 688181 h 1533525"/>
                  <a:gd name="connsiteX118" fmla="*/ 1076325 w 1624012"/>
                  <a:gd name="connsiteY118" fmla="*/ 719138 h 1533525"/>
                  <a:gd name="connsiteX119" fmla="*/ 1021556 w 1624012"/>
                  <a:gd name="connsiteY119" fmla="*/ 714375 h 1533525"/>
                  <a:gd name="connsiteX120" fmla="*/ 1002506 w 1624012"/>
                  <a:gd name="connsiteY120" fmla="*/ 721519 h 1533525"/>
                  <a:gd name="connsiteX121" fmla="*/ 995362 w 1624012"/>
                  <a:gd name="connsiteY121" fmla="*/ 726281 h 1533525"/>
                  <a:gd name="connsiteX122" fmla="*/ 995362 w 1624012"/>
                  <a:gd name="connsiteY122" fmla="*/ 726281 h 1533525"/>
                  <a:gd name="connsiteX123" fmla="*/ 923925 w 1624012"/>
                  <a:gd name="connsiteY123" fmla="*/ 721519 h 1533525"/>
                  <a:gd name="connsiteX124" fmla="*/ 940593 w 1624012"/>
                  <a:gd name="connsiteY124" fmla="*/ 778669 h 1533525"/>
                  <a:gd name="connsiteX125" fmla="*/ 938212 w 1624012"/>
                  <a:gd name="connsiteY125" fmla="*/ 847725 h 1533525"/>
                  <a:gd name="connsiteX126" fmla="*/ 954881 w 1624012"/>
                  <a:gd name="connsiteY126" fmla="*/ 871538 h 1533525"/>
                  <a:gd name="connsiteX127" fmla="*/ 997743 w 1624012"/>
                  <a:gd name="connsiteY127" fmla="*/ 919163 h 1533525"/>
                  <a:gd name="connsiteX128" fmla="*/ 1012031 w 1624012"/>
                  <a:gd name="connsiteY128" fmla="*/ 954881 h 1533525"/>
                  <a:gd name="connsiteX129" fmla="*/ 1031081 w 1624012"/>
                  <a:gd name="connsiteY129" fmla="*/ 954881 h 1533525"/>
                  <a:gd name="connsiteX130" fmla="*/ 1071562 w 1624012"/>
                  <a:gd name="connsiteY130" fmla="*/ 940594 h 1533525"/>
                  <a:gd name="connsiteX131" fmla="*/ 1102518 w 1624012"/>
                  <a:gd name="connsiteY131" fmla="*/ 933450 h 1533525"/>
                  <a:gd name="connsiteX132" fmla="*/ 1159668 w 1624012"/>
                  <a:gd name="connsiteY132" fmla="*/ 997744 h 1533525"/>
                  <a:gd name="connsiteX133" fmla="*/ 1178718 w 1624012"/>
                  <a:gd name="connsiteY133" fmla="*/ 1052513 h 1533525"/>
                  <a:gd name="connsiteX134" fmla="*/ 1190625 w 1624012"/>
                  <a:gd name="connsiteY134" fmla="*/ 1081088 h 1533525"/>
                  <a:gd name="connsiteX135" fmla="*/ 1212056 w 1624012"/>
                  <a:gd name="connsiteY135" fmla="*/ 1109663 h 1533525"/>
                  <a:gd name="connsiteX136" fmla="*/ 1231106 w 1624012"/>
                  <a:gd name="connsiteY136" fmla="*/ 1102519 h 1533525"/>
                  <a:gd name="connsiteX137" fmla="*/ 1231106 w 1624012"/>
                  <a:gd name="connsiteY137" fmla="*/ 1131094 h 1533525"/>
                  <a:gd name="connsiteX138" fmla="*/ 1233487 w 1624012"/>
                  <a:gd name="connsiteY138" fmla="*/ 1145381 h 1533525"/>
                  <a:gd name="connsiteX139" fmla="*/ 1266825 w 1624012"/>
                  <a:gd name="connsiteY139" fmla="*/ 1181100 h 1533525"/>
                  <a:gd name="connsiteX140" fmla="*/ 1233487 w 1624012"/>
                  <a:gd name="connsiteY140" fmla="*/ 1181100 h 1533525"/>
                  <a:gd name="connsiteX141" fmla="*/ 1228725 w 1624012"/>
                  <a:gd name="connsiteY141" fmla="*/ 1223963 h 1533525"/>
                  <a:gd name="connsiteX142" fmla="*/ 1226343 w 1624012"/>
                  <a:gd name="connsiteY142" fmla="*/ 1243013 h 1533525"/>
                  <a:gd name="connsiteX143" fmla="*/ 1216818 w 1624012"/>
                  <a:gd name="connsiteY143" fmla="*/ 1264444 h 1533525"/>
                  <a:gd name="connsiteX144" fmla="*/ 1190625 w 1624012"/>
                  <a:gd name="connsiteY144" fmla="*/ 1238250 h 1533525"/>
                  <a:gd name="connsiteX145" fmla="*/ 1157287 w 1624012"/>
                  <a:gd name="connsiteY145" fmla="*/ 1209675 h 1533525"/>
                  <a:gd name="connsiteX146" fmla="*/ 1131093 w 1624012"/>
                  <a:gd name="connsiteY146" fmla="*/ 1185863 h 1533525"/>
                  <a:gd name="connsiteX147" fmla="*/ 1107281 w 1624012"/>
                  <a:gd name="connsiteY147" fmla="*/ 1219200 h 1533525"/>
                  <a:gd name="connsiteX148" fmla="*/ 1104900 w 1624012"/>
                  <a:gd name="connsiteY148" fmla="*/ 1264444 h 1533525"/>
                  <a:gd name="connsiteX149" fmla="*/ 1062037 w 1624012"/>
                  <a:gd name="connsiteY149" fmla="*/ 1259681 h 1533525"/>
                  <a:gd name="connsiteX150" fmla="*/ 1026318 w 1624012"/>
                  <a:gd name="connsiteY150" fmla="*/ 1288256 h 1533525"/>
                  <a:gd name="connsiteX151" fmla="*/ 1007268 w 1624012"/>
                  <a:gd name="connsiteY151" fmla="*/ 1240631 h 1533525"/>
                  <a:gd name="connsiteX152" fmla="*/ 947737 w 1624012"/>
                  <a:gd name="connsiteY152" fmla="*/ 1231106 h 1533525"/>
                  <a:gd name="connsiteX153" fmla="*/ 921543 w 1624012"/>
                  <a:gd name="connsiteY153" fmla="*/ 1297781 h 1533525"/>
                  <a:gd name="connsiteX154" fmla="*/ 885825 w 1624012"/>
                  <a:gd name="connsiteY154" fmla="*/ 1278731 h 1533525"/>
                  <a:gd name="connsiteX155" fmla="*/ 816768 w 1624012"/>
                  <a:gd name="connsiteY155" fmla="*/ 1295400 h 1533525"/>
                  <a:gd name="connsiteX156" fmla="*/ 757237 w 1624012"/>
                  <a:gd name="connsiteY156" fmla="*/ 1259681 h 1533525"/>
                  <a:gd name="connsiteX157" fmla="*/ 742950 w 1624012"/>
                  <a:gd name="connsiteY157" fmla="*/ 1312069 h 1533525"/>
                  <a:gd name="connsiteX158" fmla="*/ 704850 w 1624012"/>
                  <a:gd name="connsiteY158" fmla="*/ 1345406 h 1533525"/>
                  <a:gd name="connsiteX159" fmla="*/ 692943 w 1624012"/>
                  <a:gd name="connsiteY159" fmla="*/ 1366838 h 1533525"/>
                  <a:gd name="connsiteX160" fmla="*/ 671512 w 1624012"/>
                  <a:gd name="connsiteY160" fmla="*/ 1509713 h 1533525"/>
                  <a:gd name="connsiteX161" fmla="*/ 633412 w 1624012"/>
                  <a:gd name="connsiteY161" fmla="*/ 1490663 h 1533525"/>
                  <a:gd name="connsiteX162" fmla="*/ 614362 w 1624012"/>
                  <a:gd name="connsiteY162" fmla="*/ 1504950 h 1533525"/>
                  <a:gd name="connsiteX163" fmla="*/ 581025 w 1624012"/>
                  <a:gd name="connsiteY163" fmla="*/ 1531144 h 1533525"/>
                  <a:gd name="connsiteX164" fmla="*/ 523875 w 1624012"/>
                  <a:gd name="connsiteY164" fmla="*/ 1502569 h 1533525"/>
                  <a:gd name="connsiteX165" fmla="*/ 514350 w 1624012"/>
                  <a:gd name="connsiteY165" fmla="*/ 1490663 h 1533525"/>
                  <a:gd name="connsiteX166" fmla="*/ 483393 w 1624012"/>
                  <a:gd name="connsiteY166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90662 w 1624012"/>
                  <a:gd name="connsiteY97" fmla="*/ 142875 h 1533525"/>
                  <a:gd name="connsiteX98" fmla="*/ 1543050 w 1624012"/>
                  <a:gd name="connsiteY98" fmla="*/ 147638 h 1533525"/>
                  <a:gd name="connsiteX99" fmla="*/ 1547812 w 1624012"/>
                  <a:gd name="connsiteY99" fmla="*/ 121444 h 1533525"/>
                  <a:gd name="connsiteX100" fmla="*/ 1574006 w 1624012"/>
                  <a:gd name="connsiteY100" fmla="*/ 121444 h 1533525"/>
                  <a:gd name="connsiteX101" fmla="*/ 1624012 w 1624012"/>
                  <a:gd name="connsiteY101" fmla="*/ 109538 h 1533525"/>
                  <a:gd name="connsiteX102" fmla="*/ 1057275 w 1624012"/>
                  <a:gd name="connsiteY102" fmla="*/ 264319 h 1533525"/>
                  <a:gd name="connsiteX103" fmla="*/ 1062037 w 1624012"/>
                  <a:gd name="connsiteY103" fmla="*/ 304800 h 1533525"/>
                  <a:gd name="connsiteX104" fmla="*/ 995362 w 1624012"/>
                  <a:gd name="connsiteY104" fmla="*/ 352425 h 1533525"/>
                  <a:gd name="connsiteX105" fmla="*/ 973931 w 1624012"/>
                  <a:gd name="connsiteY105" fmla="*/ 383381 h 1533525"/>
                  <a:gd name="connsiteX106" fmla="*/ 1000125 w 1624012"/>
                  <a:gd name="connsiteY106" fmla="*/ 428625 h 1533525"/>
                  <a:gd name="connsiteX107" fmla="*/ 983456 w 1624012"/>
                  <a:gd name="connsiteY107" fmla="*/ 466725 h 1533525"/>
                  <a:gd name="connsiteX108" fmla="*/ 1000125 w 1624012"/>
                  <a:gd name="connsiteY108" fmla="*/ 519113 h 1533525"/>
                  <a:gd name="connsiteX109" fmla="*/ 1033462 w 1624012"/>
                  <a:gd name="connsiteY109" fmla="*/ 519113 h 1533525"/>
                  <a:gd name="connsiteX110" fmla="*/ 1019175 w 1624012"/>
                  <a:gd name="connsiteY110" fmla="*/ 552450 h 1533525"/>
                  <a:gd name="connsiteX111" fmla="*/ 1035843 w 1624012"/>
                  <a:gd name="connsiteY111" fmla="*/ 590550 h 1533525"/>
                  <a:gd name="connsiteX112" fmla="*/ 1035843 w 1624012"/>
                  <a:gd name="connsiteY112" fmla="*/ 607219 h 1533525"/>
                  <a:gd name="connsiteX113" fmla="*/ 1045368 w 1624012"/>
                  <a:gd name="connsiteY113" fmla="*/ 645319 h 1533525"/>
                  <a:gd name="connsiteX114" fmla="*/ 1064418 w 1624012"/>
                  <a:gd name="connsiteY114" fmla="*/ 645319 h 1533525"/>
                  <a:gd name="connsiteX115" fmla="*/ 1078706 w 1624012"/>
                  <a:gd name="connsiteY115" fmla="*/ 666750 h 1533525"/>
                  <a:gd name="connsiteX116" fmla="*/ 1085850 w 1624012"/>
                  <a:gd name="connsiteY116" fmla="*/ 688181 h 1533525"/>
                  <a:gd name="connsiteX117" fmla="*/ 1076325 w 1624012"/>
                  <a:gd name="connsiteY117" fmla="*/ 719138 h 1533525"/>
                  <a:gd name="connsiteX118" fmla="*/ 1021556 w 1624012"/>
                  <a:gd name="connsiteY118" fmla="*/ 714375 h 1533525"/>
                  <a:gd name="connsiteX119" fmla="*/ 1002506 w 1624012"/>
                  <a:gd name="connsiteY119" fmla="*/ 721519 h 1533525"/>
                  <a:gd name="connsiteX120" fmla="*/ 995362 w 1624012"/>
                  <a:gd name="connsiteY120" fmla="*/ 726281 h 1533525"/>
                  <a:gd name="connsiteX121" fmla="*/ 995362 w 1624012"/>
                  <a:gd name="connsiteY121" fmla="*/ 726281 h 1533525"/>
                  <a:gd name="connsiteX122" fmla="*/ 923925 w 1624012"/>
                  <a:gd name="connsiteY122" fmla="*/ 721519 h 1533525"/>
                  <a:gd name="connsiteX123" fmla="*/ 940593 w 1624012"/>
                  <a:gd name="connsiteY123" fmla="*/ 778669 h 1533525"/>
                  <a:gd name="connsiteX124" fmla="*/ 938212 w 1624012"/>
                  <a:gd name="connsiteY124" fmla="*/ 847725 h 1533525"/>
                  <a:gd name="connsiteX125" fmla="*/ 954881 w 1624012"/>
                  <a:gd name="connsiteY125" fmla="*/ 871538 h 1533525"/>
                  <a:gd name="connsiteX126" fmla="*/ 997743 w 1624012"/>
                  <a:gd name="connsiteY126" fmla="*/ 919163 h 1533525"/>
                  <a:gd name="connsiteX127" fmla="*/ 1012031 w 1624012"/>
                  <a:gd name="connsiteY127" fmla="*/ 954881 h 1533525"/>
                  <a:gd name="connsiteX128" fmla="*/ 1031081 w 1624012"/>
                  <a:gd name="connsiteY128" fmla="*/ 954881 h 1533525"/>
                  <a:gd name="connsiteX129" fmla="*/ 1071562 w 1624012"/>
                  <a:gd name="connsiteY129" fmla="*/ 940594 h 1533525"/>
                  <a:gd name="connsiteX130" fmla="*/ 1102518 w 1624012"/>
                  <a:gd name="connsiteY130" fmla="*/ 933450 h 1533525"/>
                  <a:gd name="connsiteX131" fmla="*/ 1159668 w 1624012"/>
                  <a:gd name="connsiteY131" fmla="*/ 997744 h 1533525"/>
                  <a:gd name="connsiteX132" fmla="*/ 1178718 w 1624012"/>
                  <a:gd name="connsiteY132" fmla="*/ 1052513 h 1533525"/>
                  <a:gd name="connsiteX133" fmla="*/ 1190625 w 1624012"/>
                  <a:gd name="connsiteY133" fmla="*/ 1081088 h 1533525"/>
                  <a:gd name="connsiteX134" fmla="*/ 1212056 w 1624012"/>
                  <a:gd name="connsiteY134" fmla="*/ 1109663 h 1533525"/>
                  <a:gd name="connsiteX135" fmla="*/ 1231106 w 1624012"/>
                  <a:gd name="connsiteY135" fmla="*/ 1102519 h 1533525"/>
                  <a:gd name="connsiteX136" fmla="*/ 1231106 w 1624012"/>
                  <a:gd name="connsiteY136" fmla="*/ 1131094 h 1533525"/>
                  <a:gd name="connsiteX137" fmla="*/ 1233487 w 1624012"/>
                  <a:gd name="connsiteY137" fmla="*/ 1145381 h 1533525"/>
                  <a:gd name="connsiteX138" fmla="*/ 1266825 w 1624012"/>
                  <a:gd name="connsiteY138" fmla="*/ 1181100 h 1533525"/>
                  <a:gd name="connsiteX139" fmla="*/ 1233487 w 1624012"/>
                  <a:gd name="connsiteY139" fmla="*/ 1181100 h 1533525"/>
                  <a:gd name="connsiteX140" fmla="*/ 1228725 w 1624012"/>
                  <a:gd name="connsiteY140" fmla="*/ 1223963 h 1533525"/>
                  <a:gd name="connsiteX141" fmla="*/ 1226343 w 1624012"/>
                  <a:gd name="connsiteY141" fmla="*/ 1243013 h 1533525"/>
                  <a:gd name="connsiteX142" fmla="*/ 1216818 w 1624012"/>
                  <a:gd name="connsiteY142" fmla="*/ 1264444 h 1533525"/>
                  <a:gd name="connsiteX143" fmla="*/ 1190625 w 1624012"/>
                  <a:gd name="connsiteY143" fmla="*/ 1238250 h 1533525"/>
                  <a:gd name="connsiteX144" fmla="*/ 1157287 w 1624012"/>
                  <a:gd name="connsiteY144" fmla="*/ 1209675 h 1533525"/>
                  <a:gd name="connsiteX145" fmla="*/ 1131093 w 1624012"/>
                  <a:gd name="connsiteY145" fmla="*/ 1185863 h 1533525"/>
                  <a:gd name="connsiteX146" fmla="*/ 1107281 w 1624012"/>
                  <a:gd name="connsiteY146" fmla="*/ 1219200 h 1533525"/>
                  <a:gd name="connsiteX147" fmla="*/ 1104900 w 1624012"/>
                  <a:gd name="connsiteY147" fmla="*/ 1264444 h 1533525"/>
                  <a:gd name="connsiteX148" fmla="*/ 1062037 w 1624012"/>
                  <a:gd name="connsiteY148" fmla="*/ 1259681 h 1533525"/>
                  <a:gd name="connsiteX149" fmla="*/ 1026318 w 1624012"/>
                  <a:gd name="connsiteY149" fmla="*/ 1288256 h 1533525"/>
                  <a:gd name="connsiteX150" fmla="*/ 1007268 w 1624012"/>
                  <a:gd name="connsiteY150" fmla="*/ 1240631 h 1533525"/>
                  <a:gd name="connsiteX151" fmla="*/ 947737 w 1624012"/>
                  <a:gd name="connsiteY151" fmla="*/ 1231106 h 1533525"/>
                  <a:gd name="connsiteX152" fmla="*/ 921543 w 1624012"/>
                  <a:gd name="connsiteY152" fmla="*/ 1297781 h 1533525"/>
                  <a:gd name="connsiteX153" fmla="*/ 885825 w 1624012"/>
                  <a:gd name="connsiteY153" fmla="*/ 1278731 h 1533525"/>
                  <a:gd name="connsiteX154" fmla="*/ 816768 w 1624012"/>
                  <a:gd name="connsiteY154" fmla="*/ 1295400 h 1533525"/>
                  <a:gd name="connsiteX155" fmla="*/ 757237 w 1624012"/>
                  <a:gd name="connsiteY155" fmla="*/ 1259681 h 1533525"/>
                  <a:gd name="connsiteX156" fmla="*/ 742950 w 1624012"/>
                  <a:gd name="connsiteY156" fmla="*/ 1312069 h 1533525"/>
                  <a:gd name="connsiteX157" fmla="*/ 704850 w 1624012"/>
                  <a:gd name="connsiteY157" fmla="*/ 1345406 h 1533525"/>
                  <a:gd name="connsiteX158" fmla="*/ 692943 w 1624012"/>
                  <a:gd name="connsiteY158" fmla="*/ 1366838 h 1533525"/>
                  <a:gd name="connsiteX159" fmla="*/ 671512 w 1624012"/>
                  <a:gd name="connsiteY159" fmla="*/ 1509713 h 1533525"/>
                  <a:gd name="connsiteX160" fmla="*/ 633412 w 1624012"/>
                  <a:gd name="connsiteY160" fmla="*/ 1490663 h 1533525"/>
                  <a:gd name="connsiteX161" fmla="*/ 614362 w 1624012"/>
                  <a:gd name="connsiteY161" fmla="*/ 1504950 h 1533525"/>
                  <a:gd name="connsiteX162" fmla="*/ 581025 w 1624012"/>
                  <a:gd name="connsiteY162" fmla="*/ 1531144 h 1533525"/>
                  <a:gd name="connsiteX163" fmla="*/ 523875 w 1624012"/>
                  <a:gd name="connsiteY163" fmla="*/ 1502569 h 1533525"/>
                  <a:gd name="connsiteX164" fmla="*/ 514350 w 1624012"/>
                  <a:gd name="connsiteY164" fmla="*/ 1490663 h 1533525"/>
                  <a:gd name="connsiteX165" fmla="*/ 483393 w 1624012"/>
                  <a:gd name="connsiteY165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543050 w 1624012"/>
                  <a:gd name="connsiteY97" fmla="*/ 147638 h 1533525"/>
                  <a:gd name="connsiteX98" fmla="*/ 1547812 w 1624012"/>
                  <a:gd name="connsiteY98" fmla="*/ 121444 h 1533525"/>
                  <a:gd name="connsiteX99" fmla="*/ 1574006 w 1624012"/>
                  <a:gd name="connsiteY99" fmla="*/ 121444 h 1533525"/>
                  <a:gd name="connsiteX100" fmla="*/ 1624012 w 1624012"/>
                  <a:gd name="connsiteY100" fmla="*/ 109538 h 1533525"/>
                  <a:gd name="connsiteX101" fmla="*/ 1057275 w 1624012"/>
                  <a:gd name="connsiteY101" fmla="*/ 264319 h 1533525"/>
                  <a:gd name="connsiteX102" fmla="*/ 1062037 w 1624012"/>
                  <a:gd name="connsiteY102" fmla="*/ 304800 h 1533525"/>
                  <a:gd name="connsiteX103" fmla="*/ 995362 w 1624012"/>
                  <a:gd name="connsiteY103" fmla="*/ 352425 h 1533525"/>
                  <a:gd name="connsiteX104" fmla="*/ 973931 w 1624012"/>
                  <a:gd name="connsiteY104" fmla="*/ 383381 h 1533525"/>
                  <a:gd name="connsiteX105" fmla="*/ 1000125 w 1624012"/>
                  <a:gd name="connsiteY105" fmla="*/ 428625 h 1533525"/>
                  <a:gd name="connsiteX106" fmla="*/ 983456 w 1624012"/>
                  <a:gd name="connsiteY106" fmla="*/ 466725 h 1533525"/>
                  <a:gd name="connsiteX107" fmla="*/ 1000125 w 1624012"/>
                  <a:gd name="connsiteY107" fmla="*/ 519113 h 1533525"/>
                  <a:gd name="connsiteX108" fmla="*/ 1033462 w 1624012"/>
                  <a:gd name="connsiteY108" fmla="*/ 519113 h 1533525"/>
                  <a:gd name="connsiteX109" fmla="*/ 1019175 w 1624012"/>
                  <a:gd name="connsiteY109" fmla="*/ 552450 h 1533525"/>
                  <a:gd name="connsiteX110" fmla="*/ 1035843 w 1624012"/>
                  <a:gd name="connsiteY110" fmla="*/ 590550 h 1533525"/>
                  <a:gd name="connsiteX111" fmla="*/ 1035843 w 1624012"/>
                  <a:gd name="connsiteY111" fmla="*/ 607219 h 1533525"/>
                  <a:gd name="connsiteX112" fmla="*/ 1045368 w 1624012"/>
                  <a:gd name="connsiteY112" fmla="*/ 645319 h 1533525"/>
                  <a:gd name="connsiteX113" fmla="*/ 1064418 w 1624012"/>
                  <a:gd name="connsiteY113" fmla="*/ 645319 h 1533525"/>
                  <a:gd name="connsiteX114" fmla="*/ 1078706 w 1624012"/>
                  <a:gd name="connsiteY114" fmla="*/ 666750 h 1533525"/>
                  <a:gd name="connsiteX115" fmla="*/ 1085850 w 1624012"/>
                  <a:gd name="connsiteY115" fmla="*/ 688181 h 1533525"/>
                  <a:gd name="connsiteX116" fmla="*/ 1076325 w 1624012"/>
                  <a:gd name="connsiteY116" fmla="*/ 719138 h 1533525"/>
                  <a:gd name="connsiteX117" fmla="*/ 1021556 w 1624012"/>
                  <a:gd name="connsiteY117" fmla="*/ 714375 h 1533525"/>
                  <a:gd name="connsiteX118" fmla="*/ 1002506 w 1624012"/>
                  <a:gd name="connsiteY118" fmla="*/ 721519 h 1533525"/>
                  <a:gd name="connsiteX119" fmla="*/ 995362 w 1624012"/>
                  <a:gd name="connsiteY119" fmla="*/ 726281 h 1533525"/>
                  <a:gd name="connsiteX120" fmla="*/ 995362 w 1624012"/>
                  <a:gd name="connsiteY120" fmla="*/ 726281 h 1533525"/>
                  <a:gd name="connsiteX121" fmla="*/ 923925 w 1624012"/>
                  <a:gd name="connsiteY121" fmla="*/ 721519 h 1533525"/>
                  <a:gd name="connsiteX122" fmla="*/ 940593 w 1624012"/>
                  <a:gd name="connsiteY122" fmla="*/ 778669 h 1533525"/>
                  <a:gd name="connsiteX123" fmla="*/ 938212 w 1624012"/>
                  <a:gd name="connsiteY123" fmla="*/ 847725 h 1533525"/>
                  <a:gd name="connsiteX124" fmla="*/ 954881 w 1624012"/>
                  <a:gd name="connsiteY124" fmla="*/ 871538 h 1533525"/>
                  <a:gd name="connsiteX125" fmla="*/ 997743 w 1624012"/>
                  <a:gd name="connsiteY125" fmla="*/ 919163 h 1533525"/>
                  <a:gd name="connsiteX126" fmla="*/ 1012031 w 1624012"/>
                  <a:gd name="connsiteY126" fmla="*/ 954881 h 1533525"/>
                  <a:gd name="connsiteX127" fmla="*/ 1031081 w 1624012"/>
                  <a:gd name="connsiteY127" fmla="*/ 954881 h 1533525"/>
                  <a:gd name="connsiteX128" fmla="*/ 1071562 w 1624012"/>
                  <a:gd name="connsiteY128" fmla="*/ 940594 h 1533525"/>
                  <a:gd name="connsiteX129" fmla="*/ 1102518 w 1624012"/>
                  <a:gd name="connsiteY129" fmla="*/ 933450 h 1533525"/>
                  <a:gd name="connsiteX130" fmla="*/ 1159668 w 1624012"/>
                  <a:gd name="connsiteY130" fmla="*/ 997744 h 1533525"/>
                  <a:gd name="connsiteX131" fmla="*/ 1178718 w 1624012"/>
                  <a:gd name="connsiteY131" fmla="*/ 1052513 h 1533525"/>
                  <a:gd name="connsiteX132" fmla="*/ 1190625 w 1624012"/>
                  <a:gd name="connsiteY132" fmla="*/ 1081088 h 1533525"/>
                  <a:gd name="connsiteX133" fmla="*/ 1212056 w 1624012"/>
                  <a:gd name="connsiteY133" fmla="*/ 1109663 h 1533525"/>
                  <a:gd name="connsiteX134" fmla="*/ 1231106 w 1624012"/>
                  <a:gd name="connsiteY134" fmla="*/ 1102519 h 1533525"/>
                  <a:gd name="connsiteX135" fmla="*/ 1231106 w 1624012"/>
                  <a:gd name="connsiteY135" fmla="*/ 1131094 h 1533525"/>
                  <a:gd name="connsiteX136" fmla="*/ 1233487 w 1624012"/>
                  <a:gd name="connsiteY136" fmla="*/ 1145381 h 1533525"/>
                  <a:gd name="connsiteX137" fmla="*/ 1266825 w 1624012"/>
                  <a:gd name="connsiteY137" fmla="*/ 1181100 h 1533525"/>
                  <a:gd name="connsiteX138" fmla="*/ 1233487 w 1624012"/>
                  <a:gd name="connsiteY138" fmla="*/ 1181100 h 1533525"/>
                  <a:gd name="connsiteX139" fmla="*/ 1228725 w 1624012"/>
                  <a:gd name="connsiteY139" fmla="*/ 1223963 h 1533525"/>
                  <a:gd name="connsiteX140" fmla="*/ 1226343 w 1624012"/>
                  <a:gd name="connsiteY140" fmla="*/ 1243013 h 1533525"/>
                  <a:gd name="connsiteX141" fmla="*/ 1216818 w 1624012"/>
                  <a:gd name="connsiteY141" fmla="*/ 1264444 h 1533525"/>
                  <a:gd name="connsiteX142" fmla="*/ 1190625 w 1624012"/>
                  <a:gd name="connsiteY142" fmla="*/ 1238250 h 1533525"/>
                  <a:gd name="connsiteX143" fmla="*/ 1157287 w 1624012"/>
                  <a:gd name="connsiteY143" fmla="*/ 1209675 h 1533525"/>
                  <a:gd name="connsiteX144" fmla="*/ 1131093 w 1624012"/>
                  <a:gd name="connsiteY144" fmla="*/ 1185863 h 1533525"/>
                  <a:gd name="connsiteX145" fmla="*/ 1107281 w 1624012"/>
                  <a:gd name="connsiteY145" fmla="*/ 1219200 h 1533525"/>
                  <a:gd name="connsiteX146" fmla="*/ 1104900 w 1624012"/>
                  <a:gd name="connsiteY146" fmla="*/ 1264444 h 1533525"/>
                  <a:gd name="connsiteX147" fmla="*/ 1062037 w 1624012"/>
                  <a:gd name="connsiteY147" fmla="*/ 1259681 h 1533525"/>
                  <a:gd name="connsiteX148" fmla="*/ 1026318 w 1624012"/>
                  <a:gd name="connsiteY148" fmla="*/ 1288256 h 1533525"/>
                  <a:gd name="connsiteX149" fmla="*/ 1007268 w 1624012"/>
                  <a:gd name="connsiteY149" fmla="*/ 1240631 h 1533525"/>
                  <a:gd name="connsiteX150" fmla="*/ 947737 w 1624012"/>
                  <a:gd name="connsiteY150" fmla="*/ 1231106 h 1533525"/>
                  <a:gd name="connsiteX151" fmla="*/ 921543 w 1624012"/>
                  <a:gd name="connsiteY151" fmla="*/ 1297781 h 1533525"/>
                  <a:gd name="connsiteX152" fmla="*/ 885825 w 1624012"/>
                  <a:gd name="connsiteY152" fmla="*/ 1278731 h 1533525"/>
                  <a:gd name="connsiteX153" fmla="*/ 816768 w 1624012"/>
                  <a:gd name="connsiteY153" fmla="*/ 1295400 h 1533525"/>
                  <a:gd name="connsiteX154" fmla="*/ 757237 w 1624012"/>
                  <a:gd name="connsiteY154" fmla="*/ 1259681 h 1533525"/>
                  <a:gd name="connsiteX155" fmla="*/ 742950 w 1624012"/>
                  <a:gd name="connsiteY155" fmla="*/ 1312069 h 1533525"/>
                  <a:gd name="connsiteX156" fmla="*/ 704850 w 1624012"/>
                  <a:gd name="connsiteY156" fmla="*/ 1345406 h 1533525"/>
                  <a:gd name="connsiteX157" fmla="*/ 692943 w 1624012"/>
                  <a:gd name="connsiteY157" fmla="*/ 1366838 h 1533525"/>
                  <a:gd name="connsiteX158" fmla="*/ 671512 w 1624012"/>
                  <a:gd name="connsiteY158" fmla="*/ 1509713 h 1533525"/>
                  <a:gd name="connsiteX159" fmla="*/ 633412 w 1624012"/>
                  <a:gd name="connsiteY159" fmla="*/ 1490663 h 1533525"/>
                  <a:gd name="connsiteX160" fmla="*/ 614362 w 1624012"/>
                  <a:gd name="connsiteY160" fmla="*/ 1504950 h 1533525"/>
                  <a:gd name="connsiteX161" fmla="*/ 581025 w 1624012"/>
                  <a:gd name="connsiteY161" fmla="*/ 1531144 h 1533525"/>
                  <a:gd name="connsiteX162" fmla="*/ 523875 w 1624012"/>
                  <a:gd name="connsiteY162" fmla="*/ 1502569 h 1533525"/>
                  <a:gd name="connsiteX163" fmla="*/ 514350 w 1624012"/>
                  <a:gd name="connsiteY163" fmla="*/ 1490663 h 1533525"/>
                  <a:gd name="connsiteX164" fmla="*/ 483393 w 1624012"/>
                  <a:gd name="connsiteY164" fmla="*/ 1533525 h 1533525"/>
                  <a:gd name="connsiteX0" fmla="*/ 483393 w 1574006"/>
                  <a:gd name="connsiteY0" fmla="*/ 1533525 h 1533525"/>
                  <a:gd name="connsiteX1" fmla="*/ 459581 w 1574006"/>
                  <a:gd name="connsiteY1" fmla="*/ 1481138 h 1533525"/>
                  <a:gd name="connsiteX2" fmla="*/ 438150 w 1574006"/>
                  <a:gd name="connsiteY2" fmla="*/ 1471613 h 1533525"/>
                  <a:gd name="connsiteX3" fmla="*/ 400050 w 1574006"/>
                  <a:gd name="connsiteY3" fmla="*/ 1485900 h 1533525"/>
                  <a:gd name="connsiteX4" fmla="*/ 338137 w 1574006"/>
                  <a:gd name="connsiteY4" fmla="*/ 1490663 h 1533525"/>
                  <a:gd name="connsiteX5" fmla="*/ 330993 w 1574006"/>
                  <a:gd name="connsiteY5" fmla="*/ 1497806 h 1533525"/>
                  <a:gd name="connsiteX6" fmla="*/ 271462 w 1574006"/>
                  <a:gd name="connsiteY6" fmla="*/ 1471613 h 1533525"/>
                  <a:gd name="connsiteX7" fmla="*/ 219075 w 1574006"/>
                  <a:gd name="connsiteY7" fmla="*/ 1443038 h 1533525"/>
                  <a:gd name="connsiteX8" fmla="*/ 138112 w 1574006"/>
                  <a:gd name="connsiteY8" fmla="*/ 1402556 h 1533525"/>
                  <a:gd name="connsiteX9" fmla="*/ 95250 w 1574006"/>
                  <a:gd name="connsiteY9" fmla="*/ 1316831 h 1533525"/>
                  <a:gd name="connsiteX10" fmla="*/ 80962 w 1574006"/>
                  <a:gd name="connsiteY10" fmla="*/ 1288256 h 1533525"/>
                  <a:gd name="connsiteX11" fmla="*/ 104775 w 1574006"/>
                  <a:gd name="connsiteY11" fmla="*/ 1266825 h 1533525"/>
                  <a:gd name="connsiteX12" fmla="*/ 76200 w 1574006"/>
                  <a:gd name="connsiteY12" fmla="*/ 1212056 h 1533525"/>
                  <a:gd name="connsiteX13" fmla="*/ 109537 w 1574006"/>
                  <a:gd name="connsiteY13" fmla="*/ 1193006 h 1533525"/>
                  <a:gd name="connsiteX14" fmla="*/ 140493 w 1574006"/>
                  <a:gd name="connsiteY14" fmla="*/ 1143000 h 1533525"/>
                  <a:gd name="connsiteX15" fmla="*/ 123825 w 1574006"/>
                  <a:gd name="connsiteY15" fmla="*/ 1107281 h 1533525"/>
                  <a:gd name="connsiteX16" fmla="*/ 178593 w 1574006"/>
                  <a:gd name="connsiteY16" fmla="*/ 1107281 h 1533525"/>
                  <a:gd name="connsiteX17" fmla="*/ 192881 w 1574006"/>
                  <a:gd name="connsiteY17" fmla="*/ 1109663 h 1533525"/>
                  <a:gd name="connsiteX18" fmla="*/ 159543 w 1574006"/>
                  <a:gd name="connsiteY18" fmla="*/ 1064419 h 1533525"/>
                  <a:gd name="connsiteX19" fmla="*/ 169068 w 1574006"/>
                  <a:gd name="connsiteY19" fmla="*/ 1014413 h 1533525"/>
                  <a:gd name="connsiteX20" fmla="*/ 123825 w 1574006"/>
                  <a:gd name="connsiteY20" fmla="*/ 997744 h 1533525"/>
                  <a:gd name="connsiteX21" fmla="*/ 61912 w 1574006"/>
                  <a:gd name="connsiteY21" fmla="*/ 954881 h 1533525"/>
                  <a:gd name="connsiteX22" fmla="*/ 45243 w 1574006"/>
                  <a:gd name="connsiteY22" fmla="*/ 938213 h 1533525"/>
                  <a:gd name="connsiteX23" fmla="*/ 64293 w 1574006"/>
                  <a:gd name="connsiteY23" fmla="*/ 909638 h 1533525"/>
                  <a:gd name="connsiteX24" fmla="*/ 47625 w 1574006"/>
                  <a:gd name="connsiteY24" fmla="*/ 897731 h 1533525"/>
                  <a:gd name="connsiteX25" fmla="*/ 47625 w 1574006"/>
                  <a:gd name="connsiteY25" fmla="*/ 881063 h 1533525"/>
                  <a:gd name="connsiteX26" fmla="*/ 26193 w 1574006"/>
                  <a:gd name="connsiteY26" fmla="*/ 881063 h 1533525"/>
                  <a:gd name="connsiteX27" fmla="*/ 7143 w 1574006"/>
                  <a:gd name="connsiteY27" fmla="*/ 847725 h 1533525"/>
                  <a:gd name="connsiteX28" fmla="*/ 0 w 1574006"/>
                  <a:gd name="connsiteY28" fmla="*/ 816769 h 1533525"/>
                  <a:gd name="connsiteX29" fmla="*/ 54768 w 1574006"/>
                  <a:gd name="connsiteY29" fmla="*/ 800100 h 1533525"/>
                  <a:gd name="connsiteX30" fmla="*/ 76200 w 1574006"/>
                  <a:gd name="connsiteY30" fmla="*/ 788194 h 1533525"/>
                  <a:gd name="connsiteX31" fmla="*/ 128587 w 1574006"/>
                  <a:gd name="connsiteY31" fmla="*/ 821531 h 1533525"/>
                  <a:gd name="connsiteX32" fmla="*/ 126206 w 1574006"/>
                  <a:gd name="connsiteY32" fmla="*/ 800100 h 1533525"/>
                  <a:gd name="connsiteX33" fmla="*/ 164306 w 1574006"/>
                  <a:gd name="connsiteY33" fmla="*/ 795338 h 1533525"/>
                  <a:gd name="connsiteX34" fmla="*/ 173831 w 1574006"/>
                  <a:gd name="connsiteY34" fmla="*/ 759619 h 1533525"/>
                  <a:gd name="connsiteX35" fmla="*/ 235743 w 1574006"/>
                  <a:gd name="connsiteY35" fmla="*/ 764381 h 1533525"/>
                  <a:gd name="connsiteX36" fmla="*/ 235743 w 1574006"/>
                  <a:gd name="connsiteY36" fmla="*/ 764381 h 1533525"/>
                  <a:gd name="connsiteX37" fmla="*/ 245268 w 1574006"/>
                  <a:gd name="connsiteY37" fmla="*/ 704850 h 1533525"/>
                  <a:gd name="connsiteX38" fmla="*/ 276225 w 1574006"/>
                  <a:gd name="connsiteY38" fmla="*/ 666750 h 1533525"/>
                  <a:gd name="connsiteX39" fmla="*/ 292893 w 1574006"/>
                  <a:gd name="connsiteY39" fmla="*/ 638175 h 1533525"/>
                  <a:gd name="connsiteX40" fmla="*/ 245268 w 1574006"/>
                  <a:gd name="connsiteY40" fmla="*/ 602456 h 1533525"/>
                  <a:gd name="connsiteX41" fmla="*/ 264318 w 1574006"/>
                  <a:gd name="connsiteY41" fmla="*/ 585788 h 1533525"/>
                  <a:gd name="connsiteX42" fmla="*/ 311943 w 1574006"/>
                  <a:gd name="connsiteY42" fmla="*/ 602456 h 1533525"/>
                  <a:gd name="connsiteX43" fmla="*/ 369093 w 1574006"/>
                  <a:gd name="connsiteY43" fmla="*/ 573881 h 1533525"/>
                  <a:gd name="connsiteX44" fmla="*/ 457200 w 1574006"/>
                  <a:gd name="connsiteY44" fmla="*/ 545306 h 1533525"/>
                  <a:gd name="connsiteX45" fmla="*/ 538162 w 1574006"/>
                  <a:gd name="connsiteY45" fmla="*/ 578644 h 1533525"/>
                  <a:gd name="connsiteX46" fmla="*/ 614362 w 1574006"/>
                  <a:gd name="connsiteY46" fmla="*/ 550069 h 1533525"/>
                  <a:gd name="connsiteX47" fmla="*/ 650081 w 1574006"/>
                  <a:gd name="connsiteY47" fmla="*/ 552450 h 1533525"/>
                  <a:gd name="connsiteX48" fmla="*/ 654843 w 1574006"/>
                  <a:gd name="connsiteY48" fmla="*/ 523875 h 1533525"/>
                  <a:gd name="connsiteX49" fmla="*/ 654843 w 1574006"/>
                  <a:gd name="connsiteY49" fmla="*/ 490538 h 1533525"/>
                  <a:gd name="connsiteX50" fmla="*/ 669131 w 1574006"/>
                  <a:gd name="connsiteY50" fmla="*/ 469106 h 1533525"/>
                  <a:gd name="connsiteX51" fmla="*/ 652462 w 1574006"/>
                  <a:gd name="connsiteY51" fmla="*/ 450056 h 1533525"/>
                  <a:gd name="connsiteX52" fmla="*/ 642937 w 1574006"/>
                  <a:gd name="connsiteY52" fmla="*/ 411956 h 1533525"/>
                  <a:gd name="connsiteX53" fmla="*/ 642937 w 1574006"/>
                  <a:gd name="connsiteY53" fmla="*/ 330994 h 1533525"/>
                  <a:gd name="connsiteX54" fmla="*/ 633412 w 1574006"/>
                  <a:gd name="connsiteY54" fmla="*/ 319088 h 1533525"/>
                  <a:gd name="connsiteX55" fmla="*/ 664368 w 1574006"/>
                  <a:gd name="connsiteY55" fmla="*/ 285750 h 1533525"/>
                  <a:gd name="connsiteX56" fmla="*/ 721518 w 1574006"/>
                  <a:gd name="connsiteY56" fmla="*/ 292894 h 1533525"/>
                  <a:gd name="connsiteX57" fmla="*/ 733425 w 1574006"/>
                  <a:gd name="connsiteY57" fmla="*/ 264319 h 1533525"/>
                  <a:gd name="connsiteX58" fmla="*/ 731043 w 1574006"/>
                  <a:gd name="connsiteY58" fmla="*/ 228600 h 1533525"/>
                  <a:gd name="connsiteX59" fmla="*/ 790575 w 1574006"/>
                  <a:gd name="connsiteY59" fmla="*/ 192881 h 1533525"/>
                  <a:gd name="connsiteX60" fmla="*/ 804862 w 1574006"/>
                  <a:gd name="connsiteY60" fmla="*/ 166688 h 1533525"/>
                  <a:gd name="connsiteX61" fmla="*/ 778668 w 1574006"/>
                  <a:gd name="connsiteY61" fmla="*/ 128588 h 1533525"/>
                  <a:gd name="connsiteX62" fmla="*/ 771525 w 1574006"/>
                  <a:gd name="connsiteY62" fmla="*/ 104775 h 1533525"/>
                  <a:gd name="connsiteX63" fmla="*/ 823912 w 1574006"/>
                  <a:gd name="connsiteY63" fmla="*/ 97631 h 1533525"/>
                  <a:gd name="connsiteX64" fmla="*/ 869156 w 1574006"/>
                  <a:gd name="connsiteY64" fmla="*/ 52388 h 1533525"/>
                  <a:gd name="connsiteX65" fmla="*/ 890587 w 1574006"/>
                  <a:gd name="connsiteY65" fmla="*/ 23813 h 1533525"/>
                  <a:gd name="connsiteX66" fmla="*/ 923925 w 1574006"/>
                  <a:gd name="connsiteY66" fmla="*/ 9525 h 1533525"/>
                  <a:gd name="connsiteX67" fmla="*/ 971550 w 1574006"/>
                  <a:gd name="connsiteY67" fmla="*/ 0 h 1533525"/>
                  <a:gd name="connsiteX68" fmla="*/ 971550 w 1574006"/>
                  <a:gd name="connsiteY68" fmla="*/ 40481 h 1533525"/>
                  <a:gd name="connsiteX69" fmla="*/ 950118 w 1574006"/>
                  <a:gd name="connsiteY69" fmla="*/ 80963 h 1533525"/>
                  <a:gd name="connsiteX70" fmla="*/ 950118 w 1574006"/>
                  <a:gd name="connsiteY70" fmla="*/ 140494 h 1533525"/>
                  <a:gd name="connsiteX71" fmla="*/ 969168 w 1574006"/>
                  <a:gd name="connsiteY71" fmla="*/ 161925 h 1533525"/>
                  <a:gd name="connsiteX72" fmla="*/ 1007268 w 1574006"/>
                  <a:gd name="connsiteY72" fmla="*/ 188119 h 1533525"/>
                  <a:gd name="connsiteX73" fmla="*/ 1019175 w 1574006"/>
                  <a:gd name="connsiteY73" fmla="*/ 216694 h 1533525"/>
                  <a:gd name="connsiteX74" fmla="*/ 1004887 w 1574006"/>
                  <a:gd name="connsiteY74" fmla="*/ 226219 h 1533525"/>
                  <a:gd name="connsiteX75" fmla="*/ 1057275 w 1574006"/>
                  <a:gd name="connsiteY75" fmla="*/ 250031 h 1533525"/>
                  <a:gd name="connsiteX76" fmla="*/ 1073943 w 1574006"/>
                  <a:gd name="connsiteY76" fmla="*/ 228600 h 1533525"/>
                  <a:gd name="connsiteX77" fmla="*/ 1083468 w 1574006"/>
                  <a:gd name="connsiteY77" fmla="*/ 252413 h 1533525"/>
                  <a:gd name="connsiteX78" fmla="*/ 1116806 w 1574006"/>
                  <a:gd name="connsiteY78" fmla="*/ 252413 h 1533525"/>
                  <a:gd name="connsiteX79" fmla="*/ 1123950 w 1574006"/>
                  <a:gd name="connsiteY79" fmla="*/ 257175 h 1533525"/>
                  <a:gd name="connsiteX80" fmla="*/ 1116806 w 1574006"/>
                  <a:gd name="connsiteY80" fmla="*/ 276225 h 1533525"/>
                  <a:gd name="connsiteX81" fmla="*/ 1088231 w 1574006"/>
                  <a:gd name="connsiteY81" fmla="*/ 309563 h 1533525"/>
                  <a:gd name="connsiteX82" fmla="*/ 1123950 w 1574006"/>
                  <a:gd name="connsiteY82" fmla="*/ 333375 h 1533525"/>
                  <a:gd name="connsiteX83" fmla="*/ 1135856 w 1574006"/>
                  <a:gd name="connsiteY83" fmla="*/ 347663 h 1533525"/>
                  <a:gd name="connsiteX84" fmla="*/ 1135856 w 1574006"/>
                  <a:gd name="connsiteY84" fmla="*/ 376238 h 1533525"/>
                  <a:gd name="connsiteX85" fmla="*/ 1119187 w 1574006"/>
                  <a:gd name="connsiteY85" fmla="*/ 411956 h 1533525"/>
                  <a:gd name="connsiteX86" fmla="*/ 1162050 w 1574006"/>
                  <a:gd name="connsiteY86" fmla="*/ 423863 h 1533525"/>
                  <a:gd name="connsiteX87" fmla="*/ 1233487 w 1574006"/>
                  <a:gd name="connsiteY87" fmla="*/ 416719 h 1533525"/>
                  <a:gd name="connsiteX88" fmla="*/ 1223962 w 1574006"/>
                  <a:gd name="connsiteY88" fmla="*/ 385763 h 1533525"/>
                  <a:gd name="connsiteX89" fmla="*/ 1188243 w 1574006"/>
                  <a:gd name="connsiteY89" fmla="*/ 347663 h 1533525"/>
                  <a:gd name="connsiteX90" fmla="*/ 1181100 w 1574006"/>
                  <a:gd name="connsiteY90" fmla="*/ 333375 h 1533525"/>
                  <a:gd name="connsiteX91" fmla="*/ 1207293 w 1574006"/>
                  <a:gd name="connsiteY91" fmla="*/ 326231 h 1533525"/>
                  <a:gd name="connsiteX92" fmla="*/ 1200150 w 1574006"/>
                  <a:gd name="connsiteY92" fmla="*/ 302419 h 1533525"/>
                  <a:gd name="connsiteX93" fmla="*/ 1223962 w 1574006"/>
                  <a:gd name="connsiteY93" fmla="*/ 283369 h 1533525"/>
                  <a:gd name="connsiteX94" fmla="*/ 1250156 w 1574006"/>
                  <a:gd name="connsiteY94" fmla="*/ 242888 h 1533525"/>
                  <a:gd name="connsiteX95" fmla="*/ 1302543 w 1574006"/>
                  <a:gd name="connsiteY95" fmla="*/ 211931 h 1533525"/>
                  <a:gd name="connsiteX96" fmla="*/ 1350168 w 1574006"/>
                  <a:gd name="connsiteY96" fmla="*/ 123825 h 1533525"/>
                  <a:gd name="connsiteX97" fmla="*/ 1543050 w 1574006"/>
                  <a:gd name="connsiteY97" fmla="*/ 147638 h 1533525"/>
                  <a:gd name="connsiteX98" fmla="*/ 1547812 w 1574006"/>
                  <a:gd name="connsiteY98" fmla="*/ 121444 h 1533525"/>
                  <a:gd name="connsiteX99" fmla="*/ 1574006 w 1574006"/>
                  <a:gd name="connsiteY99" fmla="*/ 121444 h 1533525"/>
                  <a:gd name="connsiteX100" fmla="*/ 1057275 w 1574006"/>
                  <a:gd name="connsiteY100" fmla="*/ 264319 h 1533525"/>
                  <a:gd name="connsiteX101" fmla="*/ 1062037 w 1574006"/>
                  <a:gd name="connsiteY101" fmla="*/ 304800 h 1533525"/>
                  <a:gd name="connsiteX102" fmla="*/ 995362 w 1574006"/>
                  <a:gd name="connsiteY102" fmla="*/ 352425 h 1533525"/>
                  <a:gd name="connsiteX103" fmla="*/ 973931 w 1574006"/>
                  <a:gd name="connsiteY103" fmla="*/ 383381 h 1533525"/>
                  <a:gd name="connsiteX104" fmla="*/ 1000125 w 1574006"/>
                  <a:gd name="connsiteY104" fmla="*/ 428625 h 1533525"/>
                  <a:gd name="connsiteX105" fmla="*/ 983456 w 1574006"/>
                  <a:gd name="connsiteY105" fmla="*/ 466725 h 1533525"/>
                  <a:gd name="connsiteX106" fmla="*/ 1000125 w 1574006"/>
                  <a:gd name="connsiteY106" fmla="*/ 519113 h 1533525"/>
                  <a:gd name="connsiteX107" fmla="*/ 1033462 w 1574006"/>
                  <a:gd name="connsiteY107" fmla="*/ 519113 h 1533525"/>
                  <a:gd name="connsiteX108" fmla="*/ 1019175 w 1574006"/>
                  <a:gd name="connsiteY108" fmla="*/ 552450 h 1533525"/>
                  <a:gd name="connsiteX109" fmla="*/ 1035843 w 1574006"/>
                  <a:gd name="connsiteY109" fmla="*/ 590550 h 1533525"/>
                  <a:gd name="connsiteX110" fmla="*/ 1035843 w 1574006"/>
                  <a:gd name="connsiteY110" fmla="*/ 607219 h 1533525"/>
                  <a:gd name="connsiteX111" fmla="*/ 1045368 w 1574006"/>
                  <a:gd name="connsiteY111" fmla="*/ 645319 h 1533525"/>
                  <a:gd name="connsiteX112" fmla="*/ 1064418 w 1574006"/>
                  <a:gd name="connsiteY112" fmla="*/ 645319 h 1533525"/>
                  <a:gd name="connsiteX113" fmla="*/ 1078706 w 1574006"/>
                  <a:gd name="connsiteY113" fmla="*/ 666750 h 1533525"/>
                  <a:gd name="connsiteX114" fmla="*/ 1085850 w 1574006"/>
                  <a:gd name="connsiteY114" fmla="*/ 688181 h 1533525"/>
                  <a:gd name="connsiteX115" fmla="*/ 1076325 w 1574006"/>
                  <a:gd name="connsiteY115" fmla="*/ 719138 h 1533525"/>
                  <a:gd name="connsiteX116" fmla="*/ 1021556 w 1574006"/>
                  <a:gd name="connsiteY116" fmla="*/ 714375 h 1533525"/>
                  <a:gd name="connsiteX117" fmla="*/ 1002506 w 1574006"/>
                  <a:gd name="connsiteY117" fmla="*/ 721519 h 1533525"/>
                  <a:gd name="connsiteX118" fmla="*/ 995362 w 1574006"/>
                  <a:gd name="connsiteY118" fmla="*/ 726281 h 1533525"/>
                  <a:gd name="connsiteX119" fmla="*/ 995362 w 1574006"/>
                  <a:gd name="connsiteY119" fmla="*/ 726281 h 1533525"/>
                  <a:gd name="connsiteX120" fmla="*/ 923925 w 1574006"/>
                  <a:gd name="connsiteY120" fmla="*/ 721519 h 1533525"/>
                  <a:gd name="connsiteX121" fmla="*/ 940593 w 1574006"/>
                  <a:gd name="connsiteY121" fmla="*/ 778669 h 1533525"/>
                  <a:gd name="connsiteX122" fmla="*/ 938212 w 1574006"/>
                  <a:gd name="connsiteY122" fmla="*/ 847725 h 1533525"/>
                  <a:gd name="connsiteX123" fmla="*/ 954881 w 1574006"/>
                  <a:gd name="connsiteY123" fmla="*/ 871538 h 1533525"/>
                  <a:gd name="connsiteX124" fmla="*/ 997743 w 1574006"/>
                  <a:gd name="connsiteY124" fmla="*/ 919163 h 1533525"/>
                  <a:gd name="connsiteX125" fmla="*/ 1012031 w 1574006"/>
                  <a:gd name="connsiteY125" fmla="*/ 954881 h 1533525"/>
                  <a:gd name="connsiteX126" fmla="*/ 1031081 w 1574006"/>
                  <a:gd name="connsiteY126" fmla="*/ 954881 h 1533525"/>
                  <a:gd name="connsiteX127" fmla="*/ 1071562 w 1574006"/>
                  <a:gd name="connsiteY127" fmla="*/ 940594 h 1533525"/>
                  <a:gd name="connsiteX128" fmla="*/ 1102518 w 1574006"/>
                  <a:gd name="connsiteY128" fmla="*/ 933450 h 1533525"/>
                  <a:gd name="connsiteX129" fmla="*/ 1159668 w 1574006"/>
                  <a:gd name="connsiteY129" fmla="*/ 997744 h 1533525"/>
                  <a:gd name="connsiteX130" fmla="*/ 1178718 w 1574006"/>
                  <a:gd name="connsiteY130" fmla="*/ 1052513 h 1533525"/>
                  <a:gd name="connsiteX131" fmla="*/ 1190625 w 1574006"/>
                  <a:gd name="connsiteY131" fmla="*/ 1081088 h 1533525"/>
                  <a:gd name="connsiteX132" fmla="*/ 1212056 w 1574006"/>
                  <a:gd name="connsiteY132" fmla="*/ 1109663 h 1533525"/>
                  <a:gd name="connsiteX133" fmla="*/ 1231106 w 1574006"/>
                  <a:gd name="connsiteY133" fmla="*/ 1102519 h 1533525"/>
                  <a:gd name="connsiteX134" fmla="*/ 1231106 w 1574006"/>
                  <a:gd name="connsiteY134" fmla="*/ 1131094 h 1533525"/>
                  <a:gd name="connsiteX135" fmla="*/ 1233487 w 1574006"/>
                  <a:gd name="connsiteY135" fmla="*/ 1145381 h 1533525"/>
                  <a:gd name="connsiteX136" fmla="*/ 1266825 w 1574006"/>
                  <a:gd name="connsiteY136" fmla="*/ 1181100 h 1533525"/>
                  <a:gd name="connsiteX137" fmla="*/ 1233487 w 1574006"/>
                  <a:gd name="connsiteY137" fmla="*/ 1181100 h 1533525"/>
                  <a:gd name="connsiteX138" fmla="*/ 1228725 w 1574006"/>
                  <a:gd name="connsiteY138" fmla="*/ 1223963 h 1533525"/>
                  <a:gd name="connsiteX139" fmla="*/ 1226343 w 1574006"/>
                  <a:gd name="connsiteY139" fmla="*/ 1243013 h 1533525"/>
                  <a:gd name="connsiteX140" fmla="*/ 1216818 w 1574006"/>
                  <a:gd name="connsiteY140" fmla="*/ 1264444 h 1533525"/>
                  <a:gd name="connsiteX141" fmla="*/ 1190625 w 1574006"/>
                  <a:gd name="connsiteY141" fmla="*/ 1238250 h 1533525"/>
                  <a:gd name="connsiteX142" fmla="*/ 1157287 w 1574006"/>
                  <a:gd name="connsiteY142" fmla="*/ 1209675 h 1533525"/>
                  <a:gd name="connsiteX143" fmla="*/ 1131093 w 1574006"/>
                  <a:gd name="connsiteY143" fmla="*/ 1185863 h 1533525"/>
                  <a:gd name="connsiteX144" fmla="*/ 1107281 w 1574006"/>
                  <a:gd name="connsiteY144" fmla="*/ 1219200 h 1533525"/>
                  <a:gd name="connsiteX145" fmla="*/ 1104900 w 1574006"/>
                  <a:gd name="connsiteY145" fmla="*/ 1264444 h 1533525"/>
                  <a:gd name="connsiteX146" fmla="*/ 1062037 w 1574006"/>
                  <a:gd name="connsiteY146" fmla="*/ 1259681 h 1533525"/>
                  <a:gd name="connsiteX147" fmla="*/ 1026318 w 1574006"/>
                  <a:gd name="connsiteY147" fmla="*/ 1288256 h 1533525"/>
                  <a:gd name="connsiteX148" fmla="*/ 1007268 w 1574006"/>
                  <a:gd name="connsiteY148" fmla="*/ 1240631 h 1533525"/>
                  <a:gd name="connsiteX149" fmla="*/ 947737 w 1574006"/>
                  <a:gd name="connsiteY149" fmla="*/ 1231106 h 1533525"/>
                  <a:gd name="connsiteX150" fmla="*/ 921543 w 1574006"/>
                  <a:gd name="connsiteY150" fmla="*/ 1297781 h 1533525"/>
                  <a:gd name="connsiteX151" fmla="*/ 885825 w 1574006"/>
                  <a:gd name="connsiteY151" fmla="*/ 1278731 h 1533525"/>
                  <a:gd name="connsiteX152" fmla="*/ 816768 w 1574006"/>
                  <a:gd name="connsiteY152" fmla="*/ 1295400 h 1533525"/>
                  <a:gd name="connsiteX153" fmla="*/ 757237 w 1574006"/>
                  <a:gd name="connsiteY153" fmla="*/ 1259681 h 1533525"/>
                  <a:gd name="connsiteX154" fmla="*/ 742950 w 1574006"/>
                  <a:gd name="connsiteY154" fmla="*/ 1312069 h 1533525"/>
                  <a:gd name="connsiteX155" fmla="*/ 704850 w 1574006"/>
                  <a:gd name="connsiteY155" fmla="*/ 1345406 h 1533525"/>
                  <a:gd name="connsiteX156" fmla="*/ 692943 w 1574006"/>
                  <a:gd name="connsiteY156" fmla="*/ 1366838 h 1533525"/>
                  <a:gd name="connsiteX157" fmla="*/ 671512 w 1574006"/>
                  <a:gd name="connsiteY157" fmla="*/ 1509713 h 1533525"/>
                  <a:gd name="connsiteX158" fmla="*/ 633412 w 1574006"/>
                  <a:gd name="connsiteY158" fmla="*/ 1490663 h 1533525"/>
                  <a:gd name="connsiteX159" fmla="*/ 614362 w 1574006"/>
                  <a:gd name="connsiteY159" fmla="*/ 1504950 h 1533525"/>
                  <a:gd name="connsiteX160" fmla="*/ 581025 w 1574006"/>
                  <a:gd name="connsiteY160" fmla="*/ 1531144 h 1533525"/>
                  <a:gd name="connsiteX161" fmla="*/ 523875 w 1574006"/>
                  <a:gd name="connsiteY161" fmla="*/ 1502569 h 1533525"/>
                  <a:gd name="connsiteX162" fmla="*/ 514350 w 1574006"/>
                  <a:gd name="connsiteY162" fmla="*/ 1490663 h 1533525"/>
                  <a:gd name="connsiteX163" fmla="*/ 483393 w 1574006"/>
                  <a:gd name="connsiteY163" fmla="*/ 1533525 h 1533525"/>
                  <a:gd name="connsiteX0" fmla="*/ 483393 w 1547812"/>
                  <a:gd name="connsiteY0" fmla="*/ 1533525 h 1533525"/>
                  <a:gd name="connsiteX1" fmla="*/ 459581 w 1547812"/>
                  <a:gd name="connsiteY1" fmla="*/ 1481138 h 1533525"/>
                  <a:gd name="connsiteX2" fmla="*/ 438150 w 1547812"/>
                  <a:gd name="connsiteY2" fmla="*/ 1471613 h 1533525"/>
                  <a:gd name="connsiteX3" fmla="*/ 400050 w 1547812"/>
                  <a:gd name="connsiteY3" fmla="*/ 1485900 h 1533525"/>
                  <a:gd name="connsiteX4" fmla="*/ 338137 w 1547812"/>
                  <a:gd name="connsiteY4" fmla="*/ 1490663 h 1533525"/>
                  <a:gd name="connsiteX5" fmla="*/ 330993 w 1547812"/>
                  <a:gd name="connsiteY5" fmla="*/ 1497806 h 1533525"/>
                  <a:gd name="connsiteX6" fmla="*/ 271462 w 1547812"/>
                  <a:gd name="connsiteY6" fmla="*/ 1471613 h 1533525"/>
                  <a:gd name="connsiteX7" fmla="*/ 219075 w 1547812"/>
                  <a:gd name="connsiteY7" fmla="*/ 1443038 h 1533525"/>
                  <a:gd name="connsiteX8" fmla="*/ 138112 w 1547812"/>
                  <a:gd name="connsiteY8" fmla="*/ 1402556 h 1533525"/>
                  <a:gd name="connsiteX9" fmla="*/ 95250 w 1547812"/>
                  <a:gd name="connsiteY9" fmla="*/ 1316831 h 1533525"/>
                  <a:gd name="connsiteX10" fmla="*/ 80962 w 1547812"/>
                  <a:gd name="connsiteY10" fmla="*/ 1288256 h 1533525"/>
                  <a:gd name="connsiteX11" fmla="*/ 104775 w 1547812"/>
                  <a:gd name="connsiteY11" fmla="*/ 1266825 h 1533525"/>
                  <a:gd name="connsiteX12" fmla="*/ 76200 w 1547812"/>
                  <a:gd name="connsiteY12" fmla="*/ 1212056 h 1533525"/>
                  <a:gd name="connsiteX13" fmla="*/ 109537 w 1547812"/>
                  <a:gd name="connsiteY13" fmla="*/ 1193006 h 1533525"/>
                  <a:gd name="connsiteX14" fmla="*/ 140493 w 1547812"/>
                  <a:gd name="connsiteY14" fmla="*/ 1143000 h 1533525"/>
                  <a:gd name="connsiteX15" fmla="*/ 123825 w 1547812"/>
                  <a:gd name="connsiteY15" fmla="*/ 1107281 h 1533525"/>
                  <a:gd name="connsiteX16" fmla="*/ 178593 w 1547812"/>
                  <a:gd name="connsiteY16" fmla="*/ 1107281 h 1533525"/>
                  <a:gd name="connsiteX17" fmla="*/ 192881 w 1547812"/>
                  <a:gd name="connsiteY17" fmla="*/ 1109663 h 1533525"/>
                  <a:gd name="connsiteX18" fmla="*/ 159543 w 1547812"/>
                  <a:gd name="connsiteY18" fmla="*/ 1064419 h 1533525"/>
                  <a:gd name="connsiteX19" fmla="*/ 169068 w 1547812"/>
                  <a:gd name="connsiteY19" fmla="*/ 1014413 h 1533525"/>
                  <a:gd name="connsiteX20" fmla="*/ 123825 w 1547812"/>
                  <a:gd name="connsiteY20" fmla="*/ 997744 h 1533525"/>
                  <a:gd name="connsiteX21" fmla="*/ 61912 w 1547812"/>
                  <a:gd name="connsiteY21" fmla="*/ 954881 h 1533525"/>
                  <a:gd name="connsiteX22" fmla="*/ 45243 w 1547812"/>
                  <a:gd name="connsiteY22" fmla="*/ 938213 h 1533525"/>
                  <a:gd name="connsiteX23" fmla="*/ 64293 w 1547812"/>
                  <a:gd name="connsiteY23" fmla="*/ 909638 h 1533525"/>
                  <a:gd name="connsiteX24" fmla="*/ 47625 w 1547812"/>
                  <a:gd name="connsiteY24" fmla="*/ 897731 h 1533525"/>
                  <a:gd name="connsiteX25" fmla="*/ 47625 w 1547812"/>
                  <a:gd name="connsiteY25" fmla="*/ 881063 h 1533525"/>
                  <a:gd name="connsiteX26" fmla="*/ 26193 w 1547812"/>
                  <a:gd name="connsiteY26" fmla="*/ 881063 h 1533525"/>
                  <a:gd name="connsiteX27" fmla="*/ 7143 w 1547812"/>
                  <a:gd name="connsiteY27" fmla="*/ 847725 h 1533525"/>
                  <a:gd name="connsiteX28" fmla="*/ 0 w 1547812"/>
                  <a:gd name="connsiteY28" fmla="*/ 816769 h 1533525"/>
                  <a:gd name="connsiteX29" fmla="*/ 54768 w 1547812"/>
                  <a:gd name="connsiteY29" fmla="*/ 800100 h 1533525"/>
                  <a:gd name="connsiteX30" fmla="*/ 76200 w 1547812"/>
                  <a:gd name="connsiteY30" fmla="*/ 788194 h 1533525"/>
                  <a:gd name="connsiteX31" fmla="*/ 128587 w 1547812"/>
                  <a:gd name="connsiteY31" fmla="*/ 821531 h 1533525"/>
                  <a:gd name="connsiteX32" fmla="*/ 126206 w 1547812"/>
                  <a:gd name="connsiteY32" fmla="*/ 800100 h 1533525"/>
                  <a:gd name="connsiteX33" fmla="*/ 164306 w 1547812"/>
                  <a:gd name="connsiteY33" fmla="*/ 795338 h 1533525"/>
                  <a:gd name="connsiteX34" fmla="*/ 173831 w 1547812"/>
                  <a:gd name="connsiteY34" fmla="*/ 759619 h 1533525"/>
                  <a:gd name="connsiteX35" fmla="*/ 235743 w 1547812"/>
                  <a:gd name="connsiteY35" fmla="*/ 764381 h 1533525"/>
                  <a:gd name="connsiteX36" fmla="*/ 235743 w 1547812"/>
                  <a:gd name="connsiteY36" fmla="*/ 764381 h 1533525"/>
                  <a:gd name="connsiteX37" fmla="*/ 245268 w 1547812"/>
                  <a:gd name="connsiteY37" fmla="*/ 704850 h 1533525"/>
                  <a:gd name="connsiteX38" fmla="*/ 276225 w 1547812"/>
                  <a:gd name="connsiteY38" fmla="*/ 666750 h 1533525"/>
                  <a:gd name="connsiteX39" fmla="*/ 292893 w 1547812"/>
                  <a:gd name="connsiteY39" fmla="*/ 638175 h 1533525"/>
                  <a:gd name="connsiteX40" fmla="*/ 245268 w 1547812"/>
                  <a:gd name="connsiteY40" fmla="*/ 602456 h 1533525"/>
                  <a:gd name="connsiteX41" fmla="*/ 264318 w 1547812"/>
                  <a:gd name="connsiteY41" fmla="*/ 585788 h 1533525"/>
                  <a:gd name="connsiteX42" fmla="*/ 311943 w 1547812"/>
                  <a:gd name="connsiteY42" fmla="*/ 602456 h 1533525"/>
                  <a:gd name="connsiteX43" fmla="*/ 369093 w 1547812"/>
                  <a:gd name="connsiteY43" fmla="*/ 573881 h 1533525"/>
                  <a:gd name="connsiteX44" fmla="*/ 457200 w 1547812"/>
                  <a:gd name="connsiteY44" fmla="*/ 545306 h 1533525"/>
                  <a:gd name="connsiteX45" fmla="*/ 538162 w 1547812"/>
                  <a:gd name="connsiteY45" fmla="*/ 578644 h 1533525"/>
                  <a:gd name="connsiteX46" fmla="*/ 614362 w 1547812"/>
                  <a:gd name="connsiteY46" fmla="*/ 550069 h 1533525"/>
                  <a:gd name="connsiteX47" fmla="*/ 650081 w 1547812"/>
                  <a:gd name="connsiteY47" fmla="*/ 552450 h 1533525"/>
                  <a:gd name="connsiteX48" fmla="*/ 654843 w 1547812"/>
                  <a:gd name="connsiteY48" fmla="*/ 523875 h 1533525"/>
                  <a:gd name="connsiteX49" fmla="*/ 654843 w 1547812"/>
                  <a:gd name="connsiteY49" fmla="*/ 490538 h 1533525"/>
                  <a:gd name="connsiteX50" fmla="*/ 669131 w 1547812"/>
                  <a:gd name="connsiteY50" fmla="*/ 469106 h 1533525"/>
                  <a:gd name="connsiteX51" fmla="*/ 652462 w 1547812"/>
                  <a:gd name="connsiteY51" fmla="*/ 450056 h 1533525"/>
                  <a:gd name="connsiteX52" fmla="*/ 642937 w 1547812"/>
                  <a:gd name="connsiteY52" fmla="*/ 411956 h 1533525"/>
                  <a:gd name="connsiteX53" fmla="*/ 642937 w 1547812"/>
                  <a:gd name="connsiteY53" fmla="*/ 330994 h 1533525"/>
                  <a:gd name="connsiteX54" fmla="*/ 633412 w 1547812"/>
                  <a:gd name="connsiteY54" fmla="*/ 319088 h 1533525"/>
                  <a:gd name="connsiteX55" fmla="*/ 664368 w 1547812"/>
                  <a:gd name="connsiteY55" fmla="*/ 285750 h 1533525"/>
                  <a:gd name="connsiteX56" fmla="*/ 721518 w 1547812"/>
                  <a:gd name="connsiteY56" fmla="*/ 292894 h 1533525"/>
                  <a:gd name="connsiteX57" fmla="*/ 733425 w 1547812"/>
                  <a:gd name="connsiteY57" fmla="*/ 264319 h 1533525"/>
                  <a:gd name="connsiteX58" fmla="*/ 731043 w 1547812"/>
                  <a:gd name="connsiteY58" fmla="*/ 228600 h 1533525"/>
                  <a:gd name="connsiteX59" fmla="*/ 790575 w 1547812"/>
                  <a:gd name="connsiteY59" fmla="*/ 192881 h 1533525"/>
                  <a:gd name="connsiteX60" fmla="*/ 804862 w 1547812"/>
                  <a:gd name="connsiteY60" fmla="*/ 166688 h 1533525"/>
                  <a:gd name="connsiteX61" fmla="*/ 778668 w 1547812"/>
                  <a:gd name="connsiteY61" fmla="*/ 128588 h 1533525"/>
                  <a:gd name="connsiteX62" fmla="*/ 771525 w 1547812"/>
                  <a:gd name="connsiteY62" fmla="*/ 104775 h 1533525"/>
                  <a:gd name="connsiteX63" fmla="*/ 823912 w 1547812"/>
                  <a:gd name="connsiteY63" fmla="*/ 97631 h 1533525"/>
                  <a:gd name="connsiteX64" fmla="*/ 869156 w 1547812"/>
                  <a:gd name="connsiteY64" fmla="*/ 52388 h 1533525"/>
                  <a:gd name="connsiteX65" fmla="*/ 890587 w 1547812"/>
                  <a:gd name="connsiteY65" fmla="*/ 23813 h 1533525"/>
                  <a:gd name="connsiteX66" fmla="*/ 923925 w 1547812"/>
                  <a:gd name="connsiteY66" fmla="*/ 9525 h 1533525"/>
                  <a:gd name="connsiteX67" fmla="*/ 971550 w 1547812"/>
                  <a:gd name="connsiteY67" fmla="*/ 0 h 1533525"/>
                  <a:gd name="connsiteX68" fmla="*/ 971550 w 1547812"/>
                  <a:gd name="connsiteY68" fmla="*/ 40481 h 1533525"/>
                  <a:gd name="connsiteX69" fmla="*/ 950118 w 1547812"/>
                  <a:gd name="connsiteY69" fmla="*/ 80963 h 1533525"/>
                  <a:gd name="connsiteX70" fmla="*/ 950118 w 1547812"/>
                  <a:gd name="connsiteY70" fmla="*/ 140494 h 1533525"/>
                  <a:gd name="connsiteX71" fmla="*/ 969168 w 1547812"/>
                  <a:gd name="connsiteY71" fmla="*/ 161925 h 1533525"/>
                  <a:gd name="connsiteX72" fmla="*/ 1007268 w 1547812"/>
                  <a:gd name="connsiteY72" fmla="*/ 188119 h 1533525"/>
                  <a:gd name="connsiteX73" fmla="*/ 1019175 w 1547812"/>
                  <a:gd name="connsiteY73" fmla="*/ 216694 h 1533525"/>
                  <a:gd name="connsiteX74" fmla="*/ 1004887 w 1547812"/>
                  <a:gd name="connsiteY74" fmla="*/ 226219 h 1533525"/>
                  <a:gd name="connsiteX75" fmla="*/ 1057275 w 1547812"/>
                  <a:gd name="connsiteY75" fmla="*/ 250031 h 1533525"/>
                  <a:gd name="connsiteX76" fmla="*/ 1073943 w 1547812"/>
                  <a:gd name="connsiteY76" fmla="*/ 228600 h 1533525"/>
                  <a:gd name="connsiteX77" fmla="*/ 1083468 w 1547812"/>
                  <a:gd name="connsiteY77" fmla="*/ 252413 h 1533525"/>
                  <a:gd name="connsiteX78" fmla="*/ 1116806 w 1547812"/>
                  <a:gd name="connsiteY78" fmla="*/ 252413 h 1533525"/>
                  <a:gd name="connsiteX79" fmla="*/ 1123950 w 1547812"/>
                  <a:gd name="connsiteY79" fmla="*/ 257175 h 1533525"/>
                  <a:gd name="connsiteX80" fmla="*/ 1116806 w 1547812"/>
                  <a:gd name="connsiteY80" fmla="*/ 276225 h 1533525"/>
                  <a:gd name="connsiteX81" fmla="*/ 1088231 w 1547812"/>
                  <a:gd name="connsiteY81" fmla="*/ 309563 h 1533525"/>
                  <a:gd name="connsiteX82" fmla="*/ 1123950 w 1547812"/>
                  <a:gd name="connsiteY82" fmla="*/ 333375 h 1533525"/>
                  <a:gd name="connsiteX83" fmla="*/ 1135856 w 1547812"/>
                  <a:gd name="connsiteY83" fmla="*/ 347663 h 1533525"/>
                  <a:gd name="connsiteX84" fmla="*/ 1135856 w 1547812"/>
                  <a:gd name="connsiteY84" fmla="*/ 376238 h 1533525"/>
                  <a:gd name="connsiteX85" fmla="*/ 1119187 w 1547812"/>
                  <a:gd name="connsiteY85" fmla="*/ 411956 h 1533525"/>
                  <a:gd name="connsiteX86" fmla="*/ 1162050 w 1547812"/>
                  <a:gd name="connsiteY86" fmla="*/ 423863 h 1533525"/>
                  <a:gd name="connsiteX87" fmla="*/ 1233487 w 1547812"/>
                  <a:gd name="connsiteY87" fmla="*/ 416719 h 1533525"/>
                  <a:gd name="connsiteX88" fmla="*/ 1223962 w 1547812"/>
                  <a:gd name="connsiteY88" fmla="*/ 385763 h 1533525"/>
                  <a:gd name="connsiteX89" fmla="*/ 1188243 w 1547812"/>
                  <a:gd name="connsiteY89" fmla="*/ 347663 h 1533525"/>
                  <a:gd name="connsiteX90" fmla="*/ 1181100 w 1547812"/>
                  <a:gd name="connsiteY90" fmla="*/ 333375 h 1533525"/>
                  <a:gd name="connsiteX91" fmla="*/ 1207293 w 1547812"/>
                  <a:gd name="connsiteY91" fmla="*/ 326231 h 1533525"/>
                  <a:gd name="connsiteX92" fmla="*/ 1200150 w 1547812"/>
                  <a:gd name="connsiteY92" fmla="*/ 302419 h 1533525"/>
                  <a:gd name="connsiteX93" fmla="*/ 1223962 w 1547812"/>
                  <a:gd name="connsiteY93" fmla="*/ 283369 h 1533525"/>
                  <a:gd name="connsiteX94" fmla="*/ 1250156 w 1547812"/>
                  <a:gd name="connsiteY94" fmla="*/ 242888 h 1533525"/>
                  <a:gd name="connsiteX95" fmla="*/ 1302543 w 1547812"/>
                  <a:gd name="connsiteY95" fmla="*/ 211931 h 1533525"/>
                  <a:gd name="connsiteX96" fmla="*/ 1350168 w 1547812"/>
                  <a:gd name="connsiteY96" fmla="*/ 123825 h 1533525"/>
                  <a:gd name="connsiteX97" fmla="*/ 1543050 w 1547812"/>
                  <a:gd name="connsiteY97" fmla="*/ 147638 h 1533525"/>
                  <a:gd name="connsiteX98" fmla="*/ 1547812 w 1547812"/>
                  <a:gd name="connsiteY98" fmla="*/ 121444 h 1533525"/>
                  <a:gd name="connsiteX99" fmla="*/ 1057275 w 1547812"/>
                  <a:gd name="connsiteY99" fmla="*/ 264319 h 1533525"/>
                  <a:gd name="connsiteX100" fmla="*/ 1062037 w 1547812"/>
                  <a:gd name="connsiteY100" fmla="*/ 304800 h 1533525"/>
                  <a:gd name="connsiteX101" fmla="*/ 995362 w 1547812"/>
                  <a:gd name="connsiteY101" fmla="*/ 352425 h 1533525"/>
                  <a:gd name="connsiteX102" fmla="*/ 973931 w 1547812"/>
                  <a:gd name="connsiteY102" fmla="*/ 383381 h 1533525"/>
                  <a:gd name="connsiteX103" fmla="*/ 1000125 w 1547812"/>
                  <a:gd name="connsiteY103" fmla="*/ 428625 h 1533525"/>
                  <a:gd name="connsiteX104" fmla="*/ 983456 w 1547812"/>
                  <a:gd name="connsiteY104" fmla="*/ 466725 h 1533525"/>
                  <a:gd name="connsiteX105" fmla="*/ 1000125 w 1547812"/>
                  <a:gd name="connsiteY105" fmla="*/ 519113 h 1533525"/>
                  <a:gd name="connsiteX106" fmla="*/ 1033462 w 1547812"/>
                  <a:gd name="connsiteY106" fmla="*/ 519113 h 1533525"/>
                  <a:gd name="connsiteX107" fmla="*/ 1019175 w 1547812"/>
                  <a:gd name="connsiteY107" fmla="*/ 552450 h 1533525"/>
                  <a:gd name="connsiteX108" fmla="*/ 1035843 w 1547812"/>
                  <a:gd name="connsiteY108" fmla="*/ 590550 h 1533525"/>
                  <a:gd name="connsiteX109" fmla="*/ 1035843 w 1547812"/>
                  <a:gd name="connsiteY109" fmla="*/ 607219 h 1533525"/>
                  <a:gd name="connsiteX110" fmla="*/ 1045368 w 1547812"/>
                  <a:gd name="connsiteY110" fmla="*/ 645319 h 1533525"/>
                  <a:gd name="connsiteX111" fmla="*/ 1064418 w 1547812"/>
                  <a:gd name="connsiteY111" fmla="*/ 645319 h 1533525"/>
                  <a:gd name="connsiteX112" fmla="*/ 1078706 w 1547812"/>
                  <a:gd name="connsiteY112" fmla="*/ 666750 h 1533525"/>
                  <a:gd name="connsiteX113" fmla="*/ 1085850 w 1547812"/>
                  <a:gd name="connsiteY113" fmla="*/ 688181 h 1533525"/>
                  <a:gd name="connsiteX114" fmla="*/ 1076325 w 1547812"/>
                  <a:gd name="connsiteY114" fmla="*/ 719138 h 1533525"/>
                  <a:gd name="connsiteX115" fmla="*/ 1021556 w 1547812"/>
                  <a:gd name="connsiteY115" fmla="*/ 714375 h 1533525"/>
                  <a:gd name="connsiteX116" fmla="*/ 1002506 w 1547812"/>
                  <a:gd name="connsiteY116" fmla="*/ 721519 h 1533525"/>
                  <a:gd name="connsiteX117" fmla="*/ 995362 w 1547812"/>
                  <a:gd name="connsiteY117" fmla="*/ 726281 h 1533525"/>
                  <a:gd name="connsiteX118" fmla="*/ 995362 w 1547812"/>
                  <a:gd name="connsiteY118" fmla="*/ 726281 h 1533525"/>
                  <a:gd name="connsiteX119" fmla="*/ 923925 w 1547812"/>
                  <a:gd name="connsiteY119" fmla="*/ 721519 h 1533525"/>
                  <a:gd name="connsiteX120" fmla="*/ 940593 w 1547812"/>
                  <a:gd name="connsiteY120" fmla="*/ 778669 h 1533525"/>
                  <a:gd name="connsiteX121" fmla="*/ 938212 w 1547812"/>
                  <a:gd name="connsiteY121" fmla="*/ 847725 h 1533525"/>
                  <a:gd name="connsiteX122" fmla="*/ 954881 w 1547812"/>
                  <a:gd name="connsiteY122" fmla="*/ 871538 h 1533525"/>
                  <a:gd name="connsiteX123" fmla="*/ 997743 w 1547812"/>
                  <a:gd name="connsiteY123" fmla="*/ 919163 h 1533525"/>
                  <a:gd name="connsiteX124" fmla="*/ 1012031 w 1547812"/>
                  <a:gd name="connsiteY124" fmla="*/ 954881 h 1533525"/>
                  <a:gd name="connsiteX125" fmla="*/ 1031081 w 1547812"/>
                  <a:gd name="connsiteY125" fmla="*/ 954881 h 1533525"/>
                  <a:gd name="connsiteX126" fmla="*/ 1071562 w 1547812"/>
                  <a:gd name="connsiteY126" fmla="*/ 940594 h 1533525"/>
                  <a:gd name="connsiteX127" fmla="*/ 1102518 w 1547812"/>
                  <a:gd name="connsiteY127" fmla="*/ 933450 h 1533525"/>
                  <a:gd name="connsiteX128" fmla="*/ 1159668 w 1547812"/>
                  <a:gd name="connsiteY128" fmla="*/ 997744 h 1533525"/>
                  <a:gd name="connsiteX129" fmla="*/ 1178718 w 1547812"/>
                  <a:gd name="connsiteY129" fmla="*/ 1052513 h 1533525"/>
                  <a:gd name="connsiteX130" fmla="*/ 1190625 w 1547812"/>
                  <a:gd name="connsiteY130" fmla="*/ 1081088 h 1533525"/>
                  <a:gd name="connsiteX131" fmla="*/ 1212056 w 1547812"/>
                  <a:gd name="connsiteY131" fmla="*/ 1109663 h 1533525"/>
                  <a:gd name="connsiteX132" fmla="*/ 1231106 w 1547812"/>
                  <a:gd name="connsiteY132" fmla="*/ 1102519 h 1533525"/>
                  <a:gd name="connsiteX133" fmla="*/ 1231106 w 1547812"/>
                  <a:gd name="connsiteY133" fmla="*/ 1131094 h 1533525"/>
                  <a:gd name="connsiteX134" fmla="*/ 1233487 w 1547812"/>
                  <a:gd name="connsiteY134" fmla="*/ 1145381 h 1533525"/>
                  <a:gd name="connsiteX135" fmla="*/ 1266825 w 1547812"/>
                  <a:gd name="connsiteY135" fmla="*/ 1181100 h 1533525"/>
                  <a:gd name="connsiteX136" fmla="*/ 1233487 w 1547812"/>
                  <a:gd name="connsiteY136" fmla="*/ 1181100 h 1533525"/>
                  <a:gd name="connsiteX137" fmla="*/ 1228725 w 1547812"/>
                  <a:gd name="connsiteY137" fmla="*/ 1223963 h 1533525"/>
                  <a:gd name="connsiteX138" fmla="*/ 1226343 w 1547812"/>
                  <a:gd name="connsiteY138" fmla="*/ 1243013 h 1533525"/>
                  <a:gd name="connsiteX139" fmla="*/ 1216818 w 1547812"/>
                  <a:gd name="connsiteY139" fmla="*/ 1264444 h 1533525"/>
                  <a:gd name="connsiteX140" fmla="*/ 1190625 w 1547812"/>
                  <a:gd name="connsiteY140" fmla="*/ 1238250 h 1533525"/>
                  <a:gd name="connsiteX141" fmla="*/ 1157287 w 1547812"/>
                  <a:gd name="connsiteY141" fmla="*/ 1209675 h 1533525"/>
                  <a:gd name="connsiteX142" fmla="*/ 1131093 w 1547812"/>
                  <a:gd name="connsiteY142" fmla="*/ 1185863 h 1533525"/>
                  <a:gd name="connsiteX143" fmla="*/ 1107281 w 1547812"/>
                  <a:gd name="connsiteY143" fmla="*/ 1219200 h 1533525"/>
                  <a:gd name="connsiteX144" fmla="*/ 1104900 w 1547812"/>
                  <a:gd name="connsiteY144" fmla="*/ 1264444 h 1533525"/>
                  <a:gd name="connsiteX145" fmla="*/ 1062037 w 1547812"/>
                  <a:gd name="connsiteY145" fmla="*/ 1259681 h 1533525"/>
                  <a:gd name="connsiteX146" fmla="*/ 1026318 w 1547812"/>
                  <a:gd name="connsiteY146" fmla="*/ 1288256 h 1533525"/>
                  <a:gd name="connsiteX147" fmla="*/ 1007268 w 1547812"/>
                  <a:gd name="connsiteY147" fmla="*/ 1240631 h 1533525"/>
                  <a:gd name="connsiteX148" fmla="*/ 947737 w 1547812"/>
                  <a:gd name="connsiteY148" fmla="*/ 1231106 h 1533525"/>
                  <a:gd name="connsiteX149" fmla="*/ 921543 w 1547812"/>
                  <a:gd name="connsiteY149" fmla="*/ 1297781 h 1533525"/>
                  <a:gd name="connsiteX150" fmla="*/ 885825 w 1547812"/>
                  <a:gd name="connsiteY150" fmla="*/ 1278731 h 1533525"/>
                  <a:gd name="connsiteX151" fmla="*/ 816768 w 1547812"/>
                  <a:gd name="connsiteY151" fmla="*/ 1295400 h 1533525"/>
                  <a:gd name="connsiteX152" fmla="*/ 757237 w 1547812"/>
                  <a:gd name="connsiteY152" fmla="*/ 1259681 h 1533525"/>
                  <a:gd name="connsiteX153" fmla="*/ 742950 w 1547812"/>
                  <a:gd name="connsiteY153" fmla="*/ 1312069 h 1533525"/>
                  <a:gd name="connsiteX154" fmla="*/ 704850 w 1547812"/>
                  <a:gd name="connsiteY154" fmla="*/ 1345406 h 1533525"/>
                  <a:gd name="connsiteX155" fmla="*/ 692943 w 1547812"/>
                  <a:gd name="connsiteY155" fmla="*/ 1366838 h 1533525"/>
                  <a:gd name="connsiteX156" fmla="*/ 671512 w 1547812"/>
                  <a:gd name="connsiteY156" fmla="*/ 1509713 h 1533525"/>
                  <a:gd name="connsiteX157" fmla="*/ 633412 w 1547812"/>
                  <a:gd name="connsiteY157" fmla="*/ 1490663 h 1533525"/>
                  <a:gd name="connsiteX158" fmla="*/ 614362 w 1547812"/>
                  <a:gd name="connsiteY158" fmla="*/ 1504950 h 1533525"/>
                  <a:gd name="connsiteX159" fmla="*/ 581025 w 1547812"/>
                  <a:gd name="connsiteY159" fmla="*/ 1531144 h 1533525"/>
                  <a:gd name="connsiteX160" fmla="*/ 523875 w 1547812"/>
                  <a:gd name="connsiteY160" fmla="*/ 1502569 h 1533525"/>
                  <a:gd name="connsiteX161" fmla="*/ 514350 w 1547812"/>
                  <a:gd name="connsiteY161" fmla="*/ 1490663 h 1533525"/>
                  <a:gd name="connsiteX162" fmla="*/ 483393 w 1547812"/>
                  <a:gd name="connsiteY162" fmla="*/ 1533525 h 1533525"/>
                  <a:gd name="connsiteX0" fmla="*/ 483393 w 1543050"/>
                  <a:gd name="connsiteY0" fmla="*/ 1533525 h 1533525"/>
                  <a:gd name="connsiteX1" fmla="*/ 459581 w 1543050"/>
                  <a:gd name="connsiteY1" fmla="*/ 1481138 h 1533525"/>
                  <a:gd name="connsiteX2" fmla="*/ 438150 w 1543050"/>
                  <a:gd name="connsiteY2" fmla="*/ 1471613 h 1533525"/>
                  <a:gd name="connsiteX3" fmla="*/ 400050 w 1543050"/>
                  <a:gd name="connsiteY3" fmla="*/ 1485900 h 1533525"/>
                  <a:gd name="connsiteX4" fmla="*/ 338137 w 1543050"/>
                  <a:gd name="connsiteY4" fmla="*/ 1490663 h 1533525"/>
                  <a:gd name="connsiteX5" fmla="*/ 330993 w 1543050"/>
                  <a:gd name="connsiteY5" fmla="*/ 1497806 h 1533525"/>
                  <a:gd name="connsiteX6" fmla="*/ 271462 w 1543050"/>
                  <a:gd name="connsiteY6" fmla="*/ 1471613 h 1533525"/>
                  <a:gd name="connsiteX7" fmla="*/ 219075 w 1543050"/>
                  <a:gd name="connsiteY7" fmla="*/ 1443038 h 1533525"/>
                  <a:gd name="connsiteX8" fmla="*/ 138112 w 1543050"/>
                  <a:gd name="connsiteY8" fmla="*/ 1402556 h 1533525"/>
                  <a:gd name="connsiteX9" fmla="*/ 95250 w 1543050"/>
                  <a:gd name="connsiteY9" fmla="*/ 1316831 h 1533525"/>
                  <a:gd name="connsiteX10" fmla="*/ 80962 w 1543050"/>
                  <a:gd name="connsiteY10" fmla="*/ 1288256 h 1533525"/>
                  <a:gd name="connsiteX11" fmla="*/ 104775 w 1543050"/>
                  <a:gd name="connsiteY11" fmla="*/ 1266825 h 1533525"/>
                  <a:gd name="connsiteX12" fmla="*/ 76200 w 1543050"/>
                  <a:gd name="connsiteY12" fmla="*/ 1212056 h 1533525"/>
                  <a:gd name="connsiteX13" fmla="*/ 109537 w 1543050"/>
                  <a:gd name="connsiteY13" fmla="*/ 1193006 h 1533525"/>
                  <a:gd name="connsiteX14" fmla="*/ 140493 w 1543050"/>
                  <a:gd name="connsiteY14" fmla="*/ 1143000 h 1533525"/>
                  <a:gd name="connsiteX15" fmla="*/ 123825 w 1543050"/>
                  <a:gd name="connsiteY15" fmla="*/ 1107281 h 1533525"/>
                  <a:gd name="connsiteX16" fmla="*/ 178593 w 1543050"/>
                  <a:gd name="connsiteY16" fmla="*/ 1107281 h 1533525"/>
                  <a:gd name="connsiteX17" fmla="*/ 192881 w 1543050"/>
                  <a:gd name="connsiteY17" fmla="*/ 1109663 h 1533525"/>
                  <a:gd name="connsiteX18" fmla="*/ 159543 w 1543050"/>
                  <a:gd name="connsiteY18" fmla="*/ 1064419 h 1533525"/>
                  <a:gd name="connsiteX19" fmla="*/ 169068 w 1543050"/>
                  <a:gd name="connsiteY19" fmla="*/ 1014413 h 1533525"/>
                  <a:gd name="connsiteX20" fmla="*/ 123825 w 1543050"/>
                  <a:gd name="connsiteY20" fmla="*/ 997744 h 1533525"/>
                  <a:gd name="connsiteX21" fmla="*/ 61912 w 1543050"/>
                  <a:gd name="connsiteY21" fmla="*/ 954881 h 1533525"/>
                  <a:gd name="connsiteX22" fmla="*/ 45243 w 1543050"/>
                  <a:gd name="connsiteY22" fmla="*/ 938213 h 1533525"/>
                  <a:gd name="connsiteX23" fmla="*/ 64293 w 1543050"/>
                  <a:gd name="connsiteY23" fmla="*/ 909638 h 1533525"/>
                  <a:gd name="connsiteX24" fmla="*/ 47625 w 1543050"/>
                  <a:gd name="connsiteY24" fmla="*/ 897731 h 1533525"/>
                  <a:gd name="connsiteX25" fmla="*/ 47625 w 1543050"/>
                  <a:gd name="connsiteY25" fmla="*/ 881063 h 1533525"/>
                  <a:gd name="connsiteX26" fmla="*/ 26193 w 1543050"/>
                  <a:gd name="connsiteY26" fmla="*/ 881063 h 1533525"/>
                  <a:gd name="connsiteX27" fmla="*/ 7143 w 1543050"/>
                  <a:gd name="connsiteY27" fmla="*/ 847725 h 1533525"/>
                  <a:gd name="connsiteX28" fmla="*/ 0 w 1543050"/>
                  <a:gd name="connsiteY28" fmla="*/ 816769 h 1533525"/>
                  <a:gd name="connsiteX29" fmla="*/ 54768 w 1543050"/>
                  <a:gd name="connsiteY29" fmla="*/ 800100 h 1533525"/>
                  <a:gd name="connsiteX30" fmla="*/ 76200 w 1543050"/>
                  <a:gd name="connsiteY30" fmla="*/ 788194 h 1533525"/>
                  <a:gd name="connsiteX31" fmla="*/ 128587 w 1543050"/>
                  <a:gd name="connsiteY31" fmla="*/ 821531 h 1533525"/>
                  <a:gd name="connsiteX32" fmla="*/ 126206 w 1543050"/>
                  <a:gd name="connsiteY32" fmla="*/ 800100 h 1533525"/>
                  <a:gd name="connsiteX33" fmla="*/ 164306 w 1543050"/>
                  <a:gd name="connsiteY33" fmla="*/ 795338 h 1533525"/>
                  <a:gd name="connsiteX34" fmla="*/ 173831 w 1543050"/>
                  <a:gd name="connsiteY34" fmla="*/ 759619 h 1533525"/>
                  <a:gd name="connsiteX35" fmla="*/ 235743 w 1543050"/>
                  <a:gd name="connsiteY35" fmla="*/ 764381 h 1533525"/>
                  <a:gd name="connsiteX36" fmla="*/ 235743 w 1543050"/>
                  <a:gd name="connsiteY36" fmla="*/ 764381 h 1533525"/>
                  <a:gd name="connsiteX37" fmla="*/ 245268 w 1543050"/>
                  <a:gd name="connsiteY37" fmla="*/ 704850 h 1533525"/>
                  <a:gd name="connsiteX38" fmla="*/ 276225 w 1543050"/>
                  <a:gd name="connsiteY38" fmla="*/ 666750 h 1533525"/>
                  <a:gd name="connsiteX39" fmla="*/ 292893 w 1543050"/>
                  <a:gd name="connsiteY39" fmla="*/ 638175 h 1533525"/>
                  <a:gd name="connsiteX40" fmla="*/ 245268 w 1543050"/>
                  <a:gd name="connsiteY40" fmla="*/ 602456 h 1533525"/>
                  <a:gd name="connsiteX41" fmla="*/ 264318 w 1543050"/>
                  <a:gd name="connsiteY41" fmla="*/ 585788 h 1533525"/>
                  <a:gd name="connsiteX42" fmla="*/ 311943 w 1543050"/>
                  <a:gd name="connsiteY42" fmla="*/ 602456 h 1533525"/>
                  <a:gd name="connsiteX43" fmla="*/ 369093 w 1543050"/>
                  <a:gd name="connsiteY43" fmla="*/ 573881 h 1533525"/>
                  <a:gd name="connsiteX44" fmla="*/ 457200 w 1543050"/>
                  <a:gd name="connsiteY44" fmla="*/ 545306 h 1533525"/>
                  <a:gd name="connsiteX45" fmla="*/ 538162 w 1543050"/>
                  <a:gd name="connsiteY45" fmla="*/ 578644 h 1533525"/>
                  <a:gd name="connsiteX46" fmla="*/ 614362 w 1543050"/>
                  <a:gd name="connsiteY46" fmla="*/ 550069 h 1533525"/>
                  <a:gd name="connsiteX47" fmla="*/ 650081 w 1543050"/>
                  <a:gd name="connsiteY47" fmla="*/ 552450 h 1533525"/>
                  <a:gd name="connsiteX48" fmla="*/ 654843 w 1543050"/>
                  <a:gd name="connsiteY48" fmla="*/ 523875 h 1533525"/>
                  <a:gd name="connsiteX49" fmla="*/ 654843 w 1543050"/>
                  <a:gd name="connsiteY49" fmla="*/ 490538 h 1533525"/>
                  <a:gd name="connsiteX50" fmla="*/ 669131 w 1543050"/>
                  <a:gd name="connsiteY50" fmla="*/ 469106 h 1533525"/>
                  <a:gd name="connsiteX51" fmla="*/ 652462 w 1543050"/>
                  <a:gd name="connsiteY51" fmla="*/ 450056 h 1533525"/>
                  <a:gd name="connsiteX52" fmla="*/ 642937 w 1543050"/>
                  <a:gd name="connsiteY52" fmla="*/ 411956 h 1533525"/>
                  <a:gd name="connsiteX53" fmla="*/ 642937 w 1543050"/>
                  <a:gd name="connsiteY53" fmla="*/ 330994 h 1533525"/>
                  <a:gd name="connsiteX54" fmla="*/ 633412 w 1543050"/>
                  <a:gd name="connsiteY54" fmla="*/ 319088 h 1533525"/>
                  <a:gd name="connsiteX55" fmla="*/ 664368 w 1543050"/>
                  <a:gd name="connsiteY55" fmla="*/ 285750 h 1533525"/>
                  <a:gd name="connsiteX56" fmla="*/ 721518 w 1543050"/>
                  <a:gd name="connsiteY56" fmla="*/ 292894 h 1533525"/>
                  <a:gd name="connsiteX57" fmla="*/ 733425 w 1543050"/>
                  <a:gd name="connsiteY57" fmla="*/ 264319 h 1533525"/>
                  <a:gd name="connsiteX58" fmla="*/ 731043 w 1543050"/>
                  <a:gd name="connsiteY58" fmla="*/ 228600 h 1533525"/>
                  <a:gd name="connsiteX59" fmla="*/ 790575 w 1543050"/>
                  <a:gd name="connsiteY59" fmla="*/ 192881 h 1533525"/>
                  <a:gd name="connsiteX60" fmla="*/ 804862 w 1543050"/>
                  <a:gd name="connsiteY60" fmla="*/ 166688 h 1533525"/>
                  <a:gd name="connsiteX61" fmla="*/ 778668 w 1543050"/>
                  <a:gd name="connsiteY61" fmla="*/ 128588 h 1533525"/>
                  <a:gd name="connsiteX62" fmla="*/ 771525 w 1543050"/>
                  <a:gd name="connsiteY62" fmla="*/ 104775 h 1533525"/>
                  <a:gd name="connsiteX63" fmla="*/ 823912 w 1543050"/>
                  <a:gd name="connsiteY63" fmla="*/ 97631 h 1533525"/>
                  <a:gd name="connsiteX64" fmla="*/ 869156 w 1543050"/>
                  <a:gd name="connsiteY64" fmla="*/ 52388 h 1533525"/>
                  <a:gd name="connsiteX65" fmla="*/ 890587 w 1543050"/>
                  <a:gd name="connsiteY65" fmla="*/ 23813 h 1533525"/>
                  <a:gd name="connsiteX66" fmla="*/ 923925 w 1543050"/>
                  <a:gd name="connsiteY66" fmla="*/ 9525 h 1533525"/>
                  <a:gd name="connsiteX67" fmla="*/ 971550 w 1543050"/>
                  <a:gd name="connsiteY67" fmla="*/ 0 h 1533525"/>
                  <a:gd name="connsiteX68" fmla="*/ 971550 w 1543050"/>
                  <a:gd name="connsiteY68" fmla="*/ 40481 h 1533525"/>
                  <a:gd name="connsiteX69" fmla="*/ 950118 w 1543050"/>
                  <a:gd name="connsiteY69" fmla="*/ 80963 h 1533525"/>
                  <a:gd name="connsiteX70" fmla="*/ 950118 w 1543050"/>
                  <a:gd name="connsiteY70" fmla="*/ 140494 h 1533525"/>
                  <a:gd name="connsiteX71" fmla="*/ 969168 w 1543050"/>
                  <a:gd name="connsiteY71" fmla="*/ 161925 h 1533525"/>
                  <a:gd name="connsiteX72" fmla="*/ 1007268 w 1543050"/>
                  <a:gd name="connsiteY72" fmla="*/ 188119 h 1533525"/>
                  <a:gd name="connsiteX73" fmla="*/ 1019175 w 1543050"/>
                  <a:gd name="connsiteY73" fmla="*/ 216694 h 1533525"/>
                  <a:gd name="connsiteX74" fmla="*/ 1004887 w 1543050"/>
                  <a:gd name="connsiteY74" fmla="*/ 226219 h 1533525"/>
                  <a:gd name="connsiteX75" fmla="*/ 1057275 w 1543050"/>
                  <a:gd name="connsiteY75" fmla="*/ 250031 h 1533525"/>
                  <a:gd name="connsiteX76" fmla="*/ 1073943 w 1543050"/>
                  <a:gd name="connsiteY76" fmla="*/ 228600 h 1533525"/>
                  <a:gd name="connsiteX77" fmla="*/ 1083468 w 1543050"/>
                  <a:gd name="connsiteY77" fmla="*/ 252413 h 1533525"/>
                  <a:gd name="connsiteX78" fmla="*/ 1116806 w 1543050"/>
                  <a:gd name="connsiteY78" fmla="*/ 252413 h 1533525"/>
                  <a:gd name="connsiteX79" fmla="*/ 1123950 w 1543050"/>
                  <a:gd name="connsiteY79" fmla="*/ 257175 h 1533525"/>
                  <a:gd name="connsiteX80" fmla="*/ 1116806 w 1543050"/>
                  <a:gd name="connsiteY80" fmla="*/ 276225 h 1533525"/>
                  <a:gd name="connsiteX81" fmla="*/ 1088231 w 1543050"/>
                  <a:gd name="connsiteY81" fmla="*/ 309563 h 1533525"/>
                  <a:gd name="connsiteX82" fmla="*/ 1123950 w 1543050"/>
                  <a:gd name="connsiteY82" fmla="*/ 333375 h 1533525"/>
                  <a:gd name="connsiteX83" fmla="*/ 1135856 w 1543050"/>
                  <a:gd name="connsiteY83" fmla="*/ 347663 h 1533525"/>
                  <a:gd name="connsiteX84" fmla="*/ 1135856 w 1543050"/>
                  <a:gd name="connsiteY84" fmla="*/ 376238 h 1533525"/>
                  <a:gd name="connsiteX85" fmla="*/ 1119187 w 1543050"/>
                  <a:gd name="connsiteY85" fmla="*/ 411956 h 1533525"/>
                  <a:gd name="connsiteX86" fmla="*/ 1162050 w 1543050"/>
                  <a:gd name="connsiteY86" fmla="*/ 423863 h 1533525"/>
                  <a:gd name="connsiteX87" fmla="*/ 1233487 w 1543050"/>
                  <a:gd name="connsiteY87" fmla="*/ 416719 h 1533525"/>
                  <a:gd name="connsiteX88" fmla="*/ 1223962 w 1543050"/>
                  <a:gd name="connsiteY88" fmla="*/ 385763 h 1533525"/>
                  <a:gd name="connsiteX89" fmla="*/ 1188243 w 1543050"/>
                  <a:gd name="connsiteY89" fmla="*/ 347663 h 1533525"/>
                  <a:gd name="connsiteX90" fmla="*/ 1181100 w 1543050"/>
                  <a:gd name="connsiteY90" fmla="*/ 333375 h 1533525"/>
                  <a:gd name="connsiteX91" fmla="*/ 1207293 w 1543050"/>
                  <a:gd name="connsiteY91" fmla="*/ 326231 h 1533525"/>
                  <a:gd name="connsiteX92" fmla="*/ 1200150 w 1543050"/>
                  <a:gd name="connsiteY92" fmla="*/ 302419 h 1533525"/>
                  <a:gd name="connsiteX93" fmla="*/ 1223962 w 1543050"/>
                  <a:gd name="connsiteY93" fmla="*/ 283369 h 1533525"/>
                  <a:gd name="connsiteX94" fmla="*/ 1250156 w 1543050"/>
                  <a:gd name="connsiteY94" fmla="*/ 242888 h 1533525"/>
                  <a:gd name="connsiteX95" fmla="*/ 1302543 w 1543050"/>
                  <a:gd name="connsiteY95" fmla="*/ 211931 h 1533525"/>
                  <a:gd name="connsiteX96" fmla="*/ 1350168 w 1543050"/>
                  <a:gd name="connsiteY96" fmla="*/ 123825 h 1533525"/>
                  <a:gd name="connsiteX97" fmla="*/ 1543050 w 1543050"/>
                  <a:gd name="connsiteY97" fmla="*/ 147638 h 1533525"/>
                  <a:gd name="connsiteX98" fmla="*/ 1057275 w 1543050"/>
                  <a:gd name="connsiteY98" fmla="*/ 264319 h 1533525"/>
                  <a:gd name="connsiteX99" fmla="*/ 1062037 w 1543050"/>
                  <a:gd name="connsiteY99" fmla="*/ 304800 h 1533525"/>
                  <a:gd name="connsiteX100" fmla="*/ 995362 w 1543050"/>
                  <a:gd name="connsiteY100" fmla="*/ 352425 h 1533525"/>
                  <a:gd name="connsiteX101" fmla="*/ 973931 w 1543050"/>
                  <a:gd name="connsiteY101" fmla="*/ 383381 h 1533525"/>
                  <a:gd name="connsiteX102" fmla="*/ 1000125 w 1543050"/>
                  <a:gd name="connsiteY102" fmla="*/ 428625 h 1533525"/>
                  <a:gd name="connsiteX103" fmla="*/ 983456 w 1543050"/>
                  <a:gd name="connsiteY103" fmla="*/ 466725 h 1533525"/>
                  <a:gd name="connsiteX104" fmla="*/ 1000125 w 1543050"/>
                  <a:gd name="connsiteY104" fmla="*/ 519113 h 1533525"/>
                  <a:gd name="connsiteX105" fmla="*/ 1033462 w 1543050"/>
                  <a:gd name="connsiteY105" fmla="*/ 519113 h 1533525"/>
                  <a:gd name="connsiteX106" fmla="*/ 1019175 w 1543050"/>
                  <a:gd name="connsiteY106" fmla="*/ 552450 h 1533525"/>
                  <a:gd name="connsiteX107" fmla="*/ 1035843 w 1543050"/>
                  <a:gd name="connsiteY107" fmla="*/ 590550 h 1533525"/>
                  <a:gd name="connsiteX108" fmla="*/ 1035843 w 1543050"/>
                  <a:gd name="connsiteY108" fmla="*/ 607219 h 1533525"/>
                  <a:gd name="connsiteX109" fmla="*/ 1045368 w 1543050"/>
                  <a:gd name="connsiteY109" fmla="*/ 645319 h 1533525"/>
                  <a:gd name="connsiteX110" fmla="*/ 1064418 w 1543050"/>
                  <a:gd name="connsiteY110" fmla="*/ 645319 h 1533525"/>
                  <a:gd name="connsiteX111" fmla="*/ 1078706 w 1543050"/>
                  <a:gd name="connsiteY111" fmla="*/ 666750 h 1533525"/>
                  <a:gd name="connsiteX112" fmla="*/ 1085850 w 1543050"/>
                  <a:gd name="connsiteY112" fmla="*/ 688181 h 1533525"/>
                  <a:gd name="connsiteX113" fmla="*/ 1076325 w 1543050"/>
                  <a:gd name="connsiteY113" fmla="*/ 719138 h 1533525"/>
                  <a:gd name="connsiteX114" fmla="*/ 1021556 w 1543050"/>
                  <a:gd name="connsiteY114" fmla="*/ 714375 h 1533525"/>
                  <a:gd name="connsiteX115" fmla="*/ 1002506 w 1543050"/>
                  <a:gd name="connsiteY115" fmla="*/ 721519 h 1533525"/>
                  <a:gd name="connsiteX116" fmla="*/ 995362 w 1543050"/>
                  <a:gd name="connsiteY116" fmla="*/ 726281 h 1533525"/>
                  <a:gd name="connsiteX117" fmla="*/ 995362 w 1543050"/>
                  <a:gd name="connsiteY117" fmla="*/ 726281 h 1533525"/>
                  <a:gd name="connsiteX118" fmla="*/ 923925 w 1543050"/>
                  <a:gd name="connsiteY118" fmla="*/ 721519 h 1533525"/>
                  <a:gd name="connsiteX119" fmla="*/ 940593 w 1543050"/>
                  <a:gd name="connsiteY119" fmla="*/ 778669 h 1533525"/>
                  <a:gd name="connsiteX120" fmla="*/ 938212 w 1543050"/>
                  <a:gd name="connsiteY120" fmla="*/ 847725 h 1533525"/>
                  <a:gd name="connsiteX121" fmla="*/ 954881 w 1543050"/>
                  <a:gd name="connsiteY121" fmla="*/ 871538 h 1533525"/>
                  <a:gd name="connsiteX122" fmla="*/ 997743 w 1543050"/>
                  <a:gd name="connsiteY122" fmla="*/ 919163 h 1533525"/>
                  <a:gd name="connsiteX123" fmla="*/ 1012031 w 1543050"/>
                  <a:gd name="connsiteY123" fmla="*/ 954881 h 1533525"/>
                  <a:gd name="connsiteX124" fmla="*/ 1031081 w 1543050"/>
                  <a:gd name="connsiteY124" fmla="*/ 954881 h 1533525"/>
                  <a:gd name="connsiteX125" fmla="*/ 1071562 w 1543050"/>
                  <a:gd name="connsiteY125" fmla="*/ 940594 h 1533525"/>
                  <a:gd name="connsiteX126" fmla="*/ 1102518 w 1543050"/>
                  <a:gd name="connsiteY126" fmla="*/ 933450 h 1533525"/>
                  <a:gd name="connsiteX127" fmla="*/ 1159668 w 1543050"/>
                  <a:gd name="connsiteY127" fmla="*/ 997744 h 1533525"/>
                  <a:gd name="connsiteX128" fmla="*/ 1178718 w 1543050"/>
                  <a:gd name="connsiteY128" fmla="*/ 1052513 h 1533525"/>
                  <a:gd name="connsiteX129" fmla="*/ 1190625 w 1543050"/>
                  <a:gd name="connsiteY129" fmla="*/ 1081088 h 1533525"/>
                  <a:gd name="connsiteX130" fmla="*/ 1212056 w 1543050"/>
                  <a:gd name="connsiteY130" fmla="*/ 1109663 h 1533525"/>
                  <a:gd name="connsiteX131" fmla="*/ 1231106 w 1543050"/>
                  <a:gd name="connsiteY131" fmla="*/ 1102519 h 1533525"/>
                  <a:gd name="connsiteX132" fmla="*/ 1231106 w 1543050"/>
                  <a:gd name="connsiteY132" fmla="*/ 1131094 h 1533525"/>
                  <a:gd name="connsiteX133" fmla="*/ 1233487 w 1543050"/>
                  <a:gd name="connsiteY133" fmla="*/ 1145381 h 1533525"/>
                  <a:gd name="connsiteX134" fmla="*/ 1266825 w 1543050"/>
                  <a:gd name="connsiteY134" fmla="*/ 1181100 h 1533525"/>
                  <a:gd name="connsiteX135" fmla="*/ 1233487 w 1543050"/>
                  <a:gd name="connsiteY135" fmla="*/ 1181100 h 1533525"/>
                  <a:gd name="connsiteX136" fmla="*/ 1228725 w 1543050"/>
                  <a:gd name="connsiteY136" fmla="*/ 1223963 h 1533525"/>
                  <a:gd name="connsiteX137" fmla="*/ 1226343 w 1543050"/>
                  <a:gd name="connsiteY137" fmla="*/ 1243013 h 1533525"/>
                  <a:gd name="connsiteX138" fmla="*/ 1216818 w 1543050"/>
                  <a:gd name="connsiteY138" fmla="*/ 1264444 h 1533525"/>
                  <a:gd name="connsiteX139" fmla="*/ 1190625 w 1543050"/>
                  <a:gd name="connsiteY139" fmla="*/ 1238250 h 1533525"/>
                  <a:gd name="connsiteX140" fmla="*/ 1157287 w 1543050"/>
                  <a:gd name="connsiteY140" fmla="*/ 1209675 h 1533525"/>
                  <a:gd name="connsiteX141" fmla="*/ 1131093 w 1543050"/>
                  <a:gd name="connsiteY141" fmla="*/ 1185863 h 1533525"/>
                  <a:gd name="connsiteX142" fmla="*/ 1107281 w 1543050"/>
                  <a:gd name="connsiteY142" fmla="*/ 1219200 h 1533525"/>
                  <a:gd name="connsiteX143" fmla="*/ 1104900 w 1543050"/>
                  <a:gd name="connsiteY143" fmla="*/ 1264444 h 1533525"/>
                  <a:gd name="connsiteX144" fmla="*/ 1062037 w 1543050"/>
                  <a:gd name="connsiteY144" fmla="*/ 1259681 h 1533525"/>
                  <a:gd name="connsiteX145" fmla="*/ 1026318 w 1543050"/>
                  <a:gd name="connsiteY145" fmla="*/ 1288256 h 1533525"/>
                  <a:gd name="connsiteX146" fmla="*/ 1007268 w 1543050"/>
                  <a:gd name="connsiteY146" fmla="*/ 1240631 h 1533525"/>
                  <a:gd name="connsiteX147" fmla="*/ 947737 w 1543050"/>
                  <a:gd name="connsiteY147" fmla="*/ 1231106 h 1533525"/>
                  <a:gd name="connsiteX148" fmla="*/ 921543 w 1543050"/>
                  <a:gd name="connsiteY148" fmla="*/ 1297781 h 1533525"/>
                  <a:gd name="connsiteX149" fmla="*/ 885825 w 1543050"/>
                  <a:gd name="connsiteY149" fmla="*/ 1278731 h 1533525"/>
                  <a:gd name="connsiteX150" fmla="*/ 816768 w 1543050"/>
                  <a:gd name="connsiteY150" fmla="*/ 1295400 h 1533525"/>
                  <a:gd name="connsiteX151" fmla="*/ 757237 w 1543050"/>
                  <a:gd name="connsiteY151" fmla="*/ 1259681 h 1533525"/>
                  <a:gd name="connsiteX152" fmla="*/ 742950 w 1543050"/>
                  <a:gd name="connsiteY152" fmla="*/ 1312069 h 1533525"/>
                  <a:gd name="connsiteX153" fmla="*/ 704850 w 1543050"/>
                  <a:gd name="connsiteY153" fmla="*/ 1345406 h 1533525"/>
                  <a:gd name="connsiteX154" fmla="*/ 692943 w 1543050"/>
                  <a:gd name="connsiteY154" fmla="*/ 1366838 h 1533525"/>
                  <a:gd name="connsiteX155" fmla="*/ 671512 w 1543050"/>
                  <a:gd name="connsiteY155" fmla="*/ 1509713 h 1533525"/>
                  <a:gd name="connsiteX156" fmla="*/ 633412 w 1543050"/>
                  <a:gd name="connsiteY156" fmla="*/ 1490663 h 1533525"/>
                  <a:gd name="connsiteX157" fmla="*/ 614362 w 1543050"/>
                  <a:gd name="connsiteY157" fmla="*/ 1504950 h 1533525"/>
                  <a:gd name="connsiteX158" fmla="*/ 581025 w 1543050"/>
                  <a:gd name="connsiteY158" fmla="*/ 1531144 h 1533525"/>
                  <a:gd name="connsiteX159" fmla="*/ 523875 w 1543050"/>
                  <a:gd name="connsiteY159" fmla="*/ 1502569 h 1533525"/>
                  <a:gd name="connsiteX160" fmla="*/ 514350 w 1543050"/>
                  <a:gd name="connsiteY160" fmla="*/ 1490663 h 1533525"/>
                  <a:gd name="connsiteX161" fmla="*/ 483393 w 1543050"/>
                  <a:gd name="connsiteY161" fmla="*/ 1533525 h 1533525"/>
                  <a:gd name="connsiteX0" fmla="*/ 483393 w 1350168"/>
                  <a:gd name="connsiteY0" fmla="*/ 1533525 h 1533525"/>
                  <a:gd name="connsiteX1" fmla="*/ 459581 w 1350168"/>
                  <a:gd name="connsiteY1" fmla="*/ 1481138 h 1533525"/>
                  <a:gd name="connsiteX2" fmla="*/ 438150 w 1350168"/>
                  <a:gd name="connsiteY2" fmla="*/ 1471613 h 1533525"/>
                  <a:gd name="connsiteX3" fmla="*/ 400050 w 1350168"/>
                  <a:gd name="connsiteY3" fmla="*/ 1485900 h 1533525"/>
                  <a:gd name="connsiteX4" fmla="*/ 338137 w 1350168"/>
                  <a:gd name="connsiteY4" fmla="*/ 1490663 h 1533525"/>
                  <a:gd name="connsiteX5" fmla="*/ 330993 w 1350168"/>
                  <a:gd name="connsiteY5" fmla="*/ 1497806 h 1533525"/>
                  <a:gd name="connsiteX6" fmla="*/ 271462 w 1350168"/>
                  <a:gd name="connsiteY6" fmla="*/ 1471613 h 1533525"/>
                  <a:gd name="connsiteX7" fmla="*/ 219075 w 1350168"/>
                  <a:gd name="connsiteY7" fmla="*/ 1443038 h 1533525"/>
                  <a:gd name="connsiteX8" fmla="*/ 138112 w 1350168"/>
                  <a:gd name="connsiteY8" fmla="*/ 1402556 h 1533525"/>
                  <a:gd name="connsiteX9" fmla="*/ 95250 w 1350168"/>
                  <a:gd name="connsiteY9" fmla="*/ 1316831 h 1533525"/>
                  <a:gd name="connsiteX10" fmla="*/ 80962 w 1350168"/>
                  <a:gd name="connsiteY10" fmla="*/ 1288256 h 1533525"/>
                  <a:gd name="connsiteX11" fmla="*/ 104775 w 1350168"/>
                  <a:gd name="connsiteY11" fmla="*/ 1266825 h 1533525"/>
                  <a:gd name="connsiteX12" fmla="*/ 76200 w 1350168"/>
                  <a:gd name="connsiteY12" fmla="*/ 1212056 h 1533525"/>
                  <a:gd name="connsiteX13" fmla="*/ 109537 w 1350168"/>
                  <a:gd name="connsiteY13" fmla="*/ 1193006 h 1533525"/>
                  <a:gd name="connsiteX14" fmla="*/ 140493 w 1350168"/>
                  <a:gd name="connsiteY14" fmla="*/ 1143000 h 1533525"/>
                  <a:gd name="connsiteX15" fmla="*/ 123825 w 1350168"/>
                  <a:gd name="connsiteY15" fmla="*/ 1107281 h 1533525"/>
                  <a:gd name="connsiteX16" fmla="*/ 178593 w 1350168"/>
                  <a:gd name="connsiteY16" fmla="*/ 1107281 h 1533525"/>
                  <a:gd name="connsiteX17" fmla="*/ 192881 w 1350168"/>
                  <a:gd name="connsiteY17" fmla="*/ 1109663 h 1533525"/>
                  <a:gd name="connsiteX18" fmla="*/ 159543 w 1350168"/>
                  <a:gd name="connsiteY18" fmla="*/ 1064419 h 1533525"/>
                  <a:gd name="connsiteX19" fmla="*/ 169068 w 1350168"/>
                  <a:gd name="connsiteY19" fmla="*/ 1014413 h 1533525"/>
                  <a:gd name="connsiteX20" fmla="*/ 123825 w 1350168"/>
                  <a:gd name="connsiteY20" fmla="*/ 997744 h 1533525"/>
                  <a:gd name="connsiteX21" fmla="*/ 61912 w 1350168"/>
                  <a:gd name="connsiteY21" fmla="*/ 954881 h 1533525"/>
                  <a:gd name="connsiteX22" fmla="*/ 45243 w 1350168"/>
                  <a:gd name="connsiteY22" fmla="*/ 938213 h 1533525"/>
                  <a:gd name="connsiteX23" fmla="*/ 64293 w 1350168"/>
                  <a:gd name="connsiteY23" fmla="*/ 909638 h 1533525"/>
                  <a:gd name="connsiteX24" fmla="*/ 47625 w 1350168"/>
                  <a:gd name="connsiteY24" fmla="*/ 897731 h 1533525"/>
                  <a:gd name="connsiteX25" fmla="*/ 47625 w 1350168"/>
                  <a:gd name="connsiteY25" fmla="*/ 881063 h 1533525"/>
                  <a:gd name="connsiteX26" fmla="*/ 26193 w 1350168"/>
                  <a:gd name="connsiteY26" fmla="*/ 881063 h 1533525"/>
                  <a:gd name="connsiteX27" fmla="*/ 7143 w 1350168"/>
                  <a:gd name="connsiteY27" fmla="*/ 847725 h 1533525"/>
                  <a:gd name="connsiteX28" fmla="*/ 0 w 1350168"/>
                  <a:gd name="connsiteY28" fmla="*/ 816769 h 1533525"/>
                  <a:gd name="connsiteX29" fmla="*/ 54768 w 1350168"/>
                  <a:gd name="connsiteY29" fmla="*/ 800100 h 1533525"/>
                  <a:gd name="connsiteX30" fmla="*/ 76200 w 1350168"/>
                  <a:gd name="connsiteY30" fmla="*/ 788194 h 1533525"/>
                  <a:gd name="connsiteX31" fmla="*/ 128587 w 1350168"/>
                  <a:gd name="connsiteY31" fmla="*/ 821531 h 1533525"/>
                  <a:gd name="connsiteX32" fmla="*/ 126206 w 1350168"/>
                  <a:gd name="connsiteY32" fmla="*/ 800100 h 1533525"/>
                  <a:gd name="connsiteX33" fmla="*/ 164306 w 1350168"/>
                  <a:gd name="connsiteY33" fmla="*/ 795338 h 1533525"/>
                  <a:gd name="connsiteX34" fmla="*/ 173831 w 1350168"/>
                  <a:gd name="connsiteY34" fmla="*/ 759619 h 1533525"/>
                  <a:gd name="connsiteX35" fmla="*/ 235743 w 1350168"/>
                  <a:gd name="connsiteY35" fmla="*/ 764381 h 1533525"/>
                  <a:gd name="connsiteX36" fmla="*/ 235743 w 1350168"/>
                  <a:gd name="connsiteY36" fmla="*/ 764381 h 1533525"/>
                  <a:gd name="connsiteX37" fmla="*/ 245268 w 1350168"/>
                  <a:gd name="connsiteY37" fmla="*/ 704850 h 1533525"/>
                  <a:gd name="connsiteX38" fmla="*/ 276225 w 1350168"/>
                  <a:gd name="connsiteY38" fmla="*/ 666750 h 1533525"/>
                  <a:gd name="connsiteX39" fmla="*/ 292893 w 1350168"/>
                  <a:gd name="connsiteY39" fmla="*/ 638175 h 1533525"/>
                  <a:gd name="connsiteX40" fmla="*/ 245268 w 1350168"/>
                  <a:gd name="connsiteY40" fmla="*/ 602456 h 1533525"/>
                  <a:gd name="connsiteX41" fmla="*/ 264318 w 1350168"/>
                  <a:gd name="connsiteY41" fmla="*/ 585788 h 1533525"/>
                  <a:gd name="connsiteX42" fmla="*/ 311943 w 1350168"/>
                  <a:gd name="connsiteY42" fmla="*/ 602456 h 1533525"/>
                  <a:gd name="connsiteX43" fmla="*/ 369093 w 1350168"/>
                  <a:gd name="connsiteY43" fmla="*/ 573881 h 1533525"/>
                  <a:gd name="connsiteX44" fmla="*/ 457200 w 1350168"/>
                  <a:gd name="connsiteY44" fmla="*/ 545306 h 1533525"/>
                  <a:gd name="connsiteX45" fmla="*/ 538162 w 1350168"/>
                  <a:gd name="connsiteY45" fmla="*/ 578644 h 1533525"/>
                  <a:gd name="connsiteX46" fmla="*/ 614362 w 1350168"/>
                  <a:gd name="connsiteY46" fmla="*/ 550069 h 1533525"/>
                  <a:gd name="connsiteX47" fmla="*/ 650081 w 1350168"/>
                  <a:gd name="connsiteY47" fmla="*/ 552450 h 1533525"/>
                  <a:gd name="connsiteX48" fmla="*/ 654843 w 1350168"/>
                  <a:gd name="connsiteY48" fmla="*/ 523875 h 1533525"/>
                  <a:gd name="connsiteX49" fmla="*/ 654843 w 1350168"/>
                  <a:gd name="connsiteY49" fmla="*/ 490538 h 1533525"/>
                  <a:gd name="connsiteX50" fmla="*/ 669131 w 1350168"/>
                  <a:gd name="connsiteY50" fmla="*/ 469106 h 1533525"/>
                  <a:gd name="connsiteX51" fmla="*/ 652462 w 1350168"/>
                  <a:gd name="connsiteY51" fmla="*/ 450056 h 1533525"/>
                  <a:gd name="connsiteX52" fmla="*/ 642937 w 1350168"/>
                  <a:gd name="connsiteY52" fmla="*/ 411956 h 1533525"/>
                  <a:gd name="connsiteX53" fmla="*/ 642937 w 1350168"/>
                  <a:gd name="connsiteY53" fmla="*/ 330994 h 1533525"/>
                  <a:gd name="connsiteX54" fmla="*/ 633412 w 1350168"/>
                  <a:gd name="connsiteY54" fmla="*/ 319088 h 1533525"/>
                  <a:gd name="connsiteX55" fmla="*/ 664368 w 1350168"/>
                  <a:gd name="connsiteY55" fmla="*/ 285750 h 1533525"/>
                  <a:gd name="connsiteX56" fmla="*/ 721518 w 1350168"/>
                  <a:gd name="connsiteY56" fmla="*/ 292894 h 1533525"/>
                  <a:gd name="connsiteX57" fmla="*/ 733425 w 1350168"/>
                  <a:gd name="connsiteY57" fmla="*/ 264319 h 1533525"/>
                  <a:gd name="connsiteX58" fmla="*/ 731043 w 1350168"/>
                  <a:gd name="connsiteY58" fmla="*/ 228600 h 1533525"/>
                  <a:gd name="connsiteX59" fmla="*/ 790575 w 1350168"/>
                  <a:gd name="connsiteY59" fmla="*/ 192881 h 1533525"/>
                  <a:gd name="connsiteX60" fmla="*/ 804862 w 1350168"/>
                  <a:gd name="connsiteY60" fmla="*/ 166688 h 1533525"/>
                  <a:gd name="connsiteX61" fmla="*/ 778668 w 1350168"/>
                  <a:gd name="connsiteY61" fmla="*/ 128588 h 1533525"/>
                  <a:gd name="connsiteX62" fmla="*/ 771525 w 1350168"/>
                  <a:gd name="connsiteY62" fmla="*/ 104775 h 1533525"/>
                  <a:gd name="connsiteX63" fmla="*/ 823912 w 1350168"/>
                  <a:gd name="connsiteY63" fmla="*/ 97631 h 1533525"/>
                  <a:gd name="connsiteX64" fmla="*/ 869156 w 1350168"/>
                  <a:gd name="connsiteY64" fmla="*/ 52388 h 1533525"/>
                  <a:gd name="connsiteX65" fmla="*/ 890587 w 1350168"/>
                  <a:gd name="connsiteY65" fmla="*/ 23813 h 1533525"/>
                  <a:gd name="connsiteX66" fmla="*/ 923925 w 1350168"/>
                  <a:gd name="connsiteY66" fmla="*/ 9525 h 1533525"/>
                  <a:gd name="connsiteX67" fmla="*/ 971550 w 1350168"/>
                  <a:gd name="connsiteY67" fmla="*/ 0 h 1533525"/>
                  <a:gd name="connsiteX68" fmla="*/ 971550 w 1350168"/>
                  <a:gd name="connsiteY68" fmla="*/ 40481 h 1533525"/>
                  <a:gd name="connsiteX69" fmla="*/ 950118 w 1350168"/>
                  <a:gd name="connsiteY69" fmla="*/ 80963 h 1533525"/>
                  <a:gd name="connsiteX70" fmla="*/ 950118 w 1350168"/>
                  <a:gd name="connsiteY70" fmla="*/ 140494 h 1533525"/>
                  <a:gd name="connsiteX71" fmla="*/ 969168 w 1350168"/>
                  <a:gd name="connsiteY71" fmla="*/ 161925 h 1533525"/>
                  <a:gd name="connsiteX72" fmla="*/ 1007268 w 1350168"/>
                  <a:gd name="connsiteY72" fmla="*/ 188119 h 1533525"/>
                  <a:gd name="connsiteX73" fmla="*/ 1019175 w 1350168"/>
                  <a:gd name="connsiteY73" fmla="*/ 216694 h 1533525"/>
                  <a:gd name="connsiteX74" fmla="*/ 1004887 w 1350168"/>
                  <a:gd name="connsiteY74" fmla="*/ 226219 h 1533525"/>
                  <a:gd name="connsiteX75" fmla="*/ 1057275 w 1350168"/>
                  <a:gd name="connsiteY75" fmla="*/ 250031 h 1533525"/>
                  <a:gd name="connsiteX76" fmla="*/ 1073943 w 1350168"/>
                  <a:gd name="connsiteY76" fmla="*/ 228600 h 1533525"/>
                  <a:gd name="connsiteX77" fmla="*/ 1083468 w 1350168"/>
                  <a:gd name="connsiteY77" fmla="*/ 252413 h 1533525"/>
                  <a:gd name="connsiteX78" fmla="*/ 1116806 w 1350168"/>
                  <a:gd name="connsiteY78" fmla="*/ 252413 h 1533525"/>
                  <a:gd name="connsiteX79" fmla="*/ 1123950 w 1350168"/>
                  <a:gd name="connsiteY79" fmla="*/ 257175 h 1533525"/>
                  <a:gd name="connsiteX80" fmla="*/ 1116806 w 1350168"/>
                  <a:gd name="connsiteY80" fmla="*/ 276225 h 1533525"/>
                  <a:gd name="connsiteX81" fmla="*/ 1088231 w 1350168"/>
                  <a:gd name="connsiteY81" fmla="*/ 309563 h 1533525"/>
                  <a:gd name="connsiteX82" fmla="*/ 1123950 w 1350168"/>
                  <a:gd name="connsiteY82" fmla="*/ 333375 h 1533525"/>
                  <a:gd name="connsiteX83" fmla="*/ 1135856 w 1350168"/>
                  <a:gd name="connsiteY83" fmla="*/ 347663 h 1533525"/>
                  <a:gd name="connsiteX84" fmla="*/ 1135856 w 1350168"/>
                  <a:gd name="connsiteY84" fmla="*/ 376238 h 1533525"/>
                  <a:gd name="connsiteX85" fmla="*/ 1119187 w 1350168"/>
                  <a:gd name="connsiteY85" fmla="*/ 411956 h 1533525"/>
                  <a:gd name="connsiteX86" fmla="*/ 1162050 w 1350168"/>
                  <a:gd name="connsiteY86" fmla="*/ 423863 h 1533525"/>
                  <a:gd name="connsiteX87" fmla="*/ 1233487 w 1350168"/>
                  <a:gd name="connsiteY87" fmla="*/ 416719 h 1533525"/>
                  <a:gd name="connsiteX88" fmla="*/ 1223962 w 1350168"/>
                  <a:gd name="connsiteY88" fmla="*/ 385763 h 1533525"/>
                  <a:gd name="connsiteX89" fmla="*/ 1188243 w 1350168"/>
                  <a:gd name="connsiteY89" fmla="*/ 347663 h 1533525"/>
                  <a:gd name="connsiteX90" fmla="*/ 1181100 w 1350168"/>
                  <a:gd name="connsiteY90" fmla="*/ 333375 h 1533525"/>
                  <a:gd name="connsiteX91" fmla="*/ 1207293 w 1350168"/>
                  <a:gd name="connsiteY91" fmla="*/ 326231 h 1533525"/>
                  <a:gd name="connsiteX92" fmla="*/ 1200150 w 1350168"/>
                  <a:gd name="connsiteY92" fmla="*/ 302419 h 1533525"/>
                  <a:gd name="connsiteX93" fmla="*/ 1223962 w 1350168"/>
                  <a:gd name="connsiteY93" fmla="*/ 283369 h 1533525"/>
                  <a:gd name="connsiteX94" fmla="*/ 1250156 w 1350168"/>
                  <a:gd name="connsiteY94" fmla="*/ 242888 h 1533525"/>
                  <a:gd name="connsiteX95" fmla="*/ 1302543 w 1350168"/>
                  <a:gd name="connsiteY95" fmla="*/ 211931 h 1533525"/>
                  <a:gd name="connsiteX96" fmla="*/ 1350168 w 1350168"/>
                  <a:gd name="connsiteY96" fmla="*/ 123825 h 1533525"/>
                  <a:gd name="connsiteX97" fmla="*/ 1057275 w 1350168"/>
                  <a:gd name="connsiteY97" fmla="*/ 264319 h 1533525"/>
                  <a:gd name="connsiteX98" fmla="*/ 1062037 w 1350168"/>
                  <a:gd name="connsiteY98" fmla="*/ 304800 h 1533525"/>
                  <a:gd name="connsiteX99" fmla="*/ 995362 w 1350168"/>
                  <a:gd name="connsiteY99" fmla="*/ 352425 h 1533525"/>
                  <a:gd name="connsiteX100" fmla="*/ 973931 w 1350168"/>
                  <a:gd name="connsiteY100" fmla="*/ 383381 h 1533525"/>
                  <a:gd name="connsiteX101" fmla="*/ 1000125 w 1350168"/>
                  <a:gd name="connsiteY101" fmla="*/ 428625 h 1533525"/>
                  <a:gd name="connsiteX102" fmla="*/ 983456 w 1350168"/>
                  <a:gd name="connsiteY102" fmla="*/ 466725 h 1533525"/>
                  <a:gd name="connsiteX103" fmla="*/ 1000125 w 1350168"/>
                  <a:gd name="connsiteY103" fmla="*/ 519113 h 1533525"/>
                  <a:gd name="connsiteX104" fmla="*/ 1033462 w 1350168"/>
                  <a:gd name="connsiteY104" fmla="*/ 519113 h 1533525"/>
                  <a:gd name="connsiteX105" fmla="*/ 1019175 w 1350168"/>
                  <a:gd name="connsiteY105" fmla="*/ 552450 h 1533525"/>
                  <a:gd name="connsiteX106" fmla="*/ 1035843 w 1350168"/>
                  <a:gd name="connsiteY106" fmla="*/ 590550 h 1533525"/>
                  <a:gd name="connsiteX107" fmla="*/ 1035843 w 1350168"/>
                  <a:gd name="connsiteY107" fmla="*/ 607219 h 1533525"/>
                  <a:gd name="connsiteX108" fmla="*/ 1045368 w 1350168"/>
                  <a:gd name="connsiteY108" fmla="*/ 645319 h 1533525"/>
                  <a:gd name="connsiteX109" fmla="*/ 1064418 w 1350168"/>
                  <a:gd name="connsiteY109" fmla="*/ 645319 h 1533525"/>
                  <a:gd name="connsiteX110" fmla="*/ 1078706 w 1350168"/>
                  <a:gd name="connsiteY110" fmla="*/ 666750 h 1533525"/>
                  <a:gd name="connsiteX111" fmla="*/ 1085850 w 1350168"/>
                  <a:gd name="connsiteY111" fmla="*/ 688181 h 1533525"/>
                  <a:gd name="connsiteX112" fmla="*/ 1076325 w 1350168"/>
                  <a:gd name="connsiteY112" fmla="*/ 719138 h 1533525"/>
                  <a:gd name="connsiteX113" fmla="*/ 1021556 w 1350168"/>
                  <a:gd name="connsiteY113" fmla="*/ 714375 h 1533525"/>
                  <a:gd name="connsiteX114" fmla="*/ 1002506 w 1350168"/>
                  <a:gd name="connsiteY114" fmla="*/ 721519 h 1533525"/>
                  <a:gd name="connsiteX115" fmla="*/ 995362 w 1350168"/>
                  <a:gd name="connsiteY115" fmla="*/ 726281 h 1533525"/>
                  <a:gd name="connsiteX116" fmla="*/ 995362 w 1350168"/>
                  <a:gd name="connsiteY116" fmla="*/ 726281 h 1533525"/>
                  <a:gd name="connsiteX117" fmla="*/ 923925 w 1350168"/>
                  <a:gd name="connsiteY117" fmla="*/ 721519 h 1533525"/>
                  <a:gd name="connsiteX118" fmla="*/ 940593 w 1350168"/>
                  <a:gd name="connsiteY118" fmla="*/ 778669 h 1533525"/>
                  <a:gd name="connsiteX119" fmla="*/ 938212 w 1350168"/>
                  <a:gd name="connsiteY119" fmla="*/ 847725 h 1533525"/>
                  <a:gd name="connsiteX120" fmla="*/ 954881 w 1350168"/>
                  <a:gd name="connsiteY120" fmla="*/ 871538 h 1533525"/>
                  <a:gd name="connsiteX121" fmla="*/ 997743 w 1350168"/>
                  <a:gd name="connsiteY121" fmla="*/ 919163 h 1533525"/>
                  <a:gd name="connsiteX122" fmla="*/ 1012031 w 1350168"/>
                  <a:gd name="connsiteY122" fmla="*/ 954881 h 1533525"/>
                  <a:gd name="connsiteX123" fmla="*/ 1031081 w 1350168"/>
                  <a:gd name="connsiteY123" fmla="*/ 954881 h 1533525"/>
                  <a:gd name="connsiteX124" fmla="*/ 1071562 w 1350168"/>
                  <a:gd name="connsiteY124" fmla="*/ 940594 h 1533525"/>
                  <a:gd name="connsiteX125" fmla="*/ 1102518 w 1350168"/>
                  <a:gd name="connsiteY125" fmla="*/ 933450 h 1533525"/>
                  <a:gd name="connsiteX126" fmla="*/ 1159668 w 1350168"/>
                  <a:gd name="connsiteY126" fmla="*/ 997744 h 1533525"/>
                  <a:gd name="connsiteX127" fmla="*/ 1178718 w 1350168"/>
                  <a:gd name="connsiteY127" fmla="*/ 1052513 h 1533525"/>
                  <a:gd name="connsiteX128" fmla="*/ 1190625 w 1350168"/>
                  <a:gd name="connsiteY128" fmla="*/ 1081088 h 1533525"/>
                  <a:gd name="connsiteX129" fmla="*/ 1212056 w 1350168"/>
                  <a:gd name="connsiteY129" fmla="*/ 1109663 h 1533525"/>
                  <a:gd name="connsiteX130" fmla="*/ 1231106 w 1350168"/>
                  <a:gd name="connsiteY130" fmla="*/ 1102519 h 1533525"/>
                  <a:gd name="connsiteX131" fmla="*/ 1231106 w 1350168"/>
                  <a:gd name="connsiteY131" fmla="*/ 1131094 h 1533525"/>
                  <a:gd name="connsiteX132" fmla="*/ 1233487 w 1350168"/>
                  <a:gd name="connsiteY132" fmla="*/ 1145381 h 1533525"/>
                  <a:gd name="connsiteX133" fmla="*/ 1266825 w 1350168"/>
                  <a:gd name="connsiteY133" fmla="*/ 1181100 h 1533525"/>
                  <a:gd name="connsiteX134" fmla="*/ 1233487 w 1350168"/>
                  <a:gd name="connsiteY134" fmla="*/ 1181100 h 1533525"/>
                  <a:gd name="connsiteX135" fmla="*/ 1228725 w 1350168"/>
                  <a:gd name="connsiteY135" fmla="*/ 1223963 h 1533525"/>
                  <a:gd name="connsiteX136" fmla="*/ 1226343 w 1350168"/>
                  <a:gd name="connsiteY136" fmla="*/ 1243013 h 1533525"/>
                  <a:gd name="connsiteX137" fmla="*/ 1216818 w 1350168"/>
                  <a:gd name="connsiteY137" fmla="*/ 1264444 h 1533525"/>
                  <a:gd name="connsiteX138" fmla="*/ 1190625 w 1350168"/>
                  <a:gd name="connsiteY138" fmla="*/ 1238250 h 1533525"/>
                  <a:gd name="connsiteX139" fmla="*/ 1157287 w 1350168"/>
                  <a:gd name="connsiteY139" fmla="*/ 1209675 h 1533525"/>
                  <a:gd name="connsiteX140" fmla="*/ 1131093 w 1350168"/>
                  <a:gd name="connsiteY140" fmla="*/ 1185863 h 1533525"/>
                  <a:gd name="connsiteX141" fmla="*/ 1107281 w 1350168"/>
                  <a:gd name="connsiteY141" fmla="*/ 1219200 h 1533525"/>
                  <a:gd name="connsiteX142" fmla="*/ 1104900 w 1350168"/>
                  <a:gd name="connsiteY142" fmla="*/ 1264444 h 1533525"/>
                  <a:gd name="connsiteX143" fmla="*/ 1062037 w 1350168"/>
                  <a:gd name="connsiteY143" fmla="*/ 1259681 h 1533525"/>
                  <a:gd name="connsiteX144" fmla="*/ 1026318 w 1350168"/>
                  <a:gd name="connsiteY144" fmla="*/ 1288256 h 1533525"/>
                  <a:gd name="connsiteX145" fmla="*/ 1007268 w 1350168"/>
                  <a:gd name="connsiteY145" fmla="*/ 1240631 h 1533525"/>
                  <a:gd name="connsiteX146" fmla="*/ 947737 w 1350168"/>
                  <a:gd name="connsiteY146" fmla="*/ 1231106 h 1533525"/>
                  <a:gd name="connsiteX147" fmla="*/ 921543 w 1350168"/>
                  <a:gd name="connsiteY147" fmla="*/ 1297781 h 1533525"/>
                  <a:gd name="connsiteX148" fmla="*/ 885825 w 1350168"/>
                  <a:gd name="connsiteY148" fmla="*/ 1278731 h 1533525"/>
                  <a:gd name="connsiteX149" fmla="*/ 816768 w 1350168"/>
                  <a:gd name="connsiteY149" fmla="*/ 1295400 h 1533525"/>
                  <a:gd name="connsiteX150" fmla="*/ 757237 w 1350168"/>
                  <a:gd name="connsiteY150" fmla="*/ 1259681 h 1533525"/>
                  <a:gd name="connsiteX151" fmla="*/ 742950 w 1350168"/>
                  <a:gd name="connsiteY151" fmla="*/ 1312069 h 1533525"/>
                  <a:gd name="connsiteX152" fmla="*/ 704850 w 1350168"/>
                  <a:gd name="connsiteY152" fmla="*/ 1345406 h 1533525"/>
                  <a:gd name="connsiteX153" fmla="*/ 692943 w 1350168"/>
                  <a:gd name="connsiteY153" fmla="*/ 1366838 h 1533525"/>
                  <a:gd name="connsiteX154" fmla="*/ 671512 w 1350168"/>
                  <a:gd name="connsiteY154" fmla="*/ 1509713 h 1533525"/>
                  <a:gd name="connsiteX155" fmla="*/ 633412 w 1350168"/>
                  <a:gd name="connsiteY155" fmla="*/ 1490663 h 1533525"/>
                  <a:gd name="connsiteX156" fmla="*/ 614362 w 1350168"/>
                  <a:gd name="connsiteY156" fmla="*/ 1504950 h 1533525"/>
                  <a:gd name="connsiteX157" fmla="*/ 581025 w 1350168"/>
                  <a:gd name="connsiteY157" fmla="*/ 1531144 h 1533525"/>
                  <a:gd name="connsiteX158" fmla="*/ 523875 w 1350168"/>
                  <a:gd name="connsiteY158" fmla="*/ 1502569 h 1533525"/>
                  <a:gd name="connsiteX159" fmla="*/ 514350 w 1350168"/>
                  <a:gd name="connsiteY159" fmla="*/ 1490663 h 1533525"/>
                  <a:gd name="connsiteX160" fmla="*/ 483393 w 1350168"/>
                  <a:gd name="connsiteY160" fmla="*/ 1533525 h 1533525"/>
                  <a:gd name="connsiteX0" fmla="*/ 483393 w 1302543"/>
                  <a:gd name="connsiteY0" fmla="*/ 1533525 h 1533525"/>
                  <a:gd name="connsiteX1" fmla="*/ 459581 w 1302543"/>
                  <a:gd name="connsiteY1" fmla="*/ 1481138 h 1533525"/>
                  <a:gd name="connsiteX2" fmla="*/ 438150 w 1302543"/>
                  <a:gd name="connsiteY2" fmla="*/ 1471613 h 1533525"/>
                  <a:gd name="connsiteX3" fmla="*/ 400050 w 1302543"/>
                  <a:gd name="connsiteY3" fmla="*/ 1485900 h 1533525"/>
                  <a:gd name="connsiteX4" fmla="*/ 338137 w 1302543"/>
                  <a:gd name="connsiteY4" fmla="*/ 1490663 h 1533525"/>
                  <a:gd name="connsiteX5" fmla="*/ 330993 w 1302543"/>
                  <a:gd name="connsiteY5" fmla="*/ 1497806 h 1533525"/>
                  <a:gd name="connsiteX6" fmla="*/ 271462 w 1302543"/>
                  <a:gd name="connsiteY6" fmla="*/ 1471613 h 1533525"/>
                  <a:gd name="connsiteX7" fmla="*/ 219075 w 1302543"/>
                  <a:gd name="connsiteY7" fmla="*/ 1443038 h 1533525"/>
                  <a:gd name="connsiteX8" fmla="*/ 138112 w 1302543"/>
                  <a:gd name="connsiteY8" fmla="*/ 1402556 h 1533525"/>
                  <a:gd name="connsiteX9" fmla="*/ 95250 w 1302543"/>
                  <a:gd name="connsiteY9" fmla="*/ 1316831 h 1533525"/>
                  <a:gd name="connsiteX10" fmla="*/ 80962 w 1302543"/>
                  <a:gd name="connsiteY10" fmla="*/ 1288256 h 1533525"/>
                  <a:gd name="connsiteX11" fmla="*/ 104775 w 1302543"/>
                  <a:gd name="connsiteY11" fmla="*/ 1266825 h 1533525"/>
                  <a:gd name="connsiteX12" fmla="*/ 76200 w 1302543"/>
                  <a:gd name="connsiteY12" fmla="*/ 1212056 h 1533525"/>
                  <a:gd name="connsiteX13" fmla="*/ 109537 w 1302543"/>
                  <a:gd name="connsiteY13" fmla="*/ 1193006 h 1533525"/>
                  <a:gd name="connsiteX14" fmla="*/ 140493 w 1302543"/>
                  <a:gd name="connsiteY14" fmla="*/ 1143000 h 1533525"/>
                  <a:gd name="connsiteX15" fmla="*/ 123825 w 1302543"/>
                  <a:gd name="connsiteY15" fmla="*/ 1107281 h 1533525"/>
                  <a:gd name="connsiteX16" fmla="*/ 178593 w 1302543"/>
                  <a:gd name="connsiteY16" fmla="*/ 1107281 h 1533525"/>
                  <a:gd name="connsiteX17" fmla="*/ 192881 w 1302543"/>
                  <a:gd name="connsiteY17" fmla="*/ 1109663 h 1533525"/>
                  <a:gd name="connsiteX18" fmla="*/ 159543 w 1302543"/>
                  <a:gd name="connsiteY18" fmla="*/ 1064419 h 1533525"/>
                  <a:gd name="connsiteX19" fmla="*/ 169068 w 1302543"/>
                  <a:gd name="connsiteY19" fmla="*/ 1014413 h 1533525"/>
                  <a:gd name="connsiteX20" fmla="*/ 123825 w 1302543"/>
                  <a:gd name="connsiteY20" fmla="*/ 997744 h 1533525"/>
                  <a:gd name="connsiteX21" fmla="*/ 61912 w 1302543"/>
                  <a:gd name="connsiteY21" fmla="*/ 954881 h 1533525"/>
                  <a:gd name="connsiteX22" fmla="*/ 45243 w 1302543"/>
                  <a:gd name="connsiteY22" fmla="*/ 938213 h 1533525"/>
                  <a:gd name="connsiteX23" fmla="*/ 64293 w 1302543"/>
                  <a:gd name="connsiteY23" fmla="*/ 909638 h 1533525"/>
                  <a:gd name="connsiteX24" fmla="*/ 47625 w 1302543"/>
                  <a:gd name="connsiteY24" fmla="*/ 897731 h 1533525"/>
                  <a:gd name="connsiteX25" fmla="*/ 47625 w 1302543"/>
                  <a:gd name="connsiteY25" fmla="*/ 881063 h 1533525"/>
                  <a:gd name="connsiteX26" fmla="*/ 26193 w 1302543"/>
                  <a:gd name="connsiteY26" fmla="*/ 881063 h 1533525"/>
                  <a:gd name="connsiteX27" fmla="*/ 7143 w 1302543"/>
                  <a:gd name="connsiteY27" fmla="*/ 847725 h 1533525"/>
                  <a:gd name="connsiteX28" fmla="*/ 0 w 1302543"/>
                  <a:gd name="connsiteY28" fmla="*/ 816769 h 1533525"/>
                  <a:gd name="connsiteX29" fmla="*/ 54768 w 1302543"/>
                  <a:gd name="connsiteY29" fmla="*/ 800100 h 1533525"/>
                  <a:gd name="connsiteX30" fmla="*/ 76200 w 1302543"/>
                  <a:gd name="connsiteY30" fmla="*/ 788194 h 1533525"/>
                  <a:gd name="connsiteX31" fmla="*/ 128587 w 1302543"/>
                  <a:gd name="connsiteY31" fmla="*/ 821531 h 1533525"/>
                  <a:gd name="connsiteX32" fmla="*/ 126206 w 1302543"/>
                  <a:gd name="connsiteY32" fmla="*/ 800100 h 1533525"/>
                  <a:gd name="connsiteX33" fmla="*/ 164306 w 1302543"/>
                  <a:gd name="connsiteY33" fmla="*/ 795338 h 1533525"/>
                  <a:gd name="connsiteX34" fmla="*/ 173831 w 1302543"/>
                  <a:gd name="connsiteY34" fmla="*/ 759619 h 1533525"/>
                  <a:gd name="connsiteX35" fmla="*/ 235743 w 1302543"/>
                  <a:gd name="connsiteY35" fmla="*/ 764381 h 1533525"/>
                  <a:gd name="connsiteX36" fmla="*/ 235743 w 1302543"/>
                  <a:gd name="connsiteY36" fmla="*/ 764381 h 1533525"/>
                  <a:gd name="connsiteX37" fmla="*/ 245268 w 1302543"/>
                  <a:gd name="connsiteY37" fmla="*/ 704850 h 1533525"/>
                  <a:gd name="connsiteX38" fmla="*/ 276225 w 1302543"/>
                  <a:gd name="connsiteY38" fmla="*/ 666750 h 1533525"/>
                  <a:gd name="connsiteX39" fmla="*/ 292893 w 1302543"/>
                  <a:gd name="connsiteY39" fmla="*/ 638175 h 1533525"/>
                  <a:gd name="connsiteX40" fmla="*/ 245268 w 1302543"/>
                  <a:gd name="connsiteY40" fmla="*/ 602456 h 1533525"/>
                  <a:gd name="connsiteX41" fmla="*/ 264318 w 1302543"/>
                  <a:gd name="connsiteY41" fmla="*/ 585788 h 1533525"/>
                  <a:gd name="connsiteX42" fmla="*/ 311943 w 1302543"/>
                  <a:gd name="connsiteY42" fmla="*/ 602456 h 1533525"/>
                  <a:gd name="connsiteX43" fmla="*/ 369093 w 1302543"/>
                  <a:gd name="connsiteY43" fmla="*/ 573881 h 1533525"/>
                  <a:gd name="connsiteX44" fmla="*/ 457200 w 1302543"/>
                  <a:gd name="connsiteY44" fmla="*/ 545306 h 1533525"/>
                  <a:gd name="connsiteX45" fmla="*/ 538162 w 1302543"/>
                  <a:gd name="connsiteY45" fmla="*/ 578644 h 1533525"/>
                  <a:gd name="connsiteX46" fmla="*/ 614362 w 1302543"/>
                  <a:gd name="connsiteY46" fmla="*/ 550069 h 1533525"/>
                  <a:gd name="connsiteX47" fmla="*/ 650081 w 1302543"/>
                  <a:gd name="connsiteY47" fmla="*/ 552450 h 1533525"/>
                  <a:gd name="connsiteX48" fmla="*/ 654843 w 1302543"/>
                  <a:gd name="connsiteY48" fmla="*/ 523875 h 1533525"/>
                  <a:gd name="connsiteX49" fmla="*/ 654843 w 1302543"/>
                  <a:gd name="connsiteY49" fmla="*/ 490538 h 1533525"/>
                  <a:gd name="connsiteX50" fmla="*/ 669131 w 1302543"/>
                  <a:gd name="connsiteY50" fmla="*/ 469106 h 1533525"/>
                  <a:gd name="connsiteX51" fmla="*/ 652462 w 1302543"/>
                  <a:gd name="connsiteY51" fmla="*/ 450056 h 1533525"/>
                  <a:gd name="connsiteX52" fmla="*/ 642937 w 1302543"/>
                  <a:gd name="connsiteY52" fmla="*/ 411956 h 1533525"/>
                  <a:gd name="connsiteX53" fmla="*/ 642937 w 1302543"/>
                  <a:gd name="connsiteY53" fmla="*/ 330994 h 1533525"/>
                  <a:gd name="connsiteX54" fmla="*/ 633412 w 1302543"/>
                  <a:gd name="connsiteY54" fmla="*/ 319088 h 1533525"/>
                  <a:gd name="connsiteX55" fmla="*/ 664368 w 1302543"/>
                  <a:gd name="connsiteY55" fmla="*/ 285750 h 1533525"/>
                  <a:gd name="connsiteX56" fmla="*/ 721518 w 1302543"/>
                  <a:gd name="connsiteY56" fmla="*/ 292894 h 1533525"/>
                  <a:gd name="connsiteX57" fmla="*/ 733425 w 1302543"/>
                  <a:gd name="connsiteY57" fmla="*/ 264319 h 1533525"/>
                  <a:gd name="connsiteX58" fmla="*/ 731043 w 1302543"/>
                  <a:gd name="connsiteY58" fmla="*/ 228600 h 1533525"/>
                  <a:gd name="connsiteX59" fmla="*/ 790575 w 1302543"/>
                  <a:gd name="connsiteY59" fmla="*/ 192881 h 1533525"/>
                  <a:gd name="connsiteX60" fmla="*/ 804862 w 1302543"/>
                  <a:gd name="connsiteY60" fmla="*/ 166688 h 1533525"/>
                  <a:gd name="connsiteX61" fmla="*/ 778668 w 1302543"/>
                  <a:gd name="connsiteY61" fmla="*/ 128588 h 1533525"/>
                  <a:gd name="connsiteX62" fmla="*/ 771525 w 1302543"/>
                  <a:gd name="connsiteY62" fmla="*/ 104775 h 1533525"/>
                  <a:gd name="connsiteX63" fmla="*/ 823912 w 1302543"/>
                  <a:gd name="connsiteY63" fmla="*/ 97631 h 1533525"/>
                  <a:gd name="connsiteX64" fmla="*/ 869156 w 1302543"/>
                  <a:gd name="connsiteY64" fmla="*/ 52388 h 1533525"/>
                  <a:gd name="connsiteX65" fmla="*/ 890587 w 1302543"/>
                  <a:gd name="connsiteY65" fmla="*/ 23813 h 1533525"/>
                  <a:gd name="connsiteX66" fmla="*/ 923925 w 1302543"/>
                  <a:gd name="connsiteY66" fmla="*/ 9525 h 1533525"/>
                  <a:gd name="connsiteX67" fmla="*/ 971550 w 1302543"/>
                  <a:gd name="connsiteY67" fmla="*/ 0 h 1533525"/>
                  <a:gd name="connsiteX68" fmla="*/ 971550 w 1302543"/>
                  <a:gd name="connsiteY68" fmla="*/ 40481 h 1533525"/>
                  <a:gd name="connsiteX69" fmla="*/ 950118 w 1302543"/>
                  <a:gd name="connsiteY69" fmla="*/ 80963 h 1533525"/>
                  <a:gd name="connsiteX70" fmla="*/ 950118 w 1302543"/>
                  <a:gd name="connsiteY70" fmla="*/ 140494 h 1533525"/>
                  <a:gd name="connsiteX71" fmla="*/ 969168 w 1302543"/>
                  <a:gd name="connsiteY71" fmla="*/ 161925 h 1533525"/>
                  <a:gd name="connsiteX72" fmla="*/ 1007268 w 1302543"/>
                  <a:gd name="connsiteY72" fmla="*/ 188119 h 1533525"/>
                  <a:gd name="connsiteX73" fmla="*/ 1019175 w 1302543"/>
                  <a:gd name="connsiteY73" fmla="*/ 216694 h 1533525"/>
                  <a:gd name="connsiteX74" fmla="*/ 1004887 w 1302543"/>
                  <a:gd name="connsiteY74" fmla="*/ 226219 h 1533525"/>
                  <a:gd name="connsiteX75" fmla="*/ 1057275 w 1302543"/>
                  <a:gd name="connsiteY75" fmla="*/ 250031 h 1533525"/>
                  <a:gd name="connsiteX76" fmla="*/ 1073943 w 1302543"/>
                  <a:gd name="connsiteY76" fmla="*/ 228600 h 1533525"/>
                  <a:gd name="connsiteX77" fmla="*/ 1083468 w 1302543"/>
                  <a:gd name="connsiteY77" fmla="*/ 252413 h 1533525"/>
                  <a:gd name="connsiteX78" fmla="*/ 1116806 w 1302543"/>
                  <a:gd name="connsiteY78" fmla="*/ 252413 h 1533525"/>
                  <a:gd name="connsiteX79" fmla="*/ 1123950 w 1302543"/>
                  <a:gd name="connsiteY79" fmla="*/ 257175 h 1533525"/>
                  <a:gd name="connsiteX80" fmla="*/ 1116806 w 1302543"/>
                  <a:gd name="connsiteY80" fmla="*/ 276225 h 1533525"/>
                  <a:gd name="connsiteX81" fmla="*/ 1088231 w 1302543"/>
                  <a:gd name="connsiteY81" fmla="*/ 309563 h 1533525"/>
                  <a:gd name="connsiteX82" fmla="*/ 1123950 w 1302543"/>
                  <a:gd name="connsiteY82" fmla="*/ 333375 h 1533525"/>
                  <a:gd name="connsiteX83" fmla="*/ 1135856 w 1302543"/>
                  <a:gd name="connsiteY83" fmla="*/ 347663 h 1533525"/>
                  <a:gd name="connsiteX84" fmla="*/ 1135856 w 1302543"/>
                  <a:gd name="connsiteY84" fmla="*/ 376238 h 1533525"/>
                  <a:gd name="connsiteX85" fmla="*/ 1119187 w 1302543"/>
                  <a:gd name="connsiteY85" fmla="*/ 411956 h 1533525"/>
                  <a:gd name="connsiteX86" fmla="*/ 1162050 w 1302543"/>
                  <a:gd name="connsiteY86" fmla="*/ 423863 h 1533525"/>
                  <a:gd name="connsiteX87" fmla="*/ 1233487 w 1302543"/>
                  <a:gd name="connsiteY87" fmla="*/ 416719 h 1533525"/>
                  <a:gd name="connsiteX88" fmla="*/ 1223962 w 1302543"/>
                  <a:gd name="connsiteY88" fmla="*/ 385763 h 1533525"/>
                  <a:gd name="connsiteX89" fmla="*/ 1188243 w 1302543"/>
                  <a:gd name="connsiteY89" fmla="*/ 347663 h 1533525"/>
                  <a:gd name="connsiteX90" fmla="*/ 1181100 w 1302543"/>
                  <a:gd name="connsiteY90" fmla="*/ 333375 h 1533525"/>
                  <a:gd name="connsiteX91" fmla="*/ 1207293 w 1302543"/>
                  <a:gd name="connsiteY91" fmla="*/ 326231 h 1533525"/>
                  <a:gd name="connsiteX92" fmla="*/ 1200150 w 1302543"/>
                  <a:gd name="connsiteY92" fmla="*/ 302419 h 1533525"/>
                  <a:gd name="connsiteX93" fmla="*/ 1223962 w 1302543"/>
                  <a:gd name="connsiteY93" fmla="*/ 283369 h 1533525"/>
                  <a:gd name="connsiteX94" fmla="*/ 1250156 w 1302543"/>
                  <a:gd name="connsiteY94" fmla="*/ 242888 h 1533525"/>
                  <a:gd name="connsiteX95" fmla="*/ 1302543 w 1302543"/>
                  <a:gd name="connsiteY95" fmla="*/ 211931 h 1533525"/>
                  <a:gd name="connsiteX96" fmla="*/ 1057275 w 1302543"/>
                  <a:gd name="connsiteY96" fmla="*/ 264319 h 1533525"/>
                  <a:gd name="connsiteX97" fmla="*/ 1062037 w 1302543"/>
                  <a:gd name="connsiteY97" fmla="*/ 304800 h 1533525"/>
                  <a:gd name="connsiteX98" fmla="*/ 995362 w 1302543"/>
                  <a:gd name="connsiteY98" fmla="*/ 352425 h 1533525"/>
                  <a:gd name="connsiteX99" fmla="*/ 973931 w 1302543"/>
                  <a:gd name="connsiteY99" fmla="*/ 383381 h 1533525"/>
                  <a:gd name="connsiteX100" fmla="*/ 1000125 w 1302543"/>
                  <a:gd name="connsiteY100" fmla="*/ 428625 h 1533525"/>
                  <a:gd name="connsiteX101" fmla="*/ 983456 w 1302543"/>
                  <a:gd name="connsiteY101" fmla="*/ 466725 h 1533525"/>
                  <a:gd name="connsiteX102" fmla="*/ 1000125 w 1302543"/>
                  <a:gd name="connsiteY102" fmla="*/ 519113 h 1533525"/>
                  <a:gd name="connsiteX103" fmla="*/ 1033462 w 1302543"/>
                  <a:gd name="connsiteY103" fmla="*/ 519113 h 1533525"/>
                  <a:gd name="connsiteX104" fmla="*/ 1019175 w 1302543"/>
                  <a:gd name="connsiteY104" fmla="*/ 552450 h 1533525"/>
                  <a:gd name="connsiteX105" fmla="*/ 1035843 w 1302543"/>
                  <a:gd name="connsiteY105" fmla="*/ 590550 h 1533525"/>
                  <a:gd name="connsiteX106" fmla="*/ 1035843 w 1302543"/>
                  <a:gd name="connsiteY106" fmla="*/ 607219 h 1533525"/>
                  <a:gd name="connsiteX107" fmla="*/ 1045368 w 1302543"/>
                  <a:gd name="connsiteY107" fmla="*/ 645319 h 1533525"/>
                  <a:gd name="connsiteX108" fmla="*/ 1064418 w 1302543"/>
                  <a:gd name="connsiteY108" fmla="*/ 645319 h 1533525"/>
                  <a:gd name="connsiteX109" fmla="*/ 1078706 w 1302543"/>
                  <a:gd name="connsiteY109" fmla="*/ 666750 h 1533525"/>
                  <a:gd name="connsiteX110" fmla="*/ 1085850 w 1302543"/>
                  <a:gd name="connsiteY110" fmla="*/ 688181 h 1533525"/>
                  <a:gd name="connsiteX111" fmla="*/ 1076325 w 1302543"/>
                  <a:gd name="connsiteY111" fmla="*/ 719138 h 1533525"/>
                  <a:gd name="connsiteX112" fmla="*/ 1021556 w 1302543"/>
                  <a:gd name="connsiteY112" fmla="*/ 714375 h 1533525"/>
                  <a:gd name="connsiteX113" fmla="*/ 1002506 w 1302543"/>
                  <a:gd name="connsiteY113" fmla="*/ 721519 h 1533525"/>
                  <a:gd name="connsiteX114" fmla="*/ 995362 w 1302543"/>
                  <a:gd name="connsiteY114" fmla="*/ 726281 h 1533525"/>
                  <a:gd name="connsiteX115" fmla="*/ 995362 w 1302543"/>
                  <a:gd name="connsiteY115" fmla="*/ 726281 h 1533525"/>
                  <a:gd name="connsiteX116" fmla="*/ 923925 w 1302543"/>
                  <a:gd name="connsiteY116" fmla="*/ 721519 h 1533525"/>
                  <a:gd name="connsiteX117" fmla="*/ 940593 w 1302543"/>
                  <a:gd name="connsiteY117" fmla="*/ 778669 h 1533525"/>
                  <a:gd name="connsiteX118" fmla="*/ 938212 w 1302543"/>
                  <a:gd name="connsiteY118" fmla="*/ 847725 h 1533525"/>
                  <a:gd name="connsiteX119" fmla="*/ 954881 w 1302543"/>
                  <a:gd name="connsiteY119" fmla="*/ 871538 h 1533525"/>
                  <a:gd name="connsiteX120" fmla="*/ 997743 w 1302543"/>
                  <a:gd name="connsiteY120" fmla="*/ 919163 h 1533525"/>
                  <a:gd name="connsiteX121" fmla="*/ 1012031 w 1302543"/>
                  <a:gd name="connsiteY121" fmla="*/ 954881 h 1533525"/>
                  <a:gd name="connsiteX122" fmla="*/ 1031081 w 1302543"/>
                  <a:gd name="connsiteY122" fmla="*/ 954881 h 1533525"/>
                  <a:gd name="connsiteX123" fmla="*/ 1071562 w 1302543"/>
                  <a:gd name="connsiteY123" fmla="*/ 940594 h 1533525"/>
                  <a:gd name="connsiteX124" fmla="*/ 1102518 w 1302543"/>
                  <a:gd name="connsiteY124" fmla="*/ 933450 h 1533525"/>
                  <a:gd name="connsiteX125" fmla="*/ 1159668 w 1302543"/>
                  <a:gd name="connsiteY125" fmla="*/ 997744 h 1533525"/>
                  <a:gd name="connsiteX126" fmla="*/ 1178718 w 1302543"/>
                  <a:gd name="connsiteY126" fmla="*/ 1052513 h 1533525"/>
                  <a:gd name="connsiteX127" fmla="*/ 1190625 w 1302543"/>
                  <a:gd name="connsiteY127" fmla="*/ 1081088 h 1533525"/>
                  <a:gd name="connsiteX128" fmla="*/ 1212056 w 1302543"/>
                  <a:gd name="connsiteY128" fmla="*/ 1109663 h 1533525"/>
                  <a:gd name="connsiteX129" fmla="*/ 1231106 w 1302543"/>
                  <a:gd name="connsiteY129" fmla="*/ 1102519 h 1533525"/>
                  <a:gd name="connsiteX130" fmla="*/ 1231106 w 1302543"/>
                  <a:gd name="connsiteY130" fmla="*/ 1131094 h 1533525"/>
                  <a:gd name="connsiteX131" fmla="*/ 1233487 w 1302543"/>
                  <a:gd name="connsiteY131" fmla="*/ 1145381 h 1533525"/>
                  <a:gd name="connsiteX132" fmla="*/ 1266825 w 1302543"/>
                  <a:gd name="connsiteY132" fmla="*/ 1181100 h 1533525"/>
                  <a:gd name="connsiteX133" fmla="*/ 1233487 w 1302543"/>
                  <a:gd name="connsiteY133" fmla="*/ 1181100 h 1533525"/>
                  <a:gd name="connsiteX134" fmla="*/ 1228725 w 1302543"/>
                  <a:gd name="connsiteY134" fmla="*/ 1223963 h 1533525"/>
                  <a:gd name="connsiteX135" fmla="*/ 1226343 w 1302543"/>
                  <a:gd name="connsiteY135" fmla="*/ 1243013 h 1533525"/>
                  <a:gd name="connsiteX136" fmla="*/ 1216818 w 1302543"/>
                  <a:gd name="connsiteY136" fmla="*/ 1264444 h 1533525"/>
                  <a:gd name="connsiteX137" fmla="*/ 1190625 w 1302543"/>
                  <a:gd name="connsiteY137" fmla="*/ 1238250 h 1533525"/>
                  <a:gd name="connsiteX138" fmla="*/ 1157287 w 1302543"/>
                  <a:gd name="connsiteY138" fmla="*/ 1209675 h 1533525"/>
                  <a:gd name="connsiteX139" fmla="*/ 1131093 w 1302543"/>
                  <a:gd name="connsiteY139" fmla="*/ 1185863 h 1533525"/>
                  <a:gd name="connsiteX140" fmla="*/ 1107281 w 1302543"/>
                  <a:gd name="connsiteY140" fmla="*/ 1219200 h 1533525"/>
                  <a:gd name="connsiteX141" fmla="*/ 1104900 w 1302543"/>
                  <a:gd name="connsiteY141" fmla="*/ 1264444 h 1533525"/>
                  <a:gd name="connsiteX142" fmla="*/ 1062037 w 1302543"/>
                  <a:gd name="connsiteY142" fmla="*/ 1259681 h 1533525"/>
                  <a:gd name="connsiteX143" fmla="*/ 1026318 w 1302543"/>
                  <a:gd name="connsiteY143" fmla="*/ 1288256 h 1533525"/>
                  <a:gd name="connsiteX144" fmla="*/ 1007268 w 1302543"/>
                  <a:gd name="connsiteY144" fmla="*/ 1240631 h 1533525"/>
                  <a:gd name="connsiteX145" fmla="*/ 947737 w 1302543"/>
                  <a:gd name="connsiteY145" fmla="*/ 1231106 h 1533525"/>
                  <a:gd name="connsiteX146" fmla="*/ 921543 w 1302543"/>
                  <a:gd name="connsiteY146" fmla="*/ 1297781 h 1533525"/>
                  <a:gd name="connsiteX147" fmla="*/ 885825 w 1302543"/>
                  <a:gd name="connsiteY147" fmla="*/ 1278731 h 1533525"/>
                  <a:gd name="connsiteX148" fmla="*/ 816768 w 1302543"/>
                  <a:gd name="connsiteY148" fmla="*/ 1295400 h 1533525"/>
                  <a:gd name="connsiteX149" fmla="*/ 757237 w 1302543"/>
                  <a:gd name="connsiteY149" fmla="*/ 1259681 h 1533525"/>
                  <a:gd name="connsiteX150" fmla="*/ 742950 w 1302543"/>
                  <a:gd name="connsiteY150" fmla="*/ 1312069 h 1533525"/>
                  <a:gd name="connsiteX151" fmla="*/ 704850 w 1302543"/>
                  <a:gd name="connsiteY151" fmla="*/ 1345406 h 1533525"/>
                  <a:gd name="connsiteX152" fmla="*/ 692943 w 1302543"/>
                  <a:gd name="connsiteY152" fmla="*/ 1366838 h 1533525"/>
                  <a:gd name="connsiteX153" fmla="*/ 671512 w 1302543"/>
                  <a:gd name="connsiteY153" fmla="*/ 1509713 h 1533525"/>
                  <a:gd name="connsiteX154" fmla="*/ 633412 w 1302543"/>
                  <a:gd name="connsiteY154" fmla="*/ 1490663 h 1533525"/>
                  <a:gd name="connsiteX155" fmla="*/ 614362 w 1302543"/>
                  <a:gd name="connsiteY155" fmla="*/ 1504950 h 1533525"/>
                  <a:gd name="connsiteX156" fmla="*/ 581025 w 1302543"/>
                  <a:gd name="connsiteY156" fmla="*/ 1531144 h 1533525"/>
                  <a:gd name="connsiteX157" fmla="*/ 523875 w 1302543"/>
                  <a:gd name="connsiteY157" fmla="*/ 1502569 h 1533525"/>
                  <a:gd name="connsiteX158" fmla="*/ 514350 w 1302543"/>
                  <a:gd name="connsiteY158" fmla="*/ 1490663 h 1533525"/>
                  <a:gd name="connsiteX159" fmla="*/ 483393 w 1302543"/>
                  <a:gd name="connsiteY159" fmla="*/ 1533525 h 1533525"/>
                  <a:gd name="connsiteX0" fmla="*/ 1057275 w 1393983"/>
                  <a:gd name="connsiteY0" fmla="*/ 264319 h 1533525"/>
                  <a:gd name="connsiteX1" fmla="*/ 1062037 w 1393983"/>
                  <a:gd name="connsiteY1" fmla="*/ 304800 h 1533525"/>
                  <a:gd name="connsiteX2" fmla="*/ 995362 w 1393983"/>
                  <a:gd name="connsiteY2" fmla="*/ 352425 h 1533525"/>
                  <a:gd name="connsiteX3" fmla="*/ 973931 w 1393983"/>
                  <a:gd name="connsiteY3" fmla="*/ 383381 h 1533525"/>
                  <a:gd name="connsiteX4" fmla="*/ 1000125 w 1393983"/>
                  <a:gd name="connsiteY4" fmla="*/ 428625 h 1533525"/>
                  <a:gd name="connsiteX5" fmla="*/ 983456 w 1393983"/>
                  <a:gd name="connsiteY5" fmla="*/ 466725 h 1533525"/>
                  <a:gd name="connsiteX6" fmla="*/ 1000125 w 1393983"/>
                  <a:gd name="connsiteY6" fmla="*/ 519113 h 1533525"/>
                  <a:gd name="connsiteX7" fmla="*/ 1033462 w 1393983"/>
                  <a:gd name="connsiteY7" fmla="*/ 519113 h 1533525"/>
                  <a:gd name="connsiteX8" fmla="*/ 1019175 w 1393983"/>
                  <a:gd name="connsiteY8" fmla="*/ 552450 h 1533525"/>
                  <a:gd name="connsiteX9" fmla="*/ 1035843 w 1393983"/>
                  <a:gd name="connsiteY9" fmla="*/ 590550 h 1533525"/>
                  <a:gd name="connsiteX10" fmla="*/ 1035843 w 1393983"/>
                  <a:gd name="connsiteY10" fmla="*/ 607219 h 1533525"/>
                  <a:gd name="connsiteX11" fmla="*/ 1045368 w 1393983"/>
                  <a:gd name="connsiteY11" fmla="*/ 645319 h 1533525"/>
                  <a:gd name="connsiteX12" fmla="*/ 1064418 w 1393983"/>
                  <a:gd name="connsiteY12" fmla="*/ 645319 h 1533525"/>
                  <a:gd name="connsiteX13" fmla="*/ 1078706 w 1393983"/>
                  <a:gd name="connsiteY13" fmla="*/ 666750 h 1533525"/>
                  <a:gd name="connsiteX14" fmla="*/ 1085850 w 1393983"/>
                  <a:gd name="connsiteY14" fmla="*/ 688181 h 1533525"/>
                  <a:gd name="connsiteX15" fmla="*/ 1076325 w 1393983"/>
                  <a:gd name="connsiteY15" fmla="*/ 719138 h 1533525"/>
                  <a:gd name="connsiteX16" fmla="*/ 1021556 w 1393983"/>
                  <a:gd name="connsiteY16" fmla="*/ 714375 h 1533525"/>
                  <a:gd name="connsiteX17" fmla="*/ 1002506 w 1393983"/>
                  <a:gd name="connsiteY17" fmla="*/ 721519 h 1533525"/>
                  <a:gd name="connsiteX18" fmla="*/ 995362 w 1393983"/>
                  <a:gd name="connsiteY18" fmla="*/ 726281 h 1533525"/>
                  <a:gd name="connsiteX19" fmla="*/ 995362 w 1393983"/>
                  <a:gd name="connsiteY19" fmla="*/ 726281 h 1533525"/>
                  <a:gd name="connsiteX20" fmla="*/ 923925 w 1393983"/>
                  <a:gd name="connsiteY20" fmla="*/ 721519 h 1533525"/>
                  <a:gd name="connsiteX21" fmla="*/ 940593 w 1393983"/>
                  <a:gd name="connsiteY21" fmla="*/ 778669 h 1533525"/>
                  <a:gd name="connsiteX22" fmla="*/ 938212 w 1393983"/>
                  <a:gd name="connsiteY22" fmla="*/ 847725 h 1533525"/>
                  <a:gd name="connsiteX23" fmla="*/ 954881 w 1393983"/>
                  <a:gd name="connsiteY23" fmla="*/ 871538 h 1533525"/>
                  <a:gd name="connsiteX24" fmla="*/ 997743 w 1393983"/>
                  <a:gd name="connsiteY24" fmla="*/ 919163 h 1533525"/>
                  <a:gd name="connsiteX25" fmla="*/ 1012031 w 1393983"/>
                  <a:gd name="connsiteY25" fmla="*/ 954881 h 1533525"/>
                  <a:gd name="connsiteX26" fmla="*/ 1031081 w 1393983"/>
                  <a:gd name="connsiteY26" fmla="*/ 954881 h 1533525"/>
                  <a:gd name="connsiteX27" fmla="*/ 1071562 w 1393983"/>
                  <a:gd name="connsiteY27" fmla="*/ 940594 h 1533525"/>
                  <a:gd name="connsiteX28" fmla="*/ 1102518 w 1393983"/>
                  <a:gd name="connsiteY28" fmla="*/ 933450 h 1533525"/>
                  <a:gd name="connsiteX29" fmla="*/ 1159668 w 1393983"/>
                  <a:gd name="connsiteY29" fmla="*/ 997744 h 1533525"/>
                  <a:gd name="connsiteX30" fmla="*/ 1178718 w 1393983"/>
                  <a:gd name="connsiteY30" fmla="*/ 1052513 h 1533525"/>
                  <a:gd name="connsiteX31" fmla="*/ 1190625 w 1393983"/>
                  <a:gd name="connsiteY31" fmla="*/ 1081088 h 1533525"/>
                  <a:gd name="connsiteX32" fmla="*/ 1212056 w 1393983"/>
                  <a:gd name="connsiteY32" fmla="*/ 1109663 h 1533525"/>
                  <a:gd name="connsiteX33" fmla="*/ 1231106 w 1393983"/>
                  <a:gd name="connsiteY33" fmla="*/ 1102519 h 1533525"/>
                  <a:gd name="connsiteX34" fmla="*/ 1231106 w 1393983"/>
                  <a:gd name="connsiteY34" fmla="*/ 1131094 h 1533525"/>
                  <a:gd name="connsiteX35" fmla="*/ 1233487 w 1393983"/>
                  <a:gd name="connsiteY35" fmla="*/ 1145381 h 1533525"/>
                  <a:gd name="connsiteX36" fmla="*/ 1266825 w 1393983"/>
                  <a:gd name="connsiteY36" fmla="*/ 1181100 h 1533525"/>
                  <a:gd name="connsiteX37" fmla="*/ 1233487 w 1393983"/>
                  <a:gd name="connsiteY37" fmla="*/ 1181100 h 1533525"/>
                  <a:gd name="connsiteX38" fmla="*/ 1228725 w 1393983"/>
                  <a:gd name="connsiteY38" fmla="*/ 1223963 h 1533525"/>
                  <a:gd name="connsiteX39" fmla="*/ 1226343 w 1393983"/>
                  <a:gd name="connsiteY39" fmla="*/ 1243013 h 1533525"/>
                  <a:gd name="connsiteX40" fmla="*/ 1216818 w 1393983"/>
                  <a:gd name="connsiteY40" fmla="*/ 1264444 h 1533525"/>
                  <a:gd name="connsiteX41" fmla="*/ 1190625 w 1393983"/>
                  <a:gd name="connsiteY41" fmla="*/ 1238250 h 1533525"/>
                  <a:gd name="connsiteX42" fmla="*/ 1157287 w 1393983"/>
                  <a:gd name="connsiteY42" fmla="*/ 1209675 h 1533525"/>
                  <a:gd name="connsiteX43" fmla="*/ 1131093 w 1393983"/>
                  <a:gd name="connsiteY43" fmla="*/ 1185863 h 1533525"/>
                  <a:gd name="connsiteX44" fmla="*/ 1107281 w 1393983"/>
                  <a:gd name="connsiteY44" fmla="*/ 1219200 h 1533525"/>
                  <a:gd name="connsiteX45" fmla="*/ 1104900 w 1393983"/>
                  <a:gd name="connsiteY45" fmla="*/ 1264444 h 1533525"/>
                  <a:gd name="connsiteX46" fmla="*/ 1062037 w 1393983"/>
                  <a:gd name="connsiteY46" fmla="*/ 1259681 h 1533525"/>
                  <a:gd name="connsiteX47" fmla="*/ 1026318 w 1393983"/>
                  <a:gd name="connsiteY47" fmla="*/ 1288256 h 1533525"/>
                  <a:gd name="connsiteX48" fmla="*/ 1007268 w 1393983"/>
                  <a:gd name="connsiteY48" fmla="*/ 1240631 h 1533525"/>
                  <a:gd name="connsiteX49" fmla="*/ 947737 w 1393983"/>
                  <a:gd name="connsiteY49" fmla="*/ 1231106 h 1533525"/>
                  <a:gd name="connsiteX50" fmla="*/ 921543 w 1393983"/>
                  <a:gd name="connsiteY50" fmla="*/ 1297781 h 1533525"/>
                  <a:gd name="connsiteX51" fmla="*/ 885825 w 1393983"/>
                  <a:gd name="connsiteY51" fmla="*/ 1278731 h 1533525"/>
                  <a:gd name="connsiteX52" fmla="*/ 816768 w 1393983"/>
                  <a:gd name="connsiteY52" fmla="*/ 1295400 h 1533525"/>
                  <a:gd name="connsiteX53" fmla="*/ 757237 w 1393983"/>
                  <a:gd name="connsiteY53" fmla="*/ 1259681 h 1533525"/>
                  <a:gd name="connsiteX54" fmla="*/ 742950 w 1393983"/>
                  <a:gd name="connsiteY54" fmla="*/ 1312069 h 1533525"/>
                  <a:gd name="connsiteX55" fmla="*/ 704850 w 1393983"/>
                  <a:gd name="connsiteY55" fmla="*/ 1345406 h 1533525"/>
                  <a:gd name="connsiteX56" fmla="*/ 692943 w 1393983"/>
                  <a:gd name="connsiteY56" fmla="*/ 1366838 h 1533525"/>
                  <a:gd name="connsiteX57" fmla="*/ 671512 w 1393983"/>
                  <a:gd name="connsiteY57" fmla="*/ 1509713 h 1533525"/>
                  <a:gd name="connsiteX58" fmla="*/ 633412 w 1393983"/>
                  <a:gd name="connsiteY58" fmla="*/ 1490663 h 1533525"/>
                  <a:gd name="connsiteX59" fmla="*/ 614362 w 1393983"/>
                  <a:gd name="connsiteY59" fmla="*/ 1504950 h 1533525"/>
                  <a:gd name="connsiteX60" fmla="*/ 581025 w 1393983"/>
                  <a:gd name="connsiteY60" fmla="*/ 1531144 h 1533525"/>
                  <a:gd name="connsiteX61" fmla="*/ 523875 w 1393983"/>
                  <a:gd name="connsiteY61" fmla="*/ 1502569 h 1533525"/>
                  <a:gd name="connsiteX62" fmla="*/ 514350 w 1393983"/>
                  <a:gd name="connsiteY62" fmla="*/ 1490663 h 1533525"/>
                  <a:gd name="connsiteX63" fmla="*/ 483393 w 1393983"/>
                  <a:gd name="connsiteY63" fmla="*/ 1533525 h 1533525"/>
                  <a:gd name="connsiteX64" fmla="*/ 459581 w 1393983"/>
                  <a:gd name="connsiteY64" fmla="*/ 1481138 h 1533525"/>
                  <a:gd name="connsiteX65" fmla="*/ 438150 w 1393983"/>
                  <a:gd name="connsiteY65" fmla="*/ 1471613 h 1533525"/>
                  <a:gd name="connsiteX66" fmla="*/ 400050 w 1393983"/>
                  <a:gd name="connsiteY66" fmla="*/ 1485900 h 1533525"/>
                  <a:gd name="connsiteX67" fmla="*/ 338137 w 1393983"/>
                  <a:gd name="connsiteY67" fmla="*/ 1490663 h 1533525"/>
                  <a:gd name="connsiteX68" fmla="*/ 330993 w 1393983"/>
                  <a:gd name="connsiteY68" fmla="*/ 1497806 h 1533525"/>
                  <a:gd name="connsiteX69" fmla="*/ 271462 w 1393983"/>
                  <a:gd name="connsiteY69" fmla="*/ 1471613 h 1533525"/>
                  <a:gd name="connsiteX70" fmla="*/ 219075 w 1393983"/>
                  <a:gd name="connsiteY70" fmla="*/ 1443038 h 1533525"/>
                  <a:gd name="connsiteX71" fmla="*/ 138112 w 1393983"/>
                  <a:gd name="connsiteY71" fmla="*/ 1402556 h 1533525"/>
                  <a:gd name="connsiteX72" fmla="*/ 95250 w 1393983"/>
                  <a:gd name="connsiteY72" fmla="*/ 1316831 h 1533525"/>
                  <a:gd name="connsiteX73" fmla="*/ 80962 w 1393983"/>
                  <a:gd name="connsiteY73" fmla="*/ 1288256 h 1533525"/>
                  <a:gd name="connsiteX74" fmla="*/ 104775 w 1393983"/>
                  <a:gd name="connsiteY74" fmla="*/ 1266825 h 1533525"/>
                  <a:gd name="connsiteX75" fmla="*/ 76200 w 1393983"/>
                  <a:gd name="connsiteY75" fmla="*/ 1212056 h 1533525"/>
                  <a:gd name="connsiteX76" fmla="*/ 109537 w 1393983"/>
                  <a:gd name="connsiteY76" fmla="*/ 1193006 h 1533525"/>
                  <a:gd name="connsiteX77" fmla="*/ 140493 w 1393983"/>
                  <a:gd name="connsiteY77" fmla="*/ 1143000 h 1533525"/>
                  <a:gd name="connsiteX78" fmla="*/ 123825 w 1393983"/>
                  <a:gd name="connsiteY78" fmla="*/ 1107281 h 1533525"/>
                  <a:gd name="connsiteX79" fmla="*/ 178593 w 1393983"/>
                  <a:gd name="connsiteY79" fmla="*/ 1107281 h 1533525"/>
                  <a:gd name="connsiteX80" fmla="*/ 192881 w 1393983"/>
                  <a:gd name="connsiteY80" fmla="*/ 1109663 h 1533525"/>
                  <a:gd name="connsiteX81" fmla="*/ 159543 w 1393983"/>
                  <a:gd name="connsiteY81" fmla="*/ 1064419 h 1533525"/>
                  <a:gd name="connsiteX82" fmla="*/ 169068 w 1393983"/>
                  <a:gd name="connsiteY82" fmla="*/ 1014413 h 1533525"/>
                  <a:gd name="connsiteX83" fmla="*/ 123825 w 1393983"/>
                  <a:gd name="connsiteY83" fmla="*/ 997744 h 1533525"/>
                  <a:gd name="connsiteX84" fmla="*/ 61912 w 1393983"/>
                  <a:gd name="connsiteY84" fmla="*/ 954881 h 1533525"/>
                  <a:gd name="connsiteX85" fmla="*/ 45243 w 1393983"/>
                  <a:gd name="connsiteY85" fmla="*/ 938213 h 1533525"/>
                  <a:gd name="connsiteX86" fmla="*/ 64293 w 1393983"/>
                  <a:gd name="connsiteY86" fmla="*/ 909638 h 1533525"/>
                  <a:gd name="connsiteX87" fmla="*/ 47625 w 1393983"/>
                  <a:gd name="connsiteY87" fmla="*/ 897731 h 1533525"/>
                  <a:gd name="connsiteX88" fmla="*/ 47625 w 1393983"/>
                  <a:gd name="connsiteY88" fmla="*/ 881063 h 1533525"/>
                  <a:gd name="connsiteX89" fmla="*/ 26193 w 1393983"/>
                  <a:gd name="connsiteY89" fmla="*/ 881063 h 1533525"/>
                  <a:gd name="connsiteX90" fmla="*/ 7143 w 1393983"/>
                  <a:gd name="connsiteY90" fmla="*/ 847725 h 1533525"/>
                  <a:gd name="connsiteX91" fmla="*/ 0 w 1393983"/>
                  <a:gd name="connsiteY91" fmla="*/ 816769 h 1533525"/>
                  <a:gd name="connsiteX92" fmla="*/ 54768 w 1393983"/>
                  <a:gd name="connsiteY92" fmla="*/ 800100 h 1533525"/>
                  <a:gd name="connsiteX93" fmla="*/ 76200 w 1393983"/>
                  <a:gd name="connsiteY93" fmla="*/ 788194 h 1533525"/>
                  <a:gd name="connsiteX94" fmla="*/ 128587 w 1393983"/>
                  <a:gd name="connsiteY94" fmla="*/ 821531 h 1533525"/>
                  <a:gd name="connsiteX95" fmla="*/ 126206 w 1393983"/>
                  <a:gd name="connsiteY95" fmla="*/ 800100 h 1533525"/>
                  <a:gd name="connsiteX96" fmla="*/ 164306 w 1393983"/>
                  <a:gd name="connsiteY96" fmla="*/ 795338 h 1533525"/>
                  <a:gd name="connsiteX97" fmla="*/ 173831 w 1393983"/>
                  <a:gd name="connsiteY97" fmla="*/ 759619 h 1533525"/>
                  <a:gd name="connsiteX98" fmla="*/ 235743 w 1393983"/>
                  <a:gd name="connsiteY98" fmla="*/ 764381 h 1533525"/>
                  <a:gd name="connsiteX99" fmla="*/ 235743 w 1393983"/>
                  <a:gd name="connsiteY99" fmla="*/ 764381 h 1533525"/>
                  <a:gd name="connsiteX100" fmla="*/ 245268 w 1393983"/>
                  <a:gd name="connsiteY100" fmla="*/ 704850 h 1533525"/>
                  <a:gd name="connsiteX101" fmla="*/ 276225 w 1393983"/>
                  <a:gd name="connsiteY101" fmla="*/ 666750 h 1533525"/>
                  <a:gd name="connsiteX102" fmla="*/ 292893 w 1393983"/>
                  <a:gd name="connsiteY102" fmla="*/ 638175 h 1533525"/>
                  <a:gd name="connsiteX103" fmla="*/ 245268 w 1393983"/>
                  <a:gd name="connsiteY103" fmla="*/ 602456 h 1533525"/>
                  <a:gd name="connsiteX104" fmla="*/ 264318 w 1393983"/>
                  <a:gd name="connsiteY104" fmla="*/ 585788 h 1533525"/>
                  <a:gd name="connsiteX105" fmla="*/ 311943 w 1393983"/>
                  <a:gd name="connsiteY105" fmla="*/ 602456 h 1533525"/>
                  <a:gd name="connsiteX106" fmla="*/ 369093 w 1393983"/>
                  <a:gd name="connsiteY106" fmla="*/ 573881 h 1533525"/>
                  <a:gd name="connsiteX107" fmla="*/ 457200 w 1393983"/>
                  <a:gd name="connsiteY107" fmla="*/ 545306 h 1533525"/>
                  <a:gd name="connsiteX108" fmla="*/ 538162 w 1393983"/>
                  <a:gd name="connsiteY108" fmla="*/ 578644 h 1533525"/>
                  <a:gd name="connsiteX109" fmla="*/ 614362 w 1393983"/>
                  <a:gd name="connsiteY109" fmla="*/ 550069 h 1533525"/>
                  <a:gd name="connsiteX110" fmla="*/ 650081 w 1393983"/>
                  <a:gd name="connsiteY110" fmla="*/ 552450 h 1533525"/>
                  <a:gd name="connsiteX111" fmla="*/ 654843 w 1393983"/>
                  <a:gd name="connsiteY111" fmla="*/ 523875 h 1533525"/>
                  <a:gd name="connsiteX112" fmla="*/ 654843 w 1393983"/>
                  <a:gd name="connsiteY112" fmla="*/ 490538 h 1533525"/>
                  <a:gd name="connsiteX113" fmla="*/ 669131 w 1393983"/>
                  <a:gd name="connsiteY113" fmla="*/ 469106 h 1533525"/>
                  <a:gd name="connsiteX114" fmla="*/ 652462 w 1393983"/>
                  <a:gd name="connsiteY114" fmla="*/ 450056 h 1533525"/>
                  <a:gd name="connsiteX115" fmla="*/ 642937 w 1393983"/>
                  <a:gd name="connsiteY115" fmla="*/ 411956 h 1533525"/>
                  <a:gd name="connsiteX116" fmla="*/ 642937 w 1393983"/>
                  <a:gd name="connsiteY116" fmla="*/ 330994 h 1533525"/>
                  <a:gd name="connsiteX117" fmla="*/ 633412 w 1393983"/>
                  <a:gd name="connsiteY117" fmla="*/ 319088 h 1533525"/>
                  <a:gd name="connsiteX118" fmla="*/ 664368 w 1393983"/>
                  <a:gd name="connsiteY118" fmla="*/ 285750 h 1533525"/>
                  <a:gd name="connsiteX119" fmla="*/ 721518 w 1393983"/>
                  <a:gd name="connsiteY119" fmla="*/ 292894 h 1533525"/>
                  <a:gd name="connsiteX120" fmla="*/ 733425 w 1393983"/>
                  <a:gd name="connsiteY120" fmla="*/ 264319 h 1533525"/>
                  <a:gd name="connsiteX121" fmla="*/ 731043 w 1393983"/>
                  <a:gd name="connsiteY121" fmla="*/ 228600 h 1533525"/>
                  <a:gd name="connsiteX122" fmla="*/ 790575 w 1393983"/>
                  <a:gd name="connsiteY122" fmla="*/ 192881 h 1533525"/>
                  <a:gd name="connsiteX123" fmla="*/ 804862 w 1393983"/>
                  <a:gd name="connsiteY123" fmla="*/ 166688 h 1533525"/>
                  <a:gd name="connsiteX124" fmla="*/ 778668 w 1393983"/>
                  <a:gd name="connsiteY124" fmla="*/ 128588 h 1533525"/>
                  <a:gd name="connsiteX125" fmla="*/ 771525 w 1393983"/>
                  <a:gd name="connsiteY125" fmla="*/ 104775 h 1533525"/>
                  <a:gd name="connsiteX126" fmla="*/ 823912 w 1393983"/>
                  <a:gd name="connsiteY126" fmla="*/ 97631 h 1533525"/>
                  <a:gd name="connsiteX127" fmla="*/ 869156 w 1393983"/>
                  <a:gd name="connsiteY127" fmla="*/ 52388 h 1533525"/>
                  <a:gd name="connsiteX128" fmla="*/ 890587 w 1393983"/>
                  <a:gd name="connsiteY128" fmla="*/ 23813 h 1533525"/>
                  <a:gd name="connsiteX129" fmla="*/ 923925 w 1393983"/>
                  <a:gd name="connsiteY129" fmla="*/ 9525 h 1533525"/>
                  <a:gd name="connsiteX130" fmla="*/ 971550 w 1393983"/>
                  <a:gd name="connsiteY130" fmla="*/ 0 h 1533525"/>
                  <a:gd name="connsiteX131" fmla="*/ 971550 w 1393983"/>
                  <a:gd name="connsiteY131" fmla="*/ 40481 h 1533525"/>
                  <a:gd name="connsiteX132" fmla="*/ 950118 w 1393983"/>
                  <a:gd name="connsiteY132" fmla="*/ 80963 h 1533525"/>
                  <a:gd name="connsiteX133" fmla="*/ 950118 w 1393983"/>
                  <a:gd name="connsiteY133" fmla="*/ 140494 h 1533525"/>
                  <a:gd name="connsiteX134" fmla="*/ 969168 w 1393983"/>
                  <a:gd name="connsiteY134" fmla="*/ 161925 h 1533525"/>
                  <a:gd name="connsiteX135" fmla="*/ 1007268 w 1393983"/>
                  <a:gd name="connsiteY135" fmla="*/ 188119 h 1533525"/>
                  <a:gd name="connsiteX136" fmla="*/ 1019175 w 1393983"/>
                  <a:gd name="connsiteY136" fmla="*/ 216694 h 1533525"/>
                  <a:gd name="connsiteX137" fmla="*/ 1004887 w 1393983"/>
                  <a:gd name="connsiteY137" fmla="*/ 226219 h 1533525"/>
                  <a:gd name="connsiteX138" fmla="*/ 1057275 w 1393983"/>
                  <a:gd name="connsiteY138" fmla="*/ 250031 h 1533525"/>
                  <a:gd name="connsiteX139" fmla="*/ 1073943 w 1393983"/>
                  <a:gd name="connsiteY139" fmla="*/ 228600 h 1533525"/>
                  <a:gd name="connsiteX140" fmla="*/ 1083468 w 1393983"/>
                  <a:gd name="connsiteY140" fmla="*/ 252413 h 1533525"/>
                  <a:gd name="connsiteX141" fmla="*/ 1116806 w 1393983"/>
                  <a:gd name="connsiteY141" fmla="*/ 252413 h 1533525"/>
                  <a:gd name="connsiteX142" fmla="*/ 1123950 w 1393983"/>
                  <a:gd name="connsiteY142" fmla="*/ 257175 h 1533525"/>
                  <a:gd name="connsiteX143" fmla="*/ 1116806 w 1393983"/>
                  <a:gd name="connsiteY143" fmla="*/ 276225 h 1533525"/>
                  <a:gd name="connsiteX144" fmla="*/ 1088231 w 1393983"/>
                  <a:gd name="connsiteY144" fmla="*/ 309563 h 1533525"/>
                  <a:gd name="connsiteX145" fmla="*/ 1123950 w 1393983"/>
                  <a:gd name="connsiteY145" fmla="*/ 333375 h 1533525"/>
                  <a:gd name="connsiteX146" fmla="*/ 1135856 w 1393983"/>
                  <a:gd name="connsiteY146" fmla="*/ 347663 h 1533525"/>
                  <a:gd name="connsiteX147" fmla="*/ 1135856 w 1393983"/>
                  <a:gd name="connsiteY147" fmla="*/ 376238 h 1533525"/>
                  <a:gd name="connsiteX148" fmla="*/ 1119187 w 1393983"/>
                  <a:gd name="connsiteY148" fmla="*/ 411956 h 1533525"/>
                  <a:gd name="connsiteX149" fmla="*/ 1162050 w 1393983"/>
                  <a:gd name="connsiteY149" fmla="*/ 423863 h 1533525"/>
                  <a:gd name="connsiteX150" fmla="*/ 1233487 w 1393983"/>
                  <a:gd name="connsiteY150" fmla="*/ 416719 h 1533525"/>
                  <a:gd name="connsiteX151" fmla="*/ 1223962 w 1393983"/>
                  <a:gd name="connsiteY151" fmla="*/ 385763 h 1533525"/>
                  <a:gd name="connsiteX152" fmla="*/ 1188243 w 1393983"/>
                  <a:gd name="connsiteY152" fmla="*/ 347663 h 1533525"/>
                  <a:gd name="connsiteX153" fmla="*/ 1181100 w 1393983"/>
                  <a:gd name="connsiteY153" fmla="*/ 333375 h 1533525"/>
                  <a:gd name="connsiteX154" fmla="*/ 1207293 w 1393983"/>
                  <a:gd name="connsiteY154" fmla="*/ 326231 h 1533525"/>
                  <a:gd name="connsiteX155" fmla="*/ 1200150 w 1393983"/>
                  <a:gd name="connsiteY155" fmla="*/ 302419 h 1533525"/>
                  <a:gd name="connsiteX156" fmla="*/ 1223962 w 1393983"/>
                  <a:gd name="connsiteY156" fmla="*/ 283369 h 1533525"/>
                  <a:gd name="connsiteX157" fmla="*/ 1250156 w 1393983"/>
                  <a:gd name="connsiteY157" fmla="*/ 242888 h 1533525"/>
                  <a:gd name="connsiteX158" fmla="*/ 1393983 w 1393983"/>
                  <a:gd name="connsiteY158" fmla="*/ 303371 h 1533525"/>
                  <a:gd name="connsiteX0" fmla="*/ 1057275 w 1393983"/>
                  <a:gd name="connsiteY0" fmla="*/ 264319 h 1533525"/>
                  <a:gd name="connsiteX1" fmla="*/ 1062037 w 1393983"/>
                  <a:gd name="connsiteY1" fmla="*/ 304800 h 1533525"/>
                  <a:gd name="connsiteX2" fmla="*/ 995362 w 1393983"/>
                  <a:gd name="connsiteY2" fmla="*/ 352425 h 1533525"/>
                  <a:gd name="connsiteX3" fmla="*/ 973931 w 1393983"/>
                  <a:gd name="connsiteY3" fmla="*/ 383381 h 1533525"/>
                  <a:gd name="connsiteX4" fmla="*/ 1000125 w 1393983"/>
                  <a:gd name="connsiteY4" fmla="*/ 428625 h 1533525"/>
                  <a:gd name="connsiteX5" fmla="*/ 983456 w 1393983"/>
                  <a:gd name="connsiteY5" fmla="*/ 466725 h 1533525"/>
                  <a:gd name="connsiteX6" fmla="*/ 1000125 w 1393983"/>
                  <a:gd name="connsiteY6" fmla="*/ 519113 h 1533525"/>
                  <a:gd name="connsiteX7" fmla="*/ 1033462 w 1393983"/>
                  <a:gd name="connsiteY7" fmla="*/ 519113 h 1533525"/>
                  <a:gd name="connsiteX8" fmla="*/ 1019175 w 1393983"/>
                  <a:gd name="connsiteY8" fmla="*/ 552450 h 1533525"/>
                  <a:gd name="connsiteX9" fmla="*/ 1035843 w 1393983"/>
                  <a:gd name="connsiteY9" fmla="*/ 590550 h 1533525"/>
                  <a:gd name="connsiteX10" fmla="*/ 1035843 w 1393983"/>
                  <a:gd name="connsiteY10" fmla="*/ 607219 h 1533525"/>
                  <a:gd name="connsiteX11" fmla="*/ 1045368 w 1393983"/>
                  <a:gd name="connsiteY11" fmla="*/ 645319 h 1533525"/>
                  <a:gd name="connsiteX12" fmla="*/ 1064418 w 1393983"/>
                  <a:gd name="connsiteY12" fmla="*/ 645319 h 1533525"/>
                  <a:gd name="connsiteX13" fmla="*/ 1078706 w 1393983"/>
                  <a:gd name="connsiteY13" fmla="*/ 666750 h 1533525"/>
                  <a:gd name="connsiteX14" fmla="*/ 1085850 w 1393983"/>
                  <a:gd name="connsiteY14" fmla="*/ 688181 h 1533525"/>
                  <a:gd name="connsiteX15" fmla="*/ 1076325 w 1393983"/>
                  <a:gd name="connsiteY15" fmla="*/ 719138 h 1533525"/>
                  <a:gd name="connsiteX16" fmla="*/ 1021556 w 1393983"/>
                  <a:gd name="connsiteY16" fmla="*/ 714375 h 1533525"/>
                  <a:gd name="connsiteX17" fmla="*/ 1002506 w 1393983"/>
                  <a:gd name="connsiteY17" fmla="*/ 721519 h 1533525"/>
                  <a:gd name="connsiteX18" fmla="*/ 995362 w 1393983"/>
                  <a:gd name="connsiteY18" fmla="*/ 726281 h 1533525"/>
                  <a:gd name="connsiteX19" fmla="*/ 995362 w 1393983"/>
                  <a:gd name="connsiteY19" fmla="*/ 726281 h 1533525"/>
                  <a:gd name="connsiteX20" fmla="*/ 923925 w 1393983"/>
                  <a:gd name="connsiteY20" fmla="*/ 721519 h 1533525"/>
                  <a:gd name="connsiteX21" fmla="*/ 940593 w 1393983"/>
                  <a:gd name="connsiteY21" fmla="*/ 778669 h 1533525"/>
                  <a:gd name="connsiteX22" fmla="*/ 938212 w 1393983"/>
                  <a:gd name="connsiteY22" fmla="*/ 847725 h 1533525"/>
                  <a:gd name="connsiteX23" fmla="*/ 954881 w 1393983"/>
                  <a:gd name="connsiteY23" fmla="*/ 871538 h 1533525"/>
                  <a:gd name="connsiteX24" fmla="*/ 997743 w 1393983"/>
                  <a:gd name="connsiteY24" fmla="*/ 919163 h 1533525"/>
                  <a:gd name="connsiteX25" fmla="*/ 1012031 w 1393983"/>
                  <a:gd name="connsiteY25" fmla="*/ 954881 h 1533525"/>
                  <a:gd name="connsiteX26" fmla="*/ 1031081 w 1393983"/>
                  <a:gd name="connsiteY26" fmla="*/ 954881 h 1533525"/>
                  <a:gd name="connsiteX27" fmla="*/ 1071562 w 1393983"/>
                  <a:gd name="connsiteY27" fmla="*/ 940594 h 1533525"/>
                  <a:gd name="connsiteX28" fmla="*/ 1102518 w 1393983"/>
                  <a:gd name="connsiteY28" fmla="*/ 933450 h 1533525"/>
                  <a:gd name="connsiteX29" fmla="*/ 1159668 w 1393983"/>
                  <a:gd name="connsiteY29" fmla="*/ 997744 h 1533525"/>
                  <a:gd name="connsiteX30" fmla="*/ 1178718 w 1393983"/>
                  <a:gd name="connsiteY30" fmla="*/ 1052513 h 1533525"/>
                  <a:gd name="connsiteX31" fmla="*/ 1190625 w 1393983"/>
                  <a:gd name="connsiteY31" fmla="*/ 1081088 h 1533525"/>
                  <a:gd name="connsiteX32" fmla="*/ 1212056 w 1393983"/>
                  <a:gd name="connsiteY32" fmla="*/ 1109663 h 1533525"/>
                  <a:gd name="connsiteX33" fmla="*/ 1231106 w 1393983"/>
                  <a:gd name="connsiteY33" fmla="*/ 1102519 h 1533525"/>
                  <a:gd name="connsiteX34" fmla="*/ 1231106 w 1393983"/>
                  <a:gd name="connsiteY34" fmla="*/ 1131094 h 1533525"/>
                  <a:gd name="connsiteX35" fmla="*/ 1233487 w 1393983"/>
                  <a:gd name="connsiteY35" fmla="*/ 1145381 h 1533525"/>
                  <a:gd name="connsiteX36" fmla="*/ 1266825 w 1393983"/>
                  <a:gd name="connsiteY36" fmla="*/ 1181100 h 1533525"/>
                  <a:gd name="connsiteX37" fmla="*/ 1233487 w 1393983"/>
                  <a:gd name="connsiteY37" fmla="*/ 1181100 h 1533525"/>
                  <a:gd name="connsiteX38" fmla="*/ 1228725 w 1393983"/>
                  <a:gd name="connsiteY38" fmla="*/ 1223963 h 1533525"/>
                  <a:gd name="connsiteX39" fmla="*/ 1226343 w 1393983"/>
                  <a:gd name="connsiteY39" fmla="*/ 1243013 h 1533525"/>
                  <a:gd name="connsiteX40" fmla="*/ 1216818 w 1393983"/>
                  <a:gd name="connsiteY40" fmla="*/ 1264444 h 1533525"/>
                  <a:gd name="connsiteX41" fmla="*/ 1190625 w 1393983"/>
                  <a:gd name="connsiteY41" fmla="*/ 1238250 h 1533525"/>
                  <a:gd name="connsiteX42" fmla="*/ 1157287 w 1393983"/>
                  <a:gd name="connsiteY42" fmla="*/ 1209675 h 1533525"/>
                  <a:gd name="connsiteX43" fmla="*/ 1131093 w 1393983"/>
                  <a:gd name="connsiteY43" fmla="*/ 1185863 h 1533525"/>
                  <a:gd name="connsiteX44" fmla="*/ 1107281 w 1393983"/>
                  <a:gd name="connsiteY44" fmla="*/ 1219200 h 1533525"/>
                  <a:gd name="connsiteX45" fmla="*/ 1104900 w 1393983"/>
                  <a:gd name="connsiteY45" fmla="*/ 1264444 h 1533525"/>
                  <a:gd name="connsiteX46" fmla="*/ 1062037 w 1393983"/>
                  <a:gd name="connsiteY46" fmla="*/ 1259681 h 1533525"/>
                  <a:gd name="connsiteX47" fmla="*/ 1026318 w 1393983"/>
                  <a:gd name="connsiteY47" fmla="*/ 1288256 h 1533525"/>
                  <a:gd name="connsiteX48" fmla="*/ 1007268 w 1393983"/>
                  <a:gd name="connsiteY48" fmla="*/ 1240631 h 1533525"/>
                  <a:gd name="connsiteX49" fmla="*/ 947737 w 1393983"/>
                  <a:gd name="connsiteY49" fmla="*/ 1231106 h 1533525"/>
                  <a:gd name="connsiteX50" fmla="*/ 921543 w 1393983"/>
                  <a:gd name="connsiteY50" fmla="*/ 1297781 h 1533525"/>
                  <a:gd name="connsiteX51" fmla="*/ 885825 w 1393983"/>
                  <a:gd name="connsiteY51" fmla="*/ 1278731 h 1533525"/>
                  <a:gd name="connsiteX52" fmla="*/ 816768 w 1393983"/>
                  <a:gd name="connsiteY52" fmla="*/ 1295400 h 1533525"/>
                  <a:gd name="connsiteX53" fmla="*/ 757237 w 1393983"/>
                  <a:gd name="connsiteY53" fmla="*/ 1259681 h 1533525"/>
                  <a:gd name="connsiteX54" fmla="*/ 742950 w 1393983"/>
                  <a:gd name="connsiteY54" fmla="*/ 1312069 h 1533525"/>
                  <a:gd name="connsiteX55" fmla="*/ 704850 w 1393983"/>
                  <a:gd name="connsiteY55" fmla="*/ 1345406 h 1533525"/>
                  <a:gd name="connsiteX56" fmla="*/ 692943 w 1393983"/>
                  <a:gd name="connsiteY56" fmla="*/ 1366838 h 1533525"/>
                  <a:gd name="connsiteX57" fmla="*/ 671512 w 1393983"/>
                  <a:gd name="connsiteY57" fmla="*/ 1509713 h 1533525"/>
                  <a:gd name="connsiteX58" fmla="*/ 633412 w 1393983"/>
                  <a:gd name="connsiteY58" fmla="*/ 1490663 h 1533525"/>
                  <a:gd name="connsiteX59" fmla="*/ 614362 w 1393983"/>
                  <a:gd name="connsiteY59" fmla="*/ 1504950 h 1533525"/>
                  <a:gd name="connsiteX60" fmla="*/ 581025 w 1393983"/>
                  <a:gd name="connsiteY60" fmla="*/ 1531144 h 1533525"/>
                  <a:gd name="connsiteX61" fmla="*/ 523875 w 1393983"/>
                  <a:gd name="connsiteY61" fmla="*/ 1502569 h 1533525"/>
                  <a:gd name="connsiteX62" fmla="*/ 514350 w 1393983"/>
                  <a:gd name="connsiteY62" fmla="*/ 1490663 h 1533525"/>
                  <a:gd name="connsiteX63" fmla="*/ 483393 w 1393983"/>
                  <a:gd name="connsiteY63" fmla="*/ 1533525 h 1533525"/>
                  <a:gd name="connsiteX64" fmla="*/ 459581 w 1393983"/>
                  <a:gd name="connsiteY64" fmla="*/ 1481138 h 1533525"/>
                  <a:gd name="connsiteX65" fmla="*/ 438150 w 1393983"/>
                  <a:gd name="connsiteY65" fmla="*/ 1471613 h 1533525"/>
                  <a:gd name="connsiteX66" fmla="*/ 400050 w 1393983"/>
                  <a:gd name="connsiteY66" fmla="*/ 1485900 h 1533525"/>
                  <a:gd name="connsiteX67" fmla="*/ 338137 w 1393983"/>
                  <a:gd name="connsiteY67" fmla="*/ 1490663 h 1533525"/>
                  <a:gd name="connsiteX68" fmla="*/ 330993 w 1393983"/>
                  <a:gd name="connsiteY68" fmla="*/ 1497806 h 1533525"/>
                  <a:gd name="connsiteX69" fmla="*/ 271462 w 1393983"/>
                  <a:gd name="connsiteY69" fmla="*/ 1471613 h 1533525"/>
                  <a:gd name="connsiteX70" fmla="*/ 219075 w 1393983"/>
                  <a:gd name="connsiteY70" fmla="*/ 1443038 h 1533525"/>
                  <a:gd name="connsiteX71" fmla="*/ 138112 w 1393983"/>
                  <a:gd name="connsiteY71" fmla="*/ 1402556 h 1533525"/>
                  <a:gd name="connsiteX72" fmla="*/ 95250 w 1393983"/>
                  <a:gd name="connsiteY72" fmla="*/ 1316831 h 1533525"/>
                  <a:gd name="connsiteX73" fmla="*/ 80962 w 1393983"/>
                  <a:gd name="connsiteY73" fmla="*/ 1288256 h 1533525"/>
                  <a:gd name="connsiteX74" fmla="*/ 104775 w 1393983"/>
                  <a:gd name="connsiteY74" fmla="*/ 1266825 h 1533525"/>
                  <a:gd name="connsiteX75" fmla="*/ 76200 w 1393983"/>
                  <a:gd name="connsiteY75" fmla="*/ 1212056 h 1533525"/>
                  <a:gd name="connsiteX76" fmla="*/ 109537 w 1393983"/>
                  <a:gd name="connsiteY76" fmla="*/ 1193006 h 1533525"/>
                  <a:gd name="connsiteX77" fmla="*/ 140493 w 1393983"/>
                  <a:gd name="connsiteY77" fmla="*/ 1143000 h 1533525"/>
                  <a:gd name="connsiteX78" fmla="*/ 123825 w 1393983"/>
                  <a:gd name="connsiteY78" fmla="*/ 1107281 h 1533525"/>
                  <a:gd name="connsiteX79" fmla="*/ 178593 w 1393983"/>
                  <a:gd name="connsiteY79" fmla="*/ 1107281 h 1533525"/>
                  <a:gd name="connsiteX80" fmla="*/ 192881 w 1393983"/>
                  <a:gd name="connsiteY80" fmla="*/ 1109663 h 1533525"/>
                  <a:gd name="connsiteX81" fmla="*/ 159543 w 1393983"/>
                  <a:gd name="connsiteY81" fmla="*/ 1064419 h 1533525"/>
                  <a:gd name="connsiteX82" fmla="*/ 169068 w 1393983"/>
                  <a:gd name="connsiteY82" fmla="*/ 1014413 h 1533525"/>
                  <a:gd name="connsiteX83" fmla="*/ 123825 w 1393983"/>
                  <a:gd name="connsiteY83" fmla="*/ 997744 h 1533525"/>
                  <a:gd name="connsiteX84" fmla="*/ 61912 w 1393983"/>
                  <a:gd name="connsiteY84" fmla="*/ 954881 h 1533525"/>
                  <a:gd name="connsiteX85" fmla="*/ 45243 w 1393983"/>
                  <a:gd name="connsiteY85" fmla="*/ 938213 h 1533525"/>
                  <a:gd name="connsiteX86" fmla="*/ 64293 w 1393983"/>
                  <a:gd name="connsiteY86" fmla="*/ 909638 h 1533525"/>
                  <a:gd name="connsiteX87" fmla="*/ 47625 w 1393983"/>
                  <a:gd name="connsiteY87" fmla="*/ 897731 h 1533525"/>
                  <a:gd name="connsiteX88" fmla="*/ 47625 w 1393983"/>
                  <a:gd name="connsiteY88" fmla="*/ 881063 h 1533525"/>
                  <a:gd name="connsiteX89" fmla="*/ 26193 w 1393983"/>
                  <a:gd name="connsiteY89" fmla="*/ 881063 h 1533525"/>
                  <a:gd name="connsiteX90" fmla="*/ 7143 w 1393983"/>
                  <a:gd name="connsiteY90" fmla="*/ 847725 h 1533525"/>
                  <a:gd name="connsiteX91" fmla="*/ 0 w 1393983"/>
                  <a:gd name="connsiteY91" fmla="*/ 816769 h 1533525"/>
                  <a:gd name="connsiteX92" fmla="*/ 54768 w 1393983"/>
                  <a:gd name="connsiteY92" fmla="*/ 800100 h 1533525"/>
                  <a:gd name="connsiteX93" fmla="*/ 76200 w 1393983"/>
                  <a:gd name="connsiteY93" fmla="*/ 788194 h 1533525"/>
                  <a:gd name="connsiteX94" fmla="*/ 128587 w 1393983"/>
                  <a:gd name="connsiteY94" fmla="*/ 821531 h 1533525"/>
                  <a:gd name="connsiteX95" fmla="*/ 126206 w 1393983"/>
                  <a:gd name="connsiteY95" fmla="*/ 800100 h 1533525"/>
                  <a:gd name="connsiteX96" fmla="*/ 164306 w 1393983"/>
                  <a:gd name="connsiteY96" fmla="*/ 795338 h 1533525"/>
                  <a:gd name="connsiteX97" fmla="*/ 173831 w 1393983"/>
                  <a:gd name="connsiteY97" fmla="*/ 759619 h 1533525"/>
                  <a:gd name="connsiteX98" fmla="*/ 235743 w 1393983"/>
                  <a:gd name="connsiteY98" fmla="*/ 764381 h 1533525"/>
                  <a:gd name="connsiteX99" fmla="*/ 235743 w 1393983"/>
                  <a:gd name="connsiteY99" fmla="*/ 764381 h 1533525"/>
                  <a:gd name="connsiteX100" fmla="*/ 245268 w 1393983"/>
                  <a:gd name="connsiteY100" fmla="*/ 704850 h 1533525"/>
                  <a:gd name="connsiteX101" fmla="*/ 276225 w 1393983"/>
                  <a:gd name="connsiteY101" fmla="*/ 666750 h 1533525"/>
                  <a:gd name="connsiteX102" fmla="*/ 292893 w 1393983"/>
                  <a:gd name="connsiteY102" fmla="*/ 638175 h 1533525"/>
                  <a:gd name="connsiteX103" fmla="*/ 245268 w 1393983"/>
                  <a:gd name="connsiteY103" fmla="*/ 602456 h 1533525"/>
                  <a:gd name="connsiteX104" fmla="*/ 264318 w 1393983"/>
                  <a:gd name="connsiteY104" fmla="*/ 585788 h 1533525"/>
                  <a:gd name="connsiteX105" fmla="*/ 311943 w 1393983"/>
                  <a:gd name="connsiteY105" fmla="*/ 602456 h 1533525"/>
                  <a:gd name="connsiteX106" fmla="*/ 369093 w 1393983"/>
                  <a:gd name="connsiteY106" fmla="*/ 573881 h 1533525"/>
                  <a:gd name="connsiteX107" fmla="*/ 457200 w 1393983"/>
                  <a:gd name="connsiteY107" fmla="*/ 545306 h 1533525"/>
                  <a:gd name="connsiteX108" fmla="*/ 538162 w 1393983"/>
                  <a:gd name="connsiteY108" fmla="*/ 578644 h 1533525"/>
                  <a:gd name="connsiteX109" fmla="*/ 614362 w 1393983"/>
                  <a:gd name="connsiteY109" fmla="*/ 550069 h 1533525"/>
                  <a:gd name="connsiteX110" fmla="*/ 650081 w 1393983"/>
                  <a:gd name="connsiteY110" fmla="*/ 552450 h 1533525"/>
                  <a:gd name="connsiteX111" fmla="*/ 654843 w 1393983"/>
                  <a:gd name="connsiteY111" fmla="*/ 523875 h 1533525"/>
                  <a:gd name="connsiteX112" fmla="*/ 654843 w 1393983"/>
                  <a:gd name="connsiteY112" fmla="*/ 490538 h 1533525"/>
                  <a:gd name="connsiteX113" fmla="*/ 669131 w 1393983"/>
                  <a:gd name="connsiteY113" fmla="*/ 469106 h 1533525"/>
                  <a:gd name="connsiteX114" fmla="*/ 652462 w 1393983"/>
                  <a:gd name="connsiteY114" fmla="*/ 450056 h 1533525"/>
                  <a:gd name="connsiteX115" fmla="*/ 642937 w 1393983"/>
                  <a:gd name="connsiteY115" fmla="*/ 411956 h 1533525"/>
                  <a:gd name="connsiteX116" fmla="*/ 642937 w 1393983"/>
                  <a:gd name="connsiteY116" fmla="*/ 330994 h 1533525"/>
                  <a:gd name="connsiteX117" fmla="*/ 633412 w 1393983"/>
                  <a:gd name="connsiteY117" fmla="*/ 319088 h 1533525"/>
                  <a:gd name="connsiteX118" fmla="*/ 664368 w 1393983"/>
                  <a:gd name="connsiteY118" fmla="*/ 285750 h 1533525"/>
                  <a:gd name="connsiteX119" fmla="*/ 721518 w 1393983"/>
                  <a:gd name="connsiteY119" fmla="*/ 292894 h 1533525"/>
                  <a:gd name="connsiteX120" fmla="*/ 733425 w 1393983"/>
                  <a:gd name="connsiteY120" fmla="*/ 264319 h 1533525"/>
                  <a:gd name="connsiteX121" fmla="*/ 731043 w 1393983"/>
                  <a:gd name="connsiteY121" fmla="*/ 228600 h 1533525"/>
                  <a:gd name="connsiteX122" fmla="*/ 790575 w 1393983"/>
                  <a:gd name="connsiteY122" fmla="*/ 192881 h 1533525"/>
                  <a:gd name="connsiteX123" fmla="*/ 804862 w 1393983"/>
                  <a:gd name="connsiteY123" fmla="*/ 166688 h 1533525"/>
                  <a:gd name="connsiteX124" fmla="*/ 778668 w 1393983"/>
                  <a:gd name="connsiteY124" fmla="*/ 128588 h 1533525"/>
                  <a:gd name="connsiteX125" fmla="*/ 771525 w 1393983"/>
                  <a:gd name="connsiteY125" fmla="*/ 104775 h 1533525"/>
                  <a:gd name="connsiteX126" fmla="*/ 823912 w 1393983"/>
                  <a:gd name="connsiteY126" fmla="*/ 97631 h 1533525"/>
                  <a:gd name="connsiteX127" fmla="*/ 869156 w 1393983"/>
                  <a:gd name="connsiteY127" fmla="*/ 52388 h 1533525"/>
                  <a:gd name="connsiteX128" fmla="*/ 890587 w 1393983"/>
                  <a:gd name="connsiteY128" fmla="*/ 23813 h 1533525"/>
                  <a:gd name="connsiteX129" fmla="*/ 923925 w 1393983"/>
                  <a:gd name="connsiteY129" fmla="*/ 9525 h 1533525"/>
                  <a:gd name="connsiteX130" fmla="*/ 971550 w 1393983"/>
                  <a:gd name="connsiteY130" fmla="*/ 0 h 1533525"/>
                  <a:gd name="connsiteX131" fmla="*/ 971550 w 1393983"/>
                  <a:gd name="connsiteY131" fmla="*/ 40481 h 1533525"/>
                  <a:gd name="connsiteX132" fmla="*/ 950118 w 1393983"/>
                  <a:gd name="connsiteY132" fmla="*/ 80963 h 1533525"/>
                  <a:gd name="connsiteX133" fmla="*/ 950118 w 1393983"/>
                  <a:gd name="connsiteY133" fmla="*/ 140494 h 1533525"/>
                  <a:gd name="connsiteX134" fmla="*/ 969168 w 1393983"/>
                  <a:gd name="connsiteY134" fmla="*/ 161925 h 1533525"/>
                  <a:gd name="connsiteX135" fmla="*/ 1007268 w 1393983"/>
                  <a:gd name="connsiteY135" fmla="*/ 188119 h 1533525"/>
                  <a:gd name="connsiteX136" fmla="*/ 1019175 w 1393983"/>
                  <a:gd name="connsiteY136" fmla="*/ 216694 h 1533525"/>
                  <a:gd name="connsiteX137" fmla="*/ 1004887 w 1393983"/>
                  <a:gd name="connsiteY137" fmla="*/ 226219 h 1533525"/>
                  <a:gd name="connsiteX138" fmla="*/ 1057275 w 1393983"/>
                  <a:gd name="connsiteY138" fmla="*/ 250031 h 1533525"/>
                  <a:gd name="connsiteX139" fmla="*/ 1073943 w 1393983"/>
                  <a:gd name="connsiteY139" fmla="*/ 228600 h 1533525"/>
                  <a:gd name="connsiteX140" fmla="*/ 1083468 w 1393983"/>
                  <a:gd name="connsiteY140" fmla="*/ 252413 h 1533525"/>
                  <a:gd name="connsiteX141" fmla="*/ 1116806 w 1393983"/>
                  <a:gd name="connsiteY141" fmla="*/ 252413 h 1533525"/>
                  <a:gd name="connsiteX142" fmla="*/ 1123950 w 1393983"/>
                  <a:gd name="connsiteY142" fmla="*/ 257175 h 1533525"/>
                  <a:gd name="connsiteX143" fmla="*/ 1116806 w 1393983"/>
                  <a:gd name="connsiteY143" fmla="*/ 276225 h 1533525"/>
                  <a:gd name="connsiteX144" fmla="*/ 1088231 w 1393983"/>
                  <a:gd name="connsiteY144" fmla="*/ 309563 h 1533525"/>
                  <a:gd name="connsiteX145" fmla="*/ 1123950 w 1393983"/>
                  <a:gd name="connsiteY145" fmla="*/ 333375 h 1533525"/>
                  <a:gd name="connsiteX146" fmla="*/ 1135856 w 1393983"/>
                  <a:gd name="connsiteY146" fmla="*/ 347663 h 1533525"/>
                  <a:gd name="connsiteX147" fmla="*/ 1135856 w 1393983"/>
                  <a:gd name="connsiteY147" fmla="*/ 376238 h 1533525"/>
                  <a:gd name="connsiteX148" fmla="*/ 1119187 w 1393983"/>
                  <a:gd name="connsiteY148" fmla="*/ 411956 h 1533525"/>
                  <a:gd name="connsiteX149" fmla="*/ 1162050 w 1393983"/>
                  <a:gd name="connsiteY149" fmla="*/ 423863 h 1533525"/>
                  <a:gd name="connsiteX150" fmla="*/ 1233487 w 1393983"/>
                  <a:gd name="connsiteY150" fmla="*/ 416719 h 1533525"/>
                  <a:gd name="connsiteX151" fmla="*/ 1223962 w 1393983"/>
                  <a:gd name="connsiteY151" fmla="*/ 385763 h 1533525"/>
                  <a:gd name="connsiteX152" fmla="*/ 1188243 w 1393983"/>
                  <a:gd name="connsiteY152" fmla="*/ 347663 h 1533525"/>
                  <a:gd name="connsiteX153" fmla="*/ 1181100 w 1393983"/>
                  <a:gd name="connsiteY153" fmla="*/ 333375 h 1533525"/>
                  <a:gd name="connsiteX154" fmla="*/ 1207293 w 1393983"/>
                  <a:gd name="connsiteY154" fmla="*/ 326231 h 1533525"/>
                  <a:gd name="connsiteX155" fmla="*/ 1200150 w 1393983"/>
                  <a:gd name="connsiteY155" fmla="*/ 302419 h 1533525"/>
                  <a:gd name="connsiteX156" fmla="*/ 1223962 w 1393983"/>
                  <a:gd name="connsiteY156" fmla="*/ 283369 h 1533525"/>
                  <a:gd name="connsiteX157" fmla="*/ 1393983 w 1393983"/>
                  <a:gd name="connsiteY157" fmla="*/ 303371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155" fmla="*/ 1200150 w 1266825"/>
                  <a:gd name="connsiteY155" fmla="*/ 302419 h 1533525"/>
                  <a:gd name="connsiteX156" fmla="*/ 1223962 w 1266825"/>
                  <a:gd name="connsiteY156" fmla="*/ 28336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155" fmla="*/ 1200150 w 1266825"/>
                  <a:gd name="connsiteY155" fmla="*/ 30241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1266825" h="1533525">
                    <a:moveTo>
                      <a:pt x="1057275" y="264319"/>
                    </a:moveTo>
                    <a:lnTo>
                      <a:pt x="1062037" y="304800"/>
                    </a:lnTo>
                    <a:lnTo>
                      <a:pt x="995362" y="352425"/>
                    </a:lnTo>
                    <a:lnTo>
                      <a:pt x="973931" y="383381"/>
                    </a:lnTo>
                    <a:lnTo>
                      <a:pt x="1000125" y="428625"/>
                    </a:lnTo>
                    <a:lnTo>
                      <a:pt x="983456" y="466725"/>
                    </a:lnTo>
                    <a:lnTo>
                      <a:pt x="1000125" y="519113"/>
                    </a:lnTo>
                    <a:lnTo>
                      <a:pt x="1033462" y="519113"/>
                    </a:lnTo>
                    <a:lnTo>
                      <a:pt x="1019175" y="552450"/>
                    </a:lnTo>
                    <a:lnTo>
                      <a:pt x="1035843" y="590550"/>
                    </a:lnTo>
                    <a:lnTo>
                      <a:pt x="1035843" y="607219"/>
                    </a:lnTo>
                    <a:lnTo>
                      <a:pt x="1045368" y="645319"/>
                    </a:lnTo>
                    <a:lnTo>
                      <a:pt x="1064418" y="645319"/>
                    </a:lnTo>
                    <a:lnTo>
                      <a:pt x="1078706" y="666750"/>
                    </a:lnTo>
                    <a:lnTo>
                      <a:pt x="1085850" y="688181"/>
                    </a:lnTo>
                    <a:lnTo>
                      <a:pt x="1076325" y="719138"/>
                    </a:lnTo>
                    <a:lnTo>
                      <a:pt x="1021556" y="714375"/>
                    </a:lnTo>
                    <a:cubicBezTo>
                      <a:pt x="1015206" y="716756"/>
                      <a:pt x="1008680" y="718713"/>
                      <a:pt x="1002506" y="721519"/>
                    </a:cubicBezTo>
                    <a:cubicBezTo>
                      <a:pt x="999901" y="722703"/>
                      <a:pt x="995362" y="726281"/>
                      <a:pt x="995362" y="726281"/>
                    </a:cubicBezTo>
                    <a:lnTo>
                      <a:pt x="995362" y="726281"/>
                    </a:lnTo>
                    <a:lnTo>
                      <a:pt x="923925" y="721519"/>
                    </a:lnTo>
                    <a:lnTo>
                      <a:pt x="940593" y="778669"/>
                    </a:lnTo>
                    <a:cubicBezTo>
                      <a:pt x="939799" y="801688"/>
                      <a:pt x="939006" y="824706"/>
                      <a:pt x="938212" y="847725"/>
                    </a:cubicBezTo>
                    <a:lnTo>
                      <a:pt x="954881" y="871538"/>
                    </a:lnTo>
                    <a:lnTo>
                      <a:pt x="997743" y="919163"/>
                    </a:lnTo>
                    <a:lnTo>
                      <a:pt x="1012031" y="954881"/>
                    </a:lnTo>
                    <a:lnTo>
                      <a:pt x="1031081" y="954881"/>
                    </a:lnTo>
                    <a:lnTo>
                      <a:pt x="1071562" y="940594"/>
                    </a:lnTo>
                    <a:lnTo>
                      <a:pt x="1102518" y="933450"/>
                    </a:lnTo>
                    <a:lnTo>
                      <a:pt x="1159668" y="997744"/>
                    </a:lnTo>
                    <a:lnTo>
                      <a:pt x="1178718" y="1052513"/>
                    </a:lnTo>
                    <a:lnTo>
                      <a:pt x="1190625" y="1081088"/>
                    </a:lnTo>
                    <a:lnTo>
                      <a:pt x="1212056" y="1109663"/>
                    </a:lnTo>
                    <a:lnTo>
                      <a:pt x="1231106" y="1102519"/>
                    </a:lnTo>
                    <a:lnTo>
                      <a:pt x="1231106" y="1131094"/>
                    </a:lnTo>
                    <a:lnTo>
                      <a:pt x="1233487" y="1145381"/>
                    </a:lnTo>
                    <a:lnTo>
                      <a:pt x="1266825" y="1181100"/>
                    </a:lnTo>
                    <a:lnTo>
                      <a:pt x="1233487" y="1181100"/>
                    </a:lnTo>
                    <a:lnTo>
                      <a:pt x="1228725" y="1223963"/>
                    </a:lnTo>
                    <a:lnTo>
                      <a:pt x="1226343" y="1243013"/>
                    </a:lnTo>
                    <a:lnTo>
                      <a:pt x="1216818" y="1264444"/>
                    </a:lnTo>
                    <a:lnTo>
                      <a:pt x="1190625" y="1238250"/>
                    </a:lnTo>
                    <a:lnTo>
                      <a:pt x="1157287" y="1209675"/>
                    </a:lnTo>
                    <a:lnTo>
                      <a:pt x="1131093" y="1185863"/>
                    </a:lnTo>
                    <a:lnTo>
                      <a:pt x="1107281" y="1219200"/>
                    </a:lnTo>
                    <a:lnTo>
                      <a:pt x="1104900" y="1264444"/>
                    </a:lnTo>
                    <a:lnTo>
                      <a:pt x="1062037" y="1259681"/>
                    </a:lnTo>
                    <a:lnTo>
                      <a:pt x="1026318" y="1288256"/>
                    </a:lnTo>
                    <a:lnTo>
                      <a:pt x="1007268" y="1240631"/>
                    </a:lnTo>
                    <a:lnTo>
                      <a:pt x="947737" y="1231106"/>
                    </a:lnTo>
                    <a:lnTo>
                      <a:pt x="921543" y="1297781"/>
                    </a:lnTo>
                    <a:lnTo>
                      <a:pt x="885825" y="1278731"/>
                    </a:lnTo>
                    <a:lnTo>
                      <a:pt x="816768" y="1295400"/>
                    </a:lnTo>
                    <a:lnTo>
                      <a:pt x="757237" y="1259681"/>
                    </a:lnTo>
                    <a:lnTo>
                      <a:pt x="742950" y="1312069"/>
                    </a:lnTo>
                    <a:lnTo>
                      <a:pt x="704850" y="1345406"/>
                    </a:lnTo>
                    <a:lnTo>
                      <a:pt x="692943" y="1366838"/>
                    </a:lnTo>
                    <a:lnTo>
                      <a:pt x="671512" y="1509713"/>
                    </a:lnTo>
                    <a:lnTo>
                      <a:pt x="633412" y="1490663"/>
                    </a:lnTo>
                    <a:lnTo>
                      <a:pt x="614362" y="1504950"/>
                    </a:lnTo>
                    <a:lnTo>
                      <a:pt x="581025" y="1531144"/>
                    </a:lnTo>
                    <a:lnTo>
                      <a:pt x="523875" y="1502569"/>
                    </a:lnTo>
                    <a:lnTo>
                      <a:pt x="514350" y="1490663"/>
                    </a:lnTo>
                    <a:lnTo>
                      <a:pt x="483393" y="1533525"/>
                    </a:lnTo>
                    <a:lnTo>
                      <a:pt x="459581" y="1481138"/>
                    </a:lnTo>
                    <a:lnTo>
                      <a:pt x="438150" y="1471613"/>
                    </a:lnTo>
                    <a:lnTo>
                      <a:pt x="400050" y="1485900"/>
                    </a:lnTo>
                    <a:lnTo>
                      <a:pt x="338137" y="1490663"/>
                    </a:lnTo>
                    <a:lnTo>
                      <a:pt x="330993" y="1497806"/>
                    </a:lnTo>
                    <a:lnTo>
                      <a:pt x="271462" y="1471613"/>
                    </a:lnTo>
                    <a:lnTo>
                      <a:pt x="219075" y="1443038"/>
                    </a:lnTo>
                    <a:lnTo>
                      <a:pt x="138112" y="1402556"/>
                    </a:lnTo>
                    <a:lnTo>
                      <a:pt x="95250" y="1316831"/>
                    </a:lnTo>
                    <a:lnTo>
                      <a:pt x="80962" y="1288256"/>
                    </a:lnTo>
                    <a:lnTo>
                      <a:pt x="104775" y="1266825"/>
                    </a:lnTo>
                    <a:lnTo>
                      <a:pt x="76200" y="1212056"/>
                    </a:lnTo>
                    <a:lnTo>
                      <a:pt x="109537" y="1193006"/>
                    </a:lnTo>
                    <a:lnTo>
                      <a:pt x="140493" y="1143000"/>
                    </a:lnTo>
                    <a:lnTo>
                      <a:pt x="123825" y="1107281"/>
                    </a:lnTo>
                    <a:lnTo>
                      <a:pt x="178593" y="1107281"/>
                    </a:lnTo>
                    <a:lnTo>
                      <a:pt x="192881" y="1109663"/>
                    </a:lnTo>
                    <a:lnTo>
                      <a:pt x="159543" y="1064419"/>
                    </a:lnTo>
                    <a:lnTo>
                      <a:pt x="169068" y="1014413"/>
                    </a:lnTo>
                    <a:lnTo>
                      <a:pt x="123825" y="997744"/>
                    </a:lnTo>
                    <a:lnTo>
                      <a:pt x="61912" y="954881"/>
                    </a:lnTo>
                    <a:lnTo>
                      <a:pt x="45243" y="938213"/>
                    </a:lnTo>
                    <a:lnTo>
                      <a:pt x="64293" y="909638"/>
                    </a:lnTo>
                    <a:lnTo>
                      <a:pt x="47625" y="897731"/>
                    </a:lnTo>
                    <a:lnTo>
                      <a:pt x="47625" y="881063"/>
                    </a:lnTo>
                    <a:lnTo>
                      <a:pt x="26193" y="881063"/>
                    </a:lnTo>
                    <a:lnTo>
                      <a:pt x="7143" y="847725"/>
                    </a:lnTo>
                    <a:lnTo>
                      <a:pt x="0" y="816769"/>
                    </a:lnTo>
                    <a:lnTo>
                      <a:pt x="54768" y="800100"/>
                    </a:lnTo>
                    <a:lnTo>
                      <a:pt x="76200" y="788194"/>
                    </a:lnTo>
                    <a:lnTo>
                      <a:pt x="128587" y="821531"/>
                    </a:lnTo>
                    <a:lnTo>
                      <a:pt x="126206" y="800100"/>
                    </a:lnTo>
                    <a:lnTo>
                      <a:pt x="164306" y="795338"/>
                    </a:lnTo>
                    <a:lnTo>
                      <a:pt x="173831" y="759619"/>
                    </a:lnTo>
                    <a:lnTo>
                      <a:pt x="235743" y="764381"/>
                    </a:lnTo>
                    <a:lnTo>
                      <a:pt x="235743" y="764381"/>
                    </a:lnTo>
                    <a:lnTo>
                      <a:pt x="245268" y="704850"/>
                    </a:lnTo>
                    <a:lnTo>
                      <a:pt x="276225" y="666750"/>
                    </a:lnTo>
                    <a:lnTo>
                      <a:pt x="292893" y="638175"/>
                    </a:lnTo>
                    <a:lnTo>
                      <a:pt x="245268" y="602456"/>
                    </a:lnTo>
                    <a:lnTo>
                      <a:pt x="264318" y="585788"/>
                    </a:lnTo>
                    <a:lnTo>
                      <a:pt x="311943" y="602456"/>
                    </a:lnTo>
                    <a:lnTo>
                      <a:pt x="369093" y="573881"/>
                    </a:lnTo>
                    <a:lnTo>
                      <a:pt x="457200" y="545306"/>
                    </a:lnTo>
                    <a:lnTo>
                      <a:pt x="538162" y="578644"/>
                    </a:lnTo>
                    <a:lnTo>
                      <a:pt x="614362" y="550069"/>
                    </a:lnTo>
                    <a:lnTo>
                      <a:pt x="650081" y="552450"/>
                    </a:lnTo>
                    <a:lnTo>
                      <a:pt x="654843" y="523875"/>
                    </a:lnTo>
                    <a:lnTo>
                      <a:pt x="654843" y="490538"/>
                    </a:lnTo>
                    <a:lnTo>
                      <a:pt x="669131" y="469106"/>
                    </a:lnTo>
                    <a:lnTo>
                      <a:pt x="652462" y="450056"/>
                    </a:lnTo>
                    <a:lnTo>
                      <a:pt x="642937" y="411956"/>
                    </a:lnTo>
                    <a:lnTo>
                      <a:pt x="642937" y="330994"/>
                    </a:lnTo>
                    <a:lnTo>
                      <a:pt x="633412" y="319088"/>
                    </a:lnTo>
                    <a:lnTo>
                      <a:pt x="664368" y="285750"/>
                    </a:lnTo>
                    <a:lnTo>
                      <a:pt x="721518" y="292894"/>
                    </a:lnTo>
                    <a:lnTo>
                      <a:pt x="733425" y="264319"/>
                    </a:lnTo>
                    <a:lnTo>
                      <a:pt x="731043" y="228600"/>
                    </a:lnTo>
                    <a:lnTo>
                      <a:pt x="790575" y="192881"/>
                    </a:lnTo>
                    <a:lnTo>
                      <a:pt x="804862" y="166688"/>
                    </a:lnTo>
                    <a:lnTo>
                      <a:pt x="778668" y="128588"/>
                    </a:lnTo>
                    <a:lnTo>
                      <a:pt x="771525" y="104775"/>
                    </a:lnTo>
                    <a:lnTo>
                      <a:pt x="823912" y="97631"/>
                    </a:lnTo>
                    <a:lnTo>
                      <a:pt x="869156" y="52388"/>
                    </a:lnTo>
                    <a:lnTo>
                      <a:pt x="890587" y="23813"/>
                    </a:lnTo>
                    <a:lnTo>
                      <a:pt x="923925" y="9525"/>
                    </a:lnTo>
                    <a:lnTo>
                      <a:pt x="971550" y="0"/>
                    </a:lnTo>
                    <a:lnTo>
                      <a:pt x="971550" y="40481"/>
                    </a:lnTo>
                    <a:lnTo>
                      <a:pt x="950118" y="80963"/>
                    </a:lnTo>
                    <a:lnTo>
                      <a:pt x="950118" y="140494"/>
                    </a:lnTo>
                    <a:lnTo>
                      <a:pt x="969168" y="161925"/>
                    </a:lnTo>
                    <a:lnTo>
                      <a:pt x="1007268" y="188119"/>
                    </a:lnTo>
                    <a:lnTo>
                      <a:pt x="1019175" y="216694"/>
                    </a:lnTo>
                    <a:lnTo>
                      <a:pt x="1004887" y="226219"/>
                    </a:lnTo>
                    <a:lnTo>
                      <a:pt x="1057275" y="25003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8" name="Figura a mano libera 66">
                <a:extLst>
                  <a:ext uri="{FF2B5EF4-FFF2-40B4-BE49-F238E27FC236}">
                    <a16:creationId xmlns:a16="http://schemas.microsoft.com/office/drawing/2014/main" id="{AC03F595-C6A0-40EC-8E1A-6174A928C767}"/>
                  </a:ext>
                </a:extLst>
              </p:cNvPr>
              <p:cNvSpPr/>
              <p:nvPr/>
            </p:nvSpPr>
            <p:spPr bwMode="auto">
              <a:xfrm>
                <a:off x="1717463" y="811870"/>
                <a:ext cx="1121502" cy="974567"/>
              </a:xfrm>
              <a:custGeom>
                <a:avLst/>
                <a:gdLst>
                  <a:gd name="connsiteX0" fmla="*/ 147638 w 1395413"/>
                  <a:gd name="connsiteY0" fmla="*/ 302419 h 1247775"/>
                  <a:gd name="connsiteX1" fmla="*/ 204788 w 1395413"/>
                  <a:gd name="connsiteY1" fmla="*/ 314325 h 1247775"/>
                  <a:gd name="connsiteX2" fmla="*/ 216694 w 1395413"/>
                  <a:gd name="connsiteY2" fmla="*/ 335756 h 1247775"/>
                  <a:gd name="connsiteX3" fmla="*/ 180975 w 1395413"/>
                  <a:gd name="connsiteY3" fmla="*/ 369094 h 1247775"/>
                  <a:gd name="connsiteX4" fmla="*/ 233363 w 1395413"/>
                  <a:gd name="connsiteY4" fmla="*/ 402431 h 1247775"/>
                  <a:gd name="connsiteX5" fmla="*/ 221456 w 1395413"/>
                  <a:gd name="connsiteY5" fmla="*/ 431006 h 1247775"/>
                  <a:gd name="connsiteX6" fmla="*/ 202406 w 1395413"/>
                  <a:gd name="connsiteY6" fmla="*/ 461963 h 1247775"/>
                  <a:gd name="connsiteX7" fmla="*/ 252413 w 1395413"/>
                  <a:gd name="connsiteY7" fmla="*/ 488156 h 1247775"/>
                  <a:gd name="connsiteX8" fmla="*/ 304800 w 1395413"/>
                  <a:gd name="connsiteY8" fmla="*/ 471488 h 1247775"/>
                  <a:gd name="connsiteX9" fmla="*/ 307181 w 1395413"/>
                  <a:gd name="connsiteY9" fmla="*/ 450056 h 1247775"/>
                  <a:gd name="connsiteX10" fmla="*/ 290513 w 1395413"/>
                  <a:gd name="connsiteY10" fmla="*/ 421481 h 1247775"/>
                  <a:gd name="connsiteX11" fmla="*/ 257175 w 1395413"/>
                  <a:gd name="connsiteY11" fmla="*/ 400050 h 1247775"/>
                  <a:gd name="connsiteX12" fmla="*/ 292894 w 1395413"/>
                  <a:gd name="connsiteY12" fmla="*/ 383381 h 1247775"/>
                  <a:gd name="connsiteX13" fmla="*/ 271463 w 1395413"/>
                  <a:gd name="connsiteY13" fmla="*/ 342900 h 1247775"/>
                  <a:gd name="connsiteX14" fmla="*/ 321469 w 1395413"/>
                  <a:gd name="connsiteY14" fmla="*/ 338138 h 1247775"/>
                  <a:gd name="connsiteX15" fmla="*/ 321469 w 1395413"/>
                  <a:gd name="connsiteY15" fmla="*/ 297656 h 1247775"/>
                  <a:gd name="connsiteX16" fmla="*/ 411956 w 1395413"/>
                  <a:gd name="connsiteY16" fmla="*/ 219075 h 1247775"/>
                  <a:gd name="connsiteX17" fmla="*/ 423863 w 1395413"/>
                  <a:gd name="connsiteY17" fmla="*/ 147638 h 1247775"/>
                  <a:gd name="connsiteX18" fmla="*/ 433388 w 1395413"/>
                  <a:gd name="connsiteY18" fmla="*/ 109538 h 1247775"/>
                  <a:gd name="connsiteX19" fmla="*/ 414338 w 1395413"/>
                  <a:gd name="connsiteY19" fmla="*/ 92869 h 1247775"/>
                  <a:gd name="connsiteX20" fmla="*/ 433388 w 1395413"/>
                  <a:gd name="connsiteY20" fmla="*/ 71438 h 1247775"/>
                  <a:gd name="connsiteX21" fmla="*/ 440531 w 1395413"/>
                  <a:gd name="connsiteY21" fmla="*/ 54769 h 1247775"/>
                  <a:gd name="connsiteX22" fmla="*/ 483394 w 1395413"/>
                  <a:gd name="connsiteY22" fmla="*/ 61913 h 1247775"/>
                  <a:gd name="connsiteX23" fmla="*/ 483394 w 1395413"/>
                  <a:gd name="connsiteY23" fmla="*/ 80963 h 1247775"/>
                  <a:gd name="connsiteX24" fmla="*/ 521494 w 1395413"/>
                  <a:gd name="connsiteY24" fmla="*/ 71438 h 1247775"/>
                  <a:gd name="connsiteX25" fmla="*/ 526256 w 1395413"/>
                  <a:gd name="connsiteY25" fmla="*/ 100013 h 1247775"/>
                  <a:gd name="connsiteX26" fmla="*/ 507206 w 1395413"/>
                  <a:gd name="connsiteY26" fmla="*/ 128588 h 1247775"/>
                  <a:gd name="connsiteX27" fmla="*/ 564356 w 1395413"/>
                  <a:gd name="connsiteY27" fmla="*/ 190500 h 1247775"/>
                  <a:gd name="connsiteX28" fmla="*/ 626269 w 1395413"/>
                  <a:gd name="connsiteY28" fmla="*/ 204788 h 1247775"/>
                  <a:gd name="connsiteX29" fmla="*/ 635794 w 1395413"/>
                  <a:gd name="connsiteY29" fmla="*/ 173831 h 1247775"/>
                  <a:gd name="connsiteX30" fmla="*/ 671513 w 1395413"/>
                  <a:gd name="connsiteY30" fmla="*/ 173831 h 1247775"/>
                  <a:gd name="connsiteX31" fmla="*/ 726281 w 1395413"/>
                  <a:gd name="connsiteY31" fmla="*/ 164306 h 1247775"/>
                  <a:gd name="connsiteX32" fmla="*/ 738188 w 1395413"/>
                  <a:gd name="connsiteY32" fmla="*/ 157163 h 1247775"/>
                  <a:gd name="connsiteX33" fmla="*/ 738188 w 1395413"/>
                  <a:gd name="connsiteY33" fmla="*/ 157163 h 1247775"/>
                  <a:gd name="connsiteX34" fmla="*/ 766763 w 1395413"/>
                  <a:gd name="connsiteY34" fmla="*/ 183356 h 1247775"/>
                  <a:gd name="connsiteX35" fmla="*/ 752475 w 1395413"/>
                  <a:gd name="connsiteY35" fmla="*/ 207169 h 1247775"/>
                  <a:gd name="connsiteX36" fmla="*/ 778669 w 1395413"/>
                  <a:gd name="connsiteY36" fmla="*/ 233363 h 1247775"/>
                  <a:gd name="connsiteX37" fmla="*/ 778669 w 1395413"/>
                  <a:gd name="connsiteY37" fmla="*/ 252413 h 1247775"/>
                  <a:gd name="connsiteX38" fmla="*/ 778669 w 1395413"/>
                  <a:gd name="connsiteY38" fmla="*/ 252413 h 1247775"/>
                  <a:gd name="connsiteX39" fmla="*/ 862013 w 1395413"/>
                  <a:gd name="connsiteY39" fmla="*/ 257175 h 1247775"/>
                  <a:gd name="connsiteX40" fmla="*/ 826294 w 1395413"/>
                  <a:gd name="connsiteY40" fmla="*/ 197644 h 1247775"/>
                  <a:gd name="connsiteX41" fmla="*/ 833438 w 1395413"/>
                  <a:gd name="connsiteY41" fmla="*/ 169069 h 1247775"/>
                  <a:gd name="connsiteX42" fmla="*/ 845344 w 1395413"/>
                  <a:gd name="connsiteY42" fmla="*/ 130969 h 1247775"/>
                  <a:gd name="connsiteX43" fmla="*/ 788194 w 1395413"/>
                  <a:gd name="connsiteY43" fmla="*/ 123825 h 1247775"/>
                  <a:gd name="connsiteX44" fmla="*/ 792956 w 1395413"/>
                  <a:gd name="connsiteY44" fmla="*/ 57150 h 1247775"/>
                  <a:gd name="connsiteX45" fmla="*/ 812006 w 1395413"/>
                  <a:gd name="connsiteY45" fmla="*/ 26194 h 1247775"/>
                  <a:gd name="connsiteX46" fmla="*/ 866775 w 1395413"/>
                  <a:gd name="connsiteY46" fmla="*/ 0 h 1247775"/>
                  <a:gd name="connsiteX47" fmla="*/ 892969 w 1395413"/>
                  <a:gd name="connsiteY47" fmla="*/ 0 h 1247775"/>
                  <a:gd name="connsiteX48" fmla="*/ 895350 w 1395413"/>
                  <a:gd name="connsiteY48" fmla="*/ 40481 h 1247775"/>
                  <a:gd name="connsiteX49" fmla="*/ 976313 w 1395413"/>
                  <a:gd name="connsiteY49" fmla="*/ 66675 h 1247775"/>
                  <a:gd name="connsiteX50" fmla="*/ 1004888 w 1395413"/>
                  <a:gd name="connsiteY50" fmla="*/ 69056 h 1247775"/>
                  <a:gd name="connsiteX51" fmla="*/ 1019175 w 1395413"/>
                  <a:gd name="connsiteY51" fmla="*/ 102394 h 1247775"/>
                  <a:gd name="connsiteX52" fmla="*/ 1057275 w 1395413"/>
                  <a:gd name="connsiteY52" fmla="*/ 109538 h 1247775"/>
                  <a:gd name="connsiteX53" fmla="*/ 1064419 w 1395413"/>
                  <a:gd name="connsiteY53" fmla="*/ 161925 h 1247775"/>
                  <a:gd name="connsiteX54" fmla="*/ 1014413 w 1395413"/>
                  <a:gd name="connsiteY54" fmla="*/ 185738 h 1247775"/>
                  <a:gd name="connsiteX55" fmla="*/ 1040606 w 1395413"/>
                  <a:gd name="connsiteY55" fmla="*/ 240506 h 1247775"/>
                  <a:gd name="connsiteX56" fmla="*/ 1040606 w 1395413"/>
                  <a:gd name="connsiteY56" fmla="*/ 271463 h 1247775"/>
                  <a:gd name="connsiteX57" fmla="*/ 1031081 w 1395413"/>
                  <a:gd name="connsiteY57" fmla="*/ 304800 h 1247775"/>
                  <a:gd name="connsiteX58" fmla="*/ 1007269 w 1395413"/>
                  <a:gd name="connsiteY58" fmla="*/ 354806 h 1247775"/>
                  <a:gd name="connsiteX59" fmla="*/ 978694 w 1395413"/>
                  <a:gd name="connsiteY59" fmla="*/ 397669 h 1247775"/>
                  <a:gd name="connsiteX60" fmla="*/ 976313 w 1395413"/>
                  <a:gd name="connsiteY60" fmla="*/ 435769 h 1247775"/>
                  <a:gd name="connsiteX61" fmla="*/ 985838 w 1395413"/>
                  <a:gd name="connsiteY61" fmla="*/ 445294 h 1247775"/>
                  <a:gd name="connsiteX62" fmla="*/ 997744 w 1395413"/>
                  <a:gd name="connsiteY62" fmla="*/ 497681 h 1247775"/>
                  <a:gd name="connsiteX63" fmla="*/ 1028700 w 1395413"/>
                  <a:gd name="connsiteY63" fmla="*/ 545306 h 1247775"/>
                  <a:gd name="connsiteX64" fmla="*/ 1078706 w 1395413"/>
                  <a:gd name="connsiteY64" fmla="*/ 528638 h 1247775"/>
                  <a:gd name="connsiteX65" fmla="*/ 1178719 w 1395413"/>
                  <a:gd name="connsiteY65" fmla="*/ 538163 h 1247775"/>
                  <a:gd name="connsiteX66" fmla="*/ 1143000 w 1395413"/>
                  <a:gd name="connsiteY66" fmla="*/ 559594 h 1247775"/>
                  <a:gd name="connsiteX67" fmla="*/ 1102519 w 1395413"/>
                  <a:gd name="connsiteY67" fmla="*/ 609600 h 1247775"/>
                  <a:gd name="connsiteX68" fmla="*/ 1081088 w 1395413"/>
                  <a:gd name="connsiteY68" fmla="*/ 638175 h 1247775"/>
                  <a:gd name="connsiteX69" fmla="*/ 1050131 w 1395413"/>
                  <a:gd name="connsiteY69" fmla="*/ 683419 h 1247775"/>
                  <a:gd name="connsiteX70" fmla="*/ 1050131 w 1395413"/>
                  <a:gd name="connsiteY70" fmla="*/ 745331 h 1247775"/>
                  <a:gd name="connsiteX71" fmla="*/ 1057275 w 1395413"/>
                  <a:gd name="connsiteY71" fmla="*/ 783431 h 1247775"/>
                  <a:gd name="connsiteX72" fmla="*/ 1090613 w 1395413"/>
                  <a:gd name="connsiteY72" fmla="*/ 781050 h 1247775"/>
                  <a:gd name="connsiteX73" fmla="*/ 1069181 w 1395413"/>
                  <a:gd name="connsiteY73" fmla="*/ 828675 h 1247775"/>
                  <a:gd name="connsiteX74" fmla="*/ 1071563 w 1395413"/>
                  <a:gd name="connsiteY74" fmla="*/ 881063 h 1247775"/>
                  <a:gd name="connsiteX75" fmla="*/ 1092994 w 1395413"/>
                  <a:gd name="connsiteY75" fmla="*/ 881063 h 1247775"/>
                  <a:gd name="connsiteX76" fmla="*/ 1097756 w 1395413"/>
                  <a:gd name="connsiteY76" fmla="*/ 850106 h 1247775"/>
                  <a:gd name="connsiteX77" fmla="*/ 1171575 w 1395413"/>
                  <a:gd name="connsiteY77" fmla="*/ 928688 h 1247775"/>
                  <a:gd name="connsiteX78" fmla="*/ 1228725 w 1395413"/>
                  <a:gd name="connsiteY78" fmla="*/ 976313 h 1247775"/>
                  <a:gd name="connsiteX79" fmla="*/ 1223963 w 1395413"/>
                  <a:gd name="connsiteY79" fmla="*/ 1000125 h 1247775"/>
                  <a:gd name="connsiteX80" fmla="*/ 1252538 w 1395413"/>
                  <a:gd name="connsiteY80" fmla="*/ 1019175 h 1247775"/>
                  <a:gd name="connsiteX81" fmla="*/ 1288256 w 1395413"/>
                  <a:gd name="connsiteY81" fmla="*/ 1007269 h 1247775"/>
                  <a:gd name="connsiteX82" fmla="*/ 1307306 w 1395413"/>
                  <a:gd name="connsiteY82" fmla="*/ 1007269 h 1247775"/>
                  <a:gd name="connsiteX83" fmla="*/ 1321594 w 1395413"/>
                  <a:gd name="connsiteY83" fmla="*/ 1059656 h 1247775"/>
                  <a:gd name="connsiteX84" fmla="*/ 1395413 w 1395413"/>
                  <a:gd name="connsiteY84" fmla="*/ 1102519 h 1247775"/>
                  <a:gd name="connsiteX85" fmla="*/ 1364456 w 1395413"/>
                  <a:gd name="connsiteY85" fmla="*/ 1114425 h 1247775"/>
                  <a:gd name="connsiteX86" fmla="*/ 1314450 w 1395413"/>
                  <a:gd name="connsiteY86" fmla="*/ 1114425 h 1247775"/>
                  <a:gd name="connsiteX87" fmla="*/ 1254919 w 1395413"/>
                  <a:gd name="connsiteY87" fmla="*/ 1107281 h 1247775"/>
                  <a:gd name="connsiteX88" fmla="*/ 1216819 w 1395413"/>
                  <a:gd name="connsiteY88" fmla="*/ 1112044 h 1247775"/>
                  <a:gd name="connsiteX89" fmla="*/ 1181100 w 1395413"/>
                  <a:gd name="connsiteY89" fmla="*/ 1138238 h 1247775"/>
                  <a:gd name="connsiteX90" fmla="*/ 1116806 w 1395413"/>
                  <a:gd name="connsiteY90" fmla="*/ 1123950 h 1247775"/>
                  <a:gd name="connsiteX91" fmla="*/ 1071563 w 1395413"/>
                  <a:gd name="connsiteY91" fmla="*/ 1081088 h 1247775"/>
                  <a:gd name="connsiteX92" fmla="*/ 1012031 w 1395413"/>
                  <a:gd name="connsiteY92" fmla="*/ 1140619 h 1247775"/>
                  <a:gd name="connsiteX93" fmla="*/ 847725 w 1395413"/>
                  <a:gd name="connsiteY93" fmla="*/ 1066800 h 1247775"/>
                  <a:gd name="connsiteX94" fmla="*/ 823913 w 1395413"/>
                  <a:gd name="connsiteY94" fmla="*/ 1054894 h 1247775"/>
                  <a:gd name="connsiteX95" fmla="*/ 823913 w 1395413"/>
                  <a:gd name="connsiteY95" fmla="*/ 1038225 h 1247775"/>
                  <a:gd name="connsiteX96" fmla="*/ 776288 w 1395413"/>
                  <a:gd name="connsiteY96" fmla="*/ 1040606 h 1247775"/>
                  <a:gd name="connsiteX97" fmla="*/ 747713 w 1395413"/>
                  <a:gd name="connsiteY97" fmla="*/ 1023938 h 1247775"/>
                  <a:gd name="connsiteX98" fmla="*/ 752475 w 1395413"/>
                  <a:gd name="connsiteY98" fmla="*/ 997744 h 1247775"/>
                  <a:gd name="connsiteX99" fmla="*/ 740569 w 1395413"/>
                  <a:gd name="connsiteY99" fmla="*/ 971550 h 1247775"/>
                  <a:gd name="connsiteX100" fmla="*/ 678656 w 1395413"/>
                  <a:gd name="connsiteY100" fmla="*/ 1000125 h 1247775"/>
                  <a:gd name="connsiteX101" fmla="*/ 678656 w 1395413"/>
                  <a:gd name="connsiteY101" fmla="*/ 976313 h 1247775"/>
                  <a:gd name="connsiteX102" fmla="*/ 650081 w 1395413"/>
                  <a:gd name="connsiteY102" fmla="*/ 997744 h 1247775"/>
                  <a:gd name="connsiteX103" fmla="*/ 621506 w 1395413"/>
                  <a:gd name="connsiteY103" fmla="*/ 1000125 h 1247775"/>
                  <a:gd name="connsiteX104" fmla="*/ 602456 w 1395413"/>
                  <a:gd name="connsiteY104" fmla="*/ 997744 h 1247775"/>
                  <a:gd name="connsiteX105" fmla="*/ 600075 w 1395413"/>
                  <a:gd name="connsiteY105" fmla="*/ 978694 h 1247775"/>
                  <a:gd name="connsiteX106" fmla="*/ 578644 w 1395413"/>
                  <a:gd name="connsiteY106" fmla="*/ 1009650 h 1247775"/>
                  <a:gd name="connsiteX107" fmla="*/ 533400 w 1395413"/>
                  <a:gd name="connsiteY107" fmla="*/ 1012031 h 1247775"/>
                  <a:gd name="connsiteX108" fmla="*/ 490538 w 1395413"/>
                  <a:gd name="connsiteY108" fmla="*/ 1004888 h 1247775"/>
                  <a:gd name="connsiteX109" fmla="*/ 485775 w 1395413"/>
                  <a:gd name="connsiteY109" fmla="*/ 971550 h 1247775"/>
                  <a:gd name="connsiteX110" fmla="*/ 461963 w 1395413"/>
                  <a:gd name="connsiteY110" fmla="*/ 971550 h 1247775"/>
                  <a:gd name="connsiteX111" fmla="*/ 381000 w 1395413"/>
                  <a:gd name="connsiteY111" fmla="*/ 1047750 h 1247775"/>
                  <a:gd name="connsiteX112" fmla="*/ 381000 w 1395413"/>
                  <a:gd name="connsiteY112" fmla="*/ 1112044 h 1247775"/>
                  <a:gd name="connsiteX113" fmla="*/ 407194 w 1395413"/>
                  <a:gd name="connsiteY113" fmla="*/ 1126331 h 1247775"/>
                  <a:gd name="connsiteX114" fmla="*/ 383381 w 1395413"/>
                  <a:gd name="connsiteY114" fmla="*/ 1152525 h 1247775"/>
                  <a:gd name="connsiteX115" fmla="*/ 359569 w 1395413"/>
                  <a:gd name="connsiteY115" fmla="*/ 1188244 h 1247775"/>
                  <a:gd name="connsiteX116" fmla="*/ 392906 w 1395413"/>
                  <a:gd name="connsiteY116" fmla="*/ 1216819 h 1247775"/>
                  <a:gd name="connsiteX117" fmla="*/ 366713 w 1395413"/>
                  <a:gd name="connsiteY117" fmla="*/ 1247775 h 1247775"/>
                  <a:gd name="connsiteX118" fmla="*/ 314325 w 1395413"/>
                  <a:gd name="connsiteY118" fmla="*/ 1214438 h 1247775"/>
                  <a:gd name="connsiteX119" fmla="*/ 309563 w 1395413"/>
                  <a:gd name="connsiteY119" fmla="*/ 1152525 h 1247775"/>
                  <a:gd name="connsiteX120" fmla="*/ 280988 w 1395413"/>
                  <a:gd name="connsiteY120" fmla="*/ 1166813 h 1247775"/>
                  <a:gd name="connsiteX121" fmla="*/ 250031 w 1395413"/>
                  <a:gd name="connsiteY121" fmla="*/ 1054894 h 1247775"/>
                  <a:gd name="connsiteX122" fmla="*/ 190500 w 1395413"/>
                  <a:gd name="connsiteY122" fmla="*/ 978694 h 1247775"/>
                  <a:gd name="connsiteX123" fmla="*/ 92869 w 1395413"/>
                  <a:gd name="connsiteY123" fmla="*/ 1009650 h 1247775"/>
                  <a:gd name="connsiteX124" fmla="*/ 71438 w 1395413"/>
                  <a:gd name="connsiteY124" fmla="*/ 962025 h 1247775"/>
                  <a:gd name="connsiteX125" fmla="*/ 28575 w 1395413"/>
                  <a:gd name="connsiteY125" fmla="*/ 914400 h 1247775"/>
                  <a:gd name="connsiteX126" fmla="*/ 23813 w 1395413"/>
                  <a:gd name="connsiteY126" fmla="*/ 845344 h 1247775"/>
                  <a:gd name="connsiteX127" fmla="*/ 0 w 1395413"/>
                  <a:gd name="connsiteY127" fmla="*/ 776288 h 1247775"/>
                  <a:gd name="connsiteX128" fmla="*/ 71438 w 1395413"/>
                  <a:gd name="connsiteY128" fmla="*/ 783431 h 1247775"/>
                  <a:gd name="connsiteX129" fmla="*/ 121444 w 1395413"/>
                  <a:gd name="connsiteY129" fmla="*/ 776288 h 1247775"/>
                  <a:gd name="connsiteX130" fmla="*/ 159544 w 1395413"/>
                  <a:gd name="connsiteY130" fmla="*/ 776288 h 1247775"/>
                  <a:gd name="connsiteX131" fmla="*/ 173831 w 1395413"/>
                  <a:gd name="connsiteY131" fmla="*/ 745331 h 1247775"/>
                  <a:gd name="connsiteX132" fmla="*/ 154781 w 1395413"/>
                  <a:gd name="connsiteY132" fmla="*/ 704850 h 1247775"/>
                  <a:gd name="connsiteX133" fmla="*/ 133350 w 1395413"/>
                  <a:gd name="connsiteY133" fmla="*/ 704850 h 1247775"/>
                  <a:gd name="connsiteX134" fmla="*/ 123825 w 1395413"/>
                  <a:gd name="connsiteY134" fmla="*/ 642938 h 1247775"/>
                  <a:gd name="connsiteX135" fmla="*/ 95250 w 1395413"/>
                  <a:gd name="connsiteY135" fmla="*/ 621506 h 1247775"/>
                  <a:gd name="connsiteX136" fmla="*/ 133350 w 1395413"/>
                  <a:gd name="connsiteY136" fmla="*/ 573881 h 1247775"/>
                  <a:gd name="connsiteX137" fmla="*/ 83344 w 1395413"/>
                  <a:gd name="connsiteY137" fmla="*/ 573881 h 1247775"/>
                  <a:gd name="connsiteX138" fmla="*/ 59531 w 1395413"/>
                  <a:gd name="connsiteY138" fmla="*/ 550069 h 1247775"/>
                  <a:gd name="connsiteX139" fmla="*/ 83344 w 1395413"/>
                  <a:gd name="connsiteY139" fmla="*/ 478631 h 1247775"/>
                  <a:gd name="connsiteX140" fmla="*/ 54769 w 1395413"/>
                  <a:gd name="connsiteY140" fmla="*/ 440531 h 1247775"/>
                  <a:gd name="connsiteX141" fmla="*/ 97631 w 1395413"/>
                  <a:gd name="connsiteY141" fmla="*/ 395288 h 1247775"/>
                  <a:gd name="connsiteX142" fmla="*/ 147638 w 1395413"/>
                  <a:gd name="connsiteY142" fmla="*/ 373856 h 1247775"/>
                  <a:gd name="connsiteX143" fmla="*/ 147638 w 1395413"/>
                  <a:gd name="connsiteY143" fmla="*/ 302419 h 124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</a:cxnLst>
                <a:rect l="l" t="t" r="r" b="b"/>
                <a:pathLst>
                  <a:path w="1395413" h="1247775">
                    <a:moveTo>
                      <a:pt x="147638" y="302419"/>
                    </a:moveTo>
                    <a:lnTo>
                      <a:pt x="204788" y="314325"/>
                    </a:lnTo>
                    <a:lnTo>
                      <a:pt x="216694" y="335756"/>
                    </a:lnTo>
                    <a:lnTo>
                      <a:pt x="180975" y="369094"/>
                    </a:lnTo>
                    <a:lnTo>
                      <a:pt x="233363" y="402431"/>
                    </a:lnTo>
                    <a:lnTo>
                      <a:pt x="221456" y="431006"/>
                    </a:lnTo>
                    <a:lnTo>
                      <a:pt x="202406" y="461963"/>
                    </a:lnTo>
                    <a:lnTo>
                      <a:pt x="252413" y="488156"/>
                    </a:lnTo>
                    <a:lnTo>
                      <a:pt x="304800" y="471488"/>
                    </a:lnTo>
                    <a:lnTo>
                      <a:pt x="307181" y="450056"/>
                    </a:lnTo>
                    <a:lnTo>
                      <a:pt x="290513" y="421481"/>
                    </a:lnTo>
                    <a:lnTo>
                      <a:pt x="257175" y="400050"/>
                    </a:lnTo>
                    <a:lnTo>
                      <a:pt x="292894" y="383381"/>
                    </a:lnTo>
                    <a:lnTo>
                      <a:pt x="271463" y="342900"/>
                    </a:lnTo>
                    <a:lnTo>
                      <a:pt x="321469" y="338138"/>
                    </a:lnTo>
                    <a:lnTo>
                      <a:pt x="321469" y="297656"/>
                    </a:lnTo>
                    <a:lnTo>
                      <a:pt x="411956" y="219075"/>
                    </a:lnTo>
                    <a:lnTo>
                      <a:pt x="423863" y="147638"/>
                    </a:lnTo>
                    <a:lnTo>
                      <a:pt x="433388" y="109538"/>
                    </a:lnTo>
                    <a:lnTo>
                      <a:pt x="414338" y="92869"/>
                    </a:lnTo>
                    <a:lnTo>
                      <a:pt x="433388" y="71438"/>
                    </a:lnTo>
                    <a:lnTo>
                      <a:pt x="440531" y="54769"/>
                    </a:lnTo>
                    <a:lnTo>
                      <a:pt x="483394" y="61913"/>
                    </a:lnTo>
                    <a:lnTo>
                      <a:pt x="483394" y="80963"/>
                    </a:lnTo>
                    <a:lnTo>
                      <a:pt x="521494" y="71438"/>
                    </a:lnTo>
                    <a:lnTo>
                      <a:pt x="526256" y="100013"/>
                    </a:lnTo>
                    <a:lnTo>
                      <a:pt x="507206" y="128588"/>
                    </a:lnTo>
                    <a:lnTo>
                      <a:pt x="564356" y="190500"/>
                    </a:lnTo>
                    <a:lnTo>
                      <a:pt x="626269" y="204788"/>
                    </a:lnTo>
                    <a:lnTo>
                      <a:pt x="635794" y="173831"/>
                    </a:lnTo>
                    <a:lnTo>
                      <a:pt x="671513" y="173831"/>
                    </a:lnTo>
                    <a:lnTo>
                      <a:pt x="726281" y="164306"/>
                    </a:lnTo>
                    <a:lnTo>
                      <a:pt x="738188" y="157163"/>
                    </a:lnTo>
                    <a:lnTo>
                      <a:pt x="738188" y="157163"/>
                    </a:lnTo>
                    <a:lnTo>
                      <a:pt x="766763" y="183356"/>
                    </a:lnTo>
                    <a:lnTo>
                      <a:pt x="752475" y="207169"/>
                    </a:lnTo>
                    <a:lnTo>
                      <a:pt x="778669" y="233363"/>
                    </a:lnTo>
                    <a:lnTo>
                      <a:pt x="778669" y="252413"/>
                    </a:lnTo>
                    <a:lnTo>
                      <a:pt x="778669" y="252413"/>
                    </a:lnTo>
                    <a:lnTo>
                      <a:pt x="862013" y="257175"/>
                    </a:lnTo>
                    <a:lnTo>
                      <a:pt x="826294" y="197644"/>
                    </a:lnTo>
                    <a:lnTo>
                      <a:pt x="833438" y="169069"/>
                    </a:lnTo>
                    <a:lnTo>
                      <a:pt x="845344" y="130969"/>
                    </a:lnTo>
                    <a:lnTo>
                      <a:pt x="788194" y="123825"/>
                    </a:lnTo>
                    <a:lnTo>
                      <a:pt x="792956" y="57150"/>
                    </a:lnTo>
                    <a:lnTo>
                      <a:pt x="812006" y="26194"/>
                    </a:lnTo>
                    <a:lnTo>
                      <a:pt x="866775" y="0"/>
                    </a:lnTo>
                    <a:lnTo>
                      <a:pt x="892969" y="0"/>
                    </a:lnTo>
                    <a:lnTo>
                      <a:pt x="895350" y="40481"/>
                    </a:lnTo>
                    <a:lnTo>
                      <a:pt x="976313" y="66675"/>
                    </a:lnTo>
                    <a:lnTo>
                      <a:pt x="1004888" y="69056"/>
                    </a:lnTo>
                    <a:lnTo>
                      <a:pt x="1019175" y="102394"/>
                    </a:lnTo>
                    <a:lnTo>
                      <a:pt x="1057275" y="109538"/>
                    </a:lnTo>
                    <a:lnTo>
                      <a:pt x="1064419" y="161925"/>
                    </a:lnTo>
                    <a:lnTo>
                      <a:pt x="1014413" y="185738"/>
                    </a:lnTo>
                    <a:lnTo>
                      <a:pt x="1040606" y="240506"/>
                    </a:lnTo>
                    <a:lnTo>
                      <a:pt x="1040606" y="271463"/>
                    </a:lnTo>
                    <a:lnTo>
                      <a:pt x="1031081" y="304800"/>
                    </a:lnTo>
                    <a:lnTo>
                      <a:pt x="1007269" y="354806"/>
                    </a:lnTo>
                    <a:lnTo>
                      <a:pt x="978694" y="397669"/>
                    </a:lnTo>
                    <a:lnTo>
                      <a:pt x="976313" y="435769"/>
                    </a:lnTo>
                    <a:lnTo>
                      <a:pt x="985838" y="445294"/>
                    </a:lnTo>
                    <a:lnTo>
                      <a:pt x="997744" y="497681"/>
                    </a:lnTo>
                    <a:lnTo>
                      <a:pt x="1028700" y="545306"/>
                    </a:lnTo>
                    <a:lnTo>
                      <a:pt x="1078706" y="528638"/>
                    </a:lnTo>
                    <a:lnTo>
                      <a:pt x="1178719" y="538163"/>
                    </a:lnTo>
                    <a:lnTo>
                      <a:pt x="1143000" y="559594"/>
                    </a:lnTo>
                    <a:lnTo>
                      <a:pt x="1102519" y="609600"/>
                    </a:lnTo>
                    <a:lnTo>
                      <a:pt x="1081088" y="638175"/>
                    </a:lnTo>
                    <a:lnTo>
                      <a:pt x="1050131" y="683419"/>
                    </a:lnTo>
                    <a:lnTo>
                      <a:pt x="1050131" y="745331"/>
                    </a:lnTo>
                    <a:lnTo>
                      <a:pt x="1057275" y="783431"/>
                    </a:lnTo>
                    <a:lnTo>
                      <a:pt x="1090613" y="781050"/>
                    </a:lnTo>
                    <a:lnTo>
                      <a:pt x="1069181" y="828675"/>
                    </a:lnTo>
                    <a:lnTo>
                      <a:pt x="1071563" y="881063"/>
                    </a:lnTo>
                    <a:lnTo>
                      <a:pt x="1092994" y="881063"/>
                    </a:lnTo>
                    <a:lnTo>
                      <a:pt x="1097756" y="850106"/>
                    </a:lnTo>
                    <a:lnTo>
                      <a:pt x="1171575" y="928688"/>
                    </a:lnTo>
                    <a:lnTo>
                      <a:pt x="1228725" y="976313"/>
                    </a:lnTo>
                    <a:lnTo>
                      <a:pt x="1223963" y="1000125"/>
                    </a:lnTo>
                    <a:lnTo>
                      <a:pt x="1252538" y="1019175"/>
                    </a:lnTo>
                    <a:lnTo>
                      <a:pt x="1288256" y="1007269"/>
                    </a:lnTo>
                    <a:lnTo>
                      <a:pt x="1307306" y="1007269"/>
                    </a:lnTo>
                    <a:lnTo>
                      <a:pt x="1321594" y="1059656"/>
                    </a:lnTo>
                    <a:lnTo>
                      <a:pt x="1395413" y="1102519"/>
                    </a:lnTo>
                    <a:lnTo>
                      <a:pt x="1364456" y="1114425"/>
                    </a:lnTo>
                    <a:lnTo>
                      <a:pt x="1314450" y="1114425"/>
                    </a:lnTo>
                    <a:lnTo>
                      <a:pt x="1254919" y="1107281"/>
                    </a:lnTo>
                    <a:lnTo>
                      <a:pt x="1216819" y="1112044"/>
                    </a:lnTo>
                    <a:lnTo>
                      <a:pt x="1181100" y="1138238"/>
                    </a:lnTo>
                    <a:lnTo>
                      <a:pt x="1116806" y="1123950"/>
                    </a:lnTo>
                    <a:lnTo>
                      <a:pt x="1071563" y="1081088"/>
                    </a:lnTo>
                    <a:lnTo>
                      <a:pt x="1012031" y="1140619"/>
                    </a:lnTo>
                    <a:lnTo>
                      <a:pt x="847725" y="1066800"/>
                    </a:lnTo>
                    <a:lnTo>
                      <a:pt x="823913" y="1054894"/>
                    </a:lnTo>
                    <a:lnTo>
                      <a:pt x="823913" y="1038225"/>
                    </a:lnTo>
                    <a:lnTo>
                      <a:pt x="776288" y="1040606"/>
                    </a:lnTo>
                    <a:lnTo>
                      <a:pt x="747713" y="1023938"/>
                    </a:lnTo>
                    <a:lnTo>
                      <a:pt x="752475" y="997744"/>
                    </a:lnTo>
                    <a:lnTo>
                      <a:pt x="740569" y="971550"/>
                    </a:lnTo>
                    <a:lnTo>
                      <a:pt x="678656" y="1000125"/>
                    </a:lnTo>
                    <a:lnTo>
                      <a:pt x="678656" y="976313"/>
                    </a:lnTo>
                    <a:lnTo>
                      <a:pt x="650081" y="997744"/>
                    </a:lnTo>
                    <a:lnTo>
                      <a:pt x="621506" y="1000125"/>
                    </a:lnTo>
                    <a:lnTo>
                      <a:pt x="602456" y="997744"/>
                    </a:lnTo>
                    <a:lnTo>
                      <a:pt x="600075" y="978694"/>
                    </a:lnTo>
                    <a:lnTo>
                      <a:pt x="578644" y="1009650"/>
                    </a:lnTo>
                    <a:lnTo>
                      <a:pt x="533400" y="1012031"/>
                    </a:lnTo>
                    <a:lnTo>
                      <a:pt x="490538" y="1004888"/>
                    </a:lnTo>
                    <a:lnTo>
                      <a:pt x="485775" y="971550"/>
                    </a:lnTo>
                    <a:lnTo>
                      <a:pt x="461963" y="971550"/>
                    </a:lnTo>
                    <a:lnTo>
                      <a:pt x="381000" y="1047750"/>
                    </a:lnTo>
                    <a:lnTo>
                      <a:pt x="381000" y="1112044"/>
                    </a:lnTo>
                    <a:lnTo>
                      <a:pt x="407194" y="1126331"/>
                    </a:lnTo>
                    <a:lnTo>
                      <a:pt x="383381" y="1152525"/>
                    </a:lnTo>
                    <a:lnTo>
                      <a:pt x="359569" y="1188244"/>
                    </a:lnTo>
                    <a:lnTo>
                      <a:pt x="392906" y="1216819"/>
                    </a:lnTo>
                    <a:lnTo>
                      <a:pt x="366713" y="1247775"/>
                    </a:lnTo>
                    <a:lnTo>
                      <a:pt x="314325" y="1214438"/>
                    </a:lnTo>
                    <a:lnTo>
                      <a:pt x="309563" y="1152525"/>
                    </a:lnTo>
                    <a:lnTo>
                      <a:pt x="280988" y="1166813"/>
                    </a:lnTo>
                    <a:lnTo>
                      <a:pt x="250031" y="1054894"/>
                    </a:lnTo>
                    <a:lnTo>
                      <a:pt x="190500" y="978694"/>
                    </a:lnTo>
                    <a:lnTo>
                      <a:pt x="92869" y="1009650"/>
                    </a:lnTo>
                    <a:lnTo>
                      <a:pt x="71438" y="962025"/>
                    </a:lnTo>
                    <a:lnTo>
                      <a:pt x="28575" y="914400"/>
                    </a:lnTo>
                    <a:lnTo>
                      <a:pt x="23813" y="845344"/>
                    </a:lnTo>
                    <a:lnTo>
                      <a:pt x="0" y="776288"/>
                    </a:lnTo>
                    <a:lnTo>
                      <a:pt x="71438" y="783431"/>
                    </a:lnTo>
                    <a:lnTo>
                      <a:pt x="121444" y="776288"/>
                    </a:lnTo>
                    <a:lnTo>
                      <a:pt x="159544" y="776288"/>
                    </a:lnTo>
                    <a:lnTo>
                      <a:pt x="173831" y="745331"/>
                    </a:lnTo>
                    <a:lnTo>
                      <a:pt x="154781" y="704850"/>
                    </a:lnTo>
                    <a:lnTo>
                      <a:pt x="133350" y="704850"/>
                    </a:lnTo>
                    <a:lnTo>
                      <a:pt x="123825" y="642938"/>
                    </a:lnTo>
                    <a:lnTo>
                      <a:pt x="95250" y="621506"/>
                    </a:lnTo>
                    <a:lnTo>
                      <a:pt x="133350" y="573881"/>
                    </a:lnTo>
                    <a:lnTo>
                      <a:pt x="83344" y="573881"/>
                    </a:lnTo>
                    <a:lnTo>
                      <a:pt x="59531" y="550069"/>
                    </a:lnTo>
                    <a:lnTo>
                      <a:pt x="83344" y="478631"/>
                    </a:lnTo>
                    <a:lnTo>
                      <a:pt x="54769" y="440531"/>
                    </a:lnTo>
                    <a:lnTo>
                      <a:pt x="97631" y="395288"/>
                    </a:lnTo>
                    <a:lnTo>
                      <a:pt x="147638" y="373856"/>
                    </a:lnTo>
                    <a:lnTo>
                      <a:pt x="147638" y="302419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9" name="Figura a mano libera 68">
                <a:extLst>
                  <a:ext uri="{FF2B5EF4-FFF2-40B4-BE49-F238E27FC236}">
                    <a16:creationId xmlns:a16="http://schemas.microsoft.com/office/drawing/2014/main" id="{945AA2BE-1837-42E8-A4A9-E079B152B32B}"/>
                  </a:ext>
                </a:extLst>
              </p:cNvPr>
              <p:cNvSpPr/>
              <p:nvPr/>
            </p:nvSpPr>
            <p:spPr bwMode="auto">
              <a:xfrm>
                <a:off x="2497767" y="602302"/>
                <a:ext cx="795138" cy="700516"/>
              </a:xfrm>
              <a:custGeom>
                <a:avLst/>
                <a:gdLst>
                  <a:gd name="connsiteX0" fmla="*/ 28575 w 990600"/>
                  <a:gd name="connsiteY0" fmla="*/ 326231 h 895350"/>
                  <a:gd name="connsiteX1" fmla="*/ 23812 w 990600"/>
                  <a:gd name="connsiteY1" fmla="*/ 264319 h 895350"/>
                  <a:gd name="connsiteX2" fmla="*/ 0 w 990600"/>
                  <a:gd name="connsiteY2" fmla="*/ 264319 h 895350"/>
                  <a:gd name="connsiteX3" fmla="*/ 0 w 990600"/>
                  <a:gd name="connsiteY3" fmla="*/ 230981 h 895350"/>
                  <a:gd name="connsiteX4" fmla="*/ 30956 w 990600"/>
                  <a:gd name="connsiteY4" fmla="*/ 180975 h 895350"/>
                  <a:gd name="connsiteX5" fmla="*/ 26194 w 990600"/>
                  <a:gd name="connsiteY5" fmla="*/ 145256 h 895350"/>
                  <a:gd name="connsiteX6" fmla="*/ 85725 w 990600"/>
                  <a:gd name="connsiteY6" fmla="*/ 123825 h 895350"/>
                  <a:gd name="connsiteX7" fmla="*/ 133350 w 990600"/>
                  <a:gd name="connsiteY7" fmla="*/ 119063 h 895350"/>
                  <a:gd name="connsiteX8" fmla="*/ 176212 w 990600"/>
                  <a:gd name="connsiteY8" fmla="*/ 157163 h 895350"/>
                  <a:gd name="connsiteX9" fmla="*/ 207169 w 990600"/>
                  <a:gd name="connsiteY9" fmla="*/ 192881 h 895350"/>
                  <a:gd name="connsiteX10" fmla="*/ 238125 w 990600"/>
                  <a:gd name="connsiteY10" fmla="*/ 192881 h 895350"/>
                  <a:gd name="connsiteX11" fmla="*/ 264319 w 990600"/>
                  <a:gd name="connsiteY11" fmla="*/ 173831 h 895350"/>
                  <a:gd name="connsiteX12" fmla="*/ 285750 w 990600"/>
                  <a:gd name="connsiteY12" fmla="*/ 197644 h 895350"/>
                  <a:gd name="connsiteX13" fmla="*/ 316706 w 990600"/>
                  <a:gd name="connsiteY13" fmla="*/ 154781 h 895350"/>
                  <a:gd name="connsiteX14" fmla="*/ 345281 w 990600"/>
                  <a:gd name="connsiteY14" fmla="*/ 109538 h 895350"/>
                  <a:gd name="connsiteX15" fmla="*/ 354806 w 990600"/>
                  <a:gd name="connsiteY15" fmla="*/ 88106 h 895350"/>
                  <a:gd name="connsiteX16" fmla="*/ 416719 w 990600"/>
                  <a:gd name="connsiteY16" fmla="*/ 54769 h 895350"/>
                  <a:gd name="connsiteX17" fmla="*/ 461962 w 990600"/>
                  <a:gd name="connsiteY17" fmla="*/ 54769 h 895350"/>
                  <a:gd name="connsiteX18" fmla="*/ 564356 w 990600"/>
                  <a:gd name="connsiteY18" fmla="*/ 61913 h 895350"/>
                  <a:gd name="connsiteX19" fmla="*/ 590550 w 990600"/>
                  <a:gd name="connsiteY19" fmla="*/ 33338 h 895350"/>
                  <a:gd name="connsiteX20" fmla="*/ 642937 w 990600"/>
                  <a:gd name="connsiteY20" fmla="*/ 69056 h 895350"/>
                  <a:gd name="connsiteX21" fmla="*/ 683419 w 990600"/>
                  <a:gd name="connsiteY21" fmla="*/ 61913 h 895350"/>
                  <a:gd name="connsiteX22" fmla="*/ 719137 w 990600"/>
                  <a:gd name="connsiteY22" fmla="*/ 40481 h 895350"/>
                  <a:gd name="connsiteX23" fmla="*/ 754856 w 990600"/>
                  <a:gd name="connsiteY23" fmla="*/ 21431 h 895350"/>
                  <a:gd name="connsiteX24" fmla="*/ 854869 w 990600"/>
                  <a:gd name="connsiteY24" fmla="*/ 11906 h 895350"/>
                  <a:gd name="connsiteX25" fmla="*/ 892969 w 990600"/>
                  <a:gd name="connsiteY25" fmla="*/ 0 h 895350"/>
                  <a:gd name="connsiteX26" fmla="*/ 873919 w 990600"/>
                  <a:gd name="connsiteY26" fmla="*/ 28575 h 895350"/>
                  <a:gd name="connsiteX27" fmla="*/ 835819 w 990600"/>
                  <a:gd name="connsiteY27" fmla="*/ 47625 h 895350"/>
                  <a:gd name="connsiteX28" fmla="*/ 850106 w 990600"/>
                  <a:gd name="connsiteY28" fmla="*/ 97631 h 895350"/>
                  <a:gd name="connsiteX29" fmla="*/ 852487 w 990600"/>
                  <a:gd name="connsiteY29" fmla="*/ 121444 h 895350"/>
                  <a:gd name="connsiteX30" fmla="*/ 897731 w 990600"/>
                  <a:gd name="connsiteY30" fmla="*/ 145256 h 895350"/>
                  <a:gd name="connsiteX31" fmla="*/ 916781 w 990600"/>
                  <a:gd name="connsiteY31" fmla="*/ 166688 h 895350"/>
                  <a:gd name="connsiteX32" fmla="*/ 916781 w 990600"/>
                  <a:gd name="connsiteY32" fmla="*/ 202406 h 895350"/>
                  <a:gd name="connsiteX33" fmla="*/ 966787 w 990600"/>
                  <a:gd name="connsiteY33" fmla="*/ 230981 h 895350"/>
                  <a:gd name="connsiteX34" fmla="*/ 990600 w 990600"/>
                  <a:gd name="connsiteY34" fmla="*/ 273844 h 895350"/>
                  <a:gd name="connsiteX35" fmla="*/ 966787 w 990600"/>
                  <a:gd name="connsiteY35" fmla="*/ 295275 h 895350"/>
                  <a:gd name="connsiteX36" fmla="*/ 890587 w 990600"/>
                  <a:gd name="connsiteY36" fmla="*/ 311944 h 895350"/>
                  <a:gd name="connsiteX37" fmla="*/ 819150 w 990600"/>
                  <a:gd name="connsiteY37" fmla="*/ 316706 h 895350"/>
                  <a:gd name="connsiteX38" fmla="*/ 816769 w 990600"/>
                  <a:gd name="connsiteY38" fmla="*/ 283369 h 895350"/>
                  <a:gd name="connsiteX39" fmla="*/ 773906 w 990600"/>
                  <a:gd name="connsiteY39" fmla="*/ 326231 h 895350"/>
                  <a:gd name="connsiteX40" fmla="*/ 773906 w 990600"/>
                  <a:gd name="connsiteY40" fmla="*/ 342900 h 895350"/>
                  <a:gd name="connsiteX41" fmla="*/ 714375 w 990600"/>
                  <a:gd name="connsiteY41" fmla="*/ 366713 h 895350"/>
                  <a:gd name="connsiteX42" fmla="*/ 664369 w 990600"/>
                  <a:gd name="connsiteY42" fmla="*/ 390525 h 895350"/>
                  <a:gd name="connsiteX43" fmla="*/ 692944 w 990600"/>
                  <a:gd name="connsiteY43" fmla="*/ 407194 h 895350"/>
                  <a:gd name="connsiteX44" fmla="*/ 695325 w 990600"/>
                  <a:gd name="connsiteY44" fmla="*/ 442913 h 895350"/>
                  <a:gd name="connsiteX45" fmla="*/ 652462 w 990600"/>
                  <a:gd name="connsiteY45" fmla="*/ 490538 h 895350"/>
                  <a:gd name="connsiteX46" fmla="*/ 676275 w 990600"/>
                  <a:gd name="connsiteY46" fmla="*/ 528638 h 895350"/>
                  <a:gd name="connsiteX47" fmla="*/ 721519 w 990600"/>
                  <a:gd name="connsiteY47" fmla="*/ 550069 h 895350"/>
                  <a:gd name="connsiteX48" fmla="*/ 726281 w 990600"/>
                  <a:gd name="connsiteY48" fmla="*/ 595313 h 895350"/>
                  <a:gd name="connsiteX49" fmla="*/ 697706 w 990600"/>
                  <a:gd name="connsiteY49" fmla="*/ 626269 h 895350"/>
                  <a:gd name="connsiteX50" fmla="*/ 642937 w 990600"/>
                  <a:gd name="connsiteY50" fmla="*/ 635794 h 895350"/>
                  <a:gd name="connsiteX51" fmla="*/ 616744 w 990600"/>
                  <a:gd name="connsiteY51" fmla="*/ 642938 h 895350"/>
                  <a:gd name="connsiteX52" fmla="*/ 623887 w 990600"/>
                  <a:gd name="connsiteY52" fmla="*/ 673894 h 895350"/>
                  <a:gd name="connsiteX53" fmla="*/ 597694 w 990600"/>
                  <a:gd name="connsiteY53" fmla="*/ 714375 h 895350"/>
                  <a:gd name="connsiteX54" fmla="*/ 573881 w 990600"/>
                  <a:gd name="connsiteY54" fmla="*/ 728663 h 895350"/>
                  <a:gd name="connsiteX55" fmla="*/ 557212 w 990600"/>
                  <a:gd name="connsiteY55" fmla="*/ 740569 h 895350"/>
                  <a:gd name="connsiteX56" fmla="*/ 550069 w 990600"/>
                  <a:gd name="connsiteY56" fmla="*/ 697706 h 895350"/>
                  <a:gd name="connsiteX57" fmla="*/ 507206 w 990600"/>
                  <a:gd name="connsiteY57" fmla="*/ 688181 h 895350"/>
                  <a:gd name="connsiteX58" fmla="*/ 504825 w 990600"/>
                  <a:gd name="connsiteY58" fmla="*/ 709613 h 895350"/>
                  <a:gd name="connsiteX59" fmla="*/ 464344 w 990600"/>
                  <a:gd name="connsiteY59" fmla="*/ 711994 h 895350"/>
                  <a:gd name="connsiteX60" fmla="*/ 452437 w 990600"/>
                  <a:gd name="connsiteY60" fmla="*/ 695325 h 895350"/>
                  <a:gd name="connsiteX61" fmla="*/ 447675 w 990600"/>
                  <a:gd name="connsiteY61" fmla="*/ 740569 h 895350"/>
                  <a:gd name="connsiteX62" fmla="*/ 426244 w 990600"/>
                  <a:gd name="connsiteY62" fmla="*/ 764381 h 895350"/>
                  <a:gd name="connsiteX63" fmla="*/ 404812 w 990600"/>
                  <a:gd name="connsiteY63" fmla="*/ 745331 h 895350"/>
                  <a:gd name="connsiteX64" fmla="*/ 371475 w 990600"/>
                  <a:gd name="connsiteY64" fmla="*/ 785813 h 895350"/>
                  <a:gd name="connsiteX65" fmla="*/ 371475 w 990600"/>
                  <a:gd name="connsiteY65" fmla="*/ 850106 h 895350"/>
                  <a:gd name="connsiteX66" fmla="*/ 347662 w 990600"/>
                  <a:gd name="connsiteY66" fmla="*/ 871538 h 895350"/>
                  <a:gd name="connsiteX67" fmla="*/ 323850 w 990600"/>
                  <a:gd name="connsiteY67" fmla="*/ 895350 h 895350"/>
                  <a:gd name="connsiteX68" fmla="*/ 278606 w 990600"/>
                  <a:gd name="connsiteY68" fmla="*/ 883444 h 895350"/>
                  <a:gd name="connsiteX69" fmla="*/ 235744 w 990600"/>
                  <a:gd name="connsiteY69" fmla="*/ 892969 h 895350"/>
                  <a:gd name="connsiteX70" fmla="*/ 183356 w 990600"/>
                  <a:gd name="connsiteY70" fmla="*/ 871538 h 895350"/>
                  <a:gd name="connsiteX71" fmla="*/ 183356 w 990600"/>
                  <a:gd name="connsiteY71" fmla="*/ 842963 h 895350"/>
                  <a:gd name="connsiteX72" fmla="*/ 202406 w 990600"/>
                  <a:gd name="connsiteY72" fmla="*/ 826294 h 895350"/>
                  <a:gd name="connsiteX73" fmla="*/ 221456 w 990600"/>
                  <a:gd name="connsiteY73" fmla="*/ 804863 h 895350"/>
                  <a:gd name="connsiteX74" fmla="*/ 114300 w 990600"/>
                  <a:gd name="connsiteY74" fmla="*/ 792956 h 895350"/>
                  <a:gd name="connsiteX75" fmla="*/ 64294 w 990600"/>
                  <a:gd name="connsiteY75" fmla="*/ 812006 h 895350"/>
                  <a:gd name="connsiteX76" fmla="*/ 33337 w 990600"/>
                  <a:gd name="connsiteY76" fmla="*/ 764381 h 895350"/>
                  <a:gd name="connsiteX77" fmla="*/ 26194 w 990600"/>
                  <a:gd name="connsiteY77" fmla="*/ 726281 h 895350"/>
                  <a:gd name="connsiteX78" fmla="*/ 7144 w 990600"/>
                  <a:gd name="connsiteY78" fmla="*/ 692944 h 895350"/>
                  <a:gd name="connsiteX79" fmla="*/ 16669 w 990600"/>
                  <a:gd name="connsiteY79" fmla="*/ 635794 h 895350"/>
                  <a:gd name="connsiteX80" fmla="*/ 66675 w 990600"/>
                  <a:gd name="connsiteY80" fmla="*/ 569119 h 895350"/>
                  <a:gd name="connsiteX81" fmla="*/ 71437 w 990600"/>
                  <a:gd name="connsiteY81" fmla="*/ 504825 h 895350"/>
                  <a:gd name="connsiteX82" fmla="*/ 64294 w 990600"/>
                  <a:gd name="connsiteY82" fmla="*/ 473869 h 895350"/>
                  <a:gd name="connsiteX83" fmla="*/ 50006 w 990600"/>
                  <a:gd name="connsiteY83" fmla="*/ 459581 h 895350"/>
                  <a:gd name="connsiteX84" fmla="*/ 85725 w 990600"/>
                  <a:gd name="connsiteY84" fmla="*/ 428625 h 895350"/>
                  <a:gd name="connsiteX85" fmla="*/ 100012 w 990600"/>
                  <a:gd name="connsiteY85" fmla="*/ 378619 h 895350"/>
                  <a:gd name="connsiteX86" fmla="*/ 85725 w 990600"/>
                  <a:gd name="connsiteY86" fmla="*/ 369094 h 895350"/>
                  <a:gd name="connsiteX87" fmla="*/ 64294 w 990600"/>
                  <a:gd name="connsiteY87" fmla="*/ 364331 h 895350"/>
                  <a:gd name="connsiteX88" fmla="*/ 28575 w 990600"/>
                  <a:gd name="connsiteY88" fmla="*/ 326231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90600" h="895350">
                    <a:moveTo>
                      <a:pt x="28575" y="326231"/>
                    </a:moveTo>
                    <a:lnTo>
                      <a:pt x="23812" y="264319"/>
                    </a:lnTo>
                    <a:lnTo>
                      <a:pt x="0" y="264319"/>
                    </a:lnTo>
                    <a:lnTo>
                      <a:pt x="0" y="230981"/>
                    </a:lnTo>
                    <a:lnTo>
                      <a:pt x="30956" y="180975"/>
                    </a:lnTo>
                    <a:lnTo>
                      <a:pt x="26194" y="145256"/>
                    </a:lnTo>
                    <a:lnTo>
                      <a:pt x="85725" y="123825"/>
                    </a:lnTo>
                    <a:lnTo>
                      <a:pt x="133350" y="119063"/>
                    </a:lnTo>
                    <a:lnTo>
                      <a:pt x="176212" y="157163"/>
                    </a:lnTo>
                    <a:lnTo>
                      <a:pt x="207169" y="192881"/>
                    </a:lnTo>
                    <a:lnTo>
                      <a:pt x="238125" y="192881"/>
                    </a:lnTo>
                    <a:lnTo>
                      <a:pt x="264319" y="173831"/>
                    </a:lnTo>
                    <a:lnTo>
                      <a:pt x="285750" y="197644"/>
                    </a:lnTo>
                    <a:lnTo>
                      <a:pt x="316706" y="154781"/>
                    </a:lnTo>
                    <a:lnTo>
                      <a:pt x="345281" y="109538"/>
                    </a:lnTo>
                    <a:lnTo>
                      <a:pt x="354806" y="88106"/>
                    </a:lnTo>
                    <a:lnTo>
                      <a:pt x="416719" y="54769"/>
                    </a:lnTo>
                    <a:lnTo>
                      <a:pt x="461962" y="54769"/>
                    </a:lnTo>
                    <a:lnTo>
                      <a:pt x="564356" y="61913"/>
                    </a:lnTo>
                    <a:lnTo>
                      <a:pt x="590550" y="33338"/>
                    </a:lnTo>
                    <a:lnTo>
                      <a:pt x="642937" y="69056"/>
                    </a:lnTo>
                    <a:lnTo>
                      <a:pt x="683419" y="61913"/>
                    </a:lnTo>
                    <a:lnTo>
                      <a:pt x="719137" y="40481"/>
                    </a:lnTo>
                    <a:lnTo>
                      <a:pt x="754856" y="21431"/>
                    </a:lnTo>
                    <a:lnTo>
                      <a:pt x="854869" y="11906"/>
                    </a:lnTo>
                    <a:lnTo>
                      <a:pt x="892969" y="0"/>
                    </a:lnTo>
                    <a:lnTo>
                      <a:pt x="873919" y="28575"/>
                    </a:lnTo>
                    <a:lnTo>
                      <a:pt x="835819" y="47625"/>
                    </a:lnTo>
                    <a:lnTo>
                      <a:pt x="850106" y="97631"/>
                    </a:lnTo>
                    <a:lnTo>
                      <a:pt x="852487" y="121444"/>
                    </a:lnTo>
                    <a:lnTo>
                      <a:pt x="897731" y="145256"/>
                    </a:lnTo>
                    <a:lnTo>
                      <a:pt x="916781" y="166688"/>
                    </a:lnTo>
                    <a:lnTo>
                      <a:pt x="916781" y="202406"/>
                    </a:lnTo>
                    <a:lnTo>
                      <a:pt x="966787" y="230981"/>
                    </a:lnTo>
                    <a:lnTo>
                      <a:pt x="990600" y="273844"/>
                    </a:lnTo>
                    <a:lnTo>
                      <a:pt x="966787" y="295275"/>
                    </a:lnTo>
                    <a:lnTo>
                      <a:pt x="890587" y="311944"/>
                    </a:lnTo>
                    <a:lnTo>
                      <a:pt x="819150" y="316706"/>
                    </a:lnTo>
                    <a:lnTo>
                      <a:pt x="816769" y="283369"/>
                    </a:lnTo>
                    <a:lnTo>
                      <a:pt x="773906" y="326231"/>
                    </a:lnTo>
                    <a:lnTo>
                      <a:pt x="773906" y="342900"/>
                    </a:lnTo>
                    <a:lnTo>
                      <a:pt x="714375" y="366713"/>
                    </a:lnTo>
                    <a:lnTo>
                      <a:pt x="664369" y="390525"/>
                    </a:lnTo>
                    <a:lnTo>
                      <a:pt x="692944" y="407194"/>
                    </a:lnTo>
                    <a:lnTo>
                      <a:pt x="695325" y="442913"/>
                    </a:lnTo>
                    <a:lnTo>
                      <a:pt x="652462" y="490538"/>
                    </a:lnTo>
                    <a:lnTo>
                      <a:pt x="676275" y="528638"/>
                    </a:lnTo>
                    <a:lnTo>
                      <a:pt x="721519" y="550069"/>
                    </a:lnTo>
                    <a:lnTo>
                      <a:pt x="726281" y="595313"/>
                    </a:lnTo>
                    <a:lnTo>
                      <a:pt x="697706" y="626269"/>
                    </a:lnTo>
                    <a:lnTo>
                      <a:pt x="642937" y="635794"/>
                    </a:lnTo>
                    <a:lnTo>
                      <a:pt x="616744" y="642938"/>
                    </a:lnTo>
                    <a:lnTo>
                      <a:pt x="623887" y="673894"/>
                    </a:lnTo>
                    <a:lnTo>
                      <a:pt x="597694" y="714375"/>
                    </a:lnTo>
                    <a:cubicBezTo>
                      <a:pt x="576636" y="724904"/>
                      <a:pt x="583664" y="718880"/>
                      <a:pt x="573881" y="728663"/>
                    </a:cubicBezTo>
                    <a:lnTo>
                      <a:pt x="557212" y="740569"/>
                    </a:lnTo>
                    <a:lnTo>
                      <a:pt x="550069" y="697706"/>
                    </a:lnTo>
                    <a:lnTo>
                      <a:pt x="507206" y="688181"/>
                    </a:lnTo>
                    <a:lnTo>
                      <a:pt x="504825" y="709613"/>
                    </a:lnTo>
                    <a:lnTo>
                      <a:pt x="464344" y="711994"/>
                    </a:lnTo>
                    <a:lnTo>
                      <a:pt x="452437" y="695325"/>
                    </a:lnTo>
                    <a:lnTo>
                      <a:pt x="447675" y="740569"/>
                    </a:lnTo>
                    <a:lnTo>
                      <a:pt x="426244" y="764381"/>
                    </a:lnTo>
                    <a:lnTo>
                      <a:pt x="404812" y="745331"/>
                    </a:lnTo>
                    <a:lnTo>
                      <a:pt x="371475" y="785813"/>
                    </a:lnTo>
                    <a:lnTo>
                      <a:pt x="371475" y="850106"/>
                    </a:lnTo>
                    <a:cubicBezTo>
                      <a:pt x="351170" y="870411"/>
                      <a:pt x="360457" y="865139"/>
                      <a:pt x="347662" y="871538"/>
                    </a:cubicBezTo>
                    <a:lnTo>
                      <a:pt x="323850" y="895350"/>
                    </a:lnTo>
                    <a:lnTo>
                      <a:pt x="278606" y="883444"/>
                    </a:lnTo>
                    <a:lnTo>
                      <a:pt x="235744" y="892969"/>
                    </a:lnTo>
                    <a:lnTo>
                      <a:pt x="183356" y="871538"/>
                    </a:lnTo>
                    <a:lnTo>
                      <a:pt x="183356" y="842963"/>
                    </a:lnTo>
                    <a:lnTo>
                      <a:pt x="202406" y="826294"/>
                    </a:lnTo>
                    <a:lnTo>
                      <a:pt x="221456" y="804863"/>
                    </a:lnTo>
                    <a:lnTo>
                      <a:pt x="114300" y="792956"/>
                    </a:lnTo>
                    <a:lnTo>
                      <a:pt x="64294" y="812006"/>
                    </a:lnTo>
                    <a:lnTo>
                      <a:pt x="33337" y="764381"/>
                    </a:lnTo>
                    <a:lnTo>
                      <a:pt x="26194" y="726281"/>
                    </a:lnTo>
                    <a:lnTo>
                      <a:pt x="7144" y="692944"/>
                    </a:lnTo>
                    <a:lnTo>
                      <a:pt x="16669" y="635794"/>
                    </a:lnTo>
                    <a:lnTo>
                      <a:pt x="66675" y="569119"/>
                    </a:lnTo>
                    <a:lnTo>
                      <a:pt x="71437" y="504825"/>
                    </a:lnTo>
                    <a:lnTo>
                      <a:pt x="64294" y="473869"/>
                    </a:lnTo>
                    <a:lnTo>
                      <a:pt x="50006" y="459581"/>
                    </a:lnTo>
                    <a:lnTo>
                      <a:pt x="85725" y="428625"/>
                    </a:lnTo>
                    <a:lnTo>
                      <a:pt x="100012" y="378619"/>
                    </a:lnTo>
                    <a:lnTo>
                      <a:pt x="85725" y="369094"/>
                    </a:lnTo>
                    <a:lnTo>
                      <a:pt x="64294" y="364331"/>
                    </a:lnTo>
                    <a:lnTo>
                      <a:pt x="28575" y="32623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0" name="Figura a mano libera 70">
                <a:extLst>
                  <a:ext uri="{FF2B5EF4-FFF2-40B4-BE49-F238E27FC236}">
                    <a16:creationId xmlns:a16="http://schemas.microsoft.com/office/drawing/2014/main" id="{663D894B-96BC-487A-A189-892368D05583}"/>
                  </a:ext>
                </a:extLst>
              </p:cNvPr>
              <p:cNvSpPr/>
              <p:nvPr/>
            </p:nvSpPr>
            <p:spPr bwMode="auto">
              <a:xfrm>
                <a:off x="3229116" y="832388"/>
                <a:ext cx="614155" cy="558362"/>
              </a:xfrm>
              <a:custGeom>
                <a:avLst/>
                <a:gdLst>
                  <a:gd name="connsiteX0" fmla="*/ 216693 w 764381"/>
                  <a:gd name="connsiteY0" fmla="*/ 0 h 714375"/>
                  <a:gd name="connsiteX1" fmla="*/ 180975 w 764381"/>
                  <a:gd name="connsiteY1" fmla="*/ 80963 h 714375"/>
                  <a:gd name="connsiteX2" fmla="*/ 164306 w 764381"/>
                  <a:gd name="connsiteY2" fmla="*/ 114300 h 714375"/>
                  <a:gd name="connsiteX3" fmla="*/ 123825 w 764381"/>
                  <a:gd name="connsiteY3" fmla="*/ 109538 h 714375"/>
                  <a:gd name="connsiteX4" fmla="*/ 102393 w 764381"/>
                  <a:gd name="connsiteY4" fmla="*/ 147638 h 714375"/>
                  <a:gd name="connsiteX5" fmla="*/ 73818 w 764381"/>
                  <a:gd name="connsiteY5" fmla="*/ 202406 h 714375"/>
                  <a:gd name="connsiteX6" fmla="*/ 38100 w 764381"/>
                  <a:gd name="connsiteY6" fmla="*/ 211931 h 714375"/>
                  <a:gd name="connsiteX7" fmla="*/ 7143 w 764381"/>
                  <a:gd name="connsiteY7" fmla="*/ 209550 h 714375"/>
                  <a:gd name="connsiteX8" fmla="*/ 26193 w 764381"/>
                  <a:gd name="connsiteY8" fmla="*/ 235744 h 714375"/>
                  <a:gd name="connsiteX9" fmla="*/ 0 w 764381"/>
                  <a:gd name="connsiteY9" fmla="*/ 254794 h 714375"/>
                  <a:gd name="connsiteX10" fmla="*/ 21431 w 764381"/>
                  <a:gd name="connsiteY10" fmla="*/ 266700 h 714375"/>
                  <a:gd name="connsiteX11" fmla="*/ 59531 w 764381"/>
                  <a:gd name="connsiteY11" fmla="*/ 280988 h 714375"/>
                  <a:gd name="connsiteX12" fmla="*/ 78581 w 764381"/>
                  <a:gd name="connsiteY12" fmla="*/ 311944 h 714375"/>
                  <a:gd name="connsiteX13" fmla="*/ 88106 w 764381"/>
                  <a:gd name="connsiteY13" fmla="*/ 354806 h 714375"/>
                  <a:gd name="connsiteX14" fmla="*/ 35718 w 764381"/>
                  <a:gd name="connsiteY14" fmla="*/ 395288 h 714375"/>
                  <a:gd name="connsiteX15" fmla="*/ 85725 w 764381"/>
                  <a:gd name="connsiteY15" fmla="*/ 464344 h 714375"/>
                  <a:gd name="connsiteX16" fmla="*/ 92868 w 764381"/>
                  <a:gd name="connsiteY16" fmla="*/ 519113 h 714375"/>
                  <a:gd name="connsiteX17" fmla="*/ 130968 w 764381"/>
                  <a:gd name="connsiteY17" fmla="*/ 535781 h 714375"/>
                  <a:gd name="connsiteX18" fmla="*/ 138112 w 764381"/>
                  <a:gd name="connsiteY18" fmla="*/ 557213 h 714375"/>
                  <a:gd name="connsiteX19" fmla="*/ 183356 w 764381"/>
                  <a:gd name="connsiteY19" fmla="*/ 535781 h 714375"/>
                  <a:gd name="connsiteX20" fmla="*/ 214312 w 764381"/>
                  <a:gd name="connsiteY20" fmla="*/ 511969 h 714375"/>
                  <a:gd name="connsiteX21" fmla="*/ 261937 w 764381"/>
                  <a:gd name="connsiteY21" fmla="*/ 533400 h 714375"/>
                  <a:gd name="connsiteX22" fmla="*/ 297656 w 764381"/>
                  <a:gd name="connsiteY22" fmla="*/ 521494 h 714375"/>
                  <a:gd name="connsiteX23" fmla="*/ 311943 w 764381"/>
                  <a:gd name="connsiteY23" fmla="*/ 547688 h 714375"/>
                  <a:gd name="connsiteX24" fmla="*/ 333375 w 764381"/>
                  <a:gd name="connsiteY24" fmla="*/ 585788 h 714375"/>
                  <a:gd name="connsiteX25" fmla="*/ 335756 w 764381"/>
                  <a:gd name="connsiteY25" fmla="*/ 616744 h 714375"/>
                  <a:gd name="connsiteX26" fmla="*/ 345281 w 764381"/>
                  <a:gd name="connsiteY26" fmla="*/ 654844 h 714375"/>
                  <a:gd name="connsiteX27" fmla="*/ 345281 w 764381"/>
                  <a:gd name="connsiteY27" fmla="*/ 611981 h 714375"/>
                  <a:gd name="connsiteX28" fmla="*/ 385762 w 764381"/>
                  <a:gd name="connsiteY28" fmla="*/ 595313 h 714375"/>
                  <a:gd name="connsiteX29" fmla="*/ 395287 w 764381"/>
                  <a:gd name="connsiteY29" fmla="*/ 569119 h 714375"/>
                  <a:gd name="connsiteX30" fmla="*/ 435768 w 764381"/>
                  <a:gd name="connsiteY30" fmla="*/ 588169 h 714375"/>
                  <a:gd name="connsiteX31" fmla="*/ 502443 w 764381"/>
                  <a:gd name="connsiteY31" fmla="*/ 607219 h 714375"/>
                  <a:gd name="connsiteX32" fmla="*/ 509587 w 764381"/>
                  <a:gd name="connsiteY32" fmla="*/ 642938 h 714375"/>
                  <a:gd name="connsiteX33" fmla="*/ 542925 w 764381"/>
                  <a:gd name="connsiteY33" fmla="*/ 623888 h 714375"/>
                  <a:gd name="connsiteX34" fmla="*/ 585787 w 764381"/>
                  <a:gd name="connsiteY34" fmla="*/ 607219 h 714375"/>
                  <a:gd name="connsiteX35" fmla="*/ 592931 w 764381"/>
                  <a:gd name="connsiteY35" fmla="*/ 557213 h 714375"/>
                  <a:gd name="connsiteX36" fmla="*/ 628650 w 764381"/>
                  <a:gd name="connsiteY36" fmla="*/ 600075 h 714375"/>
                  <a:gd name="connsiteX37" fmla="*/ 635793 w 764381"/>
                  <a:gd name="connsiteY37" fmla="*/ 619125 h 714375"/>
                  <a:gd name="connsiteX38" fmla="*/ 659606 w 764381"/>
                  <a:gd name="connsiteY38" fmla="*/ 642938 h 714375"/>
                  <a:gd name="connsiteX39" fmla="*/ 664368 w 764381"/>
                  <a:gd name="connsiteY39" fmla="*/ 666750 h 714375"/>
                  <a:gd name="connsiteX40" fmla="*/ 669131 w 764381"/>
                  <a:gd name="connsiteY40" fmla="*/ 676275 h 714375"/>
                  <a:gd name="connsiteX41" fmla="*/ 678656 w 764381"/>
                  <a:gd name="connsiteY41" fmla="*/ 692944 h 714375"/>
                  <a:gd name="connsiteX42" fmla="*/ 731043 w 764381"/>
                  <a:gd name="connsiteY42" fmla="*/ 714375 h 714375"/>
                  <a:gd name="connsiteX43" fmla="*/ 764381 w 764381"/>
                  <a:gd name="connsiteY43" fmla="*/ 678656 h 714375"/>
                  <a:gd name="connsiteX44" fmla="*/ 709612 w 764381"/>
                  <a:gd name="connsiteY44" fmla="*/ 614363 h 714375"/>
                  <a:gd name="connsiteX45" fmla="*/ 688181 w 764381"/>
                  <a:gd name="connsiteY45" fmla="*/ 583406 h 714375"/>
                  <a:gd name="connsiteX46" fmla="*/ 635793 w 764381"/>
                  <a:gd name="connsiteY46" fmla="*/ 561975 h 714375"/>
                  <a:gd name="connsiteX47" fmla="*/ 602456 w 764381"/>
                  <a:gd name="connsiteY47" fmla="*/ 561975 h 714375"/>
                  <a:gd name="connsiteX48" fmla="*/ 595312 w 764381"/>
                  <a:gd name="connsiteY48" fmla="*/ 509588 h 714375"/>
                  <a:gd name="connsiteX49" fmla="*/ 631031 w 764381"/>
                  <a:gd name="connsiteY49" fmla="*/ 485775 h 714375"/>
                  <a:gd name="connsiteX50" fmla="*/ 628650 w 764381"/>
                  <a:gd name="connsiteY50" fmla="*/ 438150 h 714375"/>
                  <a:gd name="connsiteX51" fmla="*/ 628650 w 764381"/>
                  <a:gd name="connsiteY51" fmla="*/ 433388 h 714375"/>
                  <a:gd name="connsiteX52" fmla="*/ 581025 w 764381"/>
                  <a:gd name="connsiteY52" fmla="*/ 450056 h 714375"/>
                  <a:gd name="connsiteX53" fmla="*/ 559593 w 764381"/>
                  <a:gd name="connsiteY53" fmla="*/ 431006 h 714375"/>
                  <a:gd name="connsiteX54" fmla="*/ 573881 w 764381"/>
                  <a:gd name="connsiteY54" fmla="*/ 402431 h 714375"/>
                  <a:gd name="connsiteX55" fmla="*/ 564356 w 764381"/>
                  <a:gd name="connsiteY55" fmla="*/ 378619 h 714375"/>
                  <a:gd name="connsiteX56" fmla="*/ 654843 w 764381"/>
                  <a:gd name="connsiteY56" fmla="*/ 323850 h 714375"/>
                  <a:gd name="connsiteX57" fmla="*/ 642937 w 764381"/>
                  <a:gd name="connsiteY57" fmla="*/ 307181 h 714375"/>
                  <a:gd name="connsiteX58" fmla="*/ 592931 w 764381"/>
                  <a:gd name="connsiteY58" fmla="*/ 307181 h 714375"/>
                  <a:gd name="connsiteX59" fmla="*/ 578643 w 764381"/>
                  <a:gd name="connsiteY59" fmla="*/ 280988 h 714375"/>
                  <a:gd name="connsiteX60" fmla="*/ 540543 w 764381"/>
                  <a:gd name="connsiteY60" fmla="*/ 292894 h 714375"/>
                  <a:gd name="connsiteX61" fmla="*/ 528637 w 764381"/>
                  <a:gd name="connsiteY61" fmla="*/ 278606 h 714375"/>
                  <a:gd name="connsiteX62" fmla="*/ 509587 w 764381"/>
                  <a:gd name="connsiteY62" fmla="*/ 247650 h 714375"/>
                  <a:gd name="connsiteX63" fmla="*/ 545306 w 764381"/>
                  <a:gd name="connsiteY63" fmla="*/ 209550 h 714375"/>
                  <a:gd name="connsiteX64" fmla="*/ 547687 w 764381"/>
                  <a:gd name="connsiteY64" fmla="*/ 185738 h 714375"/>
                  <a:gd name="connsiteX65" fmla="*/ 621506 w 764381"/>
                  <a:gd name="connsiteY65" fmla="*/ 157163 h 714375"/>
                  <a:gd name="connsiteX66" fmla="*/ 638175 w 764381"/>
                  <a:gd name="connsiteY66" fmla="*/ 142875 h 714375"/>
                  <a:gd name="connsiteX67" fmla="*/ 657225 w 764381"/>
                  <a:gd name="connsiteY67" fmla="*/ 135731 h 714375"/>
                  <a:gd name="connsiteX68" fmla="*/ 669131 w 764381"/>
                  <a:gd name="connsiteY68" fmla="*/ 90488 h 714375"/>
                  <a:gd name="connsiteX69" fmla="*/ 569118 w 764381"/>
                  <a:gd name="connsiteY69" fmla="*/ 76200 h 714375"/>
                  <a:gd name="connsiteX70" fmla="*/ 502443 w 764381"/>
                  <a:gd name="connsiteY70" fmla="*/ 54769 h 714375"/>
                  <a:gd name="connsiteX71" fmla="*/ 478631 w 764381"/>
                  <a:gd name="connsiteY71" fmla="*/ 69056 h 714375"/>
                  <a:gd name="connsiteX72" fmla="*/ 450056 w 764381"/>
                  <a:gd name="connsiteY72" fmla="*/ 78581 h 714375"/>
                  <a:gd name="connsiteX73" fmla="*/ 400050 w 764381"/>
                  <a:gd name="connsiteY73" fmla="*/ 35719 h 714375"/>
                  <a:gd name="connsiteX74" fmla="*/ 354806 w 764381"/>
                  <a:gd name="connsiteY74" fmla="*/ 40481 h 714375"/>
                  <a:gd name="connsiteX75" fmla="*/ 290512 w 764381"/>
                  <a:gd name="connsiteY75" fmla="*/ 28575 h 714375"/>
                  <a:gd name="connsiteX76" fmla="*/ 269081 w 764381"/>
                  <a:gd name="connsiteY76" fmla="*/ 38100 h 714375"/>
                  <a:gd name="connsiteX77" fmla="*/ 216693 w 764381"/>
                  <a:gd name="connsiteY77" fmla="*/ 0 h 7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764381" h="714375">
                    <a:moveTo>
                      <a:pt x="216693" y="0"/>
                    </a:moveTo>
                    <a:lnTo>
                      <a:pt x="180975" y="80963"/>
                    </a:lnTo>
                    <a:lnTo>
                      <a:pt x="164306" y="114300"/>
                    </a:lnTo>
                    <a:lnTo>
                      <a:pt x="123825" y="109538"/>
                    </a:lnTo>
                    <a:lnTo>
                      <a:pt x="102393" y="147638"/>
                    </a:lnTo>
                    <a:lnTo>
                      <a:pt x="73818" y="202406"/>
                    </a:lnTo>
                    <a:lnTo>
                      <a:pt x="38100" y="211931"/>
                    </a:lnTo>
                    <a:lnTo>
                      <a:pt x="7143" y="209550"/>
                    </a:lnTo>
                    <a:lnTo>
                      <a:pt x="26193" y="235744"/>
                    </a:lnTo>
                    <a:lnTo>
                      <a:pt x="0" y="254794"/>
                    </a:lnTo>
                    <a:lnTo>
                      <a:pt x="21431" y="266700"/>
                    </a:lnTo>
                    <a:lnTo>
                      <a:pt x="59531" y="280988"/>
                    </a:lnTo>
                    <a:lnTo>
                      <a:pt x="78581" y="311944"/>
                    </a:lnTo>
                    <a:lnTo>
                      <a:pt x="88106" y="354806"/>
                    </a:lnTo>
                    <a:lnTo>
                      <a:pt x="35718" y="395288"/>
                    </a:lnTo>
                    <a:lnTo>
                      <a:pt x="85725" y="464344"/>
                    </a:lnTo>
                    <a:lnTo>
                      <a:pt x="92868" y="519113"/>
                    </a:lnTo>
                    <a:lnTo>
                      <a:pt x="130968" y="535781"/>
                    </a:lnTo>
                    <a:lnTo>
                      <a:pt x="138112" y="557213"/>
                    </a:lnTo>
                    <a:lnTo>
                      <a:pt x="183356" y="535781"/>
                    </a:lnTo>
                    <a:lnTo>
                      <a:pt x="214312" y="511969"/>
                    </a:lnTo>
                    <a:lnTo>
                      <a:pt x="261937" y="533400"/>
                    </a:lnTo>
                    <a:lnTo>
                      <a:pt x="297656" y="521494"/>
                    </a:lnTo>
                    <a:lnTo>
                      <a:pt x="311943" y="547688"/>
                    </a:lnTo>
                    <a:lnTo>
                      <a:pt x="333375" y="585788"/>
                    </a:lnTo>
                    <a:lnTo>
                      <a:pt x="335756" y="616744"/>
                    </a:lnTo>
                    <a:lnTo>
                      <a:pt x="345281" y="654844"/>
                    </a:lnTo>
                    <a:lnTo>
                      <a:pt x="345281" y="611981"/>
                    </a:lnTo>
                    <a:lnTo>
                      <a:pt x="385762" y="595313"/>
                    </a:lnTo>
                    <a:lnTo>
                      <a:pt x="395287" y="569119"/>
                    </a:lnTo>
                    <a:lnTo>
                      <a:pt x="435768" y="588169"/>
                    </a:lnTo>
                    <a:lnTo>
                      <a:pt x="502443" y="607219"/>
                    </a:lnTo>
                    <a:lnTo>
                      <a:pt x="509587" y="642938"/>
                    </a:lnTo>
                    <a:lnTo>
                      <a:pt x="542925" y="623888"/>
                    </a:lnTo>
                    <a:lnTo>
                      <a:pt x="585787" y="607219"/>
                    </a:lnTo>
                    <a:lnTo>
                      <a:pt x="592931" y="557213"/>
                    </a:lnTo>
                    <a:lnTo>
                      <a:pt x="628650" y="600075"/>
                    </a:lnTo>
                    <a:lnTo>
                      <a:pt x="635793" y="619125"/>
                    </a:lnTo>
                    <a:lnTo>
                      <a:pt x="659606" y="642938"/>
                    </a:lnTo>
                    <a:cubicBezTo>
                      <a:pt x="661193" y="650875"/>
                      <a:pt x="662144" y="658967"/>
                      <a:pt x="664368" y="666750"/>
                    </a:cubicBezTo>
                    <a:cubicBezTo>
                      <a:pt x="665343" y="670163"/>
                      <a:pt x="669131" y="676275"/>
                      <a:pt x="669131" y="676275"/>
                    </a:cubicBezTo>
                    <a:lnTo>
                      <a:pt x="678656" y="692944"/>
                    </a:lnTo>
                    <a:lnTo>
                      <a:pt x="731043" y="714375"/>
                    </a:lnTo>
                    <a:lnTo>
                      <a:pt x="764381" y="678656"/>
                    </a:lnTo>
                    <a:lnTo>
                      <a:pt x="709612" y="614363"/>
                    </a:lnTo>
                    <a:lnTo>
                      <a:pt x="688181" y="583406"/>
                    </a:lnTo>
                    <a:lnTo>
                      <a:pt x="635793" y="561975"/>
                    </a:lnTo>
                    <a:lnTo>
                      <a:pt x="602456" y="561975"/>
                    </a:lnTo>
                    <a:lnTo>
                      <a:pt x="595312" y="509588"/>
                    </a:lnTo>
                    <a:lnTo>
                      <a:pt x="631031" y="485775"/>
                    </a:lnTo>
                    <a:lnTo>
                      <a:pt x="628650" y="438150"/>
                    </a:lnTo>
                    <a:lnTo>
                      <a:pt x="628650" y="433388"/>
                    </a:lnTo>
                    <a:lnTo>
                      <a:pt x="581025" y="450056"/>
                    </a:lnTo>
                    <a:lnTo>
                      <a:pt x="559593" y="431006"/>
                    </a:lnTo>
                    <a:lnTo>
                      <a:pt x="573881" y="402431"/>
                    </a:lnTo>
                    <a:lnTo>
                      <a:pt x="564356" y="378619"/>
                    </a:lnTo>
                    <a:lnTo>
                      <a:pt x="654843" y="323850"/>
                    </a:lnTo>
                    <a:lnTo>
                      <a:pt x="642937" y="307181"/>
                    </a:lnTo>
                    <a:lnTo>
                      <a:pt x="592931" y="307181"/>
                    </a:lnTo>
                    <a:lnTo>
                      <a:pt x="578643" y="280988"/>
                    </a:lnTo>
                    <a:lnTo>
                      <a:pt x="540543" y="292894"/>
                    </a:lnTo>
                    <a:lnTo>
                      <a:pt x="528637" y="278606"/>
                    </a:lnTo>
                    <a:lnTo>
                      <a:pt x="509587" y="247650"/>
                    </a:lnTo>
                    <a:lnTo>
                      <a:pt x="545306" y="209550"/>
                    </a:lnTo>
                    <a:lnTo>
                      <a:pt x="547687" y="185738"/>
                    </a:lnTo>
                    <a:lnTo>
                      <a:pt x="621506" y="157163"/>
                    </a:lnTo>
                    <a:lnTo>
                      <a:pt x="638175" y="142875"/>
                    </a:lnTo>
                    <a:lnTo>
                      <a:pt x="657225" y="135731"/>
                    </a:lnTo>
                    <a:lnTo>
                      <a:pt x="669131" y="90488"/>
                    </a:lnTo>
                    <a:lnTo>
                      <a:pt x="569118" y="76200"/>
                    </a:lnTo>
                    <a:lnTo>
                      <a:pt x="502443" y="54769"/>
                    </a:lnTo>
                    <a:lnTo>
                      <a:pt x="478631" y="69056"/>
                    </a:lnTo>
                    <a:lnTo>
                      <a:pt x="450056" y="78581"/>
                    </a:lnTo>
                    <a:lnTo>
                      <a:pt x="400050" y="35719"/>
                    </a:lnTo>
                    <a:lnTo>
                      <a:pt x="354806" y="40481"/>
                    </a:lnTo>
                    <a:lnTo>
                      <a:pt x="290512" y="28575"/>
                    </a:lnTo>
                    <a:lnTo>
                      <a:pt x="269081" y="38100"/>
                    </a:lnTo>
                    <a:lnTo>
                      <a:pt x="21669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1" name="Figura a mano libera 71">
                <a:extLst>
                  <a:ext uri="{FF2B5EF4-FFF2-40B4-BE49-F238E27FC236}">
                    <a16:creationId xmlns:a16="http://schemas.microsoft.com/office/drawing/2014/main" id="{36D30A37-DE12-4A2F-94A5-401B8A7C0F79}"/>
                  </a:ext>
                </a:extLst>
              </p:cNvPr>
              <p:cNvSpPr/>
              <p:nvPr/>
            </p:nvSpPr>
            <p:spPr bwMode="auto">
              <a:xfrm>
                <a:off x="2558590" y="816267"/>
                <a:ext cx="946452" cy="970170"/>
              </a:xfrm>
              <a:custGeom>
                <a:avLst/>
                <a:gdLst>
                  <a:gd name="connsiteX0" fmla="*/ 812006 w 1176338"/>
                  <a:gd name="connsiteY0" fmla="*/ 1188244 h 1240631"/>
                  <a:gd name="connsiteX1" fmla="*/ 850106 w 1176338"/>
                  <a:gd name="connsiteY1" fmla="*/ 1240631 h 1240631"/>
                  <a:gd name="connsiteX2" fmla="*/ 900113 w 1176338"/>
                  <a:gd name="connsiteY2" fmla="*/ 1188244 h 1240631"/>
                  <a:gd name="connsiteX3" fmla="*/ 921544 w 1176338"/>
                  <a:gd name="connsiteY3" fmla="*/ 1112044 h 1240631"/>
                  <a:gd name="connsiteX4" fmla="*/ 885825 w 1176338"/>
                  <a:gd name="connsiteY4" fmla="*/ 1100137 h 1240631"/>
                  <a:gd name="connsiteX5" fmla="*/ 845344 w 1176338"/>
                  <a:gd name="connsiteY5" fmla="*/ 1064419 h 1240631"/>
                  <a:gd name="connsiteX6" fmla="*/ 833438 w 1176338"/>
                  <a:gd name="connsiteY6" fmla="*/ 1028700 h 1240631"/>
                  <a:gd name="connsiteX7" fmla="*/ 819150 w 1176338"/>
                  <a:gd name="connsiteY7" fmla="*/ 995362 h 1240631"/>
                  <a:gd name="connsiteX8" fmla="*/ 816769 w 1176338"/>
                  <a:gd name="connsiteY8" fmla="*/ 947737 h 1240631"/>
                  <a:gd name="connsiteX9" fmla="*/ 804863 w 1176338"/>
                  <a:gd name="connsiteY9" fmla="*/ 933450 h 1240631"/>
                  <a:gd name="connsiteX10" fmla="*/ 783431 w 1176338"/>
                  <a:gd name="connsiteY10" fmla="*/ 971550 h 1240631"/>
                  <a:gd name="connsiteX11" fmla="*/ 762000 w 1176338"/>
                  <a:gd name="connsiteY11" fmla="*/ 933450 h 1240631"/>
                  <a:gd name="connsiteX12" fmla="*/ 771525 w 1176338"/>
                  <a:gd name="connsiteY12" fmla="*/ 888206 h 1240631"/>
                  <a:gd name="connsiteX13" fmla="*/ 804863 w 1176338"/>
                  <a:gd name="connsiteY13" fmla="*/ 852487 h 1240631"/>
                  <a:gd name="connsiteX14" fmla="*/ 797719 w 1176338"/>
                  <a:gd name="connsiteY14" fmla="*/ 835819 h 1240631"/>
                  <a:gd name="connsiteX15" fmla="*/ 828675 w 1176338"/>
                  <a:gd name="connsiteY15" fmla="*/ 776287 h 1240631"/>
                  <a:gd name="connsiteX16" fmla="*/ 852488 w 1176338"/>
                  <a:gd name="connsiteY16" fmla="*/ 771525 h 1240631"/>
                  <a:gd name="connsiteX17" fmla="*/ 902494 w 1176338"/>
                  <a:gd name="connsiteY17" fmla="*/ 776287 h 1240631"/>
                  <a:gd name="connsiteX18" fmla="*/ 892969 w 1176338"/>
                  <a:gd name="connsiteY18" fmla="*/ 802481 h 1240631"/>
                  <a:gd name="connsiteX19" fmla="*/ 959644 w 1176338"/>
                  <a:gd name="connsiteY19" fmla="*/ 785812 h 1240631"/>
                  <a:gd name="connsiteX20" fmla="*/ 1076325 w 1176338"/>
                  <a:gd name="connsiteY20" fmla="*/ 740569 h 1240631"/>
                  <a:gd name="connsiteX21" fmla="*/ 1107281 w 1176338"/>
                  <a:gd name="connsiteY21" fmla="*/ 695325 h 1240631"/>
                  <a:gd name="connsiteX22" fmla="*/ 1176338 w 1176338"/>
                  <a:gd name="connsiteY22" fmla="*/ 695325 h 1240631"/>
                  <a:gd name="connsiteX23" fmla="*/ 1171575 w 1176338"/>
                  <a:gd name="connsiteY23" fmla="*/ 671512 h 1240631"/>
                  <a:gd name="connsiteX24" fmla="*/ 1173956 w 1176338"/>
                  <a:gd name="connsiteY24" fmla="*/ 600075 h 1240631"/>
                  <a:gd name="connsiteX25" fmla="*/ 1138238 w 1176338"/>
                  <a:gd name="connsiteY25" fmla="*/ 547687 h 1240631"/>
                  <a:gd name="connsiteX26" fmla="*/ 1100138 w 1176338"/>
                  <a:gd name="connsiteY26" fmla="*/ 557212 h 1240631"/>
                  <a:gd name="connsiteX27" fmla="*/ 1050131 w 1176338"/>
                  <a:gd name="connsiteY27" fmla="*/ 533400 h 1240631"/>
                  <a:gd name="connsiteX28" fmla="*/ 978694 w 1176338"/>
                  <a:gd name="connsiteY28" fmla="*/ 576262 h 1240631"/>
                  <a:gd name="connsiteX29" fmla="*/ 964406 w 1176338"/>
                  <a:gd name="connsiteY29" fmla="*/ 557212 h 1240631"/>
                  <a:gd name="connsiteX30" fmla="*/ 923925 w 1176338"/>
                  <a:gd name="connsiteY30" fmla="*/ 542925 h 1240631"/>
                  <a:gd name="connsiteX31" fmla="*/ 923925 w 1176338"/>
                  <a:gd name="connsiteY31" fmla="*/ 492919 h 1240631"/>
                  <a:gd name="connsiteX32" fmla="*/ 866775 w 1176338"/>
                  <a:gd name="connsiteY32" fmla="*/ 419100 h 1240631"/>
                  <a:gd name="connsiteX33" fmla="*/ 935831 w 1176338"/>
                  <a:gd name="connsiteY33" fmla="*/ 373856 h 1240631"/>
                  <a:gd name="connsiteX34" fmla="*/ 907256 w 1176338"/>
                  <a:gd name="connsiteY34" fmla="*/ 314325 h 1240631"/>
                  <a:gd name="connsiteX35" fmla="*/ 878681 w 1176338"/>
                  <a:gd name="connsiteY35" fmla="*/ 297656 h 1240631"/>
                  <a:gd name="connsiteX36" fmla="*/ 831056 w 1176338"/>
                  <a:gd name="connsiteY36" fmla="*/ 283369 h 1240631"/>
                  <a:gd name="connsiteX37" fmla="*/ 852488 w 1176338"/>
                  <a:gd name="connsiteY37" fmla="*/ 264319 h 1240631"/>
                  <a:gd name="connsiteX38" fmla="*/ 838200 w 1176338"/>
                  <a:gd name="connsiteY38" fmla="*/ 228600 h 1240631"/>
                  <a:gd name="connsiteX39" fmla="*/ 919163 w 1176338"/>
                  <a:gd name="connsiteY39" fmla="*/ 230981 h 1240631"/>
                  <a:gd name="connsiteX40" fmla="*/ 957263 w 1176338"/>
                  <a:gd name="connsiteY40" fmla="*/ 128587 h 1240631"/>
                  <a:gd name="connsiteX41" fmla="*/ 1007269 w 1176338"/>
                  <a:gd name="connsiteY41" fmla="*/ 133350 h 1240631"/>
                  <a:gd name="connsiteX42" fmla="*/ 1059656 w 1176338"/>
                  <a:gd name="connsiteY42" fmla="*/ 26194 h 1240631"/>
                  <a:gd name="connsiteX43" fmla="*/ 1023938 w 1176338"/>
                  <a:gd name="connsiteY43" fmla="*/ 19050 h 1240631"/>
                  <a:gd name="connsiteX44" fmla="*/ 1002506 w 1176338"/>
                  <a:gd name="connsiteY44" fmla="*/ 0 h 1240631"/>
                  <a:gd name="connsiteX45" fmla="*/ 983456 w 1176338"/>
                  <a:gd name="connsiteY45" fmla="*/ 11906 h 1240631"/>
                  <a:gd name="connsiteX46" fmla="*/ 952500 w 1176338"/>
                  <a:gd name="connsiteY46" fmla="*/ 16669 h 1240631"/>
                  <a:gd name="connsiteX47" fmla="*/ 928688 w 1176338"/>
                  <a:gd name="connsiteY47" fmla="*/ 4762 h 1240631"/>
                  <a:gd name="connsiteX48" fmla="*/ 902494 w 1176338"/>
                  <a:gd name="connsiteY48" fmla="*/ 2381 h 1240631"/>
                  <a:gd name="connsiteX49" fmla="*/ 885825 w 1176338"/>
                  <a:gd name="connsiteY49" fmla="*/ 28575 h 1240631"/>
                  <a:gd name="connsiteX50" fmla="*/ 740569 w 1176338"/>
                  <a:gd name="connsiteY50" fmla="*/ 45244 h 1240631"/>
                  <a:gd name="connsiteX51" fmla="*/ 740569 w 1176338"/>
                  <a:gd name="connsiteY51" fmla="*/ 11906 h 1240631"/>
                  <a:gd name="connsiteX52" fmla="*/ 704850 w 1176338"/>
                  <a:gd name="connsiteY52" fmla="*/ 52387 h 1240631"/>
                  <a:gd name="connsiteX53" fmla="*/ 704850 w 1176338"/>
                  <a:gd name="connsiteY53" fmla="*/ 71437 h 1240631"/>
                  <a:gd name="connsiteX54" fmla="*/ 583406 w 1176338"/>
                  <a:gd name="connsiteY54" fmla="*/ 111919 h 1240631"/>
                  <a:gd name="connsiteX55" fmla="*/ 614363 w 1176338"/>
                  <a:gd name="connsiteY55" fmla="*/ 140494 h 1240631"/>
                  <a:gd name="connsiteX56" fmla="*/ 616744 w 1176338"/>
                  <a:gd name="connsiteY56" fmla="*/ 178594 h 1240631"/>
                  <a:gd name="connsiteX57" fmla="*/ 573881 w 1176338"/>
                  <a:gd name="connsiteY57" fmla="*/ 211931 h 1240631"/>
                  <a:gd name="connsiteX58" fmla="*/ 600075 w 1176338"/>
                  <a:gd name="connsiteY58" fmla="*/ 259556 h 1240631"/>
                  <a:gd name="connsiteX59" fmla="*/ 647700 w 1176338"/>
                  <a:gd name="connsiteY59" fmla="*/ 276225 h 1240631"/>
                  <a:gd name="connsiteX60" fmla="*/ 645319 w 1176338"/>
                  <a:gd name="connsiteY60" fmla="*/ 323850 h 1240631"/>
                  <a:gd name="connsiteX61" fmla="*/ 619125 w 1176338"/>
                  <a:gd name="connsiteY61" fmla="*/ 357187 h 1240631"/>
                  <a:gd name="connsiteX62" fmla="*/ 542925 w 1176338"/>
                  <a:gd name="connsiteY62" fmla="*/ 366712 h 1240631"/>
                  <a:gd name="connsiteX63" fmla="*/ 545306 w 1176338"/>
                  <a:gd name="connsiteY63" fmla="*/ 400050 h 1240631"/>
                  <a:gd name="connsiteX64" fmla="*/ 528638 w 1176338"/>
                  <a:gd name="connsiteY64" fmla="*/ 440531 h 1240631"/>
                  <a:gd name="connsiteX65" fmla="*/ 476250 w 1176338"/>
                  <a:gd name="connsiteY65" fmla="*/ 457200 h 1240631"/>
                  <a:gd name="connsiteX66" fmla="*/ 471488 w 1176338"/>
                  <a:gd name="connsiteY66" fmla="*/ 414337 h 1240631"/>
                  <a:gd name="connsiteX67" fmla="*/ 440531 w 1176338"/>
                  <a:gd name="connsiteY67" fmla="*/ 411956 h 1240631"/>
                  <a:gd name="connsiteX68" fmla="*/ 426244 w 1176338"/>
                  <a:gd name="connsiteY68" fmla="*/ 440531 h 1240631"/>
                  <a:gd name="connsiteX69" fmla="*/ 383381 w 1176338"/>
                  <a:gd name="connsiteY69" fmla="*/ 438150 h 1240631"/>
                  <a:gd name="connsiteX70" fmla="*/ 381000 w 1176338"/>
                  <a:gd name="connsiteY70" fmla="*/ 416719 h 1240631"/>
                  <a:gd name="connsiteX71" fmla="*/ 373856 w 1176338"/>
                  <a:gd name="connsiteY71" fmla="*/ 459581 h 1240631"/>
                  <a:gd name="connsiteX72" fmla="*/ 369094 w 1176338"/>
                  <a:gd name="connsiteY72" fmla="*/ 481012 h 1240631"/>
                  <a:gd name="connsiteX73" fmla="*/ 342900 w 1176338"/>
                  <a:gd name="connsiteY73" fmla="*/ 490537 h 1240631"/>
                  <a:gd name="connsiteX74" fmla="*/ 340519 w 1176338"/>
                  <a:gd name="connsiteY74" fmla="*/ 471487 h 1240631"/>
                  <a:gd name="connsiteX75" fmla="*/ 288131 w 1176338"/>
                  <a:gd name="connsiteY75" fmla="*/ 509587 h 1240631"/>
                  <a:gd name="connsiteX76" fmla="*/ 295275 w 1176338"/>
                  <a:gd name="connsiteY76" fmla="*/ 576262 h 1240631"/>
                  <a:gd name="connsiteX77" fmla="*/ 252413 w 1176338"/>
                  <a:gd name="connsiteY77" fmla="*/ 614362 h 1240631"/>
                  <a:gd name="connsiteX78" fmla="*/ 192881 w 1176338"/>
                  <a:gd name="connsiteY78" fmla="*/ 604837 h 1240631"/>
                  <a:gd name="connsiteX79" fmla="*/ 152400 w 1176338"/>
                  <a:gd name="connsiteY79" fmla="*/ 611981 h 1240631"/>
                  <a:gd name="connsiteX80" fmla="*/ 114300 w 1176338"/>
                  <a:gd name="connsiteY80" fmla="*/ 611981 h 1240631"/>
                  <a:gd name="connsiteX81" fmla="*/ 109538 w 1176338"/>
                  <a:gd name="connsiteY81" fmla="*/ 590550 h 1240631"/>
                  <a:gd name="connsiteX82" fmla="*/ 116681 w 1176338"/>
                  <a:gd name="connsiteY82" fmla="*/ 559594 h 1240631"/>
                  <a:gd name="connsiteX83" fmla="*/ 121444 w 1176338"/>
                  <a:gd name="connsiteY83" fmla="*/ 540544 h 1240631"/>
                  <a:gd name="connsiteX84" fmla="*/ 0 w 1176338"/>
                  <a:gd name="connsiteY84" fmla="*/ 671512 h 1240631"/>
                  <a:gd name="connsiteX85" fmla="*/ 11906 w 1176338"/>
                  <a:gd name="connsiteY85" fmla="*/ 781050 h 1240631"/>
                  <a:gd name="connsiteX86" fmla="*/ 45244 w 1176338"/>
                  <a:gd name="connsiteY86" fmla="*/ 781050 h 1240631"/>
                  <a:gd name="connsiteX87" fmla="*/ 28575 w 1176338"/>
                  <a:gd name="connsiteY87" fmla="*/ 838200 h 1240631"/>
                  <a:gd name="connsiteX88" fmla="*/ 16669 w 1176338"/>
                  <a:gd name="connsiteY88" fmla="*/ 876300 h 1240631"/>
                  <a:gd name="connsiteX89" fmla="*/ 40481 w 1176338"/>
                  <a:gd name="connsiteY89" fmla="*/ 876300 h 1240631"/>
                  <a:gd name="connsiteX90" fmla="*/ 42863 w 1176338"/>
                  <a:gd name="connsiteY90" fmla="*/ 845344 h 1240631"/>
                  <a:gd name="connsiteX91" fmla="*/ 164306 w 1176338"/>
                  <a:gd name="connsiteY91" fmla="*/ 962025 h 1240631"/>
                  <a:gd name="connsiteX92" fmla="*/ 180975 w 1176338"/>
                  <a:gd name="connsiteY92" fmla="*/ 964406 h 1240631"/>
                  <a:gd name="connsiteX93" fmla="*/ 188119 w 1176338"/>
                  <a:gd name="connsiteY93" fmla="*/ 992981 h 1240631"/>
                  <a:gd name="connsiteX94" fmla="*/ 197644 w 1176338"/>
                  <a:gd name="connsiteY94" fmla="*/ 1019175 h 1240631"/>
                  <a:gd name="connsiteX95" fmla="*/ 271463 w 1176338"/>
                  <a:gd name="connsiteY95" fmla="*/ 1000125 h 1240631"/>
                  <a:gd name="connsiteX96" fmla="*/ 269081 w 1176338"/>
                  <a:gd name="connsiteY96" fmla="*/ 1047750 h 1240631"/>
                  <a:gd name="connsiteX97" fmla="*/ 354806 w 1176338"/>
                  <a:gd name="connsiteY97" fmla="*/ 1092994 h 1240631"/>
                  <a:gd name="connsiteX98" fmla="*/ 409575 w 1176338"/>
                  <a:gd name="connsiteY98" fmla="*/ 1119187 h 1240631"/>
                  <a:gd name="connsiteX99" fmla="*/ 447675 w 1176338"/>
                  <a:gd name="connsiteY99" fmla="*/ 1143000 h 1240631"/>
                  <a:gd name="connsiteX100" fmla="*/ 452438 w 1176338"/>
                  <a:gd name="connsiteY100" fmla="*/ 1166812 h 1240631"/>
                  <a:gd name="connsiteX101" fmla="*/ 504825 w 1176338"/>
                  <a:gd name="connsiteY101" fmla="*/ 1123950 h 1240631"/>
                  <a:gd name="connsiteX102" fmla="*/ 588169 w 1176338"/>
                  <a:gd name="connsiteY102" fmla="*/ 1100137 h 1240631"/>
                  <a:gd name="connsiteX103" fmla="*/ 678656 w 1176338"/>
                  <a:gd name="connsiteY103" fmla="*/ 1107281 h 1240631"/>
                  <a:gd name="connsiteX104" fmla="*/ 728663 w 1176338"/>
                  <a:gd name="connsiteY104" fmla="*/ 1131094 h 1240631"/>
                  <a:gd name="connsiteX105" fmla="*/ 747713 w 1176338"/>
                  <a:gd name="connsiteY105" fmla="*/ 1152525 h 1240631"/>
                  <a:gd name="connsiteX106" fmla="*/ 785813 w 1176338"/>
                  <a:gd name="connsiteY106" fmla="*/ 1128712 h 1240631"/>
                  <a:gd name="connsiteX107" fmla="*/ 812006 w 1176338"/>
                  <a:gd name="connsiteY107" fmla="*/ 1188244 h 1240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1176338" h="1240631">
                    <a:moveTo>
                      <a:pt x="812006" y="1188244"/>
                    </a:moveTo>
                    <a:lnTo>
                      <a:pt x="850106" y="1240631"/>
                    </a:lnTo>
                    <a:lnTo>
                      <a:pt x="900113" y="1188244"/>
                    </a:lnTo>
                    <a:lnTo>
                      <a:pt x="921544" y="1112044"/>
                    </a:lnTo>
                    <a:lnTo>
                      <a:pt x="885825" y="1100137"/>
                    </a:lnTo>
                    <a:lnTo>
                      <a:pt x="845344" y="1064419"/>
                    </a:lnTo>
                    <a:lnTo>
                      <a:pt x="833438" y="1028700"/>
                    </a:lnTo>
                    <a:lnTo>
                      <a:pt x="819150" y="995362"/>
                    </a:lnTo>
                    <a:lnTo>
                      <a:pt x="816769" y="947737"/>
                    </a:lnTo>
                    <a:lnTo>
                      <a:pt x="804863" y="933450"/>
                    </a:lnTo>
                    <a:lnTo>
                      <a:pt x="783431" y="971550"/>
                    </a:lnTo>
                    <a:lnTo>
                      <a:pt x="762000" y="933450"/>
                    </a:lnTo>
                    <a:lnTo>
                      <a:pt x="771525" y="888206"/>
                    </a:lnTo>
                    <a:lnTo>
                      <a:pt x="804863" y="852487"/>
                    </a:lnTo>
                    <a:lnTo>
                      <a:pt x="797719" y="835819"/>
                    </a:lnTo>
                    <a:lnTo>
                      <a:pt x="828675" y="776287"/>
                    </a:lnTo>
                    <a:lnTo>
                      <a:pt x="852488" y="771525"/>
                    </a:lnTo>
                    <a:lnTo>
                      <a:pt x="902494" y="776287"/>
                    </a:lnTo>
                    <a:lnTo>
                      <a:pt x="892969" y="802481"/>
                    </a:lnTo>
                    <a:lnTo>
                      <a:pt x="959644" y="785812"/>
                    </a:lnTo>
                    <a:lnTo>
                      <a:pt x="1076325" y="740569"/>
                    </a:lnTo>
                    <a:lnTo>
                      <a:pt x="1107281" y="695325"/>
                    </a:lnTo>
                    <a:lnTo>
                      <a:pt x="1176338" y="695325"/>
                    </a:lnTo>
                    <a:lnTo>
                      <a:pt x="1171575" y="671512"/>
                    </a:lnTo>
                    <a:cubicBezTo>
                      <a:pt x="1172369" y="647700"/>
                      <a:pt x="1173162" y="623887"/>
                      <a:pt x="1173956" y="600075"/>
                    </a:cubicBezTo>
                    <a:lnTo>
                      <a:pt x="1138238" y="547687"/>
                    </a:lnTo>
                    <a:lnTo>
                      <a:pt x="1100138" y="557212"/>
                    </a:lnTo>
                    <a:lnTo>
                      <a:pt x="1050131" y="533400"/>
                    </a:lnTo>
                    <a:lnTo>
                      <a:pt x="978694" y="576262"/>
                    </a:lnTo>
                    <a:lnTo>
                      <a:pt x="964406" y="557212"/>
                    </a:lnTo>
                    <a:lnTo>
                      <a:pt x="923925" y="542925"/>
                    </a:lnTo>
                    <a:lnTo>
                      <a:pt x="923925" y="492919"/>
                    </a:lnTo>
                    <a:lnTo>
                      <a:pt x="866775" y="419100"/>
                    </a:lnTo>
                    <a:lnTo>
                      <a:pt x="935831" y="373856"/>
                    </a:lnTo>
                    <a:lnTo>
                      <a:pt x="907256" y="314325"/>
                    </a:lnTo>
                    <a:lnTo>
                      <a:pt x="878681" y="297656"/>
                    </a:lnTo>
                    <a:lnTo>
                      <a:pt x="831056" y="283369"/>
                    </a:lnTo>
                    <a:lnTo>
                      <a:pt x="852488" y="264319"/>
                    </a:lnTo>
                    <a:lnTo>
                      <a:pt x="838200" y="228600"/>
                    </a:lnTo>
                    <a:lnTo>
                      <a:pt x="919163" y="230981"/>
                    </a:lnTo>
                    <a:lnTo>
                      <a:pt x="957263" y="128587"/>
                    </a:lnTo>
                    <a:lnTo>
                      <a:pt x="1007269" y="133350"/>
                    </a:lnTo>
                    <a:lnTo>
                      <a:pt x="1059656" y="26194"/>
                    </a:lnTo>
                    <a:lnTo>
                      <a:pt x="1023938" y="19050"/>
                    </a:lnTo>
                    <a:lnTo>
                      <a:pt x="1002506" y="0"/>
                    </a:lnTo>
                    <a:lnTo>
                      <a:pt x="983456" y="11906"/>
                    </a:lnTo>
                    <a:lnTo>
                      <a:pt x="952500" y="16669"/>
                    </a:lnTo>
                    <a:lnTo>
                      <a:pt x="928688" y="4762"/>
                    </a:lnTo>
                    <a:lnTo>
                      <a:pt x="902494" y="2381"/>
                    </a:lnTo>
                    <a:lnTo>
                      <a:pt x="885825" y="28575"/>
                    </a:lnTo>
                    <a:lnTo>
                      <a:pt x="740569" y="45244"/>
                    </a:lnTo>
                    <a:lnTo>
                      <a:pt x="740569" y="11906"/>
                    </a:lnTo>
                    <a:lnTo>
                      <a:pt x="704850" y="52387"/>
                    </a:lnTo>
                    <a:lnTo>
                      <a:pt x="704850" y="71437"/>
                    </a:lnTo>
                    <a:lnTo>
                      <a:pt x="583406" y="111919"/>
                    </a:lnTo>
                    <a:lnTo>
                      <a:pt x="614363" y="140494"/>
                    </a:lnTo>
                    <a:lnTo>
                      <a:pt x="616744" y="178594"/>
                    </a:lnTo>
                    <a:lnTo>
                      <a:pt x="573881" y="211931"/>
                    </a:lnTo>
                    <a:lnTo>
                      <a:pt x="600075" y="259556"/>
                    </a:lnTo>
                    <a:lnTo>
                      <a:pt x="647700" y="276225"/>
                    </a:lnTo>
                    <a:lnTo>
                      <a:pt x="645319" y="323850"/>
                    </a:lnTo>
                    <a:lnTo>
                      <a:pt x="619125" y="357187"/>
                    </a:lnTo>
                    <a:lnTo>
                      <a:pt x="542925" y="366712"/>
                    </a:lnTo>
                    <a:lnTo>
                      <a:pt x="545306" y="400050"/>
                    </a:lnTo>
                    <a:lnTo>
                      <a:pt x="528638" y="440531"/>
                    </a:lnTo>
                    <a:lnTo>
                      <a:pt x="476250" y="457200"/>
                    </a:lnTo>
                    <a:lnTo>
                      <a:pt x="471488" y="414337"/>
                    </a:lnTo>
                    <a:lnTo>
                      <a:pt x="440531" y="411956"/>
                    </a:lnTo>
                    <a:lnTo>
                      <a:pt x="426244" y="440531"/>
                    </a:lnTo>
                    <a:lnTo>
                      <a:pt x="383381" y="438150"/>
                    </a:lnTo>
                    <a:lnTo>
                      <a:pt x="381000" y="416719"/>
                    </a:lnTo>
                    <a:lnTo>
                      <a:pt x="373856" y="459581"/>
                    </a:lnTo>
                    <a:lnTo>
                      <a:pt x="369094" y="481012"/>
                    </a:lnTo>
                    <a:lnTo>
                      <a:pt x="342900" y="490537"/>
                    </a:lnTo>
                    <a:lnTo>
                      <a:pt x="340519" y="471487"/>
                    </a:lnTo>
                    <a:lnTo>
                      <a:pt x="288131" y="509587"/>
                    </a:lnTo>
                    <a:lnTo>
                      <a:pt x="295275" y="576262"/>
                    </a:lnTo>
                    <a:lnTo>
                      <a:pt x="252413" y="614362"/>
                    </a:lnTo>
                    <a:lnTo>
                      <a:pt x="192881" y="604837"/>
                    </a:lnTo>
                    <a:lnTo>
                      <a:pt x="152400" y="611981"/>
                    </a:lnTo>
                    <a:lnTo>
                      <a:pt x="114300" y="611981"/>
                    </a:lnTo>
                    <a:lnTo>
                      <a:pt x="109538" y="590550"/>
                    </a:lnTo>
                    <a:lnTo>
                      <a:pt x="116681" y="559594"/>
                    </a:lnTo>
                    <a:lnTo>
                      <a:pt x="121444" y="540544"/>
                    </a:lnTo>
                    <a:lnTo>
                      <a:pt x="0" y="671512"/>
                    </a:lnTo>
                    <a:lnTo>
                      <a:pt x="11906" y="781050"/>
                    </a:lnTo>
                    <a:lnTo>
                      <a:pt x="45244" y="781050"/>
                    </a:lnTo>
                    <a:lnTo>
                      <a:pt x="28575" y="838200"/>
                    </a:lnTo>
                    <a:lnTo>
                      <a:pt x="16669" y="876300"/>
                    </a:lnTo>
                    <a:lnTo>
                      <a:pt x="40481" y="876300"/>
                    </a:lnTo>
                    <a:lnTo>
                      <a:pt x="42863" y="845344"/>
                    </a:lnTo>
                    <a:lnTo>
                      <a:pt x="164306" y="962025"/>
                    </a:lnTo>
                    <a:lnTo>
                      <a:pt x="180975" y="964406"/>
                    </a:lnTo>
                    <a:lnTo>
                      <a:pt x="188119" y="992981"/>
                    </a:lnTo>
                    <a:lnTo>
                      <a:pt x="197644" y="1019175"/>
                    </a:lnTo>
                    <a:lnTo>
                      <a:pt x="271463" y="1000125"/>
                    </a:lnTo>
                    <a:lnTo>
                      <a:pt x="269081" y="1047750"/>
                    </a:lnTo>
                    <a:lnTo>
                      <a:pt x="354806" y="1092994"/>
                    </a:lnTo>
                    <a:lnTo>
                      <a:pt x="409575" y="1119187"/>
                    </a:lnTo>
                    <a:lnTo>
                      <a:pt x="447675" y="1143000"/>
                    </a:lnTo>
                    <a:lnTo>
                      <a:pt x="452438" y="1166812"/>
                    </a:lnTo>
                    <a:lnTo>
                      <a:pt x="504825" y="1123950"/>
                    </a:lnTo>
                    <a:lnTo>
                      <a:pt x="588169" y="1100137"/>
                    </a:lnTo>
                    <a:lnTo>
                      <a:pt x="678656" y="1107281"/>
                    </a:lnTo>
                    <a:lnTo>
                      <a:pt x="728663" y="1131094"/>
                    </a:lnTo>
                    <a:lnTo>
                      <a:pt x="747713" y="1152525"/>
                    </a:lnTo>
                    <a:lnTo>
                      <a:pt x="785813" y="1128712"/>
                    </a:lnTo>
                    <a:lnTo>
                      <a:pt x="812006" y="118824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2" name="Figura a mano libera 72">
                <a:extLst>
                  <a:ext uri="{FF2B5EF4-FFF2-40B4-BE49-F238E27FC236}">
                    <a16:creationId xmlns:a16="http://schemas.microsoft.com/office/drawing/2014/main" id="{DBCFBAB1-2EB4-4E67-BCB7-D53E8CAE986E}"/>
                  </a:ext>
                </a:extLst>
              </p:cNvPr>
              <p:cNvSpPr/>
              <p:nvPr/>
            </p:nvSpPr>
            <p:spPr bwMode="auto">
              <a:xfrm>
                <a:off x="2161021" y="1905143"/>
                <a:ext cx="1059195" cy="1106464"/>
              </a:xfrm>
              <a:custGeom>
                <a:avLst/>
                <a:gdLst>
                  <a:gd name="connsiteX0" fmla="*/ 788193 w 1316831"/>
                  <a:gd name="connsiteY0" fmla="*/ 1402556 h 1414462"/>
                  <a:gd name="connsiteX1" fmla="*/ 738187 w 1316831"/>
                  <a:gd name="connsiteY1" fmla="*/ 1373981 h 1414462"/>
                  <a:gd name="connsiteX2" fmla="*/ 704850 w 1316831"/>
                  <a:gd name="connsiteY2" fmla="*/ 1390650 h 1414462"/>
                  <a:gd name="connsiteX3" fmla="*/ 685800 w 1316831"/>
                  <a:gd name="connsiteY3" fmla="*/ 1409700 h 1414462"/>
                  <a:gd name="connsiteX4" fmla="*/ 657225 w 1316831"/>
                  <a:gd name="connsiteY4" fmla="*/ 1414462 h 1414462"/>
                  <a:gd name="connsiteX5" fmla="*/ 638175 w 1316831"/>
                  <a:gd name="connsiteY5" fmla="*/ 1385887 h 1414462"/>
                  <a:gd name="connsiteX6" fmla="*/ 650081 w 1316831"/>
                  <a:gd name="connsiteY6" fmla="*/ 1354931 h 1414462"/>
                  <a:gd name="connsiteX7" fmla="*/ 664368 w 1316831"/>
                  <a:gd name="connsiteY7" fmla="*/ 1371600 h 1414462"/>
                  <a:gd name="connsiteX8" fmla="*/ 690562 w 1316831"/>
                  <a:gd name="connsiteY8" fmla="*/ 1359694 h 1414462"/>
                  <a:gd name="connsiteX9" fmla="*/ 690562 w 1316831"/>
                  <a:gd name="connsiteY9" fmla="*/ 1331119 h 1414462"/>
                  <a:gd name="connsiteX10" fmla="*/ 673893 w 1316831"/>
                  <a:gd name="connsiteY10" fmla="*/ 1281112 h 1414462"/>
                  <a:gd name="connsiteX11" fmla="*/ 631031 w 1316831"/>
                  <a:gd name="connsiteY11" fmla="*/ 1238250 h 1414462"/>
                  <a:gd name="connsiteX12" fmla="*/ 595312 w 1316831"/>
                  <a:gd name="connsiteY12" fmla="*/ 1223962 h 1414462"/>
                  <a:gd name="connsiteX13" fmla="*/ 559593 w 1316831"/>
                  <a:gd name="connsiteY13" fmla="*/ 1159669 h 1414462"/>
                  <a:gd name="connsiteX14" fmla="*/ 471487 w 1316831"/>
                  <a:gd name="connsiteY14" fmla="*/ 1126331 h 1414462"/>
                  <a:gd name="connsiteX15" fmla="*/ 471487 w 1316831"/>
                  <a:gd name="connsiteY15" fmla="*/ 1085850 h 1414462"/>
                  <a:gd name="connsiteX16" fmla="*/ 485775 w 1316831"/>
                  <a:gd name="connsiteY16" fmla="*/ 1031081 h 1414462"/>
                  <a:gd name="connsiteX17" fmla="*/ 431006 w 1316831"/>
                  <a:gd name="connsiteY17" fmla="*/ 1021556 h 1414462"/>
                  <a:gd name="connsiteX18" fmla="*/ 376237 w 1316831"/>
                  <a:gd name="connsiteY18" fmla="*/ 1021556 h 1414462"/>
                  <a:gd name="connsiteX19" fmla="*/ 371475 w 1316831"/>
                  <a:gd name="connsiteY19" fmla="*/ 1045369 h 1414462"/>
                  <a:gd name="connsiteX20" fmla="*/ 347662 w 1316831"/>
                  <a:gd name="connsiteY20" fmla="*/ 1023937 h 1414462"/>
                  <a:gd name="connsiteX21" fmla="*/ 354806 w 1316831"/>
                  <a:gd name="connsiteY21" fmla="*/ 992981 h 1414462"/>
                  <a:gd name="connsiteX22" fmla="*/ 347662 w 1316831"/>
                  <a:gd name="connsiteY22" fmla="*/ 938212 h 1414462"/>
                  <a:gd name="connsiteX23" fmla="*/ 371475 w 1316831"/>
                  <a:gd name="connsiteY23" fmla="*/ 912019 h 1414462"/>
                  <a:gd name="connsiteX24" fmla="*/ 371475 w 1316831"/>
                  <a:gd name="connsiteY24" fmla="*/ 888206 h 1414462"/>
                  <a:gd name="connsiteX25" fmla="*/ 381000 w 1316831"/>
                  <a:gd name="connsiteY25" fmla="*/ 821531 h 1414462"/>
                  <a:gd name="connsiteX26" fmla="*/ 364331 w 1316831"/>
                  <a:gd name="connsiteY26" fmla="*/ 771525 h 1414462"/>
                  <a:gd name="connsiteX27" fmla="*/ 314325 w 1316831"/>
                  <a:gd name="connsiteY27" fmla="*/ 692944 h 1414462"/>
                  <a:gd name="connsiteX28" fmla="*/ 280987 w 1316831"/>
                  <a:gd name="connsiteY28" fmla="*/ 654844 h 1414462"/>
                  <a:gd name="connsiteX29" fmla="*/ 257175 w 1316831"/>
                  <a:gd name="connsiteY29" fmla="*/ 585787 h 1414462"/>
                  <a:gd name="connsiteX30" fmla="*/ 264318 w 1316831"/>
                  <a:gd name="connsiteY30" fmla="*/ 419100 h 1414462"/>
                  <a:gd name="connsiteX31" fmla="*/ 235743 w 1316831"/>
                  <a:gd name="connsiteY31" fmla="*/ 371475 h 1414462"/>
                  <a:gd name="connsiteX32" fmla="*/ 204787 w 1316831"/>
                  <a:gd name="connsiteY32" fmla="*/ 350044 h 1414462"/>
                  <a:gd name="connsiteX33" fmla="*/ 190500 w 1316831"/>
                  <a:gd name="connsiteY33" fmla="*/ 304800 h 1414462"/>
                  <a:gd name="connsiteX34" fmla="*/ 164306 w 1316831"/>
                  <a:gd name="connsiteY34" fmla="*/ 280987 h 1414462"/>
                  <a:gd name="connsiteX35" fmla="*/ 138112 w 1316831"/>
                  <a:gd name="connsiteY35" fmla="*/ 264319 h 1414462"/>
                  <a:gd name="connsiteX36" fmla="*/ 116681 w 1316831"/>
                  <a:gd name="connsiteY36" fmla="*/ 273844 h 1414462"/>
                  <a:gd name="connsiteX37" fmla="*/ 88106 w 1316831"/>
                  <a:gd name="connsiteY37" fmla="*/ 264319 h 1414462"/>
                  <a:gd name="connsiteX38" fmla="*/ 59531 w 1316831"/>
                  <a:gd name="connsiteY38" fmla="*/ 230981 h 1414462"/>
                  <a:gd name="connsiteX39" fmla="*/ 130968 w 1316831"/>
                  <a:gd name="connsiteY39" fmla="*/ 216694 h 1414462"/>
                  <a:gd name="connsiteX40" fmla="*/ 109537 w 1316831"/>
                  <a:gd name="connsiteY40" fmla="*/ 178594 h 1414462"/>
                  <a:gd name="connsiteX41" fmla="*/ 69056 w 1316831"/>
                  <a:gd name="connsiteY41" fmla="*/ 178594 h 1414462"/>
                  <a:gd name="connsiteX42" fmla="*/ 61912 w 1316831"/>
                  <a:gd name="connsiteY42" fmla="*/ 133350 h 1414462"/>
                  <a:gd name="connsiteX43" fmla="*/ 21431 w 1316831"/>
                  <a:gd name="connsiteY43" fmla="*/ 100012 h 1414462"/>
                  <a:gd name="connsiteX44" fmla="*/ 0 w 1316831"/>
                  <a:gd name="connsiteY44" fmla="*/ 61912 h 1414462"/>
                  <a:gd name="connsiteX45" fmla="*/ 42862 w 1316831"/>
                  <a:gd name="connsiteY45" fmla="*/ 40481 h 1414462"/>
                  <a:gd name="connsiteX46" fmla="*/ 64293 w 1316831"/>
                  <a:gd name="connsiteY46" fmla="*/ 0 h 1414462"/>
                  <a:gd name="connsiteX47" fmla="*/ 147637 w 1316831"/>
                  <a:gd name="connsiteY47" fmla="*/ 7144 h 1414462"/>
                  <a:gd name="connsiteX48" fmla="*/ 152400 w 1316831"/>
                  <a:gd name="connsiteY48" fmla="*/ 45244 h 1414462"/>
                  <a:gd name="connsiteX49" fmla="*/ 171450 w 1316831"/>
                  <a:gd name="connsiteY49" fmla="*/ 83344 h 1414462"/>
                  <a:gd name="connsiteX50" fmla="*/ 276225 w 1316831"/>
                  <a:gd name="connsiteY50" fmla="*/ 130969 h 1414462"/>
                  <a:gd name="connsiteX51" fmla="*/ 316706 w 1316831"/>
                  <a:gd name="connsiteY51" fmla="*/ 140494 h 1414462"/>
                  <a:gd name="connsiteX52" fmla="*/ 350043 w 1316831"/>
                  <a:gd name="connsiteY52" fmla="*/ 169069 h 1414462"/>
                  <a:gd name="connsiteX53" fmla="*/ 390525 w 1316831"/>
                  <a:gd name="connsiteY53" fmla="*/ 192881 h 1414462"/>
                  <a:gd name="connsiteX54" fmla="*/ 411956 w 1316831"/>
                  <a:gd name="connsiteY54" fmla="*/ 223837 h 1414462"/>
                  <a:gd name="connsiteX55" fmla="*/ 416718 w 1316831"/>
                  <a:gd name="connsiteY55" fmla="*/ 230981 h 1414462"/>
                  <a:gd name="connsiteX56" fmla="*/ 423862 w 1316831"/>
                  <a:gd name="connsiteY56" fmla="*/ 240506 h 1414462"/>
                  <a:gd name="connsiteX57" fmla="*/ 431006 w 1316831"/>
                  <a:gd name="connsiteY57" fmla="*/ 247650 h 1414462"/>
                  <a:gd name="connsiteX58" fmla="*/ 431006 w 1316831"/>
                  <a:gd name="connsiteY58" fmla="*/ 247650 h 1414462"/>
                  <a:gd name="connsiteX59" fmla="*/ 490537 w 1316831"/>
                  <a:gd name="connsiteY59" fmla="*/ 233362 h 1414462"/>
                  <a:gd name="connsiteX60" fmla="*/ 540543 w 1316831"/>
                  <a:gd name="connsiteY60" fmla="*/ 259556 h 1414462"/>
                  <a:gd name="connsiteX61" fmla="*/ 588168 w 1316831"/>
                  <a:gd name="connsiteY61" fmla="*/ 292894 h 1414462"/>
                  <a:gd name="connsiteX62" fmla="*/ 602456 w 1316831"/>
                  <a:gd name="connsiteY62" fmla="*/ 297656 h 1414462"/>
                  <a:gd name="connsiteX63" fmla="*/ 635793 w 1316831"/>
                  <a:gd name="connsiteY63" fmla="*/ 245269 h 1414462"/>
                  <a:gd name="connsiteX64" fmla="*/ 685800 w 1316831"/>
                  <a:gd name="connsiteY64" fmla="*/ 280987 h 1414462"/>
                  <a:gd name="connsiteX65" fmla="*/ 733425 w 1316831"/>
                  <a:gd name="connsiteY65" fmla="*/ 271462 h 1414462"/>
                  <a:gd name="connsiteX66" fmla="*/ 766762 w 1316831"/>
                  <a:gd name="connsiteY66" fmla="*/ 280987 h 1414462"/>
                  <a:gd name="connsiteX67" fmla="*/ 750093 w 1316831"/>
                  <a:gd name="connsiteY67" fmla="*/ 250031 h 1414462"/>
                  <a:gd name="connsiteX68" fmla="*/ 790575 w 1316831"/>
                  <a:gd name="connsiteY68" fmla="*/ 228600 h 1414462"/>
                  <a:gd name="connsiteX69" fmla="*/ 826293 w 1316831"/>
                  <a:gd name="connsiteY69" fmla="*/ 192881 h 1414462"/>
                  <a:gd name="connsiteX70" fmla="*/ 862012 w 1316831"/>
                  <a:gd name="connsiteY70" fmla="*/ 209550 h 1414462"/>
                  <a:gd name="connsiteX71" fmla="*/ 885825 w 1316831"/>
                  <a:gd name="connsiteY71" fmla="*/ 245269 h 1414462"/>
                  <a:gd name="connsiteX72" fmla="*/ 945356 w 1316831"/>
                  <a:gd name="connsiteY72" fmla="*/ 240506 h 1414462"/>
                  <a:gd name="connsiteX73" fmla="*/ 938212 w 1316831"/>
                  <a:gd name="connsiteY73" fmla="*/ 280987 h 1414462"/>
                  <a:gd name="connsiteX74" fmla="*/ 1012031 w 1316831"/>
                  <a:gd name="connsiteY74" fmla="*/ 278606 h 1414462"/>
                  <a:gd name="connsiteX75" fmla="*/ 981075 w 1316831"/>
                  <a:gd name="connsiteY75" fmla="*/ 347662 h 1414462"/>
                  <a:gd name="connsiteX76" fmla="*/ 966787 w 1316831"/>
                  <a:gd name="connsiteY76" fmla="*/ 378619 h 1414462"/>
                  <a:gd name="connsiteX77" fmla="*/ 988218 w 1316831"/>
                  <a:gd name="connsiteY77" fmla="*/ 400050 h 1414462"/>
                  <a:gd name="connsiteX78" fmla="*/ 985837 w 1316831"/>
                  <a:gd name="connsiteY78" fmla="*/ 442912 h 1414462"/>
                  <a:gd name="connsiteX79" fmla="*/ 1085850 w 1316831"/>
                  <a:gd name="connsiteY79" fmla="*/ 488156 h 1414462"/>
                  <a:gd name="connsiteX80" fmla="*/ 1143000 w 1316831"/>
                  <a:gd name="connsiteY80" fmla="*/ 523875 h 1414462"/>
                  <a:gd name="connsiteX81" fmla="*/ 1181100 w 1316831"/>
                  <a:gd name="connsiteY81" fmla="*/ 528637 h 1414462"/>
                  <a:gd name="connsiteX82" fmla="*/ 1281112 w 1316831"/>
                  <a:gd name="connsiteY82" fmla="*/ 516731 h 1414462"/>
                  <a:gd name="connsiteX83" fmla="*/ 1316831 w 1316831"/>
                  <a:gd name="connsiteY83" fmla="*/ 545306 h 1414462"/>
                  <a:gd name="connsiteX84" fmla="*/ 1202531 w 1316831"/>
                  <a:gd name="connsiteY84" fmla="*/ 609600 h 1414462"/>
                  <a:gd name="connsiteX85" fmla="*/ 1221581 w 1316831"/>
                  <a:gd name="connsiteY85" fmla="*/ 633412 h 1414462"/>
                  <a:gd name="connsiteX86" fmla="*/ 1183481 w 1316831"/>
                  <a:gd name="connsiteY86" fmla="*/ 683419 h 1414462"/>
                  <a:gd name="connsiteX87" fmla="*/ 1166812 w 1316831"/>
                  <a:gd name="connsiteY87" fmla="*/ 683419 h 1414462"/>
                  <a:gd name="connsiteX88" fmla="*/ 1195387 w 1316831"/>
                  <a:gd name="connsiteY88" fmla="*/ 711994 h 1414462"/>
                  <a:gd name="connsiteX89" fmla="*/ 1150143 w 1316831"/>
                  <a:gd name="connsiteY89" fmla="*/ 723900 h 1414462"/>
                  <a:gd name="connsiteX90" fmla="*/ 1123950 w 1316831"/>
                  <a:gd name="connsiteY90" fmla="*/ 745331 h 1414462"/>
                  <a:gd name="connsiteX91" fmla="*/ 1154906 w 1316831"/>
                  <a:gd name="connsiteY91" fmla="*/ 745331 h 1414462"/>
                  <a:gd name="connsiteX92" fmla="*/ 1183481 w 1316831"/>
                  <a:gd name="connsiteY92" fmla="*/ 790575 h 1414462"/>
                  <a:gd name="connsiteX93" fmla="*/ 1223962 w 1316831"/>
                  <a:gd name="connsiteY93" fmla="*/ 828675 h 1414462"/>
                  <a:gd name="connsiteX94" fmla="*/ 1216818 w 1316831"/>
                  <a:gd name="connsiteY94" fmla="*/ 840581 h 1414462"/>
                  <a:gd name="connsiteX95" fmla="*/ 1154906 w 1316831"/>
                  <a:gd name="connsiteY95" fmla="*/ 864394 h 1414462"/>
                  <a:gd name="connsiteX96" fmla="*/ 1147762 w 1316831"/>
                  <a:gd name="connsiteY96" fmla="*/ 847725 h 1414462"/>
                  <a:gd name="connsiteX97" fmla="*/ 1102518 w 1316831"/>
                  <a:gd name="connsiteY97" fmla="*/ 895350 h 1414462"/>
                  <a:gd name="connsiteX98" fmla="*/ 1052512 w 1316831"/>
                  <a:gd name="connsiteY98" fmla="*/ 945356 h 1414462"/>
                  <a:gd name="connsiteX99" fmla="*/ 1071562 w 1316831"/>
                  <a:gd name="connsiteY99" fmla="*/ 990600 h 1414462"/>
                  <a:gd name="connsiteX100" fmla="*/ 1100137 w 1316831"/>
                  <a:gd name="connsiteY100" fmla="*/ 1000125 h 1414462"/>
                  <a:gd name="connsiteX101" fmla="*/ 1092993 w 1316831"/>
                  <a:gd name="connsiteY101" fmla="*/ 1062037 h 1414462"/>
                  <a:gd name="connsiteX102" fmla="*/ 1071562 w 1316831"/>
                  <a:gd name="connsiteY102" fmla="*/ 1112044 h 1414462"/>
                  <a:gd name="connsiteX103" fmla="*/ 1057275 w 1316831"/>
                  <a:gd name="connsiteY103" fmla="*/ 1116806 h 1414462"/>
                  <a:gd name="connsiteX104" fmla="*/ 992981 w 1316831"/>
                  <a:gd name="connsiteY104" fmla="*/ 1131094 h 1414462"/>
                  <a:gd name="connsiteX105" fmla="*/ 1002506 w 1316831"/>
                  <a:gd name="connsiteY105" fmla="*/ 1243012 h 1414462"/>
                  <a:gd name="connsiteX106" fmla="*/ 966787 w 1316831"/>
                  <a:gd name="connsiteY106" fmla="*/ 1250156 h 1414462"/>
                  <a:gd name="connsiteX107" fmla="*/ 928687 w 1316831"/>
                  <a:gd name="connsiteY107" fmla="*/ 1278731 h 1414462"/>
                  <a:gd name="connsiteX108" fmla="*/ 890587 w 1316831"/>
                  <a:gd name="connsiteY108" fmla="*/ 1271587 h 1414462"/>
                  <a:gd name="connsiteX109" fmla="*/ 873918 w 1316831"/>
                  <a:gd name="connsiteY109" fmla="*/ 1328737 h 1414462"/>
                  <a:gd name="connsiteX110" fmla="*/ 909637 w 1316831"/>
                  <a:gd name="connsiteY110" fmla="*/ 1345406 h 1414462"/>
                  <a:gd name="connsiteX111" fmla="*/ 897731 w 1316831"/>
                  <a:gd name="connsiteY111" fmla="*/ 1369219 h 1414462"/>
                  <a:gd name="connsiteX112" fmla="*/ 788193 w 1316831"/>
                  <a:gd name="connsiteY112" fmla="*/ 1402556 h 1414462"/>
                  <a:gd name="connsiteX0" fmla="*/ 788193 w 1316831"/>
                  <a:gd name="connsiteY0" fmla="*/ 1402556 h 1414462"/>
                  <a:gd name="connsiteX1" fmla="*/ 738187 w 1316831"/>
                  <a:gd name="connsiteY1" fmla="*/ 1373981 h 1414462"/>
                  <a:gd name="connsiteX2" fmla="*/ 704850 w 1316831"/>
                  <a:gd name="connsiteY2" fmla="*/ 1390650 h 1414462"/>
                  <a:gd name="connsiteX3" fmla="*/ 685800 w 1316831"/>
                  <a:gd name="connsiteY3" fmla="*/ 1409700 h 1414462"/>
                  <a:gd name="connsiteX4" fmla="*/ 657225 w 1316831"/>
                  <a:gd name="connsiteY4" fmla="*/ 1414462 h 1414462"/>
                  <a:gd name="connsiteX5" fmla="*/ 638175 w 1316831"/>
                  <a:gd name="connsiteY5" fmla="*/ 1385887 h 1414462"/>
                  <a:gd name="connsiteX6" fmla="*/ 650081 w 1316831"/>
                  <a:gd name="connsiteY6" fmla="*/ 1354931 h 1414462"/>
                  <a:gd name="connsiteX7" fmla="*/ 664368 w 1316831"/>
                  <a:gd name="connsiteY7" fmla="*/ 1371600 h 1414462"/>
                  <a:gd name="connsiteX8" fmla="*/ 690562 w 1316831"/>
                  <a:gd name="connsiteY8" fmla="*/ 1359694 h 1414462"/>
                  <a:gd name="connsiteX9" fmla="*/ 690562 w 1316831"/>
                  <a:gd name="connsiteY9" fmla="*/ 1331119 h 1414462"/>
                  <a:gd name="connsiteX10" fmla="*/ 673893 w 1316831"/>
                  <a:gd name="connsiteY10" fmla="*/ 1281112 h 1414462"/>
                  <a:gd name="connsiteX11" fmla="*/ 631031 w 1316831"/>
                  <a:gd name="connsiteY11" fmla="*/ 1238250 h 1414462"/>
                  <a:gd name="connsiteX12" fmla="*/ 595312 w 1316831"/>
                  <a:gd name="connsiteY12" fmla="*/ 1223962 h 1414462"/>
                  <a:gd name="connsiteX13" fmla="*/ 559593 w 1316831"/>
                  <a:gd name="connsiteY13" fmla="*/ 1159669 h 1414462"/>
                  <a:gd name="connsiteX14" fmla="*/ 471487 w 1316831"/>
                  <a:gd name="connsiteY14" fmla="*/ 1126331 h 1414462"/>
                  <a:gd name="connsiteX15" fmla="*/ 471487 w 1316831"/>
                  <a:gd name="connsiteY15" fmla="*/ 1085850 h 1414462"/>
                  <a:gd name="connsiteX16" fmla="*/ 485775 w 1316831"/>
                  <a:gd name="connsiteY16" fmla="*/ 1031081 h 1414462"/>
                  <a:gd name="connsiteX17" fmla="*/ 431006 w 1316831"/>
                  <a:gd name="connsiteY17" fmla="*/ 1021556 h 1414462"/>
                  <a:gd name="connsiteX18" fmla="*/ 376237 w 1316831"/>
                  <a:gd name="connsiteY18" fmla="*/ 1021556 h 1414462"/>
                  <a:gd name="connsiteX19" fmla="*/ 371475 w 1316831"/>
                  <a:gd name="connsiteY19" fmla="*/ 1045369 h 1414462"/>
                  <a:gd name="connsiteX20" fmla="*/ 347662 w 1316831"/>
                  <a:gd name="connsiteY20" fmla="*/ 1023937 h 1414462"/>
                  <a:gd name="connsiteX21" fmla="*/ 354806 w 1316831"/>
                  <a:gd name="connsiteY21" fmla="*/ 992981 h 1414462"/>
                  <a:gd name="connsiteX22" fmla="*/ 347662 w 1316831"/>
                  <a:gd name="connsiteY22" fmla="*/ 938212 h 1414462"/>
                  <a:gd name="connsiteX23" fmla="*/ 371475 w 1316831"/>
                  <a:gd name="connsiteY23" fmla="*/ 912019 h 1414462"/>
                  <a:gd name="connsiteX24" fmla="*/ 371475 w 1316831"/>
                  <a:gd name="connsiteY24" fmla="*/ 888206 h 1414462"/>
                  <a:gd name="connsiteX25" fmla="*/ 381000 w 1316831"/>
                  <a:gd name="connsiteY25" fmla="*/ 821531 h 1414462"/>
                  <a:gd name="connsiteX26" fmla="*/ 364331 w 1316831"/>
                  <a:gd name="connsiteY26" fmla="*/ 771525 h 1414462"/>
                  <a:gd name="connsiteX27" fmla="*/ 314325 w 1316831"/>
                  <a:gd name="connsiteY27" fmla="*/ 692944 h 1414462"/>
                  <a:gd name="connsiteX28" fmla="*/ 280987 w 1316831"/>
                  <a:gd name="connsiteY28" fmla="*/ 654844 h 1414462"/>
                  <a:gd name="connsiteX29" fmla="*/ 257175 w 1316831"/>
                  <a:gd name="connsiteY29" fmla="*/ 585787 h 1414462"/>
                  <a:gd name="connsiteX30" fmla="*/ 264318 w 1316831"/>
                  <a:gd name="connsiteY30" fmla="*/ 419100 h 1414462"/>
                  <a:gd name="connsiteX31" fmla="*/ 235743 w 1316831"/>
                  <a:gd name="connsiteY31" fmla="*/ 371475 h 1414462"/>
                  <a:gd name="connsiteX32" fmla="*/ 204787 w 1316831"/>
                  <a:gd name="connsiteY32" fmla="*/ 350044 h 1414462"/>
                  <a:gd name="connsiteX33" fmla="*/ 190500 w 1316831"/>
                  <a:gd name="connsiteY33" fmla="*/ 304800 h 1414462"/>
                  <a:gd name="connsiteX34" fmla="*/ 164306 w 1316831"/>
                  <a:gd name="connsiteY34" fmla="*/ 280987 h 1414462"/>
                  <a:gd name="connsiteX35" fmla="*/ 138112 w 1316831"/>
                  <a:gd name="connsiteY35" fmla="*/ 264319 h 1414462"/>
                  <a:gd name="connsiteX36" fmla="*/ 116681 w 1316831"/>
                  <a:gd name="connsiteY36" fmla="*/ 273844 h 1414462"/>
                  <a:gd name="connsiteX37" fmla="*/ 88106 w 1316831"/>
                  <a:gd name="connsiteY37" fmla="*/ 264319 h 1414462"/>
                  <a:gd name="connsiteX38" fmla="*/ 95250 w 1316831"/>
                  <a:gd name="connsiteY38" fmla="*/ 223837 h 1414462"/>
                  <a:gd name="connsiteX39" fmla="*/ 130968 w 1316831"/>
                  <a:gd name="connsiteY39" fmla="*/ 216694 h 1414462"/>
                  <a:gd name="connsiteX40" fmla="*/ 109537 w 1316831"/>
                  <a:gd name="connsiteY40" fmla="*/ 178594 h 1414462"/>
                  <a:gd name="connsiteX41" fmla="*/ 69056 w 1316831"/>
                  <a:gd name="connsiteY41" fmla="*/ 178594 h 1414462"/>
                  <a:gd name="connsiteX42" fmla="*/ 61912 w 1316831"/>
                  <a:gd name="connsiteY42" fmla="*/ 133350 h 1414462"/>
                  <a:gd name="connsiteX43" fmla="*/ 21431 w 1316831"/>
                  <a:gd name="connsiteY43" fmla="*/ 100012 h 1414462"/>
                  <a:gd name="connsiteX44" fmla="*/ 0 w 1316831"/>
                  <a:gd name="connsiteY44" fmla="*/ 61912 h 1414462"/>
                  <a:gd name="connsiteX45" fmla="*/ 42862 w 1316831"/>
                  <a:gd name="connsiteY45" fmla="*/ 40481 h 1414462"/>
                  <a:gd name="connsiteX46" fmla="*/ 64293 w 1316831"/>
                  <a:gd name="connsiteY46" fmla="*/ 0 h 1414462"/>
                  <a:gd name="connsiteX47" fmla="*/ 147637 w 1316831"/>
                  <a:gd name="connsiteY47" fmla="*/ 7144 h 1414462"/>
                  <a:gd name="connsiteX48" fmla="*/ 152400 w 1316831"/>
                  <a:gd name="connsiteY48" fmla="*/ 45244 h 1414462"/>
                  <a:gd name="connsiteX49" fmla="*/ 171450 w 1316831"/>
                  <a:gd name="connsiteY49" fmla="*/ 83344 h 1414462"/>
                  <a:gd name="connsiteX50" fmla="*/ 276225 w 1316831"/>
                  <a:gd name="connsiteY50" fmla="*/ 130969 h 1414462"/>
                  <a:gd name="connsiteX51" fmla="*/ 316706 w 1316831"/>
                  <a:gd name="connsiteY51" fmla="*/ 140494 h 1414462"/>
                  <a:gd name="connsiteX52" fmla="*/ 350043 w 1316831"/>
                  <a:gd name="connsiteY52" fmla="*/ 169069 h 1414462"/>
                  <a:gd name="connsiteX53" fmla="*/ 390525 w 1316831"/>
                  <a:gd name="connsiteY53" fmla="*/ 192881 h 1414462"/>
                  <a:gd name="connsiteX54" fmla="*/ 411956 w 1316831"/>
                  <a:gd name="connsiteY54" fmla="*/ 223837 h 1414462"/>
                  <a:gd name="connsiteX55" fmla="*/ 416718 w 1316831"/>
                  <a:gd name="connsiteY55" fmla="*/ 230981 h 1414462"/>
                  <a:gd name="connsiteX56" fmla="*/ 423862 w 1316831"/>
                  <a:gd name="connsiteY56" fmla="*/ 240506 h 1414462"/>
                  <a:gd name="connsiteX57" fmla="*/ 431006 w 1316831"/>
                  <a:gd name="connsiteY57" fmla="*/ 247650 h 1414462"/>
                  <a:gd name="connsiteX58" fmla="*/ 431006 w 1316831"/>
                  <a:gd name="connsiteY58" fmla="*/ 247650 h 1414462"/>
                  <a:gd name="connsiteX59" fmla="*/ 490537 w 1316831"/>
                  <a:gd name="connsiteY59" fmla="*/ 233362 h 1414462"/>
                  <a:gd name="connsiteX60" fmla="*/ 540543 w 1316831"/>
                  <a:gd name="connsiteY60" fmla="*/ 259556 h 1414462"/>
                  <a:gd name="connsiteX61" fmla="*/ 588168 w 1316831"/>
                  <a:gd name="connsiteY61" fmla="*/ 292894 h 1414462"/>
                  <a:gd name="connsiteX62" fmla="*/ 602456 w 1316831"/>
                  <a:gd name="connsiteY62" fmla="*/ 297656 h 1414462"/>
                  <a:gd name="connsiteX63" fmla="*/ 635793 w 1316831"/>
                  <a:gd name="connsiteY63" fmla="*/ 245269 h 1414462"/>
                  <a:gd name="connsiteX64" fmla="*/ 685800 w 1316831"/>
                  <a:gd name="connsiteY64" fmla="*/ 280987 h 1414462"/>
                  <a:gd name="connsiteX65" fmla="*/ 733425 w 1316831"/>
                  <a:gd name="connsiteY65" fmla="*/ 271462 h 1414462"/>
                  <a:gd name="connsiteX66" fmla="*/ 766762 w 1316831"/>
                  <a:gd name="connsiteY66" fmla="*/ 280987 h 1414462"/>
                  <a:gd name="connsiteX67" fmla="*/ 750093 w 1316831"/>
                  <a:gd name="connsiteY67" fmla="*/ 250031 h 1414462"/>
                  <a:gd name="connsiteX68" fmla="*/ 790575 w 1316831"/>
                  <a:gd name="connsiteY68" fmla="*/ 228600 h 1414462"/>
                  <a:gd name="connsiteX69" fmla="*/ 826293 w 1316831"/>
                  <a:gd name="connsiteY69" fmla="*/ 192881 h 1414462"/>
                  <a:gd name="connsiteX70" fmla="*/ 862012 w 1316831"/>
                  <a:gd name="connsiteY70" fmla="*/ 209550 h 1414462"/>
                  <a:gd name="connsiteX71" fmla="*/ 885825 w 1316831"/>
                  <a:gd name="connsiteY71" fmla="*/ 245269 h 1414462"/>
                  <a:gd name="connsiteX72" fmla="*/ 945356 w 1316831"/>
                  <a:gd name="connsiteY72" fmla="*/ 240506 h 1414462"/>
                  <a:gd name="connsiteX73" fmla="*/ 938212 w 1316831"/>
                  <a:gd name="connsiteY73" fmla="*/ 280987 h 1414462"/>
                  <a:gd name="connsiteX74" fmla="*/ 1012031 w 1316831"/>
                  <a:gd name="connsiteY74" fmla="*/ 278606 h 1414462"/>
                  <a:gd name="connsiteX75" fmla="*/ 981075 w 1316831"/>
                  <a:gd name="connsiteY75" fmla="*/ 347662 h 1414462"/>
                  <a:gd name="connsiteX76" fmla="*/ 966787 w 1316831"/>
                  <a:gd name="connsiteY76" fmla="*/ 378619 h 1414462"/>
                  <a:gd name="connsiteX77" fmla="*/ 988218 w 1316831"/>
                  <a:gd name="connsiteY77" fmla="*/ 400050 h 1414462"/>
                  <a:gd name="connsiteX78" fmla="*/ 985837 w 1316831"/>
                  <a:gd name="connsiteY78" fmla="*/ 442912 h 1414462"/>
                  <a:gd name="connsiteX79" fmla="*/ 1085850 w 1316831"/>
                  <a:gd name="connsiteY79" fmla="*/ 488156 h 1414462"/>
                  <a:gd name="connsiteX80" fmla="*/ 1143000 w 1316831"/>
                  <a:gd name="connsiteY80" fmla="*/ 523875 h 1414462"/>
                  <a:gd name="connsiteX81" fmla="*/ 1181100 w 1316831"/>
                  <a:gd name="connsiteY81" fmla="*/ 528637 h 1414462"/>
                  <a:gd name="connsiteX82" fmla="*/ 1281112 w 1316831"/>
                  <a:gd name="connsiteY82" fmla="*/ 516731 h 1414462"/>
                  <a:gd name="connsiteX83" fmla="*/ 1316831 w 1316831"/>
                  <a:gd name="connsiteY83" fmla="*/ 545306 h 1414462"/>
                  <a:gd name="connsiteX84" fmla="*/ 1202531 w 1316831"/>
                  <a:gd name="connsiteY84" fmla="*/ 609600 h 1414462"/>
                  <a:gd name="connsiteX85" fmla="*/ 1221581 w 1316831"/>
                  <a:gd name="connsiteY85" fmla="*/ 633412 h 1414462"/>
                  <a:gd name="connsiteX86" fmla="*/ 1183481 w 1316831"/>
                  <a:gd name="connsiteY86" fmla="*/ 683419 h 1414462"/>
                  <a:gd name="connsiteX87" fmla="*/ 1166812 w 1316831"/>
                  <a:gd name="connsiteY87" fmla="*/ 683419 h 1414462"/>
                  <a:gd name="connsiteX88" fmla="*/ 1195387 w 1316831"/>
                  <a:gd name="connsiteY88" fmla="*/ 711994 h 1414462"/>
                  <a:gd name="connsiteX89" fmla="*/ 1150143 w 1316831"/>
                  <a:gd name="connsiteY89" fmla="*/ 723900 h 1414462"/>
                  <a:gd name="connsiteX90" fmla="*/ 1123950 w 1316831"/>
                  <a:gd name="connsiteY90" fmla="*/ 745331 h 1414462"/>
                  <a:gd name="connsiteX91" fmla="*/ 1154906 w 1316831"/>
                  <a:gd name="connsiteY91" fmla="*/ 745331 h 1414462"/>
                  <a:gd name="connsiteX92" fmla="*/ 1183481 w 1316831"/>
                  <a:gd name="connsiteY92" fmla="*/ 790575 h 1414462"/>
                  <a:gd name="connsiteX93" fmla="*/ 1223962 w 1316831"/>
                  <a:gd name="connsiteY93" fmla="*/ 828675 h 1414462"/>
                  <a:gd name="connsiteX94" fmla="*/ 1216818 w 1316831"/>
                  <a:gd name="connsiteY94" fmla="*/ 840581 h 1414462"/>
                  <a:gd name="connsiteX95" fmla="*/ 1154906 w 1316831"/>
                  <a:gd name="connsiteY95" fmla="*/ 864394 h 1414462"/>
                  <a:gd name="connsiteX96" fmla="*/ 1147762 w 1316831"/>
                  <a:gd name="connsiteY96" fmla="*/ 847725 h 1414462"/>
                  <a:gd name="connsiteX97" fmla="*/ 1102518 w 1316831"/>
                  <a:gd name="connsiteY97" fmla="*/ 895350 h 1414462"/>
                  <a:gd name="connsiteX98" fmla="*/ 1052512 w 1316831"/>
                  <a:gd name="connsiteY98" fmla="*/ 945356 h 1414462"/>
                  <a:gd name="connsiteX99" fmla="*/ 1071562 w 1316831"/>
                  <a:gd name="connsiteY99" fmla="*/ 990600 h 1414462"/>
                  <a:gd name="connsiteX100" fmla="*/ 1100137 w 1316831"/>
                  <a:gd name="connsiteY100" fmla="*/ 1000125 h 1414462"/>
                  <a:gd name="connsiteX101" fmla="*/ 1092993 w 1316831"/>
                  <a:gd name="connsiteY101" fmla="*/ 1062037 h 1414462"/>
                  <a:gd name="connsiteX102" fmla="*/ 1071562 w 1316831"/>
                  <a:gd name="connsiteY102" fmla="*/ 1112044 h 1414462"/>
                  <a:gd name="connsiteX103" fmla="*/ 1057275 w 1316831"/>
                  <a:gd name="connsiteY103" fmla="*/ 1116806 h 1414462"/>
                  <a:gd name="connsiteX104" fmla="*/ 992981 w 1316831"/>
                  <a:gd name="connsiteY104" fmla="*/ 1131094 h 1414462"/>
                  <a:gd name="connsiteX105" fmla="*/ 1002506 w 1316831"/>
                  <a:gd name="connsiteY105" fmla="*/ 1243012 h 1414462"/>
                  <a:gd name="connsiteX106" fmla="*/ 966787 w 1316831"/>
                  <a:gd name="connsiteY106" fmla="*/ 1250156 h 1414462"/>
                  <a:gd name="connsiteX107" fmla="*/ 928687 w 1316831"/>
                  <a:gd name="connsiteY107" fmla="*/ 1278731 h 1414462"/>
                  <a:gd name="connsiteX108" fmla="*/ 890587 w 1316831"/>
                  <a:gd name="connsiteY108" fmla="*/ 1271587 h 1414462"/>
                  <a:gd name="connsiteX109" fmla="*/ 873918 w 1316831"/>
                  <a:gd name="connsiteY109" fmla="*/ 1328737 h 1414462"/>
                  <a:gd name="connsiteX110" fmla="*/ 909637 w 1316831"/>
                  <a:gd name="connsiteY110" fmla="*/ 1345406 h 1414462"/>
                  <a:gd name="connsiteX111" fmla="*/ 897731 w 1316831"/>
                  <a:gd name="connsiteY111" fmla="*/ 1369219 h 1414462"/>
                  <a:gd name="connsiteX112" fmla="*/ 788193 w 1316831"/>
                  <a:gd name="connsiteY112" fmla="*/ 1402556 h 1414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1316831" h="1414462">
                    <a:moveTo>
                      <a:pt x="788193" y="1402556"/>
                    </a:moveTo>
                    <a:lnTo>
                      <a:pt x="738187" y="1373981"/>
                    </a:lnTo>
                    <a:lnTo>
                      <a:pt x="704850" y="1390650"/>
                    </a:lnTo>
                    <a:lnTo>
                      <a:pt x="685800" y="1409700"/>
                    </a:lnTo>
                    <a:lnTo>
                      <a:pt x="657225" y="1414462"/>
                    </a:lnTo>
                    <a:lnTo>
                      <a:pt x="638175" y="1385887"/>
                    </a:lnTo>
                    <a:lnTo>
                      <a:pt x="650081" y="1354931"/>
                    </a:lnTo>
                    <a:lnTo>
                      <a:pt x="664368" y="1371600"/>
                    </a:lnTo>
                    <a:lnTo>
                      <a:pt x="690562" y="1359694"/>
                    </a:lnTo>
                    <a:lnTo>
                      <a:pt x="690562" y="1331119"/>
                    </a:lnTo>
                    <a:lnTo>
                      <a:pt x="673893" y="1281112"/>
                    </a:lnTo>
                    <a:lnTo>
                      <a:pt x="631031" y="1238250"/>
                    </a:lnTo>
                    <a:lnTo>
                      <a:pt x="595312" y="1223962"/>
                    </a:lnTo>
                    <a:lnTo>
                      <a:pt x="559593" y="1159669"/>
                    </a:lnTo>
                    <a:lnTo>
                      <a:pt x="471487" y="1126331"/>
                    </a:lnTo>
                    <a:lnTo>
                      <a:pt x="471487" y="1085850"/>
                    </a:lnTo>
                    <a:lnTo>
                      <a:pt x="485775" y="1031081"/>
                    </a:lnTo>
                    <a:lnTo>
                      <a:pt x="431006" y="1021556"/>
                    </a:lnTo>
                    <a:lnTo>
                      <a:pt x="376237" y="1021556"/>
                    </a:lnTo>
                    <a:lnTo>
                      <a:pt x="371475" y="1045369"/>
                    </a:lnTo>
                    <a:lnTo>
                      <a:pt x="347662" y="1023937"/>
                    </a:lnTo>
                    <a:lnTo>
                      <a:pt x="354806" y="992981"/>
                    </a:lnTo>
                    <a:lnTo>
                      <a:pt x="347662" y="938212"/>
                    </a:lnTo>
                    <a:lnTo>
                      <a:pt x="371475" y="912019"/>
                    </a:lnTo>
                    <a:lnTo>
                      <a:pt x="371475" y="888206"/>
                    </a:lnTo>
                    <a:lnTo>
                      <a:pt x="381000" y="821531"/>
                    </a:lnTo>
                    <a:lnTo>
                      <a:pt x="364331" y="771525"/>
                    </a:lnTo>
                    <a:lnTo>
                      <a:pt x="314325" y="692944"/>
                    </a:lnTo>
                    <a:lnTo>
                      <a:pt x="280987" y="654844"/>
                    </a:lnTo>
                    <a:lnTo>
                      <a:pt x="257175" y="585787"/>
                    </a:lnTo>
                    <a:lnTo>
                      <a:pt x="264318" y="419100"/>
                    </a:lnTo>
                    <a:lnTo>
                      <a:pt x="235743" y="371475"/>
                    </a:lnTo>
                    <a:lnTo>
                      <a:pt x="204787" y="350044"/>
                    </a:lnTo>
                    <a:lnTo>
                      <a:pt x="190500" y="304800"/>
                    </a:lnTo>
                    <a:lnTo>
                      <a:pt x="164306" y="280987"/>
                    </a:lnTo>
                    <a:lnTo>
                      <a:pt x="138112" y="264319"/>
                    </a:lnTo>
                    <a:lnTo>
                      <a:pt x="116681" y="273844"/>
                    </a:lnTo>
                    <a:lnTo>
                      <a:pt x="88106" y="264319"/>
                    </a:lnTo>
                    <a:lnTo>
                      <a:pt x="95250" y="223837"/>
                    </a:lnTo>
                    <a:lnTo>
                      <a:pt x="130968" y="216694"/>
                    </a:lnTo>
                    <a:lnTo>
                      <a:pt x="109537" y="178594"/>
                    </a:lnTo>
                    <a:lnTo>
                      <a:pt x="69056" y="178594"/>
                    </a:lnTo>
                    <a:lnTo>
                      <a:pt x="61912" y="133350"/>
                    </a:lnTo>
                    <a:lnTo>
                      <a:pt x="21431" y="100012"/>
                    </a:lnTo>
                    <a:lnTo>
                      <a:pt x="0" y="61912"/>
                    </a:lnTo>
                    <a:lnTo>
                      <a:pt x="42862" y="40481"/>
                    </a:lnTo>
                    <a:lnTo>
                      <a:pt x="64293" y="0"/>
                    </a:lnTo>
                    <a:lnTo>
                      <a:pt x="147637" y="7144"/>
                    </a:lnTo>
                    <a:lnTo>
                      <a:pt x="152400" y="45244"/>
                    </a:lnTo>
                    <a:lnTo>
                      <a:pt x="171450" y="83344"/>
                    </a:lnTo>
                    <a:lnTo>
                      <a:pt x="276225" y="130969"/>
                    </a:lnTo>
                    <a:lnTo>
                      <a:pt x="316706" y="140494"/>
                    </a:lnTo>
                    <a:lnTo>
                      <a:pt x="350043" y="169069"/>
                    </a:lnTo>
                    <a:lnTo>
                      <a:pt x="390525" y="192881"/>
                    </a:lnTo>
                    <a:lnTo>
                      <a:pt x="411956" y="223837"/>
                    </a:lnTo>
                    <a:cubicBezTo>
                      <a:pt x="413577" y="226195"/>
                      <a:pt x="415001" y="228692"/>
                      <a:pt x="416718" y="230981"/>
                    </a:cubicBezTo>
                    <a:cubicBezTo>
                      <a:pt x="419099" y="234156"/>
                      <a:pt x="421279" y="237493"/>
                      <a:pt x="423862" y="240506"/>
                    </a:cubicBezTo>
                    <a:cubicBezTo>
                      <a:pt x="426054" y="243063"/>
                      <a:pt x="431006" y="247650"/>
                      <a:pt x="431006" y="247650"/>
                    </a:cubicBezTo>
                    <a:lnTo>
                      <a:pt x="431006" y="247650"/>
                    </a:lnTo>
                    <a:lnTo>
                      <a:pt x="490537" y="233362"/>
                    </a:lnTo>
                    <a:lnTo>
                      <a:pt x="540543" y="259556"/>
                    </a:lnTo>
                    <a:lnTo>
                      <a:pt x="588168" y="292894"/>
                    </a:lnTo>
                    <a:lnTo>
                      <a:pt x="602456" y="297656"/>
                    </a:lnTo>
                    <a:lnTo>
                      <a:pt x="635793" y="245269"/>
                    </a:lnTo>
                    <a:lnTo>
                      <a:pt x="685800" y="280987"/>
                    </a:lnTo>
                    <a:lnTo>
                      <a:pt x="733425" y="271462"/>
                    </a:lnTo>
                    <a:lnTo>
                      <a:pt x="766762" y="280987"/>
                    </a:lnTo>
                    <a:lnTo>
                      <a:pt x="750093" y="250031"/>
                    </a:lnTo>
                    <a:lnTo>
                      <a:pt x="790575" y="228600"/>
                    </a:lnTo>
                    <a:lnTo>
                      <a:pt x="826293" y="192881"/>
                    </a:lnTo>
                    <a:lnTo>
                      <a:pt x="862012" y="209550"/>
                    </a:lnTo>
                    <a:lnTo>
                      <a:pt x="885825" y="245269"/>
                    </a:lnTo>
                    <a:lnTo>
                      <a:pt x="945356" y="240506"/>
                    </a:lnTo>
                    <a:lnTo>
                      <a:pt x="938212" y="280987"/>
                    </a:lnTo>
                    <a:lnTo>
                      <a:pt x="1012031" y="278606"/>
                    </a:lnTo>
                    <a:lnTo>
                      <a:pt x="981075" y="347662"/>
                    </a:lnTo>
                    <a:lnTo>
                      <a:pt x="966787" y="378619"/>
                    </a:lnTo>
                    <a:lnTo>
                      <a:pt x="988218" y="400050"/>
                    </a:lnTo>
                    <a:lnTo>
                      <a:pt x="985837" y="442912"/>
                    </a:lnTo>
                    <a:lnTo>
                      <a:pt x="1085850" y="488156"/>
                    </a:lnTo>
                    <a:lnTo>
                      <a:pt x="1143000" y="523875"/>
                    </a:lnTo>
                    <a:lnTo>
                      <a:pt x="1181100" y="528637"/>
                    </a:lnTo>
                    <a:lnTo>
                      <a:pt x="1281112" y="516731"/>
                    </a:lnTo>
                    <a:lnTo>
                      <a:pt x="1316831" y="545306"/>
                    </a:lnTo>
                    <a:lnTo>
                      <a:pt x="1202531" y="609600"/>
                    </a:lnTo>
                    <a:lnTo>
                      <a:pt x="1221581" y="633412"/>
                    </a:lnTo>
                    <a:lnTo>
                      <a:pt x="1183481" y="683419"/>
                    </a:lnTo>
                    <a:lnTo>
                      <a:pt x="1166812" y="683419"/>
                    </a:lnTo>
                    <a:lnTo>
                      <a:pt x="1195387" y="711994"/>
                    </a:lnTo>
                    <a:lnTo>
                      <a:pt x="1150143" y="723900"/>
                    </a:lnTo>
                    <a:lnTo>
                      <a:pt x="1123950" y="745331"/>
                    </a:lnTo>
                    <a:lnTo>
                      <a:pt x="1154906" y="745331"/>
                    </a:lnTo>
                    <a:lnTo>
                      <a:pt x="1183481" y="790575"/>
                    </a:lnTo>
                    <a:lnTo>
                      <a:pt x="1223962" y="828675"/>
                    </a:lnTo>
                    <a:lnTo>
                      <a:pt x="1216818" y="840581"/>
                    </a:lnTo>
                    <a:lnTo>
                      <a:pt x="1154906" y="864394"/>
                    </a:lnTo>
                    <a:lnTo>
                      <a:pt x="1147762" y="847725"/>
                    </a:lnTo>
                    <a:lnTo>
                      <a:pt x="1102518" y="895350"/>
                    </a:lnTo>
                    <a:lnTo>
                      <a:pt x="1052512" y="945356"/>
                    </a:lnTo>
                    <a:lnTo>
                      <a:pt x="1071562" y="990600"/>
                    </a:lnTo>
                    <a:lnTo>
                      <a:pt x="1100137" y="1000125"/>
                    </a:lnTo>
                    <a:lnTo>
                      <a:pt x="1092993" y="1062037"/>
                    </a:lnTo>
                    <a:lnTo>
                      <a:pt x="1071562" y="1112044"/>
                    </a:lnTo>
                    <a:lnTo>
                      <a:pt x="1057275" y="1116806"/>
                    </a:lnTo>
                    <a:lnTo>
                      <a:pt x="992981" y="1131094"/>
                    </a:lnTo>
                    <a:lnTo>
                      <a:pt x="1002506" y="1243012"/>
                    </a:lnTo>
                    <a:lnTo>
                      <a:pt x="966787" y="1250156"/>
                    </a:lnTo>
                    <a:lnTo>
                      <a:pt x="928687" y="1278731"/>
                    </a:lnTo>
                    <a:lnTo>
                      <a:pt x="890587" y="1271587"/>
                    </a:lnTo>
                    <a:lnTo>
                      <a:pt x="873918" y="1328737"/>
                    </a:lnTo>
                    <a:lnTo>
                      <a:pt x="909637" y="1345406"/>
                    </a:lnTo>
                    <a:lnTo>
                      <a:pt x="897731" y="1369219"/>
                    </a:lnTo>
                    <a:lnTo>
                      <a:pt x="788193" y="14025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3" name="Figura a mano libera 73">
                <a:extLst>
                  <a:ext uri="{FF2B5EF4-FFF2-40B4-BE49-F238E27FC236}">
                    <a16:creationId xmlns:a16="http://schemas.microsoft.com/office/drawing/2014/main" id="{19395DD0-5424-4E22-9BF5-AC091A7386DB}"/>
                  </a:ext>
                </a:extLst>
              </p:cNvPr>
              <p:cNvSpPr/>
              <p:nvPr/>
            </p:nvSpPr>
            <p:spPr bwMode="auto">
              <a:xfrm>
                <a:off x="2797427" y="2769796"/>
                <a:ext cx="1060679" cy="855860"/>
              </a:xfrm>
              <a:custGeom>
                <a:avLst/>
                <a:gdLst>
                  <a:gd name="connsiteX0" fmla="*/ 1190625 w 1319213"/>
                  <a:gd name="connsiteY0" fmla="*/ 1078706 h 1095375"/>
                  <a:gd name="connsiteX1" fmla="*/ 1121569 w 1319213"/>
                  <a:gd name="connsiteY1" fmla="*/ 1052512 h 1095375"/>
                  <a:gd name="connsiteX2" fmla="*/ 1102519 w 1319213"/>
                  <a:gd name="connsiteY2" fmla="*/ 1059656 h 1095375"/>
                  <a:gd name="connsiteX3" fmla="*/ 1092994 w 1319213"/>
                  <a:gd name="connsiteY3" fmla="*/ 1064419 h 1095375"/>
                  <a:gd name="connsiteX4" fmla="*/ 1090613 w 1319213"/>
                  <a:gd name="connsiteY4" fmla="*/ 1095375 h 1095375"/>
                  <a:gd name="connsiteX5" fmla="*/ 1090613 w 1319213"/>
                  <a:gd name="connsiteY5" fmla="*/ 1095375 h 1095375"/>
                  <a:gd name="connsiteX6" fmla="*/ 990600 w 1319213"/>
                  <a:gd name="connsiteY6" fmla="*/ 1045369 h 1095375"/>
                  <a:gd name="connsiteX7" fmla="*/ 942975 w 1319213"/>
                  <a:gd name="connsiteY7" fmla="*/ 1045369 h 1095375"/>
                  <a:gd name="connsiteX8" fmla="*/ 904875 w 1319213"/>
                  <a:gd name="connsiteY8" fmla="*/ 1038225 h 1095375"/>
                  <a:gd name="connsiteX9" fmla="*/ 866775 w 1319213"/>
                  <a:gd name="connsiteY9" fmla="*/ 1062037 h 1095375"/>
                  <a:gd name="connsiteX10" fmla="*/ 823913 w 1319213"/>
                  <a:gd name="connsiteY10" fmla="*/ 1092994 h 1095375"/>
                  <a:gd name="connsiteX11" fmla="*/ 802481 w 1319213"/>
                  <a:gd name="connsiteY11" fmla="*/ 1062037 h 1095375"/>
                  <a:gd name="connsiteX12" fmla="*/ 781050 w 1319213"/>
                  <a:gd name="connsiteY12" fmla="*/ 997744 h 1095375"/>
                  <a:gd name="connsiteX13" fmla="*/ 711994 w 1319213"/>
                  <a:gd name="connsiteY13" fmla="*/ 954881 h 1095375"/>
                  <a:gd name="connsiteX14" fmla="*/ 685800 w 1319213"/>
                  <a:gd name="connsiteY14" fmla="*/ 950119 h 1095375"/>
                  <a:gd name="connsiteX15" fmla="*/ 664369 w 1319213"/>
                  <a:gd name="connsiteY15" fmla="*/ 971550 h 1095375"/>
                  <a:gd name="connsiteX16" fmla="*/ 621506 w 1319213"/>
                  <a:gd name="connsiteY16" fmla="*/ 919162 h 1095375"/>
                  <a:gd name="connsiteX17" fmla="*/ 592931 w 1319213"/>
                  <a:gd name="connsiteY17" fmla="*/ 933450 h 1095375"/>
                  <a:gd name="connsiteX18" fmla="*/ 542925 w 1319213"/>
                  <a:gd name="connsiteY18" fmla="*/ 852487 h 1095375"/>
                  <a:gd name="connsiteX19" fmla="*/ 457200 w 1319213"/>
                  <a:gd name="connsiteY19" fmla="*/ 754856 h 1095375"/>
                  <a:gd name="connsiteX20" fmla="*/ 383381 w 1319213"/>
                  <a:gd name="connsiteY20" fmla="*/ 726281 h 1095375"/>
                  <a:gd name="connsiteX21" fmla="*/ 395288 w 1319213"/>
                  <a:gd name="connsiteY21" fmla="*/ 690562 h 1095375"/>
                  <a:gd name="connsiteX22" fmla="*/ 378619 w 1319213"/>
                  <a:gd name="connsiteY22" fmla="*/ 652462 h 1095375"/>
                  <a:gd name="connsiteX23" fmla="*/ 342900 w 1319213"/>
                  <a:gd name="connsiteY23" fmla="*/ 602456 h 1095375"/>
                  <a:gd name="connsiteX24" fmla="*/ 266700 w 1319213"/>
                  <a:gd name="connsiteY24" fmla="*/ 545306 h 1095375"/>
                  <a:gd name="connsiteX25" fmla="*/ 226219 w 1319213"/>
                  <a:gd name="connsiteY25" fmla="*/ 521494 h 1095375"/>
                  <a:gd name="connsiteX26" fmla="*/ 197644 w 1319213"/>
                  <a:gd name="connsiteY26" fmla="*/ 545306 h 1095375"/>
                  <a:gd name="connsiteX27" fmla="*/ 152400 w 1319213"/>
                  <a:gd name="connsiteY27" fmla="*/ 431006 h 1095375"/>
                  <a:gd name="connsiteX28" fmla="*/ 142875 w 1319213"/>
                  <a:gd name="connsiteY28" fmla="*/ 395287 h 1095375"/>
                  <a:gd name="connsiteX29" fmla="*/ 85725 w 1319213"/>
                  <a:gd name="connsiteY29" fmla="*/ 328612 h 1095375"/>
                  <a:gd name="connsiteX30" fmla="*/ 11906 w 1319213"/>
                  <a:gd name="connsiteY30" fmla="*/ 304800 h 1095375"/>
                  <a:gd name="connsiteX31" fmla="*/ 0 w 1319213"/>
                  <a:gd name="connsiteY31" fmla="*/ 283369 h 1095375"/>
                  <a:gd name="connsiteX32" fmla="*/ 23813 w 1319213"/>
                  <a:gd name="connsiteY32" fmla="*/ 259556 h 1095375"/>
                  <a:gd name="connsiteX33" fmla="*/ 83344 w 1319213"/>
                  <a:gd name="connsiteY33" fmla="*/ 264319 h 1095375"/>
                  <a:gd name="connsiteX34" fmla="*/ 95250 w 1319213"/>
                  <a:gd name="connsiteY34" fmla="*/ 247650 h 1095375"/>
                  <a:gd name="connsiteX35" fmla="*/ 104775 w 1319213"/>
                  <a:gd name="connsiteY35" fmla="*/ 226219 h 1095375"/>
                  <a:gd name="connsiteX36" fmla="*/ 73819 w 1319213"/>
                  <a:gd name="connsiteY36" fmla="*/ 204787 h 1095375"/>
                  <a:gd name="connsiteX37" fmla="*/ 78581 w 1319213"/>
                  <a:gd name="connsiteY37" fmla="*/ 171450 h 1095375"/>
                  <a:gd name="connsiteX38" fmla="*/ 119063 w 1319213"/>
                  <a:gd name="connsiteY38" fmla="*/ 171450 h 1095375"/>
                  <a:gd name="connsiteX39" fmla="*/ 161925 w 1319213"/>
                  <a:gd name="connsiteY39" fmla="*/ 142875 h 1095375"/>
                  <a:gd name="connsiteX40" fmla="*/ 173831 w 1319213"/>
                  <a:gd name="connsiteY40" fmla="*/ 133350 h 1095375"/>
                  <a:gd name="connsiteX41" fmla="*/ 200025 w 1319213"/>
                  <a:gd name="connsiteY41" fmla="*/ 133350 h 1095375"/>
                  <a:gd name="connsiteX42" fmla="*/ 190500 w 1319213"/>
                  <a:gd name="connsiteY42" fmla="*/ 78581 h 1095375"/>
                  <a:gd name="connsiteX43" fmla="*/ 180975 w 1319213"/>
                  <a:gd name="connsiteY43" fmla="*/ 45244 h 1095375"/>
                  <a:gd name="connsiteX44" fmla="*/ 180975 w 1319213"/>
                  <a:gd name="connsiteY44" fmla="*/ 14287 h 1095375"/>
                  <a:gd name="connsiteX45" fmla="*/ 226219 w 1319213"/>
                  <a:gd name="connsiteY45" fmla="*/ 4762 h 1095375"/>
                  <a:gd name="connsiteX46" fmla="*/ 259556 w 1319213"/>
                  <a:gd name="connsiteY46" fmla="*/ 0 h 1095375"/>
                  <a:gd name="connsiteX47" fmla="*/ 264319 w 1319213"/>
                  <a:gd name="connsiteY47" fmla="*/ 28575 h 1095375"/>
                  <a:gd name="connsiteX48" fmla="*/ 273844 w 1319213"/>
                  <a:gd name="connsiteY48" fmla="*/ 64294 h 1095375"/>
                  <a:gd name="connsiteX49" fmla="*/ 292894 w 1319213"/>
                  <a:gd name="connsiteY49" fmla="*/ 66675 h 1095375"/>
                  <a:gd name="connsiteX50" fmla="*/ 264319 w 1319213"/>
                  <a:gd name="connsiteY50" fmla="*/ 97631 h 1095375"/>
                  <a:gd name="connsiteX51" fmla="*/ 307181 w 1319213"/>
                  <a:gd name="connsiteY51" fmla="*/ 114300 h 1095375"/>
                  <a:gd name="connsiteX52" fmla="*/ 314325 w 1319213"/>
                  <a:gd name="connsiteY52" fmla="*/ 138112 h 1095375"/>
                  <a:gd name="connsiteX53" fmla="*/ 342900 w 1319213"/>
                  <a:gd name="connsiteY53" fmla="*/ 119062 h 1095375"/>
                  <a:gd name="connsiteX54" fmla="*/ 373856 w 1319213"/>
                  <a:gd name="connsiteY54" fmla="*/ 126206 h 1095375"/>
                  <a:gd name="connsiteX55" fmla="*/ 392906 w 1319213"/>
                  <a:gd name="connsiteY55" fmla="*/ 97631 h 1095375"/>
                  <a:gd name="connsiteX56" fmla="*/ 419100 w 1319213"/>
                  <a:gd name="connsiteY56" fmla="*/ 126206 h 1095375"/>
                  <a:gd name="connsiteX57" fmla="*/ 416719 w 1319213"/>
                  <a:gd name="connsiteY57" fmla="*/ 150019 h 1095375"/>
                  <a:gd name="connsiteX58" fmla="*/ 457200 w 1319213"/>
                  <a:gd name="connsiteY58" fmla="*/ 216694 h 1095375"/>
                  <a:gd name="connsiteX59" fmla="*/ 488156 w 1319213"/>
                  <a:gd name="connsiteY59" fmla="*/ 259556 h 1095375"/>
                  <a:gd name="connsiteX60" fmla="*/ 497681 w 1319213"/>
                  <a:gd name="connsiteY60" fmla="*/ 235744 h 1095375"/>
                  <a:gd name="connsiteX61" fmla="*/ 519113 w 1319213"/>
                  <a:gd name="connsiteY61" fmla="*/ 273844 h 1095375"/>
                  <a:gd name="connsiteX62" fmla="*/ 538163 w 1319213"/>
                  <a:gd name="connsiteY62" fmla="*/ 292894 h 1095375"/>
                  <a:gd name="connsiteX63" fmla="*/ 557213 w 1319213"/>
                  <a:gd name="connsiteY63" fmla="*/ 309562 h 1095375"/>
                  <a:gd name="connsiteX64" fmla="*/ 561975 w 1319213"/>
                  <a:gd name="connsiteY64" fmla="*/ 333375 h 1095375"/>
                  <a:gd name="connsiteX65" fmla="*/ 592931 w 1319213"/>
                  <a:gd name="connsiteY65" fmla="*/ 302419 h 1095375"/>
                  <a:gd name="connsiteX66" fmla="*/ 602456 w 1319213"/>
                  <a:gd name="connsiteY66" fmla="*/ 261937 h 1095375"/>
                  <a:gd name="connsiteX67" fmla="*/ 631031 w 1319213"/>
                  <a:gd name="connsiteY67" fmla="*/ 278606 h 1095375"/>
                  <a:gd name="connsiteX68" fmla="*/ 661988 w 1319213"/>
                  <a:gd name="connsiteY68" fmla="*/ 259556 h 1095375"/>
                  <a:gd name="connsiteX69" fmla="*/ 652463 w 1319213"/>
                  <a:gd name="connsiteY69" fmla="*/ 238125 h 1095375"/>
                  <a:gd name="connsiteX70" fmla="*/ 676275 w 1319213"/>
                  <a:gd name="connsiteY70" fmla="*/ 233362 h 1095375"/>
                  <a:gd name="connsiteX71" fmla="*/ 692944 w 1319213"/>
                  <a:gd name="connsiteY71" fmla="*/ 209550 h 1095375"/>
                  <a:gd name="connsiteX72" fmla="*/ 719138 w 1319213"/>
                  <a:gd name="connsiteY72" fmla="*/ 223837 h 1095375"/>
                  <a:gd name="connsiteX73" fmla="*/ 745331 w 1319213"/>
                  <a:gd name="connsiteY73" fmla="*/ 183356 h 1095375"/>
                  <a:gd name="connsiteX74" fmla="*/ 742950 w 1319213"/>
                  <a:gd name="connsiteY74" fmla="*/ 161925 h 1095375"/>
                  <a:gd name="connsiteX75" fmla="*/ 781050 w 1319213"/>
                  <a:gd name="connsiteY75" fmla="*/ 164306 h 1095375"/>
                  <a:gd name="connsiteX76" fmla="*/ 859631 w 1319213"/>
                  <a:gd name="connsiteY76" fmla="*/ 152400 h 1095375"/>
                  <a:gd name="connsiteX77" fmla="*/ 890588 w 1319213"/>
                  <a:gd name="connsiteY77" fmla="*/ 145256 h 1095375"/>
                  <a:gd name="connsiteX78" fmla="*/ 904875 w 1319213"/>
                  <a:gd name="connsiteY78" fmla="*/ 119062 h 1095375"/>
                  <a:gd name="connsiteX79" fmla="*/ 895350 w 1319213"/>
                  <a:gd name="connsiteY79" fmla="*/ 83344 h 1095375"/>
                  <a:gd name="connsiteX80" fmla="*/ 921544 w 1319213"/>
                  <a:gd name="connsiteY80" fmla="*/ 61912 h 1095375"/>
                  <a:gd name="connsiteX81" fmla="*/ 950119 w 1319213"/>
                  <a:gd name="connsiteY81" fmla="*/ 92869 h 1095375"/>
                  <a:gd name="connsiteX82" fmla="*/ 981075 w 1319213"/>
                  <a:gd name="connsiteY82" fmla="*/ 126206 h 1095375"/>
                  <a:gd name="connsiteX83" fmla="*/ 1000125 w 1319213"/>
                  <a:gd name="connsiteY83" fmla="*/ 157162 h 1095375"/>
                  <a:gd name="connsiteX84" fmla="*/ 1004888 w 1319213"/>
                  <a:gd name="connsiteY84" fmla="*/ 190500 h 1095375"/>
                  <a:gd name="connsiteX85" fmla="*/ 959644 w 1319213"/>
                  <a:gd name="connsiteY85" fmla="*/ 190500 h 1095375"/>
                  <a:gd name="connsiteX86" fmla="*/ 914400 w 1319213"/>
                  <a:gd name="connsiteY86" fmla="*/ 180975 h 1095375"/>
                  <a:gd name="connsiteX87" fmla="*/ 914400 w 1319213"/>
                  <a:gd name="connsiteY87" fmla="*/ 180975 h 1095375"/>
                  <a:gd name="connsiteX88" fmla="*/ 895350 w 1319213"/>
                  <a:gd name="connsiteY88" fmla="*/ 214312 h 1095375"/>
                  <a:gd name="connsiteX89" fmla="*/ 885825 w 1319213"/>
                  <a:gd name="connsiteY89" fmla="*/ 250031 h 1095375"/>
                  <a:gd name="connsiteX90" fmla="*/ 852488 w 1319213"/>
                  <a:gd name="connsiteY90" fmla="*/ 290512 h 1095375"/>
                  <a:gd name="connsiteX91" fmla="*/ 888206 w 1319213"/>
                  <a:gd name="connsiteY91" fmla="*/ 316706 h 1095375"/>
                  <a:gd name="connsiteX92" fmla="*/ 897731 w 1319213"/>
                  <a:gd name="connsiteY92" fmla="*/ 369094 h 1095375"/>
                  <a:gd name="connsiteX93" fmla="*/ 947738 w 1319213"/>
                  <a:gd name="connsiteY93" fmla="*/ 416719 h 1095375"/>
                  <a:gd name="connsiteX94" fmla="*/ 985838 w 1319213"/>
                  <a:gd name="connsiteY94" fmla="*/ 440531 h 1095375"/>
                  <a:gd name="connsiteX95" fmla="*/ 985838 w 1319213"/>
                  <a:gd name="connsiteY95" fmla="*/ 464344 h 1095375"/>
                  <a:gd name="connsiteX96" fmla="*/ 964406 w 1319213"/>
                  <a:gd name="connsiteY96" fmla="*/ 469106 h 1095375"/>
                  <a:gd name="connsiteX97" fmla="*/ 954881 w 1319213"/>
                  <a:gd name="connsiteY97" fmla="*/ 488156 h 1095375"/>
                  <a:gd name="connsiteX98" fmla="*/ 954881 w 1319213"/>
                  <a:gd name="connsiteY98" fmla="*/ 488156 h 1095375"/>
                  <a:gd name="connsiteX99" fmla="*/ 892969 w 1319213"/>
                  <a:gd name="connsiteY99" fmla="*/ 471487 h 1095375"/>
                  <a:gd name="connsiteX100" fmla="*/ 838200 w 1319213"/>
                  <a:gd name="connsiteY100" fmla="*/ 445294 h 1095375"/>
                  <a:gd name="connsiteX101" fmla="*/ 823913 w 1319213"/>
                  <a:gd name="connsiteY101" fmla="*/ 485775 h 1095375"/>
                  <a:gd name="connsiteX102" fmla="*/ 802481 w 1319213"/>
                  <a:gd name="connsiteY102" fmla="*/ 490537 h 1095375"/>
                  <a:gd name="connsiteX103" fmla="*/ 826294 w 1319213"/>
                  <a:gd name="connsiteY103" fmla="*/ 547687 h 1095375"/>
                  <a:gd name="connsiteX104" fmla="*/ 912019 w 1319213"/>
                  <a:gd name="connsiteY104" fmla="*/ 578644 h 1095375"/>
                  <a:gd name="connsiteX105" fmla="*/ 997744 w 1319213"/>
                  <a:gd name="connsiteY105" fmla="*/ 623887 h 1095375"/>
                  <a:gd name="connsiteX106" fmla="*/ 995363 w 1319213"/>
                  <a:gd name="connsiteY106" fmla="*/ 704850 h 1095375"/>
                  <a:gd name="connsiteX107" fmla="*/ 1028700 w 1319213"/>
                  <a:gd name="connsiteY107" fmla="*/ 690562 h 1095375"/>
                  <a:gd name="connsiteX108" fmla="*/ 1083469 w 1319213"/>
                  <a:gd name="connsiteY108" fmla="*/ 735806 h 1095375"/>
                  <a:gd name="connsiteX109" fmla="*/ 1145381 w 1319213"/>
                  <a:gd name="connsiteY109" fmla="*/ 697706 h 1095375"/>
                  <a:gd name="connsiteX110" fmla="*/ 1207294 w 1319213"/>
                  <a:gd name="connsiteY110" fmla="*/ 750094 h 1095375"/>
                  <a:gd name="connsiteX111" fmla="*/ 1262063 w 1319213"/>
                  <a:gd name="connsiteY111" fmla="*/ 785812 h 1095375"/>
                  <a:gd name="connsiteX112" fmla="*/ 1283494 w 1319213"/>
                  <a:gd name="connsiteY112" fmla="*/ 788194 h 1095375"/>
                  <a:gd name="connsiteX113" fmla="*/ 1319213 w 1319213"/>
                  <a:gd name="connsiteY113" fmla="*/ 897731 h 1095375"/>
                  <a:gd name="connsiteX114" fmla="*/ 1297781 w 1319213"/>
                  <a:gd name="connsiteY114" fmla="*/ 914400 h 1095375"/>
                  <a:gd name="connsiteX115" fmla="*/ 1293019 w 1319213"/>
                  <a:gd name="connsiteY115" fmla="*/ 933450 h 1095375"/>
                  <a:gd name="connsiteX116" fmla="*/ 1293019 w 1319213"/>
                  <a:gd name="connsiteY116" fmla="*/ 933450 h 1095375"/>
                  <a:gd name="connsiteX117" fmla="*/ 1243013 w 1319213"/>
                  <a:gd name="connsiteY117" fmla="*/ 947737 h 1095375"/>
                  <a:gd name="connsiteX118" fmla="*/ 1245394 w 1319213"/>
                  <a:gd name="connsiteY118" fmla="*/ 1031081 h 1095375"/>
                  <a:gd name="connsiteX119" fmla="*/ 1190625 w 1319213"/>
                  <a:gd name="connsiteY119" fmla="*/ 1078706 h 109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19213" h="1095375">
                    <a:moveTo>
                      <a:pt x="1190625" y="1078706"/>
                    </a:moveTo>
                    <a:lnTo>
                      <a:pt x="1121569" y="1052512"/>
                    </a:lnTo>
                    <a:lnTo>
                      <a:pt x="1102519" y="1059656"/>
                    </a:lnTo>
                    <a:cubicBezTo>
                      <a:pt x="1093919" y="1062783"/>
                      <a:pt x="1097325" y="1060087"/>
                      <a:pt x="1092994" y="1064419"/>
                    </a:cubicBezTo>
                    <a:lnTo>
                      <a:pt x="1090613" y="1095375"/>
                    </a:lnTo>
                    <a:lnTo>
                      <a:pt x="1090613" y="1095375"/>
                    </a:lnTo>
                    <a:lnTo>
                      <a:pt x="990600" y="1045369"/>
                    </a:lnTo>
                    <a:lnTo>
                      <a:pt x="942975" y="1045369"/>
                    </a:lnTo>
                    <a:lnTo>
                      <a:pt x="904875" y="1038225"/>
                    </a:lnTo>
                    <a:lnTo>
                      <a:pt x="866775" y="1062037"/>
                    </a:lnTo>
                    <a:lnTo>
                      <a:pt x="823913" y="1092994"/>
                    </a:lnTo>
                    <a:lnTo>
                      <a:pt x="802481" y="1062037"/>
                    </a:lnTo>
                    <a:lnTo>
                      <a:pt x="781050" y="997744"/>
                    </a:lnTo>
                    <a:lnTo>
                      <a:pt x="711994" y="954881"/>
                    </a:lnTo>
                    <a:lnTo>
                      <a:pt x="685800" y="950119"/>
                    </a:lnTo>
                    <a:lnTo>
                      <a:pt x="664369" y="971550"/>
                    </a:lnTo>
                    <a:lnTo>
                      <a:pt x="621506" y="919162"/>
                    </a:lnTo>
                    <a:lnTo>
                      <a:pt x="592931" y="933450"/>
                    </a:lnTo>
                    <a:lnTo>
                      <a:pt x="542925" y="852487"/>
                    </a:lnTo>
                    <a:lnTo>
                      <a:pt x="457200" y="754856"/>
                    </a:lnTo>
                    <a:lnTo>
                      <a:pt x="383381" y="726281"/>
                    </a:lnTo>
                    <a:lnTo>
                      <a:pt x="395288" y="690562"/>
                    </a:lnTo>
                    <a:lnTo>
                      <a:pt x="378619" y="652462"/>
                    </a:lnTo>
                    <a:lnTo>
                      <a:pt x="342900" y="602456"/>
                    </a:lnTo>
                    <a:lnTo>
                      <a:pt x="266700" y="545306"/>
                    </a:lnTo>
                    <a:lnTo>
                      <a:pt x="226219" y="521494"/>
                    </a:lnTo>
                    <a:lnTo>
                      <a:pt x="197644" y="545306"/>
                    </a:lnTo>
                    <a:lnTo>
                      <a:pt x="152400" y="431006"/>
                    </a:lnTo>
                    <a:lnTo>
                      <a:pt x="142875" y="395287"/>
                    </a:lnTo>
                    <a:lnTo>
                      <a:pt x="85725" y="328612"/>
                    </a:lnTo>
                    <a:lnTo>
                      <a:pt x="11906" y="304800"/>
                    </a:lnTo>
                    <a:lnTo>
                      <a:pt x="0" y="283369"/>
                    </a:lnTo>
                    <a:lnTo>
                      <a:pt x="23813" y="259556"/>
                    </a:lnTo>
                    <a:lnTo>
                      <a:pt x="83344" y="264319"/>
                    </a:lnTo>
                    <a:lnTo>
                      <a:pt x="95250" y="247650"/>
                    </a:lnTo>
                    <a:lnTo>
                      <a:pt x="104775" y="226219"/>
                    </a:lnTo>
                    <a:lnTo>
                      <a:pt x="73819" y="204787"/>
                    </a:lnTo>
                    <a:lnTo>
                      <a:pt x="78581" y="171450"/>
                    </a:lnTo>
                    <a:lnTo>
                      <a:pt x="119063" y="171450"/>
                    </a:lnTo>
                    <a:lnTo>
                      <a:pt x="161925" y="142875"/>
                    </a:lnTo>
                    <a:lnTo>
                      <a:pt x="173831" y="133350"/>
                    </a:lnTo>
                    <a:lnTo>
                      <a:pt x="200025" y="133350"/>
                    </a:lnTo>
                    <a:lnTo>
                      <a:pt x="190500" y="78581"/>
                    </a:lnTo>
                    <a:lnTo>
                      <a:pt x="180975" y="45244"/>
                    </a:lnTo>
                    <a:lnTo>
                      <a:pt x="180975" y="14287"/>
                    </a:lnTo>
                    <a:lnTo>
                      <a:pt x="226219" y="4762"/>
                    </a:lnTo>
                    <a:lnTo>
                      <a:pt x="259556" y="0"/>
                    </a:lnTo>
                    <a:lnTo>
                      <a:pt x="264319" y="28575"/>
                    </a:lnTo>
                    <a:lnTo>
                      <a:pt x="273844" y="64294"/>
                    </a:lnTo>
                    <a:lnTo>
                      <a:pt x="292894" y="66675"/>
                    </a:lnTo>
                    <a:lnTo>
                      <a:pt x="264319" y="97631"/>
                    </a:lnTo>
                    <a:lnTo>
                      <a:pt x="307181" y="114300"/>
                    </a:lnTo>
                    <a:lnTo>
                      <a:pt x="314325" y="138112"/>
                    </a:lnTo>
                    <a:lnTo>
                      <a:pt x="342900" y="119062"/>
                    </a:lnTo>
                    <a:lnTo>
                      <a:pt x="373856" y="126206"/>
                    </a:lnTo>
                    <a:lnTo>
                      <a:pt x="392906" y="97631"/>
                    </a:lnTo>
                    <a:lnTo>
                      <a:pt x="419100" y="126206"/>
                    </a:lnTo>
                    <a:lnTo>
                      <a:pt x="416719" y="150019"/>
                    </a:lnTo>
                    <a:lnTo>
                      <a:pt x="457200" y="216694"/>
                    </a:lnTo>
                    <a:lnTo>
                      <a:pt x="488156" y="259556"/>
                    </a:lnTo>
                    <a:lnTo>
                      <a:pt x="497681" y="235744"/>
                    </a:lnTo>
                    <a:lnTo>
                      <a:pt x="519113" y="273844"/>
                    </a:lnTo>
                    <a:lnTo>
                      <a:pt x="538163" y="292894"/>
                    </a:lnTo>
                    <a:lnTo>
                      <a:pt x="557213" y="309562"/>
                    </a:lnTo>
                    <a:lnTo>
                      <a:pt x="561975" y="333375"/>
                    </a:lnTo>
                    <a:lnTo>
                      <a:pt x="592931" y="302419"/>
                    </a:lnTo>
                    <a:lnTo>
                      <a:pt x="602456" y="261937"/>
                    </a:lnTo>
                    <a:lnTo>
                      <a:pt x="631031" y="278606"/>
                    </a:lnTo>
                    <a:lnTo>
                      <a:pt x="661988" y="259556"/>
                    </a:lnTo>
                    <a:lnTo>
                      <a:pt x="652463" y="238125"/>
                    </a:lnTo>
                    <a:lnTo>
                      <a:pt x="676275" y="233362"/>
                    </a:lnTo>
                    <a:lnTo>
                      <a:pt x="692944" y="209550"/>
                    </a:lnTo>
                    <a:lnTo>
                      <a:pt x="719138" y="223837"/>
                    </a:lnTo>
                    <a:lnTo>
                      <a:pt x="745331" y="183356"/>
                    </a:lnTo>
                    <a:lnTo>
                      <a:pt x="742950" y="161925"/>
                    </a:lnTo>
                    <a:lnTo>
                      <a:pt x="781050" y="164306"/>
                    </a:lnTo>
                    <a:lnTo>
                      <a:pt x="859631" y="152400"/>
                    </a:lnTo>
                    <a:lnTo>
                      <a:pt x="890588" y="145256"/>
                    </a:lnTo>
                    <a:lnTo>
                      <a:pt x="904875" y="119062"/>
                    </a:lnTo>
                    <a:lnTo>
                      <a:pt x="895350" y="83344"/>
                    </a:lnTo>
                    <a:lnTo>
                      <a:pt x="921544" y="61912"/>
                    </a:lnTo>
                    <a:lnTo>
                      <a:pt x="950119" y="92869"/>
                    </a:lnTo>
                    <a:lnTo>
                      <a:pt x="981075" y="126206"/>
                    </a:lnTo>
                    <a:lnTo>
                      <a:pt x="1000125" y="157162"/>
                    </a:lnTo>
                    <a:lnTo>
                      <a:pt x="1004888" y="190500"/>
                    </a:lnTo>
                    <a:lnTo>
                      <a:pt x="959644" y="190500"/>
                    </a:lnTo>
                    <a:lnTo>
                      <a:pt x="914400" y="180975"/>
                    </a:lnTo>
                    <a:lnTo>
                      <a:pt x="914400" y="180975"/>
                    </a:lnTo>
                    <a:lnTo>
                      <a:pt x="895350" y="214312"/>
                    </a:lnTo>
                    <a:lnTo>
                      <a:pt x="885825" y="250031"/>
                    </a:lnTo>
                    <a:lnTo>
                      <a:pt x="852488" y="290512"/>
                    </a:lnTo>
                    <a:lnTo>
                      <a:pt x="888206" y="316706"/>
                    </a:lnTo>
                    <a:lnTo>
                      <a:pt x="897731" y="369094"/>
                    </a:lnTo>
                    <a:lnTo>
                      <a:pt x="947738" y="416719"/>
                    </a:lnTo>
                    <a:lnTo>
                      <a:pt x="985838" y="440531"/>
                    </a:lnTo>
                    <a:lnTo>
                      <a:pt x="985838" y="464344"/>
                    </a:lnTo>
                    <a:cubicBezTo>
                      <a:pt x="978694" y="465931"/>
                      <a:pt x="970639" y="465271"/>
                      <a:pt x="964406" y="469106"/>
                    </a:cubicBezTo>
                    <a:cubicBezTo>
                      <a:pt x="954001" y="475509"/>
                      <a:pt x="954881" y="480223"/>
                      <a:pt x="954881" y="488156"/>
                    </a:cubicBezTo>
                    <a:lnTo>
                      <a:pt x="954881" y="488156"/>
                    </a:lnTo>
                    <a:lnTo>
                      <a:pt x="892969" y="471487"/>
                    </a:lnTo>
                    <a:lnTo>
                      <a:pt x="838200" y="445294"/>
                    </a:lnTo>
                    <a:lnTo>
                      <a:pt x="823913" y="485775"/>
                    </a:lnTo>
                    <a:lnTo>
                      <a:pt x="802481" y="490537"/>
                    </a:lnTo>
                    <a:lnTo>
                      <a:pt x="826294" y="547687"/>
                    </a:lnTo>
                    <a:lnTo>
                      <a:pt x="912019" y="578644"/>
                    </a:lnTo>
                    <a:lnTo>
                      <a:pt x="997744" y="623887"/>
                    </a:lnTo>
                    <a:cubicBezTo>
                      <a:pt x="996950" y="650875"/>
                      <a:pt x="996157" y="677862"/>
                      <a:pt x="995363" y="704850"/>
                    </a:cubicBezTo>
                    <a:lnTo>
                      <a:pt x="1028700" y="690562"/>
                    </a:lnTo>
                    <a:lnTo>
                      <a:pt x="1083469" y="735806"/>
                    </a:lnTo>
                    <a:lnTo>
                      <a:pt x="1145381" y="697706"/>
                    </a:lnTo>
                    <a:lnTo>
                      <a:pt x="1207294" y="750094"/>
                    </a:lnTo>
                    <a:lnTo>
                      <a:pt x="1262063" y="785812"/>
                    </a:lnTo>
                    <a:lnTo>
                      <a:pt x="1283494" y="788194"/>
                    </a:lnTo>
                    <a:lnTo>
                      <a:pt x="1319213" y="897731"/>
                    </a:lnTo>
                    <a:lnTo>
                      <a:pt x="1297781" y="914400"/>
                    </a:lnTo>
                    <a:lnTo>
                      <a:pt x="1293019" y="933450"/>
                    </a:lnTo>
                    <a:lnTo>
                      <a:pt x="1293019" y="933450"/>
                    </a:lnTo>
                    <a:lnTo>
                      <a:pt x="1243013" y="947737"/>
                    </a:lnTo>
                    <a:cubicBezTo>
                      <a:pt x="1243807" y="975518"/>
                      <a:pt x="1244600" y="1003300"/>
                      <a:pt x="1245394" y="1031081"/>
                    </a:cubicBezTo>
                    <a:lnTo>
                      <a:pt x="1190625" y="107870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4" name="Figura a mano libera 74">
                <a:extLst>
                  <a:ext uri="{FF2B5EF4-FFF2-40B4-BE49-F238E27FC236}">
                    <a16:creationId xmlns:a16="http://schemas.microsoft.com/office/drawing/2014/main" id="{93FA0930-3AE8-498E-A2EF-556C81DB71A2}"/>
                  </a:ext>
                </a:extLst>
              </p:cNvPr>
              <p:cNvSpPr/>
              <p:nvPr/>
            </p:nvSpPr>
            <p:spPr bwMode="auto">
              <a:xfrm>
                <a:off x="3011047" y="2378504"/>
                <a:ext cx="559266" cy="659480"/>
              </a:xfrm>
              <a:custGeom>
                <a:avLst/>
                <a:gdLst>
                  <a:gd name="connsiteX0" fmla="*/ 673894 w 692944"/>
                  <a:gd name="connsiteY0" fmla="*/ 564357 h 845344"/>
                  <a:gd name="connsiteX1" fmla="*/ 692944 w 692944"/>
                  <a:gd name="connsiteY1" fmla="*/ 535782 h 845344"/>
                  <a:gd name="connsiteX2" fmla="*/ 681037 w 692944"/>
                  <a:gd name="connsiteY2" fmla="*/ 509588 h 845344"/>
                  <a:gd name="connsiteX3" fmla="*/ 626269 w 692944"/>
                  <a:gd name="connsiteY3" fmla="*/ 531019 h 845344"/>
                  <a:gd name="connsiteX4" fmla="*/ 595312 w 692944"/>
                  <a:gd name="connsiteY4" fmla="*/ 490538 h 845344"/>
                  <a:gd name="connsiteX5" fmla="*/ 564356 w 692944"/>
                  <a:gd name="connsiteY5" fmla="*/ 478632 h 845344"/>
                  <a:gd name="connsiteX6" fmla="*/ 554831 w 692944"/>
                  <a:gd name="connsiteY6" fmla="*/ 492919 h 845344"/>
                  <a:gd name="connsiteX7" fmla="*/ 554831 w 692944"/>
                  <a:gd name="connsiteY7" fmla="*/ 492919 h 845344"/>
                  <a:gd name="connsiteX8" fmla="*/ 528637 w 692944"/>
                  <a:gd name="connsiteY8" fmla="*/ 478632 h 845344"/>
                  <a:gd name="connsiteX9" fmla="*/ 507206 w 692944"/>
                  <a:gd name="connsiteY9" fmla="*/ 445294 h 845344"/>
                  <a:gd name="connsiteX10" fmla="*/ 509587 w 692944"/>
                  <a:gd name="connsiteY10" fmla="*/ 409575 h 845344"/>
                  <a:gd name="connsiteX11" fmla="*/ 504825 w 692944"/>
                  <a:gd name="connsiteY11" fmla="*/ 369094 h 845344"/>
                  <a:gd name="connsiteX12" fmla="*/ 490537 w 692944"/>
                  <a:gd name="connsiteY12" fmla="*/ 328613 h 845344"/>
                  <a:gd name="connsiteX13" fmla="*/ 490537 w 692944"/>
                  <a:gd name="connsiteY13" fmla="*/ 328613 h 845344"/>
                  <a:gd name="connsiteX14" fmla="*/ 481012 w 692944"/>
                  <a:gd name="connsiteY14" fmla="*/ 300038 h 845344"/>
                  <a:gd name="connsiteX15" fmla="*/ 478631 w 692944"/>
                  <a:gd name="connsiteY15" fmla="*/ 273844 h 845344"/>
                  <a:gd name="connsiteX16" fmla="*/ 454819 w 692944"/>
                  <a:gd name="connsiteY16" fmla="*/ 252413 h 845344"/>
                  <a:gd name="connsiteX17" fmla="*/ 457200 w 692944"/>
                  <a:gd name="connsiteY17" fmla="*/ 235744 h 845344"/>
                  <a:gd name="connsiteX18" fmla="*/ 452437 w 692944"/>
                  <a:gd name="connsiteY18" fmla="*/ 204788 h 845344"/>
                  <a:gd name="connsiteX19" fmla="*/ 452437 w 692944"/>
                  <a:gd name="connsiteY19" fmla="*/ 190500 h 845344"/>
                  <a:gd name="connsiteX20" fmla="*/ 428625 w 692944"/>
                  <a:gd name="connsiteY20" fmla="*/ 166688 h 845344"/>
                  <a:gd name="connsiteX21" fmla="*/ 428625 w 692944"/>
                  <a:gd name="connsiteY21" fmla="*/ 166688 h 845344"/>
                  <a:gd name="connsiteX22" fmla="*/ 445294 w 692944"/>
                  <a:gd name="connsiteY22" fmla="*/ 142875 h 845344"/>
                  <a:gd name="connsiteX23" fmla="*/ 440531 w 692944"/>
                  <a:gd name="connsiteY23" fmla="*/ 123825 h 845344"/>
                  <a:gd name="connsiteX24" fmla="*/ 383381 w 692944"/>
                  <a:gd name="connsiteY24" fmla="*/ 126207 h 845344"/>
                  <a:gd name="connsiteX25" fmla="*/ 383381 w 692944"/>
                  <a:gd name="connsiteY25" fmla="*/ 126207 h 845344"/>
                  <a:gd name="connsiteX26" fmla="*/ 345281 w 692944"/>
                  <a:gd name="connsiteY26" fmla="*/ 130969 h 845344"/>
                  <a:gd name="connsiteX27" fmla="*/ 319087 w 692944"/>
                  <a:gd name="connsiteY27" fmla="*/ 90488 h 845344"/>
                  <a:gd name="connsiteX28" fmla="*/ 304800 w 692944"/>
                  <a:gd name="connsiteY28" fmla="*/ 59532 h 845344"/>
                  <a:gd name="connsiteX29" fmla="*/ 276225 w 692944"/>
                  <a:gd name="connsiteY29" fmla="*/ 52388 h 845344"/>
                  <a:gd name="connsiteX30" fmla="*/ 271462 w 692944"/>
                  <a:gd name="connsiteY30" fmla="*/ 71438 h 845344"/>
                  <a:gd name="connsiteX31" fmla="*/ 250031 w 692944"/>
                  <a:gd name="connsiteY31" fmla="*/ 69057 h 845344"/>
                  <a:gd name="connsiteX32" fmla="*/ 211931 w 692944"/>
                  <a:gd name="connsiteY32" fmla="*/ 54769 h 845344"/>
                  <a:gd name="connsiteX33" fmla="*/ 245269 w 692944"/>
                  <a:gd name="connsiteY33" fmla="*/ 50007 h 845344"/>
                  <a:gd name="connsiteX34" fmla="*/ 247650 w 692944"/>
                  <a:gd name="connsiteY34" fmla="*/ 47625 h 845344"/>
                  <a:gd name="connsiteX35" fmla="*/ 230981 w 692944"/>
                  <a:gd name="connsiteY35" fmla="*/ 28575 h 845344"/>
                  <a:gd name="connsiteX36" fmla="*/ 257175 w 692944"/>
                  <a:gd name="connsiteY36" fmla="*/ 0 h 845344"/>
                  <a:gd name="connsiteX37" fmla="*/ 200025 w 692944"/>
                  <a:gd name="connsiteY37" fmla="*/ 26194 h 845344"/>
                  <a:gd name="connsiteX38" fmla="*/ 166687 w 692944"/>
                  <a:gd name="connsiteY38" fmla="*/ 9525 h 845344"/>
                  <a:gd name="connsiteX39" fmla="*/ 150019 w 692944"/>
                  <a:gd name="connsiteY39" fmla="*/ 42863 h 845344"/>
                  <a:gd name="connsiteX40" fmla="*/ 121444 w 692944"/>
                  <a:gd name="connsiteY40" fmla="*/ 83344 h 845344"/>
                  <a:gd name="connsiteX41" fmla="*/ 107156 w 692944"/>
                  <a:gd name="connsiteY41" fmla="*/ 83344 h 845344"/>
                  <a:gd name="connsiteX42" fmla="*/ 119062 w 692944"/>
                  <a:gd name="connsiteY42" fmla="*/ 104775 h 845344"/>
                  <a:gd name="connsiteX43" fmla="*/ 126206 w 692944"/>
                  <a:gd name="connsiteY43" fmla="*/ 107157 h 845344"/>
                  <a:gd name="connsiteX44" fmla="*/ 97631 w 692944"/>
                  <a:gd name="connsiteY44" fmla="*/ 111919 h 845344"/>
                  <a:gd name="connsiteX45" fmla="*/ 69056 w 692944"/>
                  <a:gd name="connsiteY45" fmla="*/ 133350 h 845344"/>
                  <a:gd name="connsiteX46" fmla="*/ 100012 w 692944"/>
                  <a:gd name="connsiteY46" fmla="*/ 145257 h 845344"/>
                  <a:gd name="connsiteX47" fmla="*/ 114300 w 692944"/>
                  <a:gd name="connsiteY47" fmla="*/ 176213 h 845344"/>
                  <a:gd name="connsiteX48" fmla="*/ 133350 w 692944"/>
                  <a:gd name="connsiteY48" fmla="*/ 197644 h 845344"/>
                  <a:gd name="connsiteX49" fmla="*/ 154781 w 692944"/>
                  <a:gd name="connsiteY49" fmla="*/ 228600 h 845344"/>
                  <a:gd name="connsiteX50" fmla="*/ 133350 w 692944"/>
                  <a:gd name="connsiteY50" fmla="*/ 247650 h 845344"/>
                  <a:gd name="connsiteX51" fmla="*/ 95250 w 692944"/>
                  <a:gd name="connsiteY51" fmla="*/ 261938 h 845344"/>
                  <a:gd name="connsiteX52" fmla="*/ 83344 w 692944"/>
                  <a:gd name="connsiteY52" fmla="*/ 233363 h 845344"/>
                  <a:gd name="connsiteX53" fmla="*/ 45244 w 692944"/>
                  <a:gd name="connsiteY53" fmla="*/ 290513 h 845344"/>
                  <a:gd name="connsiteX54" fmla="*/ 0 w 692944"/>
                  <a:gd name="connsiteY54" fmla="*/ 323850 h 845344"/>
                  <a:gd name="connsiteX55" fmla="*/ 0 w 692944"/>
                  <a:gd name="connsiteY55" fmla="*/ 338138 h 845344"/>
                  <a:gd name="connsiteX56" fmla="*/ 4762 w 692944"/>
                  <a:gd name="connsiteY56" fmla="*/ 361950 h 845344"/>
                  <a:gd name="connsiteX57" fmla="*/ 4762 w 692944"/>
                  <a:gd name="connsiteY57" fmla="*/ 361950 h 845344"/>
                  <a:gd name="connsiteX58" fmla="*/ 35719 w 692944"/>
                  <a:gd name="connsiteY58" fmla="*/ 392907 h 845344"/>
                  <a:gd name="connsiteX59" fmla="*/ 35719 w 692944"/>
                  <a:gd name="connsiteY59" fmla="*/ 423863 h 845344"/>
                  <a:gd name="connsiteX60" fmla="*/ 33337 w 692944"/>
                  <a:gd name="connsiteY60" fmla="*/ 473869 h 845344"/>
                  <a:gd name="connsiteX61" fmla="*/ 33337 w 692944"/>
                  <a:gd name="connsiteY61" fmla="*/ 473869 h 845344"/>
                  <a:gd name="connsiteX62" fmla="*/ 16669 w 692944"/>
                  <a:gd name="connsiteY62" fmla="*/ 507207 h 845344"/>
                  <a:gd name="connsiteX63" fmla="*/ 14287 w 692944"/>
                  <a:gd name="connsiteY63" fmla="*/ 528638 h 845344"/>
                  <a:gd name="connsiteX64" fmla="*/ 9525 w 692944"/>
                  <a:gd name="connsiteY64" fmla="*/ 566738 h 845344"/>
                  <a:gd name="connsiteX65" fmla="*/ 35719 w 692944"/>
                  <a:gd name="connsiteY65" fmla="*/ 573882 h 845344"/>
                  <a:gd name="connsiteX66" fmla="*/ 11906 w 692944"/>
                  <a:gd name="connsiteY66" fmla="*/ 614363 h 845344"/>
                  <a:gd name="connsiteX67" fmla="*/ 52387 w 692944"/>
                  <a:gd name="connsiteY67" fmla="*/ 616744 h 845344"/>
                  <a:gd name="connsiteX68" fmla="*/ 57150 w 692944"/>
                  <a:gd name="connsiteY68" fmla="*/ 645319 h 845344"/>
                  <a:gd name="connsiteX69" fmla="*/ 61912 w 692944"/>
                  <a:gd name="connsiteY69" fmla="*/ 628650 h 845344"/>
                  <a:gd name="connsiteX70" fmla="*/ 114300 w 692944"/>
                  <a:gd name="connsiteY70" fmla="*/ 640557 h 845344"/>
                  <a:gd name="connsiteX71" fmla="*/ 140494 w 692944"/>
                  <a:gd name="connsiteY71" fmla="*/ 607219 h 845344"/>
                  <a:gd name="connsiteX72" fmla="*/ 164306 w 692944"/>
                  <a:gd name="connsiteY72" fmla="*/ 640557 h 845344"/>
                  <a:gd name="connsiteX73" fmla="*/ 185737 w 692944"/>
                  <a:gd name="connsiteY73" fmla="*/ 716757 h 845344"/>
                  <a:gd name="connsiteX74" fmla="*/ 226219 w 692944"/>
                  <a:gd name="connsiteY74" fmla="*/ 771525 h 845344"/>
                  <a:gd name="connsiteX75" fmla="*/ 238125 w 692944"/>
                  <a:gd name="connsiteY75" fmla="*/ 745332 h 845344"/>
                  <a:gd name="connsiteX76" fmla="*/ 285750 w 692944"/>
                  <a:gd name="connsiteY76" fmla="*/ 807244 h 845344"/>
                  <a:gd name="connsiteX77" fmla="*/ 304800 w 692944"/>
                  <a:gd name="connsiteY77" fmla="*/ 819150 h 845344"/>
                  <a:gd name="connsiteX78" fmla="*/ 304800 w 692944"/>
                  <a:gd name="connsiteY78" fmla="*/ 845344 h 845344"/>
                  <a:gd name="connsiteX79" fmla="*/ 342900 w 692944"/>
                  <a:gd name="connsiteY79" fmla="*/ 812007 h 845344"/>
                  <a:gd name="connsiteX80" fmla="*/ 354806 w 692944"/>
                  <a:gd name="connsiteY80" fmla="*/ 762000 h 845344"/>
                  <a:gd name="connsiteX81" fmla="*/ 400050 w 692944"/>
                  <a:gd name="connsiteY81" fmla="*/ 790575 h 845344"/>
                  <a:gd name="connsiteX82" fmla="*/ 409575 w 692944"/>
                  <a:gd name="connsiteY82" fmla="*/ 773907 h 845344"/>
                  <a:gd name="connsiteX83" fmla="*/ 404812 w 692944"/>
                  <a:gd name="connsiteY83" fmla="*/ 740569 h 845344"/>
                  <a:gd name="connsiteX84" fmla="*/ 428625 w 692944"/>
                  <a:gd name="connsiteY84" fmla="*/ 733425 h 845344"/>
                  <a:gd name="connsiteX85" fmla="*/ 438150 w 692944"/>
                  <a:gd name="connsiteY85" fmla="*/ 721519 h 845344"/>
                  <a:gd name="connsiteX86" fmla="*/ 481012 w 692944"/>
                  <a:gd name="connsiteY86" fmla="*/ 735807 h 845344"/>
                  <a:gd name="connsiteX87" fmla="*/ 485775 w 692944"/>
                  <a:gd name="connsiteY87" fmla="*/ 669132 h 845344"/>
                  <a:gd name="connsiteX88" fmla="*/ 619125 w 692944"/>
                  <a:gd name="connsiteY88" fmla="*/ 669132 h 845344"/>
                  <a:gd name="connsiteX89" fmla="*/ 654844 w 692944"/>
                  <a:gd name="connsiteY89" fmla="*/ 652463 h 845344"/>
                  <a:gd name="connsiteX90" fmla="*/ 635794 w 692944"/>
                  <a:gd name="connsiteY90" fmla="*/ 626269 h 845344"/>
                  <a:gd name="connsiteX91" fmla="*/ 673894 w 692944"/>
                  <a:gd name="connsiteY91" fmla="*/ 564357 h 845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692944" h="845344">
                    <a:moveTo>
                      <a:pt x="673894" y="564357"/>
                    </a:moveTo>
                    <a:lnTo>
                      <a:pt x="692944" y="535782"/>
                    </a:lnTo>
                    <a:lnTo>
                      <a:pt x="681037" y="509588"/>
                    </a:lnTo>
                    <a:lnTo>
                      <a:pt x="626269" y="531019"/>
                    </a:lnTo>
                    <a:lnTo>
                      <a:pt x="595312" y="490538"/>
                    </a:lnTo>
                    <a:lnTo>
                      <a:pt x="564356" y="478632"/>
                    </a:lnTo>
                    <a:lnTo>
                      <a:pt x="554831" y="492919"/>
                    </a:lnTo>
                    <a:lnTo>
                      <a:pt x="554831" y="492919"/>
                    </a:lnTo>
                    <a:lnTo>
                      <a:pt x="528637" y="478632"/>
                    </a:lnTo>
                    <a:lnTo>
                      <a:pt x="507206" y="445294"/>
                    </a:lnTo>
                    <a:lnTo>
                      <a:pt x="509587" y="409575"/>
                    </a:lnTo>
                    <a:lnTo>
                      <a:pt x="504825" y="369094"/>
                    </a:lnTo>
                    <a:lnTo>
                      <a:pt x="490537" y="328613"/>
                    </a:lnTo>
                    <a:lnTo>
                      <a:pt x="490537" y="328613"/>
                    </a:lnTo>
                    <a:lnTo>
                      <a:pt x="481012" y="300038"/>
                    </a:lnTo>
                    <a:lnTo>
                      <a:pt x="478631" y="273844"/>
                    </a:lnTo>
                    <a:lnTo>
                      <a:pt x="454819" y="252413"/>
                    </a:lnTo>
                    <a:lnTo>
                      <a:pt x="457200" y="235744"/>
                    </a:lnTo>
                    <a:lnTo>
                      <a:pt x="452437" y="204788"/>
                    </a:lnTo>
                    <a:lnTo>
                      <a:pt x="452437" y="190500"/>
                    </a:lnTo>
                    <a:lnTo>
                      <a:pt x="428625" y="166688"/>
                    </a:lnTo>
                    <a:lnTo>
                      <a:pt x="428625" y="166688"/>
                    </a:lnTo>
                    <a:lnTo>
                      <a:pt x="445294" y="142875"/>
                    </a:lnTo>
                    <a:lnTo>
                      <a:pt x="440531" y="123825"/>
                    </a:lnTo>
                    <a:lnTo>
                      <a:pt x="383381" y="126207"/>
                    </a:lnTo>
                    <a:lnTo>
                      <a:pt x="383381" y="126207"/>
                    </a:lnTo>
                    <a:lnTo>
                      <a:pt x="345281" y="130969"/>
                    </a:lnTo>
                    <a:lnTo>
                      <a:pt x="319087" y="90488"/>
                    </a:lnTo>
                    <a:lnTo>
                      <a:pt x="304800" y="59532"/>
                    </a:lnTo>
                    <a:lnTo>
                      <a:pt x="276225" y="52388"/>
                    </a:lnTo>
                    <a:lnTo>
                      <a:pt x="271462" y="71438"/>
                    </a:lnTo>
                    <a:lnTo>
                      <a:pt x="250031" y="69057"/>
                    </a:lnTo>
                    <a:lnTo>
                      <a:pt x="211931" y="54769"/>
                    </a:lnTo>
                    <a:cubicBezTo>
                      <a:pt x="217953" y="54167"/>
                      <a:pt x="236640" y="53459"/>
                      <a:pt x="245269" y="50007"/>
                    </a:cubicBezTo>
                    <a:cubicBezTo>
                      <a:pt x="246311" y="49590"/>
                      <a:pt x="246856" y="48419"/>
                      <a:pt x="247650" y="47625"/>
                    </a:cubicBezTo>
                    <a:lnTo>
                      <a:pt x="230981" y="28575"/>
                    </a:lnTo>
                    <a:lnTo>
                      <a:pt x="257175" y="0"/>
                    </a:lnTo>
                    <a:lnTo>
                      <a:pt x="200025" y="26194"/>
                    </a:lnTo>
                    <a:lnTo>
                      <a:pt x="166687" y="9525"/>
                    </a:lnTo>
                    <a:lnTo>
                      <a:pt x="150019" y="42863"/>
                    </a:lnTo>
                    <a:lnTo>
                      <a:pt x="121444" y="83344"/>
                    </a:lnTo>
                    <a:lnTo>
                      <a:pt x="107156" y="83344"/>
                    </a:lnTo>
                    <a:cubicBezTo>
                      <a:pt x="117183" y="103398"/>
                      <a:pt x="111661" y="97374"/>
                      <a:pt x="119062" y="104775"/>
                    </a:cubicBezTo>
                    <a:lnTo>
                      <a:pt x="126206" y="107157"/>
                    </a:lnTo>
                    <a:lnTo>
                      <a:pt x="97631" y="111919"/>
                    </a:lnTo>
                    <a:lnTo>
                      <a:pt x="69056" y="133350"/>
                    </a:lnTo>
                    <a:lnTo>
                      <a:pt x="100012" y="145257"/>
                    </a:lnTo>
                    <a:lnTo>
                      <a:pt x="114300" y="176213"/>
                    </a:lnTo>
                    <a:lnTo>
                      <a:pt x="133350" y="197644"/>
                    </a:lnTo>
                    <a:lnTo>
                      <a:pt x="154781" y="228600"/>
                    </a:lnTo>
                    <a:lnTo>
                      <a:pt x="133350" y="247650"/>
                    </a:lnTo>
                    <a:lnTo>
                      <a:pt x="95250" y="261938"/>
                    </a:lnTo>
                    <a:lnTo>
                      <a:pt x="83344" y="233363"/>
                    </a:lnTo>
                    <a:lnTo>
                      <a:pt x="45244" y="290513"/>
                    </a:lnTo>
                    <a:lnTo>
                      <a:pt x="0" y="323850"/>
                    </a:lnTo>
                    <a:lnTo>
                      <a:pt x="0" y="338138"/>
                    </a:lnTo>
                    <a:lnTo>
                      <a:pt x="4762" y="361950"/>
                    </a:lnTo>
                    <a:lnTo>
                      <a:pt x="4762" y="361950"/>
                    </a:lnTo>
                    <a:lnTo>
                      <a:pt x="35719" y="392907"/>
                    </a:lnTo>
                    <a:lnTo>
                      <a:pt x="35719" y="423863"/>
                    </a:lnTo>
                    <a:lnTo>
                      <a:pt x="33337" y="473869"/>
                    </a:lnTo>
                    <a:lnTo>
                      <a:pt x="33337" y="473869"/>
                    </a:lnTo>
                    <a:lnTo>
                      <a:pt x="16669" y="507207"/>
                    </a:lnTo>
                    <a:lnTo>
                      <a:pt x="14287" y="528638"/>
                    </a:lnTo>
                    <a:lnTo>
                      <a:pt x="9525" y="566738"/>
                    </a:lnTo>
                    <a:lnTo>
                      <a:pt x="35719" y="573882"/>
                    </a:lnTo>
                    <a:lnTo>
                      <a:pt x="11906" y="614363"/>
                    </a:lnTo>
                    <a:lnTo>
                      <a:pt x="52387" y="616744"/>
                    </a:lnTo>
                    <a:lnTo>
                      <a:pt x="57150" y="645319"/>
                    </a:lnTo>
                    <a:lnTo>
                      <a:pt x="61912" y="628650"/>
                    </a:lnTo>
                    <a:lnTo>
                      <a:pt x="114300" y="640557"/>
                    </a:lnTo>
                    <a:lnTo>
                      <a:pt x="140494" y="607219"/>
                    </a:lnTo>
                    <a:lnTo>
                      <a:pt x="164306" y="640557"/>
                    </a:lnTo>
                    <a:lnTo>
                      <a:pt x="185737" y="716757"/>
                    </a:lnTo>
                    <a:lnTo>
                      <a:pt x="226219" y="771525"/>
                    </a:lnTo>
                    <a:lnTo>
                      <a:pt x="238125" y="745332"/>
                    </a:lnTo>
                    <a:lnTo>
                      <a:pt x="285750" y="807244"/>
                    </a:lnTo>
                    <a:lnTo>
                      <a:pt x="304800" y="819150"/>
                    </a:lnTo>
                    <a:lnTo>
                      <a:pt x="304800" y="845344"/>
                    </a:lnTo>
                    <a:lnTo>
                      <a:pt x="342900" y="812007"/>
                    </a:lnTo>
                    <a:lnTo>
                      <a:pt x="354806" y="762000"/>
                    </a:lnTo>
                    <a:lnTo>
                      <a:pt x="400050" y="790575"/>
                    </a:lnTo>
                    <a:lnTo>
                      <a:pt x="409575" y="773907"/>
                    </a:lnTo>
                    <a:lnTo>
                      <a:pt x="404812" y="740569"/>
                    </a:lnTo>
                    <a:lnTo>
                      <a:pt x="428625" y="733425"/>
                    </a:lnTo>
                    <a:lnTo>
                      <a:pt x="438150" y="721519"/>
                    </a:lnTo>
                    <a:lnTo>
                      <a:pt x="481012" y="735807"/>
                    </a:lnTo>
                    <a:lnTo>
                      <a:pt x="485775" y="669132"/>
                    </a:lnTo>
                    <a:lnTo>
                      <a:pt x="619125" y="669132"/>
                    </a:lnTo>
                    <a:lnTo>
                      <a:pt x="654844" y="652463"/>
                    </a:lnTo>
                    <a:lnTo>
                      <a:pt x="635794" y="626269"/>
                    </a:lnTo>
                    <a:lnTo>
                      <a:pt x="673894" y="56435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5" name="Figura a mano libera 75">
                <a:extLst>
                  <a:ext uri="{FF2B5EF4-FFF2-40B4-BE49-F238E27FC236}">
                    <a16:creationId xmlns:a16="http://schemas.microsoft.com/office/drawing/2014/main" id="{B9700B1B-E852-40A9-BD3B-2E8DCB45E9A5}"/>
                  </a:ext>
                </a:extLst>
              </p:cNvPr>
              <p:cNvSpPr/>
              <p:nvPr/>
            </p:nvSpPr>
            <p:spPr bwMode="auto">
              <a:xfrm>
                <a:off x="3095604" y="2201177"/>
                <a:ext cx="726900" cy="665344"/>
              </a:xfrm>
              <a:custGeom>
                <a:avLst/>
                <a:gdLst>
                  <a:gd name="connsiteX0" fmla="*/ 40481 w 902494"/>
                  <a:gd name="connsiteY0" fmla="*/ 221456 h 852487"/>
                  <a:gd name="connsiteX1" fmla="*/ 71437 w 902494"/>
                  <a:gd name="connsiteY1" fmla="*/ 200025 h 852487"/>
                  <a:gd name="connsiteX2" fmla="*/ 121444 w 902494"/>
                  <a:gd name="connsiteY2" fmla="*/ 176212 h 852487"/>
                  <a:gd name="connsiteX3" fmla="*/ 145256 w 902494"/>
                  <a:gd name="connsiteY3" fmla="*/ 166687 h 852487"/>
                  <a:gd name="connsiteX4" fmla="*/ 116681 w 902494"/>
                  <a:gd name="connsiteY4" fmla="*/ 130968 h 852487"/>
                  <a:gd name="connsiteX5" fmla="*/ 66675 w 902494"/>
                  <a:gd name="connsiteY5" fmla="*/ 135731 h 852487"/>
                  <a:gd name="connsiteX6" fmla="*/ 42862 w 902494"/>
                  <a:gd name="connsiteY6" fmla="*/ 138112 h 852487"/>
                  <a:gd name="connsiteX7" fmla="*/ 0 w 902494"/>
                  <a:gd name="connsiteY7" fmla="*/ 138112 h 852487"/>
                  <a:gd name="connsiteX8" fmla="*/ 23812 w 902494"/>
                  <a:gd name="connsiteY8" fmla="*/ 88106 h 852487"/>
                  <a:gd name="connsiteX9" fmla="*/ 47625 w 902494"/>
                  <a:gd name="connsiteY9" fmla="*/ 23812 h 852487"/>
                  <a:gd name="connsiteX10" fmla="*/ 80962 w 902494"/>
                  <a:gd name="connsiteY10" fmla="*/ 28575 h 852487"/>
                  <a:gd name="connsiteX11" fmla="*/ 123825 w 902494"/>
                  <a:gd name="connsiteY11" fmla="*/ 11906 h 852487"/>
                  <a:gd name="connsiteX12" fmla="*/ 161925 w 902494"/>
                  <a:gd name="connsiteY12" fmla="*/ 0 h 852487"/>
                  <a:gd name="connsiteX13" fmla="*/ 190500 w 902494"/>
                  <a:gd name="connsiteY13" fmla="*/ 33337 h 852487"/>
                  <a:gd name="connsiteX14" fmla="*/ 216694 w 902494"/>
                  <a:gd name="connsiteY14" fmla="*/ 28575 h 852487"/>
                  <a:gd name="connsiteX15" fmla="*/ 235744 w 902494"/>
                  <a:gd name="connsiteY15" fmla="*/ 61912 h 852487"/>
                  <a:gd name="connsiteX16" fmla="*/ 235744 w 902494"/>
                  <a:gd name="connsiteY16" fmla="*/ 61912 h 852487"/>
                  <a:gd name="connsiteX17" fmla="*/ 273844 w 902494"/>
                  <a:gd name="connsiteY17" fmla="*/ 97631 h 852487"/>
                  <a:gd name="connsiteX18" fmla="*/ 302419 w 902494"/>
                  <a:gd name="connsiteY18" fmla="*/ 95250 h 852487"/>
                  <a:gd name="connsiteX19" fmla="*/ 316706 w 902494"/>
                  <a:gd name="connsiteY19" fmla="*/ 59531 h 852487"/>
                  <a:gd name="connsiteX20" fmla="*/ 340519 w 902494"/>
                  <a:gd name="connsiteY20" fmla="*/ 50006 h 852487"/>
                  <a:gd name="connsiteX21" fmla="*/ 359569 w 902494"/>
                  <a:gd name="connsiteY21" fmla="*/ 23812 h 852487"/>
                  <a:gd name="connsiteX22" fmla="*/ 352425 w 902494"/>
                  <a:gd name="connsiteY22" fmla="*/ 0 h 852487"/>
                  <a:gd name="connsiteX23" fmla="*/ 378619 w 902494"/>
                  <a:gd name="connsiteY23" fmla="*/ 9525 h 852487"/>
                  <a:gd name="connsiteX24" fmla="*/ 402431 w 902494"/>
                  <a:gd name="connsiteY24" fmla="*/ 19050 h 852487"/>
                  <a:gd name="connsiteX25" fmla="*/ 461962 w 902494"/>
                  <a:gd name="connsiteY25" fmla="*/ 71437 h 852487"/>
                  <a:gd name="connsiteX26" fmla="*/ 521494 w 902494"/>
                  <a:gd name="connsiteY26" fmla="*/ 126206 h 852487"/>
                  <a:gd name="connsiteX27" fmla="*/ 590550 w 902494"/>
                  <a:gd name="connsiteY27" fmla="*/ 169068 h 852487"/>
                  <a:gd name="connsiteX28" fmla="*/ 635794 w 902494"/>
                  <a:gd name="connsiteY28" fmla="*/ 211931 h 852487"/>
                  <a:gd name="connsiteX29" fmla="*/ 707231 w 902494"/>
                  <a:gd name="connsiteY29" fmla="*/ 226218 h 852487"/>
                  <a:gd name="connsiteX30" fmla="*/ 738187 w 902494"/>
                  <a:gd name="connsiteY30" fmla="*/ 252412 h 852487"/>
                  <a:gd name="connsiteX31" fmla="*/ 781050 w 902494"/>
                  <a:gd name="connsiteY31" fmla="*/ 273843 h 852487"/>
                  <a:gd name="connsiteX32" fmla="*/ 778669 w 902494"/>
                  <a:gd name="connsiteY32" fmla="*/ 345281 h 852487"/>
                  <a:gd name="connsiteX33" fmla="*/ 823912 w 902494"/>
                  <a:gd name="connsiteY33" fmla="*/ 431006 h 852487"/>
                  <a:gd name="connsiteX34" fmla="*/ 859631 w 902494"/>
                  <a:gd name="connsiteY34" fmla="*/ 531018 h 852487"/>
                  <a:gd name="connsiteX35" fmla="*/ 883444 w 902494"/>
                  <a:gd name="connsiteY35" fmla="*/ 597693 h 852487"/>
                  <a:gd name="connsiteX36" fmla="*/ 902494 w 902494"/>
                  <a:gd name="connsiteY36" fmla="*/ 692943 h 852487"/>
                  <a:gd name="connsiteX37" fmla="*/ 895350 w 902494"/>
                  <a:gd name="connsiteY37" fmla="*/ 723900 h 852487"/>
                  <a:gd name="connsiteX38" fmla="*/ 833437 w 902494"/>
                  <a:gd name="connsiteY38" fmla="*/ 735806 h 852487"/>
                  <a:gd name="connsiteX39" fmla="*/ 788194 w 902494"/>
                  <a:gd name="connsiteY39" fmla="*/ 762000 h 852487"/>
                  <a:gd name="connsiteX40" fmla="*/ 742950 w 902494"/>
                  <a:gd name="connsiteY40" fmla="*/ 776287 h 852487"/>
                  <a:gd name="connsiteX41" fmla="*/ 716756 w 902494"/>
                  <a:gd name="connsiteY41" fmla="*/ 773906 h 852487"/>
                  <a:gd name="connsiteX42" fmla="*/ 690562 w 902494"/>
                  <a:gd name="connsiteY42" fmla="*/ 812006 h 852487"/>
                  <a:gd name="connsiteX43" fmla="*/ 652462 w 902494"/>
                  <a:gd name="connsiteY43" fmla="*/ 835818 h 852487"/>
                  <a:gd name="connsiteX44" fmla="*/ 616744 w 902494"/>
                  <a:gd name="connsiteY44" fmla="*/ 852487 h 852487"/>
                  <a:gd name="connsiteX45" fmla="*/ 571500 w 902494"/>
                  <a:gd name="connsiteY45" fmla="*/ 788193 h 852487"/>
                  <a:gd name="connsiteX46" fmla="*/ 590550 w 902494"/>
                  <a:gd name="connsiteY46" fmla="*/ 762000 h 852487"/>
                  <a:gd name="connsiteX47" fmla="*/ 571500 w 902494"/>
                  <a:gd name="connsiteY47" fmla="*/ 721518 h 852487"/>
                  <a:gd name="connsiteX48" fmla="*/ 528637 w 902494"/>
                  <a:gd name="connsiteY48" fmla="*/ 742950 h 852487"/>
                  <a:gd name="connsiteX49" fmla="*/ 495300 w 902494"/>
                  <a:gd name="connsiteY49" fmla="*/ 716756 h 852487"/>
                  <a:gd name="connsiteX50" fmla="*/ 454819 w 902494"/>
                  <a:gd name="connsiteY50" fmla="*/ 692943 h 852487"/>
                  <a:gd name="connsiteX51" fmla="*/ 438150 w 902494"/>
                  <a:gd name="connsiteY51" fmla="*/ 709612 h 852487"/>
                  <a:gd name="connsiteX52" fmla="*/ 407194 w 902494"/>
                  <a:gd name="connsiteY52" fmla="*/ 669131 h 852487"/>
                  <a:gd name="connsiteX53" fmla="*/ 411956 w 902494"/>
                  <a:gd name="connsiteY53" fmla="*/ 592931 h 852487"/>
                  <a:gd name="connsiteX54" fmla="*/ 378619 w 902494"/>
                  <a:gd name="connsiteY54" fmla="*/ 519112 h 852487"/>
                  <a:gd name="connsiteX55" fmla="*/ 385762 w 902494"/>
                  <a:gd name="connsiteY55" fmla="*/ 483393 h 852487"/>
                  <a:gd name="connsiteX56" fmla="*/ 357187 w 902494"/>
                  <a:gd name="connsiteY56" fmla="*/ 469106 h 852487"/>
                  <a:gd name="connsiteX57" fmla="*/ 357187 w 902494"/>
                  <a:gd name="connsiteY57" fmla="*/ 409575 h 852487"/>
                  <a:gd name="connsiteX58" fmla="*/ 330994 w 902494"/>
                  <a:gd name="connsiteY58" fmla="*/ 378618 h 852487"/>
                  <a:gd name="connsiteX59" fmla="*/ 350044 w 902494"/>
                  <a:gd name="connsiteY59" fmla="*/ 347662 h 852487"/>
                  <a:gd name="connsiteX60" fmla="*/ 340519 w 902494"/>
                  <a:gd name="connsiteY60" fmla="*/ 330993 h 852487"/>
                  <a:gd name="connsiteX61" fmla="*/ 314325 w 902494"/>
                  <a:gd name="connsiteY61" fmla="*/ 340518 h 852487"/>
                  <a:gd name="connsiteX62" fmla="*/ 238125 w 902494"/>
                  <a:gd name="connsiteY62" fmla="*/ 342900 h 852487"/>
                  <a:gd name="connsiteX63" fmla="*/ 207169 w 902494"/>
                  <a:gd name="connsiteY63" fmla="*/ 280987 h 852487"/>
                  <a:gd name="connsiteX64" fmla="*/ 169069 w 902494"/>
                  <a:gd name="connsiteY64" fmla="*/ 261937 h 852487"/>
                  <a:gd name="connsiteX65" fmla="*/ 169069 w 902494"/>
                  <a:gd name="connsiteY65" fmla="*/ 280987 h 852487"/>
                  <a:gd name="connsiteX66" fmla="*/ 142875 w 902494"/>
                  <a:gd name="connsiteY66" fmla="*/ 288131 h 852487"/>
                  <a:gd name="connsiteX67" fmla="*/ 102394 w 902494"/>
                  <a:gd name="connsiteY67" fmla="*/ 271462 h 852487"/>
                  <a:gd name="connsiteX68" fmla="*/ 150019 w 902494"/>
                  <a:gd name="connsiteY68" fmla="*/ 271462 h 852487"/>
                  <a:gd name="connsiteX69" fmla="*/ 140494 w 902494"/>
                  <a:gd name="connsiteY69" fmla="*/ 247650 h 852487"/>
                  <a:gd name="connsiteX70" fmla="*/ 147637 w 902494"/>
                  <a:gd name="connsiteY70" fmla="*/ 214312 h 852487"/>
                  <a:gd name="connsiteX71" fmla="*/ 128587 w 902494"/>
                  <a:gd name="connsiteY71" fmla="*/ 235743 h 852487"/>
                  <a:gd name="connsiteX72" fmla="*/ 92869 w 902494"/>
                  <a:gd name="connsiteY72" fmla="*/ 238125 h 852487"/>
                  <a:gd name="connsiteX73" fmla="*/ 40481 w 902494"/>
                  <a:gd name="connsiteY73" fmla="*/ 221456 h 85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902494" h="852487">
                    <a:moveTo>
                      <a:pt x="40481" y="221456"/>
                    </a:moveTo>
                    <a:lnTo>
                      <a:pt x="71437" y="200025"/>
                    </a:lnTo>
                    <a:lnTo>
                      <a:pt x="121444" y="176212"/>
                    </a:lnTo>
                    <a:lnTo>
                      <a:pt x="145256" y="166687"/>
                    </a:lnTo>
                    <a:lnTo>
                      <a:pt x="116681" y="130968"/>
                    </a:lnTo>
                    <a:lnTo>
                      <a:pt x="66675" y="135731"/>
                    </a:lnTo>
                    <a:lnTo>
                      <a:pt x="42862" y="138112"/>
                    </a:lnTo>
                    <a:lnTo>
                      <a:pt x="0" y="138112"/>
                    </a:lnTo>
                    <a:lnTo>
                      <a:pt x="23812" y="88106"/>
                    </a:lnTo>
                    <a:lnTo>
                      <a:pt x="47625" y="23812"/>
                    </a:lnTo>
                    <a:lnTo>
                      <a:pt x="80962" y="28575"/>
                    </a:lnTo>
                    <a:lnTo>
                      <a:pt x="123825" y="11906"/>
                    </a:lnTo>
                    <a:lnTo>
                      <a:pt x="161925" y="0"/>
                    </a:lnTo>
                    <a:lnTo>
                      <a:pt x="190500" y="33337"/>
                    </a:lnTo>
                    <a:lnTo>
                      <a:pt x="216694" y="28575"/>
                    </a:lnTo>
                    <a:lnTo>
                      <a:pt x="235744" y="61912"/>
                    </a:lnTo>
                    <a:lnTo>
                      <a:pt x="235744" y="61912"/>
                    </a:lnTo>
                    <a:lnTo>
                      <a:pt x="273844" y="97631"/>
                    </a:lnTo>
                    <a:lnTo>
                      <a:pt x="302419" y="95250"/>
                    </a:lnTo>
                    <a:lnTo>
                      <a:pt x="316706" y="59531"/>
                    </a:lnTo>
                    <a:cubicBezTo>
                      <a:pt x="337418" y="51764"/>
                      <a:pt x="329690" y="55419"/>
                      <a:pt x="340519" y="50006"/>
                    </a:cubicBezTo>
                    <a:lnTo>
                      <a:pt x="359569" y="23812"/>
                    </a:lnTo>
                    <a:lnTo>
                      <a:pt x="352425" y="0"/>
                    </a:lnTo>
                    <a:lnTo>
                      <a:pt x="378619" y="9525"/>
                    </a:lnTo>
                    <a:lnTo>
                      <a:pt x="402431" y="19050"/>
                    </a:lnTo>
                    <a:lnTo>
                      <a:pt x="461962" y="71437"/>
                    </a:lnTo>
                    <a:lnTo>
                      <a:pt x="521494" y="126206"/>
                    </a:lnTo>
                    <a:lnTo>
                      <a:pt x="590550" y="169068"/>
                    </a:lnTo>
                    <a:lnTo>
                      <a:pt x="635794" y="211931"/>
                    </a:lnTo>
                    <a:lnTo>
                      <a:pt x="707231" y="226218"/>
                    </a:lnTo>
                    <a:lnTo>
                      <a:pt x="738187" y="252412"/>
                    </a:lnTo>
                    <a:lnTo>
                      <a:pt x="781050" y="273843"/>
                    </a:lnTo>
                    <a:cubicBezTo>
                      <a:pt x="780256" y="297656"/>
                      <a:pt x="779463" y="321468"/>
                      <a:pt x="778669" y="345281"/>
                    </a:cubicBezTo>
                    <a:lnTo>
                      <a:pt x="823912" y="431006"/>
                    </a:lnTo>
                    <a:lnTo>
                      <a:pt x="859631" y="531018"/>
                    </a:lnTo>
                    <a:lnTo>
                      <a:pt x="883444" y="597693"/>
                    </a:lnTo>
                    <a:lnTo>
                      <a:pt x="902494" y="692943"/>
                    </a:lnTo>
                    <a:lnTo>
                      <a:pt x="895350" y="723900"/>
                    </a:lnTo>
                    <a:lnTo>
                      <a:pt x="833437" y="735806"/>
                    </a:lnTo>
                    <a:lnTo>
                      <a:pt x="788194" y="762000"/>
                    </a:lnTo>
                    <a:lnTo>
                      <a:pt x="742950" y="776287"/>
                    </a:lnTo>
                    <a:lnTo>
                      <a:pt x="716756" y="773906"/>
                    </a:lnTo>
                    <a:lnTo>
                      <a:pt x="690562" y="812006"/>
                    </a:lnTo>
                    <a:lnTo>
                      <a:pt x="652462" y="835818"/>
                    </a:lnTo>
                    <a:lnTo>
                      <a:pt x="616744" y="852487"/>
                    </a:lnTo>
                    <a:lnTo>
                      <a:pt x="571500" y="788193"/>
                    </a:lnTo>
                    <a:lnTo>
                      <a:pt x="590550" y="762000"/>
                    </a:lnTo>
                    <a:lnTo>
                      <a:pt x="571500" y="721518"/>
                    </a:lnTo>
                    <a:lnTo>
                      <a:pt x="528637" y="742950"/>
                    </a:lnTo>
                    <a:lnTo>
                      <a:pt x="495300" y="716756"/>
                    </a:lnTo>
                    <a:lnTo>
                      <a:pt x="454819" y="692943"/>
                    </a:lnTo>
                    <a:lnTo>
                      <a:pt x="438150" y="709612"/>
                    </a:lnTo>
                    <a:lnTo>
                      <a:pt x="407194" y="669131"/>
                    </a:lnTo>
                    <a:lnTo>
                      <a:pt x="411956" y="592931"/>
                    </a:lnTo>
                    <a:lnTo>
                      <a:pt x="378619" y="519112"/>
                    </a:lnTo>
                    <a:lnTo>
                      <a:pt x="385762" y="483393"/>
                    </a:lnTo>
                    <a:lnTo>
                      <a:pt x="357187" y="469106"/>
                    </a:lnTo>
                    <a:lnTo>
                      <a:pt x="357187" y="409575"/>
                    </a:lnTo>
                    <a:lnTo>
                      <a:pt x="330994" y="378618"/>
                    </a:lnTo>
                    <a:lnTo>
                      <a:pt x="350044" y="347662"/>
                    </a:lnTo>
                    <a:lnTo>
                      <a:pt x="340519" y="330993"/>
                    </a:lnTo>
                    <a:cubicBezTo>
                      <a:pt x="315631" y="338460"/>
                      <a:pt x="322566" y="332277"/>
                      <a:pt x="314325" y="340518"/>
                    </a:cubicBezTo>
                    <a:lnTo>
                      <a:pt x="238125" y="342900"/>
                    </a:lnTo>
                    <a:lnTo>
                      <a:pt x="207169" y="280987"/>
                    </a:lnTo>
                    <a:lnTo>
                      <a:pt x="169069" y="261937"/>
                    </a:lnTo>
                    <a:lnTo>
                      <a:pt x="169069" y="280987"/>
                    </a:lnTo>
                    <a:lnTo>
                      <a:pt x="142875" y="288131"/>
                    </a:lnTo>
                    <a:lnTo>
                      <a:pt x="102394" y="271462"/>
                    </a:lnTo>
                    <a:lnTo>
                      <a:pt x="150019" y="271462"/>
                    </a:lnTo>
                    <a:lnTo>
                      <a:pt x="140494" y="247650"/>
                    </a:lnTo>
                    <a:lnTo>
                      <a:pt x="147637" y="214312"/>
                    </a:lnTo>
                    <a:lnTo>
                      <a:pt x="128587" y="235743"/>
                    </a:lnTo>
                    <a:lnTo>
                      <a:pt x="92869" y="238125"/>
                    </a:lnTo>
                    <a:lnTo>
                      <a:pt x="40481" y="2214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6" name="Rettangolo 285">
                <a:extLst>
                  <a:ext uri="{FF2B5EF4-FFF2-40B4-BE49-F238E27FC236}">
                    <a16:creationId xmlns:a16="http://schemas.microsoft.com/office/drawing/2014/main" id="{EF6725DF-CDBF-4A0C-AF19-4C555E8509EC}"/>
                  </a:ext>
                </a:extLst>
              </p:cNvPr>
              <p:cNvSpPr/>
              <p:nvPr/>
            </p:nvSpPr>
            <p:spPr>
              <a:xfrm>
                <a:off x="1116307" y="1711709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orino</a:t>
                </a:r>
              </a:p>
            </p:txBody>
          </p:sp>
          <p:sp>
            <p:nvSpPr>
              <p:cNvPr id="287" name="Rettangolo 286">
                <a:extLst>
                  <a:ext uri="{FF2B5EF4-FFF2-40B4-BE49-F238E27FC236}">
                    <a16:creationId xmlns:a16="http://schemas.microsoft.com/office/drawing/2014/main" id="{FAC285DE-2331-4E98-AAF2-27881072DA66}"/>
                  </a:ext>
                </a:extLst>
              </p:cNvPr>
              <p:cNvSpPr/>
              <p:nvPr/>
            </p:nvSpPr>
            <p:spPr>
              <a:xfrm>
                <a:off x="350057" y="1185525"/>
                <a:ext cx="882912" cy="23409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ione/Parigi</a:t>
                </a:r>
              </a:p>
            </p:txBody>
          </p:sp>
          <p:sp>
            <p:nvSpPr>
              <p:cNvPr id="288" name="Rettangolo 287">
                <a:extLst>
                  <a:ext uri="{FF2B5EF4-FFF2-40B4-BE49-F238E27FC236}">
                    <a16:creationId xmlns:a16="http://schemas.microsoft.com/office/drawing/2014/main" id="{7AB50D68-1D26-498D-8C11-AF03EEEF893F}"/>
                  </a:ext>
                </a:extLst>
              </p:cNvPr>
              <p:cNvSpPr/>
              <p:nvPr/>
            </p:nvSpPr>
            <p:spPr>
              <a:xfrm>
                <a:off x="1861803" y="1792250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Genova</a:t>
                </a:r>
              </a:p>
            </p:txBody>
          </p:sp>
          <p:sp>
            <p:nvSpPr>
              <p:cNvPr id="289" name="Rettangolo 288">
                <a:extLst>
                  <a:ext uri="{FF2B5EF4-FFF2-40B4-BE49-F238E27FC236}">
                    <a16:creationId xmlns:a16="http://schemas.microsoft.com/office/drawing/2014/main" id="{E821636D-440F-491B-BDE8-F5FCC25BC9A6}"/>
                  </a:ext>
                </a:extLst>
              </p:cNvPr>
              <p:cNvSpPr/>
              <p:nvPr/>
            </p:nvSpPr>
            <p:spPr>
              <a:xfrm>
                <a:off x="760525" y="2362669"/>
                <a:ext cx="618434" cy="649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entimiglia/ Marsiglia</a:t>
                </a:r>
              </a:p>
            </p:txBody>
          </p:sp>
          <p:sp>
            <p:nvSpPr>
              <p:cNvPr id="290" name="Rettangolo 289">
                <a:extLst>
                  <a:ext uri="{FF2B5EF4-FFF2-40B4-BE49-F238E27FC236}">
                    <a16:creationId xmlns:a16="http://schemas.microsoft.com/office/drawing/2014/main" id="{7391264C-5933-4A51-9295-C7385CA6F399}"/>
                  </a:ext>
                </a:extLst>
              </p:cNvPr>
              <p:cNvSpPr/>
              <p:nvPr/>
            </p:nvSpPr>
            <p:spPr>
              <a:xfrm>
                <a:off x="1368531" y="1249115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ilano</a:t>
                </a:r>
              </a:p>
            </p:txBody>
          </p:sp>
          <p:sp>
            <p:nvSpPr>
              <p:cNvPr id="291" name="Rettangolo 290">
                <a:extLst>
                  <a:ext uri="{FF2B5EF4-FFF2-40B4-BE49-F238E27FC236}">
                    <a16:creationId xmlns:a16="http://schemas.microsoft.com/office/drawing/2014/main" id="{172534F1-0E84-4E0C-9EEB-05ACB4655362}"/>
                  </a:ext>
                </a:extLst>
              </p:cNvPr>
              <p:cNvSpPr/>
              <p:nvPr/>
            </p:nvSpPr>
            <p:spPr>
              <a:xfrm>
                <a:off x="1461267" y="686156"/>
                <a:ext cx="1075475" cy="2285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Zurigo</a:t>
                </a:r>
              </a:p>
            </p:txBody>
          </p:sp>
          <p:sp>
            <p:nvSpPr>
              <p:cNvPr id="292" name="Rettangolo 291">
                <a:extLst>
                  <a:ext uri="{FF2B5EF4-FFF2-40B4-BE49-F238E27FC236}">
                    <a16:creationId xmlns:a16="http://schemas.microsoft.com/office/drawing/2014/main" id="{3185B5B7-4A86-4F1B-BEFE-73F08B70DFA6}"/>
                  </a:ext>
                </a:extLst>
              </p:cNvPr>
              <p:cNvSpPr/>
              <p:nvPr/>
            </p:nvSpPr>
            <p:spPr>
              <a:xfrm>
                <a:off x="939674" y="626451"/>
                <a:ext cx="1075475" cy="18788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Ginevra</a:t>
                </a:r>
              </a:p>
            </p:txBody>
          </p:sp>
          <p:sp>
            <p:nvSpPr>
              <p:cNvPr id="293" name="Rettangolo 292">
                <a:extLst>
                  <a:ext uri="{FF2B5EF4-FFF2-40B4-BE49-F238E27FC236}">
                    <a16:creationId xmlns:a16="http://schemas.microsoft.com/office/drawing/2014/main" id="{AB9EC2E1-0C33-496B-A4D0-CC7F50BEA086}"/>
                  </a:ext>
                </a:extLst>
              </p:cNvPr>
              <p:cNvSpPr/>
              <p:nvPr/>
            </p:nvSpPr>
            <p:spPr>
              <a:xfrm>
                <a:off x="2550930" y="1222257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erona</a:t>
                </a:r>
              </a:p>
            </p:txBody>
          </p:sp>
          <p:sp>
            <p:nvSpPr>
              <p:cNvPr id="294" name="Rettangolo 293">
                <a:extLst>
                  <a:ext uri="{FF2B5EF4-FFF2-40B4-BE49-F238E27FC236}">
                    <a16:creationId xmlns:a16="http://schemas.microsoft.com/office/drawing/2014/main" id="{C951A5F6-5D43-4960-8A97-C88E46D964D9}"/>
                  </a:ext>
                </a:extLst>
              </p:cNvPr>
              <p:cNvSpPr/>
              <p:nvPr/>
            </p:nvSpPr>
            <p:spPr>
              <a:xfrm>
                <a:off x="3240410" y="1517712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enezia</a:t>
                </a:r>
              </a:p>
            </p:txBody>
          </p:sp>
          <p:sp>
            <p:nvSpPr>
              <p:cNvPr id="295" name="Rettangolo 294">
                <a:extLst>
                  <a:ext uri="{FF2B5EF4-FFF2-40B4-BE49-F238E27FC236}">
                    <a16:creationId xmlns:a16="http://schemas.microsoft.com/office/drawing/2014/main" id="{3B06DB83-E9E9-4250-B690-3718160660D0}"/>
                  </a:ext>
                </a:extLst>
              </p:cNvPr>
              <p:cNvSpPr/>
              <p:nvPr/>
            </p:nvSpPr>
            <p:spPr>
              <a:xfrm>
                <a:off x="3645702" y="1451216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rieste</a:t>
                </a:r>
              </a:p>
            </p:txBody>
          </p:sp>
          <p:sp>
            <p:nvSpPr>
              <p:cNvPr id="296" name="Rettangolo 295">
                <a:extLst>
                  <a:ext uri="{FF2B5EF4-FFF2-40B4-BE49-F238E27FC236}">
                    <a16:creationId xmlns:a16="http://schemas.microsoft.com/office/drawing/2014/main" id="{70C417B8-74D6-44A3-BDD4-D7ECE2F0E356}"/>
                  </a:ext>
                </a:extLst>
              </p:cNvPr>
              <p:cNvSpPr/>
              <p:nvPr/>
            </p:nvSpPr>
            <p:spPr>
              <a:xfrm>
                <a:off x="3143039" y="628327"/>
                <a:ext cx="1301148" cy="21400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ienna</a:t>
                </a:r>
              </a:p>
            </p:txBody>
          </p:sp>
          <p:sp>
            <p:nvSpPr>
              <p:cNvPr id="297" name="Rettangolo 296">
                <a:extLst>
                  <a:ext uri="{FF2B5EF4-FFF2-40B4-BE49-F238E27FC236}">
                    <a16:creationId xmlns:a16="http://schemas.microsoft.com/office/drawing/2014/main" id="{3AB5F230-F50C-49E9-86EF-C311D83535DC}"/>
                  </a:ext>
                </a:extLst>
              </p:cNvPr>
              <p:cNvSpPr/>
              <p:nvPr/>
            </p:nvSpPr>
            <p:spPr>
              <a:xfrm>
                <a:off x="3564501" y="1122923"/>
                <a:ext cx="1403271" cy="18856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ubiana/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udapest</a:t>
                </a:r>
              </a:p>
            </p:txBody>
          </p:sp>
          <p:sp>
            <p:nvSpPr>
              <p:cNvPr id="298" name="Rettangolo 297">
                <a:extLst>
                  <a:ext uri="{FF2B5EF4-FFF2-40B4-BE49-F238E27FC236}">
                    <a16:creationId xmlns:a16="http://schemas.microsoft.com/office/drawing/2014/main" id="{D3F64E62-069D-423E-8D9A-4FB3784C6F16}"/>
                  </a:ext>
                </a:extLst>
              </p:cNvPr>
              <p:cNvSpPr/>
              <p:nvPr/>
            </p:nvSpPr>
            <p:spPr>
              <a:xfrm>
                <a:off x="2879389" y="1759171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ologna</a:t>
                </a:r>
              </a:p>
            </p:txBody>
          </p:sp>
          <p:sp>
            <p:nvSpPr>
              <p:cNvPr id="299" name="Rettangolo 298">
                <a:extLst>
                  <a:ext uri="{FF2B5EF4-FFF2-40B4-BE49-F238E27FC236}">
                    <a16:creationId xmlns:a16="http://schemas.microsoft.com/office/drawing/2014/main" id="{D630930E-BE3F-423D-AC97-8F3067C68A37}"/>
                  </a:ext>
                </a:extLst>
              </p:cNvPr>
              <p:cNvSpPr/>
              <p:nvPr/>
            </p:nvSpPr>
            <p:spPr>
              <a:xfrm>
                <a:off x="2474008" y="2134535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Firenze</a:t>
                </a:r>
              </a:p>
            </p:txBody>
          </p:sp>
          <p:sp>
            <p:nvSpPr>
              <p:cNvPr id="300" name="Rettangolo 299">
                <a:extLst>
                  <a:ext uri="{FF2B5EF4-FFF2-40B4-BE49-F238E27FC236}">
                    <a16:creationId xmlns:a16="http://schemas.microsoft.com/office/drawing/2014/main" id="{33EF840C-D8F8-467E-9C38-B041BCE13EB0}"/>
                  </a:ext>
                </a:extLst>
              </p:cNvPr>
              <p:cNvSpPr/>
              <p:nvPr/>
            </p:nvSpPr>
            <p:spPr>
              <a:xfrm>
                <a:off x="2984514" y="338815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oma</a:t>
                </a:r>
              </a:p>
            </p:txBody>
          </p:sp>
          <p:sp>
            <p:nvSpPr>
              <p:cNvPr id="301" name="Rettangolo 300">
                <a:extLst>
                  <a:ext uri="{FF2B5EF4-FFF2-40B4-BE49-F238E27FC236}">
                    <a16:creationId xmlns:a16="http://schemas.microsoft.com/office/drawing/2014/main" id="{B66C6252-1E58-4FE1-ABFD-2B530A90AABE}"/>
                  </a:ext>
                </a:extLst>
              </p:cNvPr>
              <p:cNvSpPr/>
              <p:nvPr/>
            </p:nvSpPr>
            <p:spPr>
              <a:xfrm>
                <a:off x="3709531" y="390594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apoli</a:t>
                </a:r>
              </a:p>
            </p:txBody>
          </p:sp>
          <p:sp>
            <p:nvSpPr>
              <p:cNvPr id="302" name="Rettangolo 301">
                <a:extLst>
                  <a:ext uri="{FF2B5EF4-FFF2-40B4-BE49-F238E27FC236}">
                    <a16:creationId xmlns:a16="http://schemas.microsoft.com/office/drawing/2014/main" id="{D719CCA7-0A45-460A-9527-C45A3235ED57}"/>
                  </a:ext>
                </a:extLst>
              </p:cNvPr>
              <p:cNvSpPr/>
              <p:nvPr/>
            </p:nvSpPr>
            <p:spPr>
              <a:xfrm>
                <a:off x="4000300" y="2887561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escara</a:t>
                </a:r>
              </a:p>
            </p:txBody>
          </p:sp>
          <p:sp>
            <p:nvSpPr>
              <p:cNvPr id="303" name="Rettangolo 302">
                <a:extLst>
                  <a:ext uri="{FF2B5EF4-FFF2-40B4-BE49-F238E27FC236}">
                    <a16:creationId xmlns:a16="http://schemas.microsoft.com/office/drawing/2014/main" id="{5CE55B7E-93A9-4A0A-A496-7E1BF5F8F780}"/>
                  </a:ext>
                </a:extLst>
              </p:cNvPr>
              <p:cNvSpPr/>
              <p:nvPr/>
            </p:nvSpPr>
            <p:spPr>
              <a:xfrm>
                <a:off x="4344978" y="5542948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atania</a:t>
                </a:r>
              </a:p>
            </p:txBody>
          </p:sp>
          <p:sp>
            <p:nvSpPr>
              <p:cNvPr id="304" name="Rettangolo 303">
                <a:extLst>
                  <a:ext uri="{FF2B5EF4-FFF2-40B4-BE49-F238E27FC236}">
                    <a16:creationId xmlns:a16="http://schemas.microsoft.com/office/drawing/2014/main" id="{9FE318FF-C678-4CE7-BFAF-610A13AB595C}"/>
                  </a:ext>
                </a:extLst>
              </p:cNvPr>
              <p:cNvSpPr/>
              <p:nvPr/>
            </p:nvSpPr>
            <p:spPr>
              <a:xfrm>
                <a:off x="3261248" y="5022732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alermo</a:t>
                </a:r>
              </a:p>
            </p:txBody>
          </p:sp>
          <p:sp>
            <p:nvSpPr>
              <p:cNvPr id="305" name="Figura a mano libera 95">
                <a:extLst>
                  <a:ext uri="{FF2B5EF4-FFF2-40B4-BE49-F238E27FC236}">
                    <a16:creationId xmlns:a16="http://schemas.microsoft.com/office/drawing/2014/main" id="{08365456-E11B-4516-960D-F7401F4CCDB1}"/>
                  </a:ext>
                </a:extLst>
              </p:cNvPr>
              <p:cNvSpPr/>
              <p:nvPr/>
            </p:nvSpPr>
            <p:spPr>
              <a:xfrm>
                <a:off x="3306780" y="3353155"/>
                <a:ext cx="734055" cy="492705"/>
              </a:xfrm>
              <a:custGeom>
                <a:avLst/>
                <a:gdLst>
                  <a:gd name="connsiteX0" fmla="*/ 0 w 667813"/>
                  <a:gd name="connsiteY0" fmla="*/ 0 h 419100"/>
                  <a:gd name="connsiteX1" fmla="*/ 314325 w 667813"/>
                  <a:gd name="connsiteY1" fmla="*/ 114300 h 419100"/>
                  <a:gd name="connsiteX2" fmla="*/ 552450 w 667813"/>
                  <a:gd name="connsiteY2" fmla="*/ 247650 h 419100"/>
                  <a:gd name="connsiteX3" fmla="*/ 666750 w 667813"/>
                  <a:gd name="connsiteY3" fmla="*/ 333375 h 419100"/>
                  <a:gd name="connsiteX4" fmla="*/ 628650 w 667813"/>
                  <a:gd name="connsiteY4" fmla="*/ 419100 h 419100"/>
                  <a:gd name="connsiteX0" fmla="*/ 0 w 628650"/>
                  <a:gd name="connsiteY0" fmla="*/ 0 h 419100"/>
                  <a:gd name="connsiteX1" fmla="*/ 314325 w 628650"/>
                  <a:gd name="connsiteY1" fmla="*/ 114300 h 419100"/>
                  <a:gd name="connsiteX2" fmla="*/ 552450 w 628650"/>
                  <a:gd name="connsiteY2" fmla="*/ 247650 h 419100"/>
                  <a:gd name="connsiteX3" fmla="*/ 628650 w 628650"/>
                  <a:gd name="connsiteY3" fmla="*/ 419100 h 419100"/>
                  <a:gd name="connsiteX0" fmla="*/ 0 w 628650"/>
                  <a:gd name="connsiteY0" fmla="*/ 0 h 419100"/>
                  <a:gd name="connsiteX1" fmla="*/ 314325 w 628650"/>
                  <a:gd name="connsiteY1" fmla="*/ 114300 h 419100"/>
                  <a:gd name="connsiteX2" fmla="*/ 600075 w 628650"/>
                  <a:gd name="connsiteY2" fmla="*/ 266700 h 419100"/>
                  <a:gd name="connsiteX3" fmla="*/ 628650 w 628650"/>
                  <a:gd name="connsiteY3" fmla="*/ 419100 h 419100"/>
                  <a:gd name="connsiteX0" fmla="*/ 0 w 620907"/>
                  <a:gd name="connsiteY0" fmla="*/ 0 h 400050"/>
                  <a:gd name="connsiteX1" fmla="*/ 314325 w 620907"/>
                  <a:gd name="connsiteY1" fmla="*/ 114300 h 400050"/>
                  <a:gd name="connsiteX2" fmla="*/ 600075 w 620907"/>
                  <a:gd name="connsiteY2" fmla="*/ 266700 h 400050"/>
                  <a:gd name="connsiteX3" fmla="*/ 609600 w 620907"/>
                  <a:gd name="connsiteY3" fmla="*/ 400050 h 400050"/>
                  <a:gd name="connsiteX0" fmla="*/ 0 w 620907"/>
                  <a:gd name="connsiteY0" fmla="*/ 0 h 400050"/>
                  <a:gd name="connsiteX1" fmla="*/ 314325 w 620907"/>
                  <a:gd name="connsiteY1" fmla="*/ 114300 h 400050"/>
                  <a:gd name="connsiteX2" fmla="*/ 600075 w 620907"/>
                  <a:gd name="connsiteY2" fmla="*/ 266700 h 400050"/>
                  <a:gd name="connsiteX3" fmla="*/ 609600 w 620907"/>
                  <a:gd name="connsiteY3" fmla="*/ 400050 h 400050"/>
                  <a:gd name="connsiteX0" fmla="*/ 0 w 628650"/>
                  <a:gd name="connsiteY0" fmla="*/ 0 h 428625"/>
                  <a:gd name="connsiteX1" fmla="*/ 314325 w 628650"/>
                  <a:gd name="connsiteY1" fmla="*/ 114300 h 428625"/>
                  <a:gd name="connsiteX2" fmla="*/ 600075 w 628650"/>
                  <a:gd name="connsiteY2" fmla="*/ 266700 h 428625"/>
                  <a:gd name="connsiteX3" fmla="*/ 628650 w 628650"/>
                  <a:gd name="connsiteY3" fmla="*/ 428625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28650" h="428625">
                    <a:moveTo>
                      <a:pt x="0" y="0"/>
                    </a:moveTo>
                    <a:cubicBezTo>
                      <a:pt x="111125" y="36512"/>
                      <a:pt x="214313" y="69850"/>
                      <a:pt x="314325" y="114300"/>
                    </a:cubicBezTo>
                    <a:cubicBezTo>
                      <a:pt x="414337" y="158750"/>
                      <a:pt x="547688" y="214313"/>
                      <a:pt x="600075" y="266700"/>
                    </a:cubicBezTo>
                    <a:cubicBezTo>
                      <a:pt x="652462" y="319087"/>
                      <a:pt x="612775" y="392906"/>
                      <a:pt x="628650" y="428625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6" name="Figura a mano libera 96">
                <a:extLst>
                  <a:ext uri="{FF2B5EF4-FFF2-40B4-BE49-F238E27FC236}">
                    <a16:creationId xmlns:a16="http://schemas.microsoft.com/office/drawing/2014/main" id="{F318E8AA-689F-4762-B64D-B5CD6D872E09}"/>
                  </a:ext>
                </a:extLst>
              </p:cNvPr>
              <p:cNvSpPr/>
              <p:nvPr/>
            </p:nvSpPr>
            <p:spPr>
              <a:xfrm>
                <a:off x="2884143" y="1995478"/>
                <a:ext cx="22425" cy="262776"/>
              </a:xfrm>
              <a:custGeom>
                <a:avLst/>
                <a:gdLst>
                  <a:gd name="connsiteX0" fmla="*/ 0 w 19205"/>
                  <a:gd name="connsiteY0" fmla="*/ 0 h 228600"/>
                  <a:gd name="connsiteX1" fmla="*/ 19050 w 19205"/>
                  <a:gd name="connsiteY1" fmla="*/ 123825 h 228600"/>
                  <a:gd name="connsiteX2" fmla="*/ 9525 w 19205"/>
                  <a:gd name="connsiteY2" fmla="*/ 22860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205" h="228600">
                    <a:moveTo>
                      <a:pt x="0" y="0"/>
                    </a:moveTo>
                    <a:cubicBezTo>
                      <a:pt x="8731" y="42862"/>
                      <a:pt x="17462" y="85725"/>
                      <a:pt x="19050" y="123825"/>
                    </a:cubicBezTo>
                    <a:cubicBezTo>
                      <a:pt x="20638" y="161925"/>
                      <a:pt x="9525" y="228600"/>
                      <a:pt x="9525" y="228600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7" name="Figura a mano libera 97">
                <a:extLst>
                  <a:ext uri="{FF2B5EF4-FFF2-40B4-BE49-F238E27FC236}">
                    <a16:creationId xmlns:a16="http://schemas.microsoft.com/office/drawing/2014/main" id="{92308C30-E056-40A2-A045-EA595C1F6C52}"/>
                  </a:ext>
                </a:extLst>
              </p:cNvPr>
              <p:cNvSpPr/>
              <p:nvPr/>
            </p:nvSpPr>
            <p:spPr>
              <a:xfrm>
                <a:off x="1416032" y="1364194"/>
                <a:ext cx="470833" cy="226172"/>
              </a:xfrm>
              <a:custGeom>
                <a:avLst/>
                <a:gdLst>
                  <a:gd name="connsiteX0" fmla="*/ 0 w 504825"/>
                  <a:gd name="connsiteY0" fmla="*/ 194380 h 194380"/>
                  <a:gd name="connsiteX1" fmla="*/ 247650 w 504825"/>
                  <a:gd name="connsiteY1" fmla="*/ 13405 h 194380"/>
                  <a:gd name="connsiteX2" fmla="*/ 504825 w 504825"/>
                  <a:gd name="connsiteY2" fmla="*/ 13405 h 194380"/>
                  <a:gd name="connsiteX0" fmla="*/ 0 w 403225"/>
                  <a:gd name="connsiteY0" fmla="*/ 196756 h 196756"/>
                  <a:gd name="connsiteX1" fmla="*/ 247650 w 403225"/>
                  <a:gd name="connsiteY1" fmla="*/ 15781 h 196756"/>
                  <a:gd name="connsiteX2" fmla="*/ 403225 w 403225"/>
                  <a:gd name="connsiteY2" fmla="*/ 7965 h 196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3225" h="196756">
                    <a:moveTo>
                      <a:pt x="0" y="196756"/>
                    </a:moveTo>
                    <a:cubicBezTo>
                      <a:pt x="81756" y="121349"/>
                      <a:pt x="163513" y="45943"/>
                      <a:pt x="247650" y="15781"/>
                    </a:cubicBezTo>
                    <a:cubicBezTo>
                      <a:pt x="331787" y="-14381"/>
                      <a:pt x="403225" y="7965"/>
                      <a:pt x="403225" y="7965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8" name="Rettangolo 307">
                <a:extLst>
                  <a:ext uri="{FF2B5EF4-FFF2-40B4-BE49-F238E27FC236}">
                    <a16:creationId xmlns:a16="http://schemas.microsoft.com/office/drawing/2014/main" id="{3D6A8FDC-91D5-430C-B232-2957556E78FC}"/>
                  </a:ext>
                </a:extLst>
              </p:cNvPr>
              <p:cNvSpPr/>
              <p:nvPr/>
            </p:nvSpPr>
            <p:spPr>
              <a:xfrm>
                <a:off x="3949702" y="404421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alerno</a:t>
                </a:r>
              </a:p>
            </p:txBody>
          </p:sp>
          <p:sp>
            <p:nvSpPr>
              <p:cNvPr id="309" name="Figura a mano libera 99">
                <a:extLst>
                  <a:ext uri="{FF2B5EF4-FFF2-40B4-BE49-F238E27FC236}">
                    <a16:creationId xmlns:a16="http://schemas.microsoft.com/office/drawing/2014/main" id="{AD8958E5-682B-47B4-9F31-AB0BD797F7F4}"/>
                  </a:ext>
                </a:extLst>
              </p:cNvPr>
              <p:cNvSpPr/>
              <p:nvPr/>
            </p:nvSpPr>
            <p:spPr>
              <a:xfrm>
                <a:off x="4037782" y="3765957"/>
                <a:ext cx="207298" cy="216063"/>
              </a:xfrm>
              <a:custGeom>
                <a:avLst/>
                <a:gdLst>
                  <a:gd name="connsiteX0" fmla="*/ 19247 w 234088"/>
                  <a:gd name="connsiteY0" fmla="*/ 76483 h 219358"/>
                  <a:gd name="connsiteX1" fmla="*/ 19247 w 234088"/>
                  <a:gd name="connsiteY1" fmla="*/ 283 h 219358"/>
                  <a:gd name="connsiteX2" fmla="*/ 219272 w 234088"/>
                  <a:gd name="connsiteY2" fmla="*/ 57433 h 219358"/>
                  <a:gd name="connsiteX3" fmla="*/ 219272 w 234088"/>
                  <a:gd name="connsiteY3" fmla="*/ 219358 h 219358"/>
                  <a:gd name="connsiteX4" fmla="*/ 219272 w 234088"/>
                  <a:gd name="connsiteY4" fmla="*/ 219358 h 219358"/>
                  <a:gd name="connsiteX0" fmla="*/ 17251 w 217276"/>
                  <a:gd name="connsiteY0" fmla="*/ 76200 h 219075"/>
                  <a:gd name="connsiteX1" fmla="*/ 17251 w 217276"/>
                  <a:gd name="connsiteY1" fmla="*/ 0 h 219075"/>
                  <a:gd name="connsiteX2" fmla="*/ 188701 w 217276"/>
                  <a:gd name="connsiteY2" fmla="*/ 76200 h 219075"/>
                  <a:gd name="connsiteX3" fmla="*/ 217276 w 217276"/>
                  <a:gd name="connsiteY3" fmla="*/ 219075 h 219075"/>
                  <a:gd name="connsiteX4" fmla="*/ 217276 w 217276"/>
                  <a:gd name="connsiteY4" fmla="*/ 219075 h 219075"/>
                  <a:gd name="connsiteX0" fmla="*/ 2718 w 202743"/>
                  <a:gd name="connsiteY0" fmla="*/ 29304 h 172179"/>
                  <a:gd name="connsiteX1" fmla="*/ 78918 w 202743"/>
                  <a:gd name="connsiteY1" fmla="*/ 729 h 172179"/>
                  <a:gd name="connsiteX2" fmla="*/ 174168 w 202743"/>
                  <a:gd name="connsiteY2" fmla="*/ 29304 h 172179"/>
                  <a:gd name="connsiteX3" fmla="*/ 202743 w 202743"/>
                  <a:gd name="connsiteY3" fmla="*/ 172179 h 172179"/>
                  <a:gd name="connsiteX4" fmla="*/ 202743 w 202743"/>
                  <a:gd name="connsiteY4" fmla="*/ 172179 h 172179"/>
                  <a:gd name="connsiteX0" fmla="*/ 2616 w 202641"/>
                  <a:gd name="connsiteY0" fmla="*/ 31412 h 174287"/>
                  <a:gd name="connsiteX1" fmla="*/ 78816 w 202641"/>
                  <a:gd name="connsiteY1" fmla="*/ 2837 h 174287"/>
                  <a:gd name="connsiteX2" fmla="*/ 155016 w 202641"/>
                  <a:gd name="connsiteY2" fmla="*/ 59987 h 174287"/>
                  <a:gd name="connsiteX3" fmla="*/ 202641 w 202641"/>
                  <a:gd name="connsiteY3" fmla="*/ 174287 h 174287"/>
                  <a:gd name="connsiteX4" fmla="*/ 202641 w 202641"/>
                  <a:gd name="connsiteY4" fmla="*/ 174287 h 174287"/>
                  <a:gd name="connsiteX0" fmla="*/ 2616 w 203121"/>
                  <a:gd name="connsiteY0" fmla="*/ 31412 h 193337"/>
                  <a:gd name="connsiteX1" fmla="*/ 78816 w 203121"/>
                  <a:gd name="connsiteY1" fmla="*/ 2837 h 193337"/>
                  <a:gd name="connsiteX2" fmla="*/ 155016 w 203121"/>
                  <a:gd name="connsiteY2" fmla="*/ 59987 h 193337"/>
                  <a:gd name="connsiteX3" fmla="*/ 202641 w 203121"/>
                  <a:gd name="connsiteY3" fmla="*/ 174287 h 193337"/>
                  <a:gd name="connsiteX4" fmla="*/ 126441 w 203121"/>
                  <a:gd name="connsiteY4" fmla="*/ 193337 h 193337"/>
                  <a:gd name="connsiteX0" fmla="*/ 2616 w 203121"/>
                  <a:gd name="connsiteY0" fmla="*/ 31412 h 174287"/>
                  <a:gd name="connsiteX1" fmla="*/ 78816 w 203121"/>
                  <a:gd name="connsiteY1" fmla="*/ 2837 h 174287"/>
                  <a:gd name="connsiteX2" fmla="*/ 155016 w 203121"/>
                  <a:gd name="connsiteY2" fmla="*/ 59987 h 174287"/>
                  <a:gd name="connsiteX3" fmla="*/ 202641 w 203121"/>
                  <a:gd name="connsiteY3" fmla="*/ 174287 h 17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121" h="174287">
                    <a:moveTo>
                      <a:pt x="2616" y="31412"/>
                    </a:moveTo>
                    <a:cubicBezTo>
                      <a:pt x="-14053" y="-5101"/>
                      <a:pt x="53416" y="-1925"/>
                      <a:pt x="78816" y="2837"/>
                    </a:cubicBezTo>
                    <a:cubicBezTo>
                      <a:pt x="104216" y="7599"/>
                      <a:pt x="134379" y="31412"/>
                      <a:pt x="155016" y="59987"/>
                    </a:cubicBezTo>
                    <a:cubicBezTo>
                      <a:pt x="175653" y="88562"/>
                      <a:pt x="207404" y="152062"/>
                      <a:pt x="202641" y="174287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0" name="Figura a mano libera 100">
                <a:extLst>
                  <a:ext uri="{FF2B5EF4-FFF2-40B4-BE49-F238E27FC236}">
                    <a16:creationId xmlns:a16="http://schemas.microsoft.com/office/drawing/2014/main" id="{ED205CCE-AF5E-4C07-8F7C-F4DD8A61C0C2}"/>
                  </a:ext>
                </a:extLst>
              </p:cNvPr>
              <p:cNvSpPr/>
              <p:nvPr/>
            </p:nvSpPr>
            <p:spPr>
              <a:xfrm>
                <a:off x="3907368" y="3002786"/>
                <a:ext cx="1075490" cy="667425"/>
              </a:xfrm>
              <a:custGeom>
                <a:avLst/>
                <a:gdLst>
                  <a:gd name="connsiteX0" fmla="*/ 0 w 1504950"/>
                  <a:gd name="connsiteY0" fmla="*/ 0 h 1000125"/>
                  <a:gd name="connsiteX1" fmla="*/ 342900 w 1504950"/>
                  <a:gd name="connsiteY1" fmla="*/ 247650 h 1000125"/>
                  <a:gd name="connsiteX2" fmla="*/ 533400 w 1504950"/>
                  <a:gd name="connsiteY2" fmla="*/ 409575 h 1000125"/>
                  <a:gd name="connsiteX3" fmla="*/ 923925 w 1504950"/>
                  <a:gd name="connsiteY3" fmla="*/ 590550 h 1000125"/>
                  <a:gd name="connsiteX4" fmla="*/ 1428750 w 1504950"/>
                  <a:gd name="connsiteY4" fmla="*/ 866775 h 1000125"/>
                  <a:gd name="connsiteX5" fmla="*/ 1504950 w 1504950"/>
                  <a:gd name="connsiteY5" fmla="*/ 1000125 h 1000125"/>
                  <a:gd name="connsiteX0" fmla="*/ 0 w 1428750"/>
                  <a:gd name="connsiteY0" fmla="*/ 0 h 866775"/>
                  <a:gd name="connsiteX1" fmla="*/ 342900 w 1428750"/>
                  <a:gd name="connsiteY1" fmla="*/ 247650 h 866775"/>
                  <a:gd name="connsiteX2" fmla="*/ 533400 w 1428750"/>
                  <a:gd name="connsiteY2" fmla="*/ 409575 h 866775"/>
                  <a:gd name="connsiteX3" fmla="*/ 923925 w 1428750"/>
                  <a:gd name="connsiteY3" fmla="*/ 590550 h 866775"/>
                  <a:gd name="connsiteX4" fmla="*/ 1428750 w 1428750"/>
                  <a:gd name="connsiteY4" fmla="*/ 866775 h 866775"/>
                  <a:gd name="connsiteX0" fmla="*/ 0 w 923925"/>
                  <a:gd name="connsiteY0" fmla="*/ 0 h 590550"/>
                  <a:gd name="connsiteX1" fmla="*/ 342900 w 923925"/>
                  <a:gd name="connsiteY1" fmla="*/ 247650 h 590550"/>
                  <a:gd name="connsiteX2" fmla="*/ 533400 w 923925"/>
                  <a:gd name="connsiteY2" fmla="*/ 409575 h 590550"/>
                  <a:gd name="connsiteX3" fmla="*/ 923925 w 923925"/>
                  <a:gd name="connsiteY3" fmla="*/ 590550 h 590550"/>
                  <a:gd name="connsiteX0" fmla="*/ 0 w 753328"/>
                  <a:gd name="connsiteY0" fmla="*/ 0 h 515487"/>
                  <a:gd name="connsiteX1" fmla="*/ 342900 w 753328"/>
                  <a:gd name="connsiteY1" fmla="*/ 247650 h 515487"/>
                  <a:gd name="connsiteX2" fmla="*/ 533400 w 753328"/>
                  <a:gd name="connsiteY2" fmla="*/ 409575 h 515487"/>
                  <a:gd name="connsiteX3" fmla="*/ 753328 w 753328"/>
                  <a:gd name="connsiteY3" fmla="*/ 515487 h 51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3328" h="515487">
                    <a:moveTo>
                      <a:pt x="0" y="0"/>
                    </a:moveTo>
                    <a:cubicBezTo>
                      <a:pt x="127000" y="89694"/>
                      <a:pt x="254000" y="179388"/>
                      <a:pt x="342900" y="247650"/>
                    </a:cubicBezTo>
                    <a:cubicBezTo>
                      <a:pt x="431800" y="315912"/>
                      <a:pt x="464995" y="364935"/>
                      <a:pt x="533400" y="409575"/>
                    </a:cubicBezTo>
                    <a:cubicBezTo>
                      <a:pt x="601805" y="454215"/>
                      <a:pt x="604103" y="439287"/>
                      <a:pt x="753328" y="515487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1" name="Rettangolo 310">
                <a:extLst>
                  <a:ext uri="{FF2B5EF4-FFF2-40B4-BE49-F238E27FC236}">
                    <a16:creationId xmlns:a16="http://schemas.microsoft.com/office/drawing/2014/main" id="{CD589097-B3A6-40FC-A282-DD5BBF1B6FAF}"/>
                  </a:ext>
                </a:extLst>
              </p:cNvPr>
              <p:cNvSpPr/>
              <p:nvPr/>
            </p:nvSpPr>
            <p:spPr>
              <a:xfrm>
                <a:off x="4560493" y="3339916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Foggia</a:t>
                </a:r>
              </a:p>
            </p:txBody>
          </p:sp>
          <p:sp>
            <p:nvSpPr>
              <p:cNvPr id="312" name="Rettangolo 311">
                <a:extLst>
                  <a:ext uri="{FF2B5EF4-FFF2-40B4-BE49-F238E27FC236}">
                    <a16:creationId xmlns:a16="http://schemas.microsoft.com/office/drawing/2014/main" id="{A31CCE45-232D-4BA8-B784-226C20866446}"/>
                  </a:ext>
                </a:extLst>
              </p:cNvPr>
              <p:cNvSpPr/>
              <p:nvPr/>
            </p:nvSpPr>
            <p:spPr>
              <a:xfrm>
                <a:off x="5765003" y="4149813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ecce</a:t>
                </a:r>
              </a:p>
            </p:txBody>
          </p:sp>
          <p:sp>
            <p:nvSpPr>
              <p:cNvPr id="313" name="Figura a mano libera 103">
                <a:extLst>
                  <a:ext uri="{FF2B5EF4-FFF2-40B4-BE49-F238E27FC236}">
                    <a16:creationId xmlns:a16="http://schemas.microsoft.com/office/drawing/2014/main" id="{8FDE4FCE-0E43-414F-83DE-142C97599156}"/>
                  </a:ext>
                </a:extLst>
              </p:cNvPr>
              <p:cNvSpPr/>
              <p:nvPr/>
            </p:nvSpPr>
            <p:spPr>
              <a:xfrm>
                <a:off x="3640442" y="2433332"/>
                <a:ext cx="278051" cy="525553"/>
              </a:xfrm>
              <a:custGeom>
                <a:avLst/>
                <a:gdLst>
                  <a:gd name="connsiteX0" fmla="*/ 0 w 238125"/>
                  <a:gd name="connsiteY0" fmla="*/ 0 h 457200"/>
                  <a:gd name="connsiteX1" fmla="*/ 76200 w 238125"/>
                  <a:gd name="connsiteY1" fmla="*/ 152400 h 457200"/>
                  <a:gd name="connsiteX2" fmla="*/ 161925 w 238125"/>
                  <a:gd name="connsiteY2" fmla="*/ 390525 h 457200"/>
                  <a:gd name="connsiteX3" fmla="*/ 238125 w 238125"/>
                  <a:gd name="connsiteY3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8125" h="457200">
                    <a:moveTo>
                      <a:pt x="0" y="0"/>
                    </a:moveTo>
                    <a:cubicBezTo>
                      <a:pt x="24606" y="43656"/>
                      <a:pt x="49213" y="87313"/>
                      <a:pt x="76200" y="152400"/>
                    </a:cubicBezTo>
                    <a:cubicBezTo>
                      <a:pt x="103187" y="217487"/>
                      <a:pt x="134938" y="339725"/>
                      <a:pt x="161925" y="390525"/>
                    </a:cubicBezTo>
                    <a:cubicBezTo>
                      <a:pt x="188912" y="441325"/>
                      <a:pt x="213518" y="449262"/>
                      <a:pt x="238125" y="457200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4" name="Figura a mano libera 104">
                <a:extLst>
                  <a:ext uri="{FF2B5EF4-FFF2-40B4-BE49-F238E27FC236}">
                    <a16:creationId xmlns:a16="http://schemas.microsoft.com/office/drawing/2014/main" id="{816BB954-3F9E-47F0-B74B-4FE012BAEBEB}"/>
                  </a:ext>
                </a:extLst>
              </p:cNvPr>
              <p:cNvSpPr/>
              <p:nvPr/>
            </p:nvSpPr>
            <p:spPr>
              <a:xfrm>
                <a:off x="3228926" y="1283555"/>
                <a:ext cx="506796" cy="164367"/>
              </a:xfrm>
              <a:custGeom>
                <a:avLst/>
                <a:gdLst>
                  <a:gd name="connsiteX0" fmla="*/ 0 w 434024"/>
                  <a:gd name="connsiteY0" fmla="*/ 142990 h 142990"/>
                  <a:gd name="connsiteX1" fmla="*/ 171450 w 434024"/>
                  <a:gd name="connsiteY1" fmla="*/ 38215 h 142990"/>
                  <a:gd name="connsiteX2" fmla="*/ 400050 w 434024"/>
                  <a:gd name="connsiteY2" fmla="*/ 115 h 142990"/>
                  <a:gd name="connsiteX3" fmla="*/ 428625 w 434024"/>
                  <a:gd name="connsiteY3" fmla="*/ 28690 h 14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4024" h="142990">
                    <a:moveTo>
                      <a:pt x="0" y="142990"/>
                    </a:moveTo>
                    <a:cubicBezTo>
                      <a:pt x="52387" y="102508"/>
                      <a:pt x="104775" y="62027"/>
                      <a:pt x="171450" y="38215"/>
                    </a:cubicBezTo>
                    <a:cubicBezTo>
                      <a:pt x="238125" y="14402"/>
                      <a:pt x="357188" y="1702"/>
                      <a:pt x="400050" y="115"/>
                    </a:cubicBezTo>
                    <a:cubicBezTo>
                      <a:pt x="442912" y="-1472"/>
                      <a:pt x="435768" y="13609"/>
                      <a:pt x="428625" y="28690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5" name="Figura a mano libera 105">
                <a:extLst>
                  <a:ext uri="{FF2B5EF4-FFF2-40B4-BE49-F238E27FC236}">
                    <a16:creationId xmlns:a16="http://schemas.microsoft.com/office/drawing/2014/main" id="{8E2FB545-CCBB-4329-81DC-31CE40E7D33A}"/>
                  </a:ext>
                </a:extLst>
              </p:cNvPr>
              <p:cNvSpPr/>
              <p:nvPr/>
            </p:nvSpPr>
            <p:spPr>
              <a:xfrm>
                <a:off x="1907128" y="1355276"/>
                <a:ext cx="420912" cy="37900"/>
              </a:xfrm>
              <a:custGeom>
                <a:avLst/>
                <a:gdLst>
                  <a:gd name="connsiteX0" fmla="*/ 0 w 266700"/>
                  <a:gd name="connsiteY0" fmla="*/ 0 h 9525"/>
                  <a:gd name="connsiteX1" fmla="*/ 266700 w 266700"/>
                  <a:gd name="connsiteY1" fmla="*/ 9525 h 9525"/>
                  <a:gd name="connsiteX0" fmla="*/ 0 w 13516"/>
                  <a:gd name="connsiteY0" fmla="*/ 0 h 34615"/>
                  <a:gd name="connsiteX1" fmla="*/ 13516 w 13516"/>
                  <a:gd name="connsiteY1" fmla="*/ 34615 h 3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16" h="34615">
                    <a:moveTo>
                      <a:pt x="0" y="0"/>
                    </a:moveTo>
                    <a:cubicBezTo>
                      <a:pt x="3333" y="3333"/>
                      <a:pt x="10183" y="31282"/>
                      <a:pt x="13516" y="34615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6" name="Rettangolo 315">
                <a:extLst>
                  <a:ext uri="{FF2B5EF4-FFF2-40B4-BE49-F238E27FC236}">
                    <a16:creationId xmlns:a16="http://schemas.microsoft.com/office/drawing/2014/main" id="{ADA5450E-4554-4E6D-92D0-1685DE365299}"/>
                  </a:ext>
                </a:extLst>
              </p:cNvPr>
              <p:cNvSpPr/>
              <p:nvPr/>
            </p:nvSpPr>
            <p:spPr>
              <a:xfrm>
                <a:off x="2301962" y="118715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rescia</a:t>
                </a:r>
              </a:p>
            </p:txBody>
          </p:sp>
          <p:sp>
            <p:nvSpPr>
              <p:cNvPr id="317" name="Figura a mano libera 107">
                <a:extLst>
                  <a:ext uri="{FF2B5EF4-FFF2-40B4-BE49-F238E27FC236}">
                    <a16:creationId xmlns:a16="http://schemas.microsoft.com/office/drawing/2014/main" id="{420C3140-B00E-4F4E-9415-DC9256D19590}"/>
                  </a:ext>
                </a:extLst>
              </p:cNvPr>
              <p:cNvSpPr/>
              <p:nvPr/>
            </p:nvSpPr>
            <p:spPr>
              <a:xfrm>
                <a:off x="2350284" y="1393177"/>
                <a:ext cx="289173" cy="0"/>
              </a:xfrm>
              <a:custGeom>
                <a:avLst/>
                <a:gdLst>
                  <a:gd name="connsiteX0" fmla="*/ 0 w 247650"/>
                  <a:gd name="connsiteY0" fmla="*/ 0 h 0"/>
                  <a:gd name="connsiteX1" fmla="*/ 247650 w 2476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7650">
                    <a:moveTo>
                      <a:pt x="0" y="0"/>
                    </a:moveTo>
                    <a:lnTo>
                      <a:pt x="247650" y="0"/>
                    </a:ln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8" name="Rettangolo 317">
                <a:extLst>
                  <a:ext uri="{FF2B5EF4-FFF2-40B4-BE49-F238E27FC236}">
                    <a16:creationId xmlns:a16="http://schemas.microsoft.com/office/drawing/2014/main" id="{95FE2D8E-FA71-4CAC-A799-E14D1C73FCBF}"/>
                  </a:ext>
                </a:extLst>
              </p:cNvPr>
              <p:cNvSpPr/>
              <p:nvPr/>
            </p:nvSpPr>
            <p:spPr>
              <a:xfrm>
                <a:off x="3019154" y="1551996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adova</a:t>
                </a:r>
              </a:p>
            </p:txBody>
          </p:sp>
          <p:sp>
            <p:nvSpPr>
              <p:cNvPr id="319" name="Figura a mano libera 109">
                <a:extLst>
                  <a:ext uri="{FF2B5EF4-FFF2-40B4-BE49-F238E27FC236}">
                    <a16:creationId xmlns:a16="http://schemas.microsoft.com/office/drawing/2014/main" id="{0ADE59A3-95F7-4FA1-B21C-95EE4362F066}"/>
                  </a:ext>
                </a:extLst>
              </p:cNvPr>
              <p:cNvSpPr/>
              <p:nvPr/>
            </p:nvSpPr>
            <p:spPr>
              <a:xfrm>
                <a:off x="2873020" y="1502666"/>
                <a:ext cx="200197" cy="405113"/>
              </a:xfrm>
              <a:custGeom>
                <a:avLst/>
                <a:gdLst>
                  <a:gd name="connsiteX0" fmla="*/ 0 w 171450"/>
                  <a:gd name="connsiteY0" fmla="*/ 352425 h 352425"/>
                  <a:gd name="connsiteX1" fmla="*/ 104775 w 171450"/>
                  <a:gd name="connsiteY1" fmla="*/ 95250 h 352425"/>
                  <a:gd name="connsiteX2" fmla="*/ 171450 w 171450"/>
                  <a:gd name="connsiteY2" fmla="*/ 0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1450" h="352425">
                    <a:moveTo>
                      <a:pt x="0" y="352425"/>
                    </a:moveTo>
                    <a:cubicBezTo>
                      <a:pt x="38100" y="253206"/>
                      <a:pt x="76200" y="153987"/>
                      <a:pt x="104775" y="95250"/>
                    </a:cubicBezTo>
                    <a:cubicBezTo>
                      <a:pt x="133350" y="36513"/>
                      <a:pt x="157163" y="19050"/>
                      <a:pt x="171450" y="0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0" name="Figura a mano libera 110">
                <a:extLst>
                  <a:ext uri="{FF2B5EF4-FFF2-40B4-BE49-F238E27FC236}">
                    <a16:creationId xmlns:a16="http://schemas.microsoft.com/office/drawing/2014/main" id="{65BE67E0-5F61-4812-B109-AAE093DBA7E0}"/>
                  </a:ext>
                </a:extLst>
              </p:cNvPr>
              <p:cNvSpPr/>
              <p:nvPr/>
            </p:nvSpPr>
            <p:spPr>
              <a:xfrm>
                <a:off x="2664571" y="1401493"/>
                <a:ext cx="186205" cy="528185"/>
              </a:xfrm>
              <a:custGeom>
                <a:avLst/>
                <a:gdLst>
                  <a:gd name="connsiteX0" fmla="*/ 0 w 142875"/>
                  <a:gd name="connsiteY0" fmla="*/ 0 h 419100"/>
                  <a:gd name="connsiteX1" fmla="*/ 66675 w 142875"/>
                  <a:gd name="connsiteY1" fmla="*/ 142875 h 419100"/>
                  <a:gd name="connsiteX2" fmla="*/ 142875 w 142875"/>
                  <a:gd name="connsiteY2" fmla="*/ 419100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875" h="419100">
                    <a:moveTo>
                      <a:pt x="0" y="0"/>
                    </a:moveTo>
                    <a:cubicBezTo>
                      <a:pt x="21431" y="36512"/>
                      <a:pt x="42863" y="73025"/>
                      <a:pt x="66675" y="142875"/>
                    </a:cubicBezTo>
                    <a:cubicBezTo>
                      <a:pt x="90487" y="212725"/>
                      <a:pt x="127000" y="374650"/>
                      <a:pt x="142875" y="419100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1" name="Figura a mano libera 111">
                <a:extLst>
                  <a:ext uri="{FF2B5EF4-FFF2-40B4-BE49-F238E27FC236}">
                    <a16:creationId xmlns:a16="http://schemas.microsoft.com/office/drawing/2014/main" id="{74A4A915-3397-41C0-B206-453C723EF23A}"/>
                  </a:ext>
                </a:extLst>
              </p:cNvPr>
              <p:cNvSpPr/>
              <p:nvPr/>
            </p:nvSpPr>
            <p:spPr>
              <a:xfrm>
                <a:off x="819375" y="1386002"/>
                <a:ext cx="276085" cy="192929"/>
              </a:xfrm>
              <a:custGeom>
                <a:avLst/>
                <a:gdLst>
                  <a:gd name="connsiteX0" fmla="*/ 0 w 342900"/>
                  <a:gd name="connsiteY0" fmla="*/ 0 h 171450"/>
                  <a:gd name="connsiteX1" fmla="*/ 171450 w 342900"/>
                  <a:gd name="connsiteY1" fmla="*/ 133350 h 171450"/>
                  <a:gd name="connsiteX2" fmla="*/ 342900 w 342900"/>
                  <a:gd name="connsiteY2" fmla="*/ 171450 h 171450"/>
                  <a:gd name="connsiteX0" fmla="*/ 0 w 171450"/>
                  <a:gd name="connsiteY0" fmla="*/ 0 h 133350"/>
                  <a:gd name="connsiteX1" fmla="*/ 171450 w 171450"/>
                  <a:gd name="connsiteY1" fmla="*/ 13335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1450" h="133350">
                    <a:moveTo>
                      <a:pt x="0" y="0"/>
                    </a:moveTo>
                    <a:cubicBezTo>
                      <a:pt x="57150" y="52387"/>
                      <a:pt x="114300" y="104775"/>
                      <a:pt x="171450" y="133350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2" name="Figura a mano libera 112">
                <a:extLst>
                  <a:ext uri="{FF2B5EF4-FFF2-40B4-BE49-F238E27FC236}">
                    <a16:creationId xmlns:a16="http://schemas.microsoft.com/office/drawing/2014/main" id="{2997C699-EEFC-47BB-B4E4-928F1BC57D3B}"/>
                  </a:ext>
                </a:extLst>
              </p:cNvPr>
              <p:cNvSpPr/>
              <p:nvPr/>
            </p:nvSpPr>
            <p:spPr>
              <a:xfrm>
                <a:off x="3121412" y="1506316"/>
                <a:ext cx="66732" cy="0"/>
              </a:xfrm>
              <a:custGeom>
                <a:avLst/>
                <a:gdLst>
                  <a:gd name="connsiteX0" fmla="*/ 0 w 57150"/>
                  <a:gd name="connsiteY0" fmla="*/ 0 h 0"/>
                  <a:gd name="connsiteX1" fmla="*/ 57150 w 5715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>
                    <a:moveTo>
                      <a:pt x="0" y="0"/>
                    </a:moveTo>
                    <a:lnTo>
                      <a:pt x="57150" y="0"/>
                    </a:ln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3" name="Figura a mano libera 113">
                <a:extLst>
                  <a:ext uri="{FF2B5EF4-FFF2-40B4-BE49-F238E27FC236}">
                    <a16:creationId xmlns:a16="http://schemas.microsoft.com/office/drawing/2014/main" id="{0CC3F0C4-75A8-48AA-8801-CEBC740C1B76}"/>
                  </a:ext>
                </a:extLst>
              </p:cNvPr>
              <p:cNvSpPr/>
              <p:nvPr/>
            </p:nvSpPr>
            <p:spPr>
              <a:xfrm>
                <a:off x="2708203" y="1329745"/>
                <a:ext cx="271120" cy="52554"/>
              </a:xfrm>
              <a:custGeom>
                <a:avLst/>
                <a:gdLst>
                  <a:gd name="connsiteX0" fmla="*/ 0 w 177800"/>
                  <a:gd name="connsiteY0" fmla="*/ 26428 h 26428"/>
                  <a:gd name="connsiteX1" fmla="*/ 101600 w 177800"/>
                  <a:gd name="connsiteY1" fmla="*/ 1028 h 26428"/>
                  <a:gd name="connsiteX2" fmla="*/ 177800 w 177800"/>
                  <a:gd name="connsiteY2" fmla="*/ 7378 h 26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7800" h="26428">
                    <a:moveTo>
                      <a:pt x="0" y="26428"/>
                    </a:moveTo>
                    <a:cubicBezTo>
                      <a:pt x="35983" y="15315"/>
                      <a:pt x="71967" y="4203"/>
                      <a:pt x="101600" y="1028"/>
                    </a:cubicBezTo>
                    <a:cubicBezTo>
                      <a:pt x="131233" y="-2147"/>
                      <a:pt x="154516" y="2615"/>
                      <a:pt x="177800" y="7378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4" name="Figura a mano libera 114">
                <a:extLst>
                  <a:ext uri="{FF2B5EF4-FFF2-40B4-BE49-F238E27FC236}">
                    <a16:creationId xmlns:a16="http://schemas.microsoft.com/office/drawing/2014/main" id="{D5916D09-B5B9-4B47-B36C-512F602338B7}"/>
                  </a:ext>
                </a:extLst>
              </p:cNvPr>
              <p:cNvSpPr/>
              <p:nvPr/>
            </p:nvSpPr>
            <p:spPr>
              <a:xfrm>
                <a:off x="2979324" y="1348140"/>
                <a:ext cx="89756" cy="129235"/>
              </a:xfrm>
              <a:custGeom>
                <a:avLst/>
                <a:gdLst>
                  <a:gd name="connsiteX0" fmla="*/ 0 w 88900"/>
                  <a:gd name="connsiteY0" fmla="*/ 0 h 95250"/>
                  <a:gd name="connsiteX1" fmla="*/ 50800 w 88900"/>
                  <a:gd name="connsiteY1" fmla="*/ 19050 h 95250"/>
                  <a:gd name="connsiteX2" fmla="*/ 88900 w 88900"/>
                  <a:gd name="connsiteY2" fmla="*/ 95250 h 95250"/>
                  <a:gd name="connsiteX0" fmla="*/ 0 w 88900"/>
                  <a:gd name="connsiteY0" fmla="*/ 0 h 110631"/>
                  <a:gd name="connsiteX1" fmla="*/ 50800 w 88900"/>
                  <a:gd name="connsiteY1" fmla="*/ 34431 h 110631"/>
                  <a:gd name="connsiteX2" fmla="*/ 88900 w 88900"/>
                  <a:gd name="connsiteY2" fmla="*/ 110631 h 110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8900" h="110631">
                    <a:moveTo>
                      <a:pt x="0" y="0"/>
                    </a:moveTo>
                    <a:cubicBezTo>
                      <a:pt x="17991" y="1587"/>
                      <a:pt x="35983" y="18556"/>
                      <a:pt x="50800" y="34431"/>
                    </a:cubicBezTo>
                    <a:cubicBezTo>
                      <a:pt x="65617" y="50306"/>
                      <a:pt x="78317" y="98989"/>
                      <a:pt x="88900" y="110631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5" name="Figura a mano libera 115">
                <a:extLst>
                  <a:ext uri="{FF2B5EF4-FFF2-40B4-BE49-F238E27FC236}">
                    <a16:creationId xmlns:a16="http://schemas.microsoft.com/office/drawing/2014/main" id="{942FAD73-B83B-4A04-885C-345B2520A02A}"/>
                  </a:ext>
                </a:extLst>
              </p:cNvPr>
              <p:cNvSpPr/>
              <p:nvPr/>
            </p:nvSpPr>
            <p:spPr>
              <a:xfrm>
                <a:off x="1089786" y="1586609"/>
                <a:ext cx="296588" cy="81784"/>
              </a:xfrm>
              <a:custGeom>
                <a:avLst/>
                <a:gdLst>
                  <a:gd name="connsiteX0" fmla="*/ 0 w 254000"/>
                  <a:gd name="connsiteY0" fmla="*/ 0 h 71147"/>
                  <a:gd name="connsiteX1" fmla="*/ 146050 w 254000"/>
                  <a:gd name="connsiteY1" fmla="*/ 69850 h 71147"/>
                  <a:gd name="connsiteX2" fmla="*/ 254000 w 254000"/>
                  <a:gd name="connsiteY2" fmla="*/ 44450 h 71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4000" h="71147">
                    <a:moveTo>
                      <a:pt x="0" y="0"/>
                    </a:moveTo>
                    <a:cubicBezTo>
                      <a:pt x="51858" y="31221"/>
                      <a:pt x="103717" y="62442"/>
                      <a:pt x="146050" y="69850"/>
                    </a:cubicBezTo>
                    <a:cubicBezTo>
                      <a:pt x="188383" y="77258"/>
                      <a:pt x="233892" y="50800"/>
                      <a:pt x="254000" y="44450"/>
                    </a:cubicBezTo>
                  </a:path>
                </a:pathLst>
              </a:custGeom>
              <a:noFill/>
              <a:ln w="28575">
                <a:solidFill>
                  <a:schemeClr val="accent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6" name="Rettangolo 325">
                <a:extLst>
                  <a:ext uri="{FF2B5EF4-FFF2-40B4-BE49-F238E27FC236}">
                    <a16:creationId xmlns:a16="http://schemas.microsoft.com/office/drawing/2014/main" id="{2CEEB9A6-9901-4184-ABC8-518FDB247039}"/>
                  </a:ext>
                </a:extLst>
              </p:cNvPr>
              <p:cNvSpPr/>
              <p:nvPr/>
            </p:nvSpPr>
            <p:spPr>
              <a:xfrm>
                <a:off x="5126851" y="4066701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aranto</a:t>
                </a:r>
              </a:p>
            </p:txBody>
          </p:sp>
          <p:sp>
            <p:nvSpPr>
              <p:cNvPr id="327" name="Figura a mano libera 117">
                <a:extLst>
                  <a:ext uri="{FF2B5EF4-FFF2-40B4-BE49-F238E27FC236}">
                    <a16:creationId xmlns:a16="http://schemas.microsoft.com/office/drawing/2014/main" id="{2785720E-756A-44A6-9C96-7E697812D3CE}"/>
                  </a:ext>
                </a:extLst>
              </p:cNvPr>
              <p:cNvSpPr/>
              <p:nvPr/>
            </p:nvSpPr>
            <p:spPr>
              <a:xfrm>
                <a:off x="4975089" y="3681519"/>
                <a:ext cx="207612" cy="313871"/>
              </a:xfrm>
              <a:custGeom>
                <a:avLst/>
                <a:gdLst>
                  <a:gd name="connsiteX0" fmla="*/ 0 w 177800"/>
                  <a:gd name="connsiteY0" fmla="*/ 0 h 273050"/>
                  <a:gd name="connsiteX1" fmla="*/ 76200 w 177800"/>
                  <a:gd name="connsiteY1" fmla="*/ 152400 h 273050"/>
                  <a:gd name="connsiteX2" fmla="*/ 177800 w 177800"/>
                  <a:gd name="connsiteY2" fmla="*/ 273050 h 27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7800" h="273050">
                    <a:moveTo>
                      <a:pt x="0" y="0"/>
                    </a:moveTo>
                    <a:cubicBezTo>
                      <a:pt x="23283" y="53446"/>
                      <a:pt x="46567" y="106892"/>
                      <a:pt x="76200" y="152400"/>
                    </a:cubicBezTo>
                    <a:cubicBezTo>
                      <a:pt x="105833" y="197908"/>
                      <a:pt x="177800" y="273050"/>
                      <a:pt x="177800" y="273050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8" name="Figura a mano libera 118">
                <a:extLst>
                  <a:ext uri="{FF2B5EF4-FFF2-40B4-BE49-F238E27FC236}">
                    <a16:creationId xmlns:a16="http://schemas.microsoft.com/office/drawing/2014/main" id="{CC8AC531-AB29-4050-ACCF-ADC813E65D3B}"/>
                  </a:ext>
                </a:extLst>
              </p:cNvPr>
              <p:cNvSpPr/>
              <p:nvPr/>
            </p:nvSpPr>
            <p:spPr>
              <a:xfrm>
                <a:off x="1823841" y="1637705"/>
                <a:ext cx="29659" cy="197082"/>
              </a:xfrm>
              <a:custGeom>
                <a:avLst/>
                <a:gdLst>
                  <a:gd name="connsiteX0" fmla="*/ 25400 w 25400"/>
                  <a:gd name="connsiteY0" fmla="*/ 171450 h 171450"/>
                  <a:gd name="connsiteX1" fmla="*/ 0 w 25400"/>
                  <a:gd name="connsiteY1" fmla="*/ 0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400" h="171450">
                    <a:moveTo>
                      <a:pt x="25400" y="171450"/>
                    </a:moveTo>
                    <a:lnTo>
                      <a:pt x="0" y="0"/>
                    </a:ln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9" name="Figura a mano libera 119">
                <a:extLst>
                  <a:ext uri="{FF2B5EF4-FFF2-40B4-BE49-F238E27FC236}">
                    <a16:creationId xmlns:a16="http://schemas.microsoft.com/office/drawing/2014/main" id="{D82741E6-03D5-43D1-A06D-11B328E901F7}"/>
                  </a:ext>
                </a:extLst>
              </p:cNvPr>
              <p:cNvSpPr/>
              <p:nvPr/>
            </p:nvSpPr>
            <p:spPr>
              <a:xfrm>
                <a:off x="1423447" y="1621813"/>
                <a:ext cx="400394" cy="45089"/>
              </a:xfrm>
              <a:custGeom>
                <a:avLst/>
                <a:gdLst>
                  <a:gd name="connsiteX0" fmla="*/ 0 w 342900"/>
                  <a:gd name="connsiteY0" fmla="*/ 13825 h 39225"/>
                  <a:gd name="connsiteX1" fmla="*/ 190500 w 342900"/>
                  <a:gd name="connsiteY1" fmla="*/ 1125 h 39225"/>
                  <a:gd name="connsiteX2" fmla="*/ 342900 w 342900"/>
                  <a:gd name="connsiteY2" fmla="*/ 39225 h 39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2900" h="39225">
                    <a:moveTo>
                      <a:pt x="0" y="13825"/>
                    </a:moveTo>
                    <a:cubicBezTo>
                      <a:pt x="66675" y="5358"/>
                      <a:pt x="133350" y="-3108"/>
                      <a:pt x="190500" y="1125"/>
                    </a:cubicBezTo>
                    <a:cubicBezTo>
                      <a:pt x="247650" y="5358"/>
                      <a:pt x="321733" y="30758"/>
                      <a:pt x="342900" y="39225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0" name="Figura a mano libera 120">
                <a:extLst>
                  <a:ext uri="{FF2B5EF4-FFF2-40B4-BE49-F238E27FC236}">
                    <a16:creationId xmlns:a16="http://schemas.microsoft.com/office/drawing/2014/main" id="{8C794A23-DB84-4262-AB27-156EB267907E}"/>
                  </a:ext>
                </a:extLst>
              </p:cNvPr>
              <p:cNvSpPr/>
              <p:nvPr/>
            </p:nvSpPr>
            <p:spPr>
              <a:xfrm>
                <a:off x="1578020" y="771345"/>
                <a:ext cx="334796" cy="588985"/>
              </a:xfrm>
              <a:custGeom>
                <a:avLst/>
                <a:gdLst>
                  <a:gd name="connsiteX0" fmla="*/ 0 w 336550"/>
                  <a:gd name="connsiteY0" fmla="*/ 0 h 247650"/>
                  <a:gd name="connsiteX1" fmla="*/ 139700 w 336550"/>
                  <a:gd name="connsiteY1" fmla="*/ 139700 h 247650"/>
                  <a:gd name="connsiteX2" fmla="*/ 336550 w 336550"/>
                  <a:gd name="connsiteY2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550" h="247650">
                    <a:moveTo>
                      <a:pt x="0" y="0"/>
                    </a:moveTo>
                    <a:cubicBezTo>
                      <a:pt x="41804" y="49212"/>
                      <a:pt x="83608" y="98425"/>
                      <a:pt x="139700" y="139700"/>
                    </a:cubicBezTo>
                    <a:cubicBezTo>
                      <a:pt x="195792" y="180975"/>
                      <a:pt x="266171" y="214312"/>
                      <a:pt x="336550" y="247650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1" name="Figura a mano libera 121">
                <a:extLst>
                  <a:ext uri="{FF2B5EF4-FFF2-40B4-BE49-F238E27FC236}">
                    <a16:creationId xmlns:a16="http://schemas.microsoft.com/office/drawing/2014/main" id="{6F9C5394-FEF9-4D54-BACC-3BF346A334E4}"/>
                  </a:ext>
                </a:extLst>
              </p:cNvPr>
              <p:cNvSpPr/>
              <p:nvPr/>
            </p:nvSpPr>
            <p:spPr>
              <a:xfrm>
                <a:off x="1913474" y="893172"/>
                <a:ext cx="53385" cy="448669"/>
              </a:xfrm>
              <a:custGeom>
                <a:avLst/>
                <a:gdLst>
                  <a:gd name="connsiteX0" fmla="*/ 0 w 58982"/>
                  <a:gd name="connsiteY0" fmla="*/ 387350 h 387350"/>
                  <a:gd name="connsiteX1" fmla="*/ 38100 w 58982"/>
                  <a:gd name="connsiteY1" fmla="*/ 266700 h 387350"/>
                  <a:gd name="connsiteX2" fmla="*/ 57150 w 58982"/>
                  <a:gd name="connsiteY2" fmla="*/ 88900 h 387350"/>
                  <a:gd name="connsiteX3" fmla="*/ 57150 w 58982"/>
                  <a:gd name="connsiteY3" fmla="*/ 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982" h="387350">
                    <a:moveTo>
                      <a:pt x="0" y="387350"/>
                    </a:moveTo>
                    <a:cubicBezTo>
                      <a:pt x="14287" y="351896"/>
                      <a:pt x="28575" y="316442"/>
                      <a:pt x="38100" y="266700"/>
                    </a:cubicBezTo>
                    <a:cubicBezTo>
                      <a:pt x="47625" y="216958"/>
                      <a:pt x="53975" y="133350"/>
                      <a:pt x="57150" y="88900"/>
                    </a:cubicBezTo>
                    <a:cubicBezTo>
                      <a:pt x="60325" y="44450"/>
                      <a:pt x="58737" y="22225"/>
                      <a:pt x="57150" y="0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2" name="Figura a mano libera 122">
                <a:extLst>
                  <a:ext uri="{FF2B5EF4-FFF2-40B4-BE49-F238E27FC236}">
                    <a16:creationId xmlns:a16="http://schemas.microsoft.com/office/drawing/2014/main" id="{9D45DE6D-85EF-45C8-A3E4-68C1207BF7DB}"/>
                  </a:ext>
                </a:extLst>
              </p:cNvPr>
              <p:cNvSpPr/>
              <p:nvPr/>
            </p:nvSpPr>
            <p:spPr>
              <a:xfrm>
                <a:off x="2653630" y="816267"/>
                <a:ext cx="46721" cy="529464"/>
              </a:xfrm>
              <a:custGeom>
                <a:avLst/>
                <a:gdLst>
                  <a:gd name="connsiteX0" fmla="*/ 19613 w 19613"/>
                  <a:gd name="connsiteY0" fmla="*/ 0 h 368300"/>
                  <a:gd name="connsiteX1" fmla="*/ 563 w 19613"/>
                  <a:gd name="connsiteY1" fmla="*/ 215900 h 368300"/>
                  <a:gd name="connsiteX2" fmla="*/ 6913 w 19613"/>
                  <a:gd name="connsiteY2" fmla="*/ 368300 h 368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613" h="368300">
                    <a:moveTo>
                      <a:pt x="19613" y="0"/>
                    </a:moveTo>
                    <a:cubicBezTo>
                      <a:pt x="11146" y="77258"/>
                      <a:pt x="2680" y="154517"/>
                      <a:pt x="563" y="215900"/>
                    </a:cubicBezTo>
                    <a:cubicBezTo>
                      <a:pt x="-1554" y="277283"/>
                      <a:pt x="2679" y="322791"/>
                      <a:pt x="6913" y="368300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3" name="Figura a mano libera 123">
                <a:extLst>
                  <a:ext uri="{FF2B5EF4-FFF2-40B4-BE49-F238E27FC236}">
                    <a16:creationId xmlns:a16="http://schemas.microsoft.com/office/drawing/2014/main" id="{6E2F4B76-772B-4B5F-805B-A20CEA20B9B3}"/>
                  </a:ext>
                </a:extLst>
              </p:cNvPr>
              <p:cNvSpPr/>
              <p:nvPr/>
            </p:nvSpPr>
            <p:spPr>
              <a:xfrm>
                <a:off x="1037137" y="2149847"/>
                <a:ext cx="378150" cy="87592"/>
              </a:xfrm>
              <a:custGeom>
                <a:avLst/>
                <a:gdLst>
                  <a:gd name="connsiteX0" fmla="*/ 0 w 323850"/>
                  <a:gd name="connsiteY0" fmla="*/ 76200 h 76200"/>
                  <a:gd name="connsiteX1" fmla="*/ 190500 w 323850"/>
                  <a:gd name="connsiteY1" fmla="*/ 50800 h 76200"/>
                  <a:gd name="connsiteX2" fmla="*/ 323850 w 323850"/>
                  <a:gd name="connsiteY2" fmla="*/ 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3850" h="76200">
                    <a:moveTo>
                      <a:pt x="0" y="76200"/>
                    </a:moveTo>
                    <a:cubicBezTo>
                      <a:pt x="68262" y="69850"/>
                      <a:pt x="136525" y="63500"/>
                      <a:pt x="190500" y="50800"/>
                    </a:cubicBezTo>
                    <a:cubicBezTo>
                      <a:pt x="244475" y="38100"/>
                      <a:pt x="284162" y="19050"/>
                      <a:pt x="323850" y="0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solidFill>
                      <a:srgbClr val="FFFFFF">
                        <a:lumMod val="8500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4" name="Figura a mano libera 124">
                <a:extLst>
                  <a:ext uri="{FF2B5EF4-FFF2-40B4-BE49-F238E27FC236}">
                    <a16:creationId xmlns:a16="http://schemas.microsoft.com/office/drawing/2014/main" id="{21C76AA0-1D23-4740-811A-A0B19F3988D1}"/>
                  </a:ext>
                </a:extLst>
              </p:cNvPr>
              <p:cNvSpPr/>
              <p:nvPr/>
            </p:nvSpPr>
            <p:spPr>
              <a:xfrm>
                <a:off x="1616229" y="1893181"/>
                <a:ext cx="170538" cy="94892"/>
              </a:xfrm>
              <a:custGeom>
                <a:avLst/>
                <a:gdLst>
                  <a:gd name="connsiteX0" fmla="*/ 146050 w 146050"/>
                  <a:gd name="connsiteY0" fmla="*/ 0 h 82550"/>
                  <a:gd name="connsiteX1" fmla="*/ 69850 w 146050"/>
                  <a:gd name="connsiteY1" fmla="*/ 31750 h 82550"/>
                  <a:gd name="connsiteX2" fmla="*/ 0 w 146050"/>
                  <a:gd name="connsiteY2" fmla="*/ 82550 h 82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" h="82550">
                    <a:moveTo>
                      <a:pt x="146050" y="0"/>
                    </a:moveTo>
                    <a:cubicBezTo>
                      <a:pt x="120121" y="8996"/>
                      <a:pt x="94192" y="17992"/>
                      <a:pt x="69850" y="31750"/>
                    </a:cubicBezTo>
                    <a:cubicBezTo>
                      <a:pt x="45508" y="45508"/>
                      <a:pt x="22754" y="64029"/>
                      <a:pt x="0" y="82550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solidFill>
                      <a:srgbClr val="FFFFFF">
                        <a:lumMod val="8500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5" name="Figura a mano libera 125">
                <a:extLst>
                  <a:ext uri="{FF2B5EF4-FFF2-40B4-BE49-F238E27FC236}">
                    <a16:creationId xmlns:a16="http://schemas.microsoft.com/office/drawing/2014/main" id="{6D09D704-7864-4384-B99B-3AAC7094B4C1}"/>
                  </a:ext>
                </a:extLst>
              </p:cNvPr>
              <p:cNvSpPr/>
              <p:nvPr/>
            </p:nvSpPr>
            <p:spPr>
              <a:xfrm>
                <a:off x="1376199" y="1988072"/>
                <a:ext cx="240031" cy="180226"/>
              </a:xfrm>
              <a:custGeom>
                <a:avLst/>
                <a:gdLst>
                  <a:gd name="connsiteX0" fmla="*/ 0 w 158750"/>
                  <a:gd name="connsiteY0" fmla="*/ 139700 h 139700"/>
                  <a:gd name="connsiteX1" fmla="*/ 95250 w 158750"/>
                  <a:gd name="connsiteY1" fmla="*/ 63500 h 139700"/>
                  <a:gd name="connsiteX2" fmla="*/ 158750 w 158750"/>
                  <a:gd name="connsiteY2" fmla="*/ 0 h 13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8750" h="139700">
                    <a:moveTo>
                      <a:pt x="0" y="139700"/>
                    </a:moveTo>
                    <a:cubicBezTo>
                      <a:pt x="34396" y="113241"/>
                      <a:pt x="68792" y="86783"/>
                      <a:pt x="95250" y="63500"/>
                    </a:cubicBezTo>
                    <a:cubicBezTo>
                      <a:pt x="121708" y="40217"/>
                      <a:pt x="158750" y="0"/>
                      <a:pt x="158750" y="0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solidFill>
                      <a:srgbClr val="FFFFFF">
                        <a:lumMod val="85000"/>
                      </a:srgbClr>
                    </a:solidFill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6" name="Figura a mano libera 126">
                <a:extLst>
                  <a:ext uri="{FF2B5EF4-FFF2-40B4-BE49-F238E27FC236}">
                    <a16:creationId xmlns:a16="http://schemas.microsoft.com/office/drawing/2014/main" id="{A93DFBC8-FCC2-40A0-A59B-79FF9FBB0478}"/>
                  </a:ext>
                </a:extLst>
              </p:cNvPr>
              <p:cNvSpPr/>
              <p:nvPr/>
            </p:nvSpPr>
            <p:spPr>
              <a:xfrm>
                <a:off x="3524451" y="746125"/>
                <a:ext cx="108576" cy="536417"/>
              </a:xfrm>
              <a:custGeom>
                <a:avLst/>
                <a:gdLst>
                  <a:gd name="connsiteX0" fmla="*/ 58216 w 58216"/>
                  <a:gd name="connsiteY0" fmla="*/ 0 h 463550"/>
                  <a:gd name="connsiteX1" fmla="*/ 1066 w 58216"/>
                  <a:gd name="connsiteY1" fmla="*/ 215900 h 463550"/>
                  <a:gd name="connsiteX2" fmla="*/ 26466 w 58216"/>
                  <a:gd name="connsiteY2" fmla="*/ 463550 h 463550"/>
                  <a:gd name="connsiteX0" fmla="*/ 60578 w 60578"/>
                  <a:gd name="connsiteY0" fmla="*/ 0 h 400050"/>
                  <a:gd name="connsiteX1" fmla="*/ 3428 w 60578"/>
                  <a:gd name="connsiteY1" fmla="*/ 215900 h 400050"/>
                  <a:gd name="connsiteX2" fmla="*/ 16128 w 60578"/>
                  <a:gd name="connsiteY2" fmla="*/ 400050 h 400050"/>
                  <a:gd name="connsiteX0" fmla="*/ 60578 w 60578"/>
                  <a:gd name="connsiteY0" fmla="*/ 0 h 410529"/>
                  <a:gd name="connsiteX1" fmla="*/ 3428 w 60578"/>
                  <a:gd name="connsiteY1" fmla="*/ 215900 h 410529"/>
                  <a:gd name="connsiteX2" fmla="*/ 16128 w 60578"/>
                  <a:gd name="connsiteY2" fmla="*/ 400050 h 410529"/>
                  <a:gd name="connsiteX3" fmla="*/ 16128 w 60578"/>
                  <a:gd name="connsiteY3" fmla="*/ 387350 h 410529"/>
                  <a:gd name="connsiteX0" fmla="*/ 88900 w 88900"/>
                  <a:gd name="connsiteY0" fmla="*/ 0 h 470014"/>
                  <a:gd name="connsiteX1" fmla="*/ 31750 w 88900"/>
                  <a:gd name="connsiteY1" fmla="*/ 215900 h 470014"/>
                  <a:gd name="connsiteX2" fmla="*/ 44450 w 88900"/>
                  <a:gd name="connsiteY2" fmla="*/ 400050 h 470014"/>
                  <a:gd name="connsiteX3" fmla="*/ 0 w 88900"/>
                  <a:gd name="connsiteY3" fmla="*/ 469900 h 470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900" h="470014">
                    <a:moveTo>
                      <a:pt x="88900" y="0"/>
                    </a:moveTo>
                    <a:cubicBezTo>
                      <a:pt x="62971" y="69321"/>
                      <a:pt x="39158" y="149225"/>
                      <a:pt x="31750" y="215900"/>
                    </a:cubicBezTo>
                    <a:cubicBezTo>
                      <a:pt x="24342" y="282575"/>
                      <a:pt x="29104" y="314854"/>
                      <a:pt x="44450" y="400050"/>
                    </a:cubicBezTo>
                    <a:cubicBezTo>
                      <a:pt x="46567" y="428625"/>
                      <a:pt x="0" y="472546"/>
                      <a:pt x="0" y="469900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  <a:head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7" name="Figura a mano libera 127">
                <a:extLst>
                  <a:ext uri="{FF2B5EF4-FFF2-40B4-BE49-F238E27FC236}">
                    <a16:creationId xmlns:a16="http://schemas.microsoft.com/office/drawing/2014/main" id="{33A5AB97-DF6A-4781-AC87-708E1ACC3156}"/>
                  </a:ext>
                </a:extLst>
              </p:cNvPr>
              <p:cNvSpPr/>
              <p:nvPr/>
            </p:nvSpPr>
            <p:spPr>
              <a:xfrm>
                <a:off x="3736344" y="1220284"/>
                <a:ext cx="318822" cy="87592"/>
              </a:xfrm>
              <a:custGeom>
                <a:avLst/>
                <a:gdLst>
                  <a:gd name="connsiteX0" fmla="*/ 0 w 184150"/>
                  <a:gd name="connsiteY0" fmla="*/ 12700 h 12700"/>
                  <a:gd name="connsiteX1" fmla="*/ 184150 w 184150"/>
                  <a:gd name="connsiteY1" fmla="*/ 0 h 12700"/>
                  <a:gd name="connsiteX0" fmla="*/ 0 w 196850"/>
                  <a:gd name="connsiteY0" fmla="*/ 69850 h 69850"/>
                  <a:gd name="connsiteX1" fmla="*/ 196850 w 196850"/>
                  <a:gd name="connsiteY1" fmla="*/ 0 h 69850"/>
                  <a:gd name="connsiteX0" fmla="*/ 0 w 146050"/>
                  <a:gd name="connsiteY0" fmla="*/ 6350 h 6350"/>
                  <a:gd name="connsiteX1" fmla="*/ 146050 w 146050"/>
                  <a:gd name="connsiteY1" fmla="*/ 0 h 6350"/>
                  <a:gd name="connsiteX0" fmla="*/ 0 w 13043"/>
                  <a:gd name="connsiteY0" fmla="*/ 10000 h 10000"/>
                  <a:gd name="connsiteX1" fmla="*/ 13043 w 13043"/>
                  <a:gd name="connsiteY1" fmla="*/ 0 h 10000"/>
                  <a:gd name="connsiteX0" fmla="*/ 81 w 13124"/>
                  <a:gd name="connsiteY0" fmla="*/ 10000 h 10699"/>
                  <a:gd name="connsiteX1" fmla="*/ 0 w 13124"/>
                  <a:gd name="connsiteY1" fmla="*/ 10699 h 10699"/>
                  <a:gd name="connsiteX2" fmla="*/ 13124 w 13124"/>
                  <a:gd name="connsiteY2" fmla="*/ 0 h 10699"/>
                  <a:gd name="connsiteX0" fmla="*/ 0 w 13043"/>
                  <a:gd name="connsiteY0" fmla="*/ 10000 h 340692"/>
                  <a:gd name="connsiteX1" fmla="*/ 9484 w 13043"/>
                  <a:gd name="connsiteY1" fmla="*/ 340692 h 340692"/>
                  <a:gd name="connsiteX2" fmla="*/ 13043 w 13043"/>
                  <a:gd name="connsiteY2" fmla="*/ 0 h 340692"/>
                  <a:gd name="connsiteX0" fmla="*/ 0 w 17391"/>
                  <a:gd name="connsiteY0" fmla="*/ 149997 h 340692"/>
                  <a:gd name="connsiteX1" fmla="*/ 13832 w 17391"/>
                  <a:gd name="connsiteY1" fmla="*/ 340692 h 340692"/>
                  <a:gd name="connsiteX2" fmla="*/ 17391 w 17391"/>
                  <a:gd name="connsiteY2" fmla="*/ 0 h 340692"/>
                  <a:gd name="connsiteX0" fmla="*/ 0 w 17391"/>
                  <a:gd name="connsiteY0" fmla="*/ 149997 h 149997"/>
                  <a:gd name="connsiteX1" fmla="*/ 789 w 17391"/>
                  <a:gd name="connsiteY1" fmla="*/ 10699 h 149997"/>
                  <a:gd name="connsiteX2" fmla="*/ 17391 w 17391"/>
                  <a:gd name="connsiteY2" fmla="*/ 0 h 149997"/>
                  <a:gd name="connsiteX0" fmla="*/ 0 w 17391"/>
                  <a:gd name="connsiteY0" fmla="*/ 149997 h 149997"/>
                  <a:gd name="connsiteX1" fmla="*/ 5137 w 17391"/>
                  <a:gd name="connsiteY1" fmla="*/ 30699 h 149997"/>
                  <a:gd name="connsiteX2" fmla="*/ 17391 w 17391"/>
                  <a:gd name="connsiteY2" fmla="*/ 0 h 149997"/>
                  <a:gd name="connsiteX0" fmla="*/ 0 w 18695"/>
                  <a:gd name="connsiteY0" fmla="*/ 119998 h 119998"/>
                  <a:gd name="connsiteX1" fmla="*/ 6441 w 18695"/>
                  <a:gd name="connsiteY1" fmla="*/ 30699 h 119998"/>
                  <a:gd name="connsiteX2" fmla="*/ 18695 w 18695"/>
                  <a:gd name="connsiteY2" fmla="*/ 0 h 119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695" h="119998">
                    <a:moveTo>
                      <a:pt x="0" y="119998"/>
                    </a:moveTo>
                    <a:lnTo>
                      <a:pt x="6441" y="30699"/>
                    </a:lnTo>
                    <a:cubicBezTo>
                      <a:pt x="10870" y="26667"/>
                      <a:pt x="14347" y="3333"/>
                      <a:pt x="18695" y="0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  <a:tailEnd type="triangle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8" name="Oval 11">
                <a:extLst>
                  <a:ext uri="{FF2B5EF4-FFF2-40B4-BE49-F238E27FC236}">
                    <a16:creationId xmlns:a16="http://schemas.microsoft.com/office/drawing/2014/main" id="{8C6C93B4-BD93-4758-B196-BFD34AA80A1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619611" y="1343643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9" name="Oval 11">
                <a:extLst>
                  <a:ext uri="{FF2B5EF4-FFF2-40B4-BE49-F238E27FC236}">
                    <a16:creationId xmlns:a16="http://schemas.microsoft.com/office/drawing/2014/main" id="{7CED53B9-5A1A-4654-B022-E25FA886F0E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410881" y="5161980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0" name="Oval 11">
                <a:extLst>
                  <a:ext uri="{FF2B5EF4-FFF2-40B4-BE49-F238E27FC236}">
                    <a16:creationId xmlns:a16="http://schemas.microsoft.com/office/drawing/2014/main" id="{87D510F6-2571-4A1C-8314-4E60A053DC8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04978" y="1843070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1" name="Oval 11">
                <a:extLst>
                  <a:ext uri="{FF2B5EF4-FFF2-40B4-BE49-F238E27FC236}">
                    <a16:creationId xmlns:a16="http://schemas.microsoft.com/office/drawing/2014/main" id="{0FFEF132-1D90-4C99-B309-67A3119624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51193" y="1559962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2" name="Oval 11">
                <a:extLst>
                  <a:ext uri="{FF2B5EF4-FFF2-40B4-BE49-F238E27FC236}">
                    <a16:creationId xmlns:a16="http://schemas.microsoft.com/office/drawing/2014/main" id="{D5B94C11-56D8-40A2-B36C-965295B2B5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695424" y="1290263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3" name="Oval 11">
                <a:extLst>
                  <a:ext uri="{FF2B5EF4-FFF2-40B4-BE49-F238E27FC236}">
                    <a16:creationId xmlns:a16="http://schemas.microsoft.com/office/drawing/2014/main" id="{CDFD83FB-E844-46D9-8DF4-C7DC89601C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43169" y="1462248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4" name="Figura a mano libera 134">
                <a:extLst>
                  <a:ext uri="{FF2B5EF4-FFF2-40B4-BE49-F238E27FC236}">
                    <a16:creationId xmlns:a16="http://schemas.microsoft.com/office/drawing/2014/main" id="{B1816046-2C9E-429A-9241-D5098FE16DC9}"/>
                  </a:ext>
                </a:extLst>
              </p:cNvPr>
              <p:cNvSpPr/>
              <p:nvPr/>
            </p:nvSpPr>
            <p:spPr>
              <a:xfrm>
                <a:off x="2458654" y="2436703"/>
                <a:ext cx="775692" cy="856800"/>
              </a:xfrm>
              <a:custGeom>
                <a:avLst/>
                <a:gdLst>
                  <a:gd name="connsiteX0" fmla="*/ 0 w 1101969"/>
                  <a:gd name="connsiteY0" fmla="*/ 0 h 1214288"/>
                  <a:gd name="connsiteX1" fmla="*/ 156308 w 1101969"/>
                  <a:gd name="connsiteY1" fmla="*/ 70338 h 1214288"/>
                  <a:gd name="connsiteX2" fmla="*/ 304800 w 1101969"/>
                  <a:gd name="connsiteY2" fmla="*/ 156307 h 1214288"/>
                  <a:gd name="connsiteX3" fmla="*/ 492369 w 1101969"/>
                  <a:gd name="connsiteY3" fmla="*/ 562707 h 1214288"/>
                  <a:gd name="connsiteX4" fmla="*/ 617416 w 1101969"/>
                  <a:gd name="connsiteY4" fmla="*/ 789354 h 1214288"/>
                  <a:gd name="connsiteX5" fmla="*/ 844062 w 1101969"/>
                  <a:gd name="connsiteY5" fmla="*/ 969107 h 1214288"/>
                  <a:gd name="connsiteX6" fmla="*/ 1016000 w 1101969"/>
                  <a:gd name="connsiteY6" fmla="*/ 1180123 h 1214288"/>
                  <a:gd name="connsiteX7" fmla="*/ 1101969 w 1101969"/>
                  <a:gd name="connsiteY7" fmla="*/ 1211384 h 1214288"/>
                  <a:gd name="connsiteX0" fmla="*/ 0 w 945661"/>
                  <a:gd name="connsiteY0" fmla="*/ 0 h 1143950"/>
                  <a:gd name="connsiteX1" fmla="*/ 148492 w 945661"/>
                  <a:gd name="connsiteY1" fmla="*/ 85969 h 1143950"/>
                  <a:gd name="connsiteX2" fmla="*/ 336061 w 945661"/>
                  <a:gd name="connsiteY2" fmla="*/ 492369 h 1143950"/>
                  <a:gd name="connsiteX3" fmla="*/ 461108 w 945661"/>
                  <a:gd name="connsiteY3" fmla="*/ 719016 h 1143950"/>
                  <a:gd name="connsiteX4" fmla="*/ 687754 w 945661"/>
                  <a:gd name="connsiteY4" fmla="*/ 898769 h 1143950"/>
                  <a:gd name="connsiteX5" fmla="*/ 859692 w 945661"/>
                  <a:gd name="connsiteY5" fmla="*/ 1109785 h 1143950"/>
                  <a:gd name="connsiteX6" fmla="*/ 945661 w 945661"/>
                  <a:gd name="connsiteY6" fmla="*/ 1141046 h 1143950"/>
                  <a:gd name="connsiteX0" fmla="*/ 0 w 797169"/>
                  <a:gd name="connsiteY0" fmla="*/ 0 h 1057981"/>
                  <a:gd name="connsiteX1" fmla="*/ 187569 w 797169"/>
                  <a:gd name="connsiteY1" fmla="*/ 406400 h 1057981"/>
                  <a:gd name="connsiteX2" fmla="*/ 312616 w 797169"/>
                  <a:gd name="connsiteY2" fmla="*/ 633047 h 1057981"/>
                  <a:gd name="connsiteX3" fmla="*/ 539262 w 797169"/>
                  <a:gd name="connsiteY3" fmla="*/ 812800 h 1057981"/>
                  <a:gd name="connsiteX4" fmla="*/ 711200 w 797169"/>
                  <a:gd name="connsiteY4" fmla="*/ 1023816 h 1057981"/>
                  <a:gd name="connsiteX5" fmla="*/ 797169 w 797169"/>
                  <a:gd name="connsiteY5" fmla="*/ 1055077 h 1057981"/>
                  <a:gd name="connsiteX0" fmla="*/ 0 w 664308"/>
                  <a:gd name="connsiteY0" fmla="*/ 0 h 745366"/>
                  <a:gd name="connsiteX1" fmla="*/ 54708 w 664308"/>
                  <a:gd name="connsiteY1" fmla="*/ 93785 h 745366"/>
                  <a:gd name="connsiteX2" fmla="*/ 179755 w 664308"/>
                  <a:gd name="connsiteY2" fmla="*/ 320432 h 745366"/>
                  <a:gd name="connsiteX3" fmla="*/ 406401 w 664308"/>
                  <a:gd name="connsiteY3" fmla="*/ 500185 h 745366"/>
                  <a:gd name="connsiteX4" fmla="*/ 578339 w 664308"/>
                  <a:gd name="connsiteY4" fmla="*/ 711201 h 745366"/>
                  <a:gd name="connsiteX5" fmla="*/ 664308 w 664308"/>
                  <a:gd name="connsiteY5" fmla="*/ 742462 h 745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4308" h="745366">
                    <a:moveTo>
                      <a:pt x="0" y="0"/>
                    </a:moveTo>
                    <a:cubicBezTo>
                      <a:pt x="56010" y="82061"/>
                      <a:pt x="24749" y="40380"/>
                      <a:pt x="54708" y="93785"/>
                    </a:cubicBezTo>
                    <a:cubicBezTo>
                      <a:pt x="84667" y="147190"/>
                      <a:pt x="121140" y="252699"/>
                      <a:pt x="179755" y="320432"/>
                    </a:cubicBezTo>
                    <a:cubicBezTo>
                      <a:pt x="238370" y="388165"/>
                      <a:pt x="339970" y="435057"/>
                      <a:pt x="406401" y="500185"/>
                    </a:cubicBezTo>
                    <a:cubicBezTo>
                      <a:pt x="472832" y="565313"/>
                      <a:pt x="535355" y="670822"/>
                      <a:pt x="578339" y="711201"/>
                    </a:cubicBezTo>
                    <a:cubicBezTo>
                      <a:pt x="621323" y="751580"/>
                      <a:pt x="642815" y="747021"/>
                      <a:pt x="664308" y="742462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5" name="Rettangolo 344">
                <a:extLst>
                  <a:ext uri="{FF2B5EF4-FFF2-40B4-BE49-F238E27FC236}">
                    <a16:creationId xmlns:a16="http://schemas.microsoft.com/office/drawing/2014/main" id="{86A8A040-3FAF-4F67-9B12-BBC53890ADF3}"/>
                  </a:ext>
                </a:extLst>
              </p:cNvPr>
              <p:cNvSpPr/>
              <p:nvPr/>
            </p:nvSpPr>
            <p:spPr>
              <a:xfrm>
                <a:off x="2256932" y="2447111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isa</a:t>
                </a:r>
              </a:p>
            </p:txBody>
          </p:sp>
          <p:sp>
            <p:nvSpPr>
              <p:cNvPr id="346" name="Figura a mano libera 136">
                <a:extLst>
                  <a:ext uri="{FF2B5EF4-FFF2-40B4-BE49-F238E27FC236}">
                    <a16:creationId xmlns:a16="http://schemas.microsoft.com/office/drawing/2014/main" id="{72805624-7016-4AA2-BFF3-741B59BE4620}"/>
                  </a:ext>
                </a:extLst>
              </p:cNvPr>
              <p:cNvSpPr/>
              <p:nvPr/>
            </p:nvSpPr>
            <p:spPr>
              <a:xfrm>
                <a:off x="1936951" y="1907955"/>
                <a:ext cx="511043" cy="494108"/>
              </a:xfrm>
              <a:custGeom>
                <a:avLst/>
                <a:gdLst>
                  <a:gd name="connsiteX0" fmla="*/ 0 w 1101969"/>
                  <a:gd name="connsiteY0" fmla="*/ 0 h 1214288"/>
                  <a:gd name="connsiteX1" fmla="*/ 156308 w 1101969"/>
                  <a:gd name="connsiteY1" fmla="*/ 70338 h 1214288"/>
                  <a:gd name="connsiteX2" fmla="*/ 304800 w 1101969"/>
                  <a:gd name="connsiteY2" fmla="*/ 156307 h 1214288"/>
                  <a:gd name="connsiteX3" fmla="*/ 492369 w 1101969"/>
                  <a:gd name="connsiteY3" fmla="*/ 562707 h 1214288"/>
                  <a:gd name="connsiteX4" fmla="*/ 617416 w 1101969"/>
                  <a:gd name="connsiteY4" fmla="*/ 789354 h 1214288"/>
                  <a:gd name="connsiteX5" fmla="*/ 844062 w 1101969"/>
                  <a:gd name="connsiteY5" fmla="*/ 969107 h 1214288"/>
                  <a:gd name="connsiteX6" fmla="*/ 1016000 w 1101969"/>
                  <a:gd name="connsiteY6" fmla="*/ 1180123 h 1214288"/>
                  <a:gd name="connsiteX7" fmla="*/ 1101969 w 1101969"/>
                  <a:gd name="connsiteY7" fmla="*/ 1211384 h 1214288"/>
                  <a:gd name="connsiteX0" fmla="*/ 0 w 1016000"/>
                  <a:gd name="connsiteY0" fmla="*/ 0 h 1180123"/>
                  <a:gd name="connsiteX1" fmla="*/ 156308 w 1016000"/>
                  <a:gd name="connsiteY1" fmla="*/ 70338 h 1180123"/>
                  <a:gd name="connsiteX2" fmla="*/ 304800 w 1016000"/>
                  <a:gd name="connsiteY2" fmla="*/ 156307 h 1180123"/>
                  <a:gd name="connsiteX3" fmla="*/ 492369 w 1016000"/>
                  <a:gd name="connsiteY3" fmla="*/ 562707 h 1180123"/>
                  <a:gd name="connsiteX4" fmla="*/ 617416 w 1016000"/>
                  <a:gd name="connsiteY4" fmla="*/ 789354 h 1180123"/>
                  <a:gd name="connsiteX5" fmla="*/ 844062 w 1016000"/>
                  <a:gd name="connsiteY5" fmla="*/ 969107 h 1180123"/>
                  <a:gd name="connsiteX6" fmla="*/ 1016000 w 1016000"/>
                  <a:gd name="connsiteY6" fmla="*/ 1180123 h 1180123"/>
                  <a:gd name="connsiteX0" fmla="*/ 0 w 844062"/>
                  <a:gd name="connsiteY0" fmla="*/ 0 h 969107"/>
                  <a:gd name="connsiteX1" fmla="*/ 156308 w 844062"/>
                  <a:gd name="connsiteY1" fmla="*/ 70338 h 969107"/>
                  <a:gd name="connsiteX2" fmla="*/ 304800 w 844062"/>
                  <a:gd name="connsiteY2" fmla="*/ 156307 h 969107"/>
                  <a:gd name="connsiteX3" fmla="*/ 492369 w 844062"/>
                  <a:gd name="connsiteY3" fmla="*/ 562707 h 969107"/>
                  <a:gd name="connsiteX4" fmla="*/ 617416 w 844062"/>
                  <a:gd name="connsiteY4" fmla="*/ 789354 h 969107"/>
                  <a:gd name="connsiteX5" fmla="*/ 844062 w 844062"/>
                  <a:gd name="connsiteY5" fmla="*/ 969107 h 969107"/>
                  <a:gd name="connsiteX0" fmla="*/ 0 w 617416"/>
                  <a:gd name="connsiteY0" fmla="*/ 0 h 789354"/>
                  <a:gd name="connsiteX1" fmla="*/ 156308 w 617416"/>
                  <a:gd name="connsiteY1" fmla="*/ 70338 h 789354"/>
                  <a:gd name="connsiteX2" fmla="*/ 304800 w 617416"/>
                  <a:gd name="connsiteY2" fmla="*/ 156307 h 789354"/>
                  <a:gd name="connsiteX3" fmla="*/ 492369 w 617416"/>
                  <a:gd name="connsiteY3" fmla="*/ 562707 h 789354"/>
                  <a:gd name="connsiteX4" fmla="*/ 617416 w 617416"/>
                  <a:gd name="connsiteY4" fmla="*/ 789354 h 789354"/>
                  <a:gd name="connsiteX0" fmla="*/ 0 w 492369"/>
                  <a:gd name="connsiteY0" fmla="*/ 0 h 562707"/>
                  <a:gd name="connsiteX1" fmla="*/ 156308 w 492369"/>
                  <a:gd name="connsiteY1" fmla="*/ 70338 h 562707"/>
                  <a:gd name="connsiteX2" fmla="*/ 304800 w 492369"/>
                  <a:gd name="connsiteY2" fmla="*/ 156307 h 562707"/>
                  <a:gd name="connsiteX3" fmla="*/ 492369 w 492369"/>
                  <a:gd name="connsiteY3" fmla="*/ 562707 h 562707"/>
                  <a:gd name="connsiteX0" fmla="*/ 0 w 437661"/>
                  <a:gd name="connsiteY0" fmla="*/ 0 h 429845"/>
                  <a:gd name="connsiteX1" fmla="*/ 156308 w 437661"/>
                  <a:gd name="connsiteY1" fmla="*/ 70338 h 429845"/>
                  <a:gd name="connsiteX2" fmla="*/ 304800 w 437661"/>
                  <a:gd name="connsiteY2" fmla="*/ 156307 h 429845"/>
                  <a:gd name="connsiteX3" fmla="*/ 437661 w 437661"/>
                  <a:gd name="connsiteY3" fmla="*/ 429845 h 429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7661" h="429845">
                    <a:moveTo>
                      <a:pt x="0" y="0"/>
                    </a:moveTo>
                    <a:cubicBezTo>
                      <a:pt x="52754" y="22143"/>
                      <a:pt x="105508" y="44287"/>
                      <a:pt x="156308" y="70338"/>
                    </a:cubicBezTo>
                    <a:cubicBezTo>
                      <a:pt x="207108" y="96389"/>
                      <a:pt x="257908" y="96389"/>
                      <a:pt x="304800" y="156307"/>
                    </a:cubicBezTo>
                    <a:cubicBezTo>
                      <a:pt x="351692" y="216225"/>
                      <a:pt x="385558" y="324337"/>
                      <a:pt x="437661" y="429845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7" name="Figura a mano libera 137">
                <a:extLst>
                  <a:ext uri="{FF2B5EF4-FFF2-40B4-BE49-F238E27FC236}">
                    <a16:creationId xmlns:a16="http://schemas.microsoft.com/office/drawing/2014/main" id="{2A0EF4C1-CB58-4C37-B482-4A80CB582665}"/>
                  </a:ext>
                </a:extLst>
              </p:cNvPr>
              <p:cNvSpPr/>
              <p:nvPr/>
            </p:nvSpPr>
            <p:spPr>
              <a:xfrm>
                <a:off x="2476903" y="2319912"/>
                <a:ext cx="365032" cy="63272"/>
              </a:xfrm>
              <a:custGeom>
                <a:avLst/>
                <a:gdLst>
                  <a:gd name="connsiteX0" fmla="*/ 0 w 312616"/>
                  <a:gd name="connsiteY0" fmla="*/ 54707 h 55043"/>
                  <a:gd name="connsiteX1" fmla="*/ 171939 w 312616"/>
                  <a:gd name="connsiteY1" fmla="*/ 46892 h 55043"/>
                  <a:gd name="connsiteX2" fmla="*/ 312616 w 312616"/>
                  <a:gd name="connsiteY2" fmla="*/ 0 h 55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12616" h="55043">
                    <a:moveTo>
                      <a:pt x="0" y="54707"/>
                    </a:moveTo>
                    <a:cubicBezTo>
                      <a:pt x="59918" y="55358"/>
                      <a:pt x="119836" y="56010"/>
                      <a:pt x="171939" y="46892"/>
                    </a:cubicBezTo>
                    <a:cubicBezTo>
                      <a:pt x="224042" y="37774"/>
                      <a:pt x="312616" y="0"/>
                      <a:pt x="312616" y="0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8" name="Oval 11">
                <a:extLst>
                  <a:ext uri="{FF2B5EF4-FFF2-40B4-BE49-F238E27FC236}">
                    <a16:creationId xmlns:a16="http://schemas.microsoft.com/office/drawing/2014/main" id="{3CA2B3CC-62C9-4EA7-9C82-A8923280E0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97725" y="2359917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9" name="Figura a mano libera 139">
                <a:extLst>
                  <a:ext uri="{FF2B5EF4-FFF2-40B4-BE49-F238E27FC236}">
                    <a16:creationId xmlns:a16="http://schemas.microsoft.com/office/drawing/2014/main" id="{FBD985C6-50D4-4F49-B9E2-9A9F2974EBBE}"/>
                  </a:ext>
                </a:extLst>
              </p:cNvPr>
              <p:cNvSpPr/>
              <p:nvPr/>
            </p:nvSpPr>
            <p:spPr>
              <a:xfrm>
                <a:off x="3213320" y="1100374"/>
                <a:ext cx="369261" cy="358479"/>
              </a:xfrm>
              <a:custGeom>
                <a:avLst/>
                <a:gdLst>
                  <a:gd name="connsiteX0" fmla="*/ 0 w 325370"/>
                  <a:gd name="connsiteY0" fmla="*/ 314150 h 314150"/>
                  <a:gd name="connsiteX1" fmla="*/ 72928 w 325370"/>
                  <a:gd name="connsiteY1" fmla="*/ 157075 h 314150"/>
                  <a:gd name="connsiteX2" fmla="*/ 140246 w 325370"/>
                  <a:gd name="connsiteY2" fmla="*/ 78538 h 314150"/>
                  <a:gd name="connsiteX3" fmla="*/ 325370 w 325370"/>
                  <a:gd name="connsiteY3" fmla="*/ 0 h 314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5370" h="314150">
                    <a:moveTo>
                      <a:pt x="0" y="314150"/>
                    </a:moveTo>
                    <a:cubicBezTo>
                      <a:pt x="24777" y="255247"/>
                      <a:pt x="49554" y="196344"/>
                      <a:pt x="72928" y="157075"/>
                    </a:cubicBezTo>
                    <a:cubicBezTo>
                      <a:pt x="96302" y="117806"/>
                      <a:pt x="98172" y="104717"/>
                      <a:pt x="140246" y="78538"/>
                    </a:cubicBezTo>
                    <a:cubicBezTo>
                      <a:pt x="182320" y="52359"/>
                      <a:pt x="253845" y="26179"/>
                      <a:pt x="325370" y="0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0" name="Oval 11">
                <a:extLst>
                  <a:ext uri="{FF2B5EF4-FFF2-40B4-BE49-F238E27FC236}">
                    <a16:creationId xmlns:a16="http://schemas.microsoft.com/office/drawing/2014/main" id="{0C13D925-5624-4685-8471-AFBEA933DF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12894" y="1060420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1" name="Oval 11">
                <a:extLst>
                  <a:ext uri="{FF2B5EF4-FFF2-40B4-BE49-F238E27FC236}">
                    <a16:creationId xmlns:a16="http://schemas.microsoft.com/office/drawing/2014/main" id="{6377839E-A9E5-4FEF-91B7-459F2C75A8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83132" y="1456503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2" name="Rettangolo 351">
                <a:extLst>
                  <a:ext uri="{FF2B5EF4-FFF2-40B4-BE49-F238E27FC236}">
                    <a16:creationId xmlns:a16="http://schemas.microsoft.com/office/drawing/2014/main" id="{7973AE23-7E4E-44E7-9DC3-A34C7EE6BA75}"/>
                  </a:ext>
                </a:extLst>
              </p:cNvPr>
              <p:cNvSpPr/>
              <p:nvPr/>
            </p:nvSpPr>
            <p:spPr>
              <a:xfrm>
                <a:off x="3623037" y="1019198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Udine</a:t>
                </a:r>
              </a:p>
            </p:txBody>
          </p:sp>
          <p:sp>
            <p:nvSpPr>
              <p:cNvPr id="353" name="Rettangolo 352">
                <a:extLst>
                  <a:ext uri="{FF2B5EF4-FFF2-40B4-BE49-F238E27FC236}">
                    <a16:creationId xmlns:a16="http://schemas.microsoft.com/office/drawing/2014/main" id="{A889192B-9AA8-4A79-892E-2AAC1E9B5311}"/>
                  </a:ext>
                </a:extLst>
              </p:cNvPr>
              <p:cNvSpPr/>
              <p:nvPr/>
            </p:nvSpPr>
            <p:spPr>
              <a:xfrm>
                <a:off x="4767197" y="3849972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atera</a:t>
                </a:r>
              </a:p>
            </p:txBody>
          </p:sp>
          <p:sp>
            <p:nvSpPr>
              <p:cNvPr id="354" name="Figura a mano libera 144">
                <a:extLst>
                  <a:ext uri="{FF2B5EF4-FFF2-40B4-BE49-F238E27FC236}">
                    <a16:creationId xmlns:a16="http://schemas.microsoft.com/office/drawing/2014/main" id="{84E60CF5-D86B-4013-B8F6-0A542BF4C26C}"/>
                  </a:ext>
                </a:extLst>
              </p:cNvPr>
              <p:cNvSpPr/>
              <p:nvPr/>
            </p:nvSpPr>
            <p:spPr>
              <a:xfrm>
                <a:off x="4420985" y="4033887"/>
                <a:ext cx="301151" cy="19696"/>
              </a:xfrm>
              <a:custGeom>
                <a:avLst/>
                <a:gdLst>
                  <a:gd name="connsiteX0" fmla="*/ 0 w 257908"/>
                  <a:gd name="connsiteY0" fmla="*/ 17135 h 17135"/>
                  <a:gd name="connsiteX1" fmla="*/ 156308 w 257908"/>
                  <a:gd name="connsiteY1" fmla="*/ 1504 h 17135"/>
                  <a:gd name="connsiteX2" fmla="*/ 257908 w 257908"/>
                  <a:gd name="connsiteY2" fmla="*/ 1504 h 17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7908" h="17135">
                    <a:moveTo>
                      <a:pt x="0" y="17135"/>
                    </a:moveTo>
                    <a:cubicBezTo>
                      <a:pt x="56661" y="10622"/>
                      <a:pt x="113323" y="4109"/>
                      <a:pt x="156308" y="1504"/>
                    </a:cubicBezTo>
                    <a:cubicBezTo>
                      <a:pt x="199293" y="-1101"/>
                      <a:pt x="228600" y="201"/>
                      <a:pt x="257908" y="1504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5" name="Rettangolo 354">
                <a:extLst>
                  <a:ext uri="{FF2B5EF4-FFF2-40B4-BE49-F238E27FC236}">
                    <a16:creationId xmlns:a16="http://schemas.microsoft.com/office/drawing/2014/main" id="{9E9768D6-4DC6-4E8D-8E61-04ACA63346DB}"/>
                  </a:ext>
                </a:extLst>
              </p:cNvPr>
              <p:cNvSpPr/>
              <p:nvPr/>
            </p:nvSpPr>
            <p:spPr>
              <a:xfrm>
                <a:off x="3393371" y="2858526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’Aquila</a:t>
                </a:r>
              </a:p>
            </p:txBody>
          </p:sp>
          <p:sp>
            <p:nvSpPr>
              <p:cNvPr id="356" name="Figura a mano libera 146">
                <a:extLst>
                  <a:ext uri="{FF2B5EF4-FFF2-40B4-BE49-F238E27FC236}">
                    <a16:creationId xmlns:a16="http://schemas.microsoft.com/office/drawing/2014/main" id="{2430ED36-3828-497E-9D12-597EAAA185CA}"/>
                  </a:ext>
                </a:extLst>
              </p:cNvPr>
              <p:cNvSpPr/>
              <p:nvPr/>
            </p:nvSpPr>
            <p:spPr>
              <a:xfrm>
                <a:off x="3106584" y="2706214"/>
                <a:ext cx="237271" cy="62887"/>
              </a:xfrm>
              <a:custGeom>
                <a:avLst/>
                <a:gdLst>
                  <a:gd name="connsiteX0" fmla="*/ 0 w 156308"/>
                  <a:gd name="connsiteY0" fmla="*/ 0 h 54708"/>
                  <a:gd name="connsiteX1" fmla="*/ 93785 w 156308"/>
                  <a:gd name="connsiteY1" fmla="*/ 39077 h 54708"/>
                  <a:gd name="connsiteX2" fmla="*/ 156308 w 156308"/>
                  <a:gd name="connsiteY2" fmla="*/ 54708 h 54708"/>
                  <a:gd name="connsiteX0" fmla="*/ 0 w 203200"/>
                  <a:gd name="connsiteY0" fmla="*/ 0 h 54708"/>
                  <a:gd name="connsiteX1" fmla="*/ 93785 w 203200"/>
                  <a:gd name="connsiteY1" fmla="*/ 39077 h 54708"/>
                  <a:gd name="connsiteX2" fmla="*/ 203200 w 203200"/>
                  <a:gd name="connsiteY2" fmla="*/ 54708 h 54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3200" h="54708">
                    <a:moveTo>
                      <a:pt x="0" y="0"/>
                    </a:moveTo>
                    <a:cubicBezTo>
                      <a:pt x="33867" y="14979"/>
                      <a:pt x="59918" y="29959"/>
                      <a:pt x="93785" y="39077"/>
                    </a:cubicBezTo>
                    <a:cubicBezTo>
                      <a:pt x="127652" y="48195"/>
                      <a:pt x="184964" y="51451"/>
                      <a:pt x="203200" y="54708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7" name="Figura a mano libera 147">
                <a:extLst>
                  <a:ext uri="{FF2B5EF4-FFF2-40B4-BE49-F238E27FC236}">
                    <a16:creationId xmlns:a16="http://schemas.microsoft.com/office/drawing/2014/main" id="{53F226CE-8CF1-4314-9B35-82DAD11AFC44}"/>
                  </a:ext>
                </a:extLst>
              </p:cNvPr>
              <p:cNvSpPr/>
              <p:nvPr/>
            </p:nvSpPr>
            <p:spPr>
              <a:xfrm>
                <a:off x="2883241" y="2325350"/>
                <a:ext cx="362207" cy="941754"/>
              </a:xfrm>
              <a:custGeom>
                <a:avLst/>
                <a:gdLst>
                  <a:gd name="connsiteX0" fmla="*/ 0 w 371475"/>
                  <a:gd name="connsiteY0" fmla="*/ 0 h 819150"/>
                  <a:gd name="connsiteX1" fmla="*/ 209550 w 371475"/>
                  <a:gd name="connsiteY1" fmla="*/ 314325 h 819150"/>
                  <a:gd name="connsiteX2" fmla="*/ 285750 w 371475"/>
                  <a:gd name="connsiteY2" fmla="*/ 514350 h 819150"/>
                  <a:gd name="connsiteX3" fmla="*/ 371475 w 371475"/>
                  <a:gd name="connsiteY3" fmla="*/ 81915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1475" h="819150">
                    <a:moveTo>
                      <a:pt x="0" y="0"/>
                    </a:moveTo>
                    <a:cubicBezTo>
                      <a:pt x="80962" y="114300"/>
                      <a:pt x="161925" y="228600"/>
                      <a:pt x="209550" y="314325"/>
                    </a:cubicBezTo>
                    <a:cubicBezTo>
                      <a:pt x="257175" y="400050"/>
                      <a:pt x="258763" y="430213"/>
                      <a:pt x="285750" y="514350"/>
                    </a:cubicBezTo>
                    <a:cubicBezTo>
                      <a:pt x="312737" y="598487"/>
                      <a:pt x="358775" y="781050"/>
                      <a:pt x="371475" y="819150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8" name="Oval 11">
                <a:extLst>
                  <a:ext uri="{FF2B5EF4-FFF2-40B4-BE49-F238E27FC236}">
                    <a16:creationId xmlns:a16="http://schemas.microsoft.com/office/drawing/2014/main" id="{217A8568-2676-4E2B-B384-88D74775BD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817535" y="2232500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9" name="Figura a mano libera 149">
                <a:extLst>
                  <a:ext uri="{FF2B5EF4-FFF2-40B4-BE49-F238E27FC236}">
                    <a16:creationId xmlns:a16="http://schemas.microsoft.com/office/drawing/2014/main" id="{5E26AA26-975F-447E-A303-2553473DEA18}"/>
                  </a:ext>
                </a:extLst>
              </p:cNvPr>
              <p:cNvSpPr/>
              <p:nvPr/>
            </p:nvSpPr>
            <p:spPr>
              <a:xfrm>
                <a:off x="3258436" y="2391782"/>
                <a:ext cx="377444" cy="880413"/>
              </a:xfrm>
              <a:custGeom>
                <a:avLst/>
                <a:gdLst>
                  <a:gd name="connsiteX0" fmla="*/ 11186 w 300355"/>
                  <a:gd name="connsiteY0" fmla="*/ 773724 h 773724"/>
                  <a:gd name="connsiteX1" fmla="*/ 34632 w 300355"/>
                  <a:gd name="connsiteY1" fmla="*/ 336062 h 773724"/>
                  <a:gd name="connsiteX2" fmla="*/ 300355 w 300355"/>
                  <a:gd name="connsiteY2" fmla="*/ 0 h 773724"/>
                  <a:gd name="connsiteX0" fmla="*/ 1692 w 290861"/>
                  <a:gd name="connsiteY0" fmla="*/ 773724 h 773724"/>
                  <a:gd name="connsiteX1" fmla="*/ 95477 w 290861"/>
                  <a:gd name="connsiteY1" fmla="*/ 359509 h 773724"/>
                  <a:gd name="connsiteX2" fmla="*/ 290861 w 290861"/>
                  <a:gd name="connsiteY2" fmla="*/ 0 h 773724"/>
                  <a:gd name="connsiteX0" fmla="*/ 1823 w 322254"/>
                  <a:gd name="connsiteY0" fmla="*/ 765908 h 765908"/>
                  <a:gd name="connsiteX1" fmla="*/ 95608 w 322254"/>
                  <a:gd name="connsiteY1" fmla="*/ 351693 h 765908"/>
                  <a:gd name="connsiteX2" fmla="*/ 322254 w 322254"/>
                  <a:gd name="connsiteY2" fmla="*/ 0 h 765908"/>
                  <a:gd name="connsiteX0" fmla="*/ 2815 w 323246"/>
                  <a:gd name="connsiteY0" fmla="*/ 765908 h 765908"/>
                  <a:gd name="connsiteX1" fmla="*/ 73153 w 323246"/>
                  <a:gd name="connsiteY1" fmla="*/ 351693 h 765908"/>
                  <a:gd name="connsiteX2" fmla="*/ 323246 w 323246"/>
                  <a:gd name="connsiteY2" fmla="*/ 0 h 765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3246" h="765908">
                    <a:moveTo>
                      <a:pt x="2815" y="765908"/>
                    </a:moveTo>
                    <a:cubicBezTo>
                      <a:pt x="-9560" y="611554"/>
                      <a:pt x="19748" y="479344"/>
                      <a:pt x="73153" y="351693"/>
                    </a:cubicBezTo>
                    <a:cubicBezTo>
                      <a:pt x="126558" y="224042"/>
                      <a:pt x="214482" y="103554"/>
                      <a:pt x="323246" y="0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0" name="Rettangolo 359">
                <a:extLst>
                  <a:ext uri="{FF2B5EF4-FFF2-40B4-BE49-F238E27FC236}">
                    <a16:creationId xmlns:a16="http://schemas.microsoft.com/office/drawing/2014/main" id="{5712A278-4CDB-46F0-AA99-776A144E7A5D}"/>
                  </a:ext>
                </a:extLst>
              </p:cNvPr>
              <p:cNvSpPr/>
              <p:nvPr/>
            </p:nvSpPr>
            <p:spPr>
              <a:xfrm>
                <a:off x="3065162" y="2490626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erugia</a:t>
                </a:r>
              </a:p>
            </p:txBody>
          </p:sp>
          <p:sp>
            <p:nvSpPr>
              <p:cNvPr id="361" name="Oval 11">
                <a:extLst>
                  <a:ext uri="{FF2B5EF4-FFF2-40B4-BE49-F238E27FC236}">
                    <a16:creationId xmlns:a16="http://schemas.microsoft.com/office/drawing/2014/main" id="{B026B5B7-F703-45C8-8FAD-EC2B8F71CC1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76482" y="2666744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2" name="Rettangolo 361">
                <a:extLst>
                  <a:ext uri="{FF2B5EF4-FFF2-40B4-BE49-F238E27FC236}">
                    <a16:creationId xmlns:a16="http://schemas.microsoft.com/office/drawing/2014/main" id="{B3DBD639-2354-4869-80A8-7B1677D06494}"/>
                  </a:ext>
                </a:extLst>
              </p:cNvPr>
              <p:cNvSpPr/>
              <p:nvPr/>
            </p:nvSpPr>
            <p:spPr>
              <a:xfrm>
                <a:off x="2659879" y="1053518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rento</a:t>
                </a:r>
              </a:p>
            </p:txBody>
          </p:sp>
          <p:sp>
            <p:nvSpPr>
              <p:cNvPr id="363" name="Rettangolo 362">
                <a:extLst>
                  <a:ext uri="{FF2B5EF4-FFF2-40B4-BE49-F238E27FC236}">
                    <a16:creationId xmlns:a16="http://schemas.microsoft.com/office/drawing/2014/main" id="{67812C5D-E36E-4A6C-8623-C793CF4770AA}"/>
                  </a:ext>
                </a:extLst>
              </p:cNvPr>
              <p:cNvSpPr/>
              <p:nvPr/>
            </p:nvSpPr>
            <p:spPr>
              <a:xfrm>
                <a:off x="2771122" y="841477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olzano</a:t>
                </a:r>
              </a:p>
            </p:txBody>
          </p:sp>
          <p:sp>
            <p:nvSpPr>
              <p:cNvPr id="364" name="Oval 11">
                <a:extLst>
                  <a:ext uri="{FF2B5EF4-FFF2-40B4-BE49-F238E27FC236}">
                    <a16:creationId xmlns:a16="http://schemas.microsoft.com/office/drawing/2014/main" id="{97D822E1-F665-4F13-9844-2BC908A0A81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907458" y="4111696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5" name="Rettangolo 364">
                <a:extLst>
                  <a:ext uri="{FF2B5EF4-FFF2-40B4-BE49-F238E27FC236}">
                    <a16:creationId xmlns:a16="http://schemas.microsoft.com/office/drawing/2014/main" id="{C16028DC-18F9-4221-B4B3-89860B16C706}"/>
                  </a:ext>
                </a:extLst>
              </p:cNvPr>
              <p:cNvSpPr/>
              <p:nvPr/>
            </p:nvSpPr>
            <p:spPr>
              <a:xfrm>
                <a:off x="1135479" y="474607"/>
                <a:ext cx="1075475" cy="22852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nversa/Rotterdam</a:t>
                </a:r>
              </a:p>
            </p:txBody>
          </p:sp>
          <p:sp>
            <p:nvSpPr>
              <p:cNvPr id="366" name="Figura a mano libera 156">
                <a:extLst>
                  <a:ext uri="{FF2B5EF4-FFF2-40B4-BE49-F238E27FC236}">
                    <a16:creationId xmlns:a16="http://schemas.microsoft.com/office/drawing/2014/main" id="{913289DA-8EB7-476F-BDDF-86F59E5D96C8}"/>
                  </a:ext>
                </a:extLst>
              </p:cNvPr>
              <p:cNvSpPr/>
              <p:nvPr/>
            </p:nvSpPr>
            <p:spPr>
              <a:xfrm>
                <a:off x="3658345" y="3096693"/>
                <a:ext cx="18569" cy="91401"/>
              </a:xfrm>
              <a:custGeom>
                <a:avLst/>
                <a:gdLst>
                  <a:gd name="connsiteX0" fmla="*/ 0 w 15903"/>
                  <a:gd name="connsiteY0" fmla="*/ 0 h 79513"/>
                  <a:gd name="connsiteX1" fmla="*/ 15903 w 15903"/>
                  <a:gd name="connsiteY1" fmla="*/ 79513 h 79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903" h="79513">
                    <a:moveTo>
                      <a:pt x="0" y="0"/>
                    </a:moveTo>
                    <a:lnTo>
                      <a:pt x="15903" y="79513"/>
                    </a:ln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7" name="Oval 11">
                <a:extLst>
                  <a:ext uri="{FF2B5EF4-FFF2-40B4-BE49-F238E27FC236}">
                    <a16:creationId xmlns:a16="http://schemas.microsoft.com/office/drawing/2014/main" id="{F6C38C21-7519-4A55-BC7B-16C5CD80E5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28837" y="3012518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8" name="Figura a mano libera 158">
                <a:extLst>
                  <a:ext uri="{FF2B5EF4-FFF2-40B4-BE49-F238E27FC236}">
                    <a16:creationId xmlns:a16="http://schemas.microsoft.com/office/drawing/2014/main" id="{00B97262-5A41-40BD-8F2F-A187C05884AE}"/>
                  </a:ext>
                </a:extLst>
              </p:cNvPr>
              <p:cNvSpPr/>
              <p:nvPr/>
            </p:nvSpPr>
            <p:spPr>
              <a:xfrm>
                <a:off x="3289098" y="2966745"/>
                <a:ext cx="593176" cy="342010"/>
              </a:xfrm>
              <a:custGeom>
                <a:avLst/>
                <a:gdLst>
                  <a:gd name="connsiteX0" fmla="*/ 0 w 508000"/>
                  <a:gd name="connsiteY0" fmla="*/ 265724 h 265724"/>
                  <a:gd name="connsiteX1" fmla="*/ 234461 w 508000"/>
                  <a:gd name="connsiteY1" fmla="*/ 109416 h 265724"/>
                  <a:gd name="connsiteX2" fmla="*/ 508000 w 508000"/>
                  <a:gd name="connsiteY2" fmla="*/ 0 h 265724"/>
                  <a:gd name="connsiteX0" fmla="*/ 0 w 508000"/>
                  <a:gd name="connsiteY0" fmla="*/ 265724 h 265724"/>
                  <a:gd name="connsiteX1" fmla="*/ 282169 w 508000"/>
                  <a:gd name="connsiteY1" fmla="*/ 173026 h 265724"/>
                  <a:gd name="connsiteX2" fmla="*/ 508000 w 508000"/>
                  <a:gd name="connsiteY2" fmla="*/ 0 h 265724"/>
                  <a:gd name="connsiteX0" fmla="*/ 0 w 508000"/>
                  <a:gd name="connsiteY0" fmla="*/ 265724 h 265724"/>
                  <a:gd name="connsiteX1" fmla="*/ 329877 w 508000"/>
                  <a:gd name="connsiteY1" fmla="*/ 188928 h 265724"/>
                  <a:gd name="connsiteX2" fmla="*/ 508000 w 508000"/>
                  <a:gd name="connsiteY2" fmla="*/ 0 h 265724"/>
                  <a:gd name="connsiteX0" fmla="*/ 0 w 508000"/>
                  <a:gd name="connsiteY0" fmla="*/ 297529 h 297529"/>
                  <a:gd name="connsiteX1" fmla="*/ 329877 w 508000"/>
                  <a:gd name="connsiteY1" fmla="*/ 188928 h 297529"/>
                  <a:gd name="connsiteX2" fmla="*/ 508000 w 508000"/>
                  <a:gd name="connsiteY2" fmla="*/ 0 h 297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000" h="297529">
                    <a:moveTo>
                      <a:pt x="0" y="297529"/>
                    </a:moveTo>
                    <a:cubicBezTo>
                      <a:pt x="74897" y="241518"/>
                      <a:pt x="245210" y="233215"/>
                      <a:pt x="329877" y="188928"/>
                    </a:cubicBezTo>
                    <a:cubicBezTo>
                      <a:pt x="414544" y="144641"/>
                      <a:pt x="413564" y="32564"/>
                      <a:pt x="508000" y="0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9" name="Oval 11">
                <a:extLst>
                  <a:ext uri="{FF2B5EF4-FFF2-40B4-BE49-F238E27FC236}">
                    <a16:creationId xmlns:a16="http://schemas.microsoft.com/office/drawing/2014/main" id="{675C8C4D-595C-463C-999A-E14D3E3C7D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94793" y="3268116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0" name="Figura a mano libera 160">
                <a:extLst>
                  <a:ext uri="{FF2B5EF4-FFF2-40B4-BE49-F238E27FC236}">
                    <a16:creationId xmlns:a16="http://schemas.microsoft.com/office/drawing/2014/main" id="{A7562AE8-0416-4C67-8FFF-7AD602536D1B}"/>
                  </a:ext>
                </a:extLst>
              </p:cNvPr>
              <p:cNvSpPr/>
              <p:nvPr/>
            </p:nvSpPr>
            <p:spPr>
              <a:xfrm>
                <a:off x="4773981" y="4385438"/>
                <a:ext cx="128605" cy="172735"/>
              </a:xfrm>
              <a:custGeom>
                <a:avLst/>
                <a:gdLst>
                  <a:gd name="connsiteX0" fmla="*/ 39757 w 39757"/>
                  <a:gd name="connsiteY0" fmla="*/ 0 h 95416"/>
                  <a:gd name="connsiteX1" fmla="*/ 0 w 39757"/>
                  <a:gd name="connsiteY1" fmla="*/ 95416 h 95416"/>
                  <a:gd name="connsiteX2" fmla="*/ 0 w 39757"/>
                  <a:gd name="connsiteY2" fmla="*/ 95416 h 95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9757" h="95416">
                    <a:moveTo>
                      <a:pt x="39757" y="0"/>
                    </a:moveTo>
                    <a:lnTo>
                      <a:pt x="0" y="95416"/>
                    </a:lnTo>
                    <a:lnTo>
                      <a:pt x="0" y="95416"/>
                    </a:ln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1" name="Figura a mano libera 161">
                <a:extLst>
                  <a:ext uri="{FF2B5EF4-FFF2-40B4-BE49-F238E27FC236}">
                    <a16:creationId xmlns:a16="http://schemas.microsoft.com/office/drawing/2014/main" id="{4A058987-604F-441E-A9A6-86376C17865B}"/>
                  </a:ext>
                </a:extLst>
              </p:cNvPr>
              <p:cNvSpPr/>
              <p:nvPr/>
            </p:nvSpPr>
            <p:spPr>
              <a:xfrm>
                <a:off x="4258240" y="4005811"/>
                <a:ext cx="547462" cy="1248186"/>
              </a:xfrm>
              <a:custGeom>
                <a:avLst/>
                <a:gdLst>
                  <a:gd name="connsiteX0" fmla="*/ 0 w 518125"/>
                  <a:gd name="connsiteY0" fmla="*/ 0 h 1085850"/>
                  <a:gd name="connsiteX1" fmla="*/ 228600 w 518125"/>
                  <a:gd name="connsiteY1" fmla="*/ 104775 h 1085850"/>
                  <a:gd name="connsiteX2" fmla="*/ 400050 w 518125"/>
                  <a:gd name="connsiteY2" fmla="*/ 333375 h 1085850"/>
                  <a:gd name="connsiteX3" fmla="*/ 514350 w 518125"/>
                  <a:gd name="connsiteY3" fmla="*/ 647700 h 1085850"/>
                  <a:gd name="connsiteX4" fmla="*/ 466725 w 518125"/>
                  <a:gd name="connsiteY4" fmla="*/ 895350 h 1085850"/>
                  <a:gd name="connsiteX5" fmla="*/ 238125 w 518125"/>
                  <a:gd name="connsiteY5" fmla="*/ 1085850 h 1085850"/>
                  <a:gd name="connsiteX0" fmla="*/ 0 w 514673"/>
                  <a:gd name="connsiteY0" fmla="*/ 0 h 1085850"/>
                  <a:gd name="connsiteX1" fmla="*/ 228600 w 514673"/>
                  <a:gd name="connsiteY1" fmla="*/ 104775 h 1085850"/>
                  <a:gd name="connsiteX2" fmla="*/ 400050 w 514673"/>
                  <a:gd name="connsiteY2" fmla="*/ 333375 h 1085850"/>
                  <a:gd name="connsiteX3" fmla="*/ 514350 w 514673"/>
                  <a:gd name="connsiteY3" fmla="*/ 647700 h 1085850"/>
                  <a:gd name="connsiteX4" fmla="*/ 427648 w 514673"/>
                  <a:gd name="connsiteY4" fmla="*/ 864088 h 1085850"/>
                  <a:gd name="connsiteX5" fmla="*/ 238125 w 514673"/>
                  <a:gd name="connsiteY5" fmla="*/ 1085850 h 1085850"/>
                  <a:gd name="connsiteX0" fmla="*/ 0 w 506917"/>
                  <a:gd name="connsiteY0" fmla="*/ 0 h 1085850"/>
                  <a:gd name="connsiteX1" fmla="*/ 228600 w 506917"/>
                  <a:gd name="connsiteY1" fmla="*/ 104775 h 1085850"/>
                  <a:gd name="connsiteX2" fmla="*/ 400050 w 506917"/>
                  <a:gd name="connsiteY2" fmla="*/ 333375 h 1085850"/>
                  <a:gd name="connsiteX3" fmla="*/ 506534 w 506917"/>
                  <a:gd name="connsiteY3" fmla="*/ 624254 h 1085850"/>
                  <a:gd name="connsiteX4" fmla="*/ 427648 w 506917"/>
                  <a:gd name="connsiteY4" fmla="*/ 864088 h 1085850"/>
                  <a:gd name="connsiteX5" fmla="*/ 238125 w 506917"/>
                  <a:gd name="connsiteY5" fmla="*/ 1085850 h 1085850"/>
                  <a:gd name="connsiteX0" fmla="*/ 0 w 506591"/>
                  <a:gd name="connsiteY0" fmla="*/ 0 h 1085850"/>
                  <a:gd name="connsiteX1" fmla="*/ 228600 w 506591"/>
                  <a:gd name="connsiteY1" fmla="*/ 104775 h 1085850"/>
                  <a:gd name="connsiteX2" fmla="*/ 400050 w 506591"/>
                  <a:gd name="connsiteY2" fmla="*/ 333375 h 1085850"/>
                  <a:gd name="connsiteX3" fmla="*/ 506534 w 506591"/>
                  <a:gd name="connsiteY3" fmla="*/ 624254 h 1085850"/>
                  <a:gd name="connsiteX4" fmla="*/ 412018 w 506591"/>
                  <a:gd name="connsiteY4" fmla="*/ 840642 h 1085850"/>
                  <a:gd name="connsiteX5" fmla="*/ 238125 w 506591"/>
                  <a:gd name="connsiteY5" fmla="*/ 1085850 h 1085850"/>
                  <a:gd name="connsiteX0" fmla="*/ 0 w 507254"/>
                  <a:gd name="connsiteY0" fmla="*/ 0 h 1085850"/>
                  <a:gd name="connsiteX1" fmla="*/ 228600 w 507254"/>
                  <a:gd name="connsiteY1" fmla="*/ 104775 h 1085850"/>
                  <a:gd name="connsiteX2" fmla="*/ 400050 w 507254"/>
                  <a:gd name="connsiteY2" fmla="*/ 333375 h 1085850"/>
                  <a:gd name="connsiteX3" fmla="*/ 506534 w 507254"/>
                  <a:gd name="connsiteY3" fmla="*/ 624254 h 1085850"/>
                  <a:gd name="connsiteX4" fmla="*/ 435464 w 507254"/>
                  <a:gd name="connsiteY4" fmla="*/ 856272 h 1085850"/>
                  <a:gd name="connsiteX5" fmla="*/ 238125 w 507254"/>
                  <a:gd name="connsiteY5" fmla="*/ 1085850 h 1085850"/>
                  <a:gd name="connsiteX0" fmla="*/ 0 w 508585"/>
                  <a:gd name="connsiteY0" fmla="*/ 0 h 1085850"/>
                  <a:gd name="connsiteX1" fmla="*/ 228600 w 508585"/>
                  <a:gd name="connsiteY1" fmla="*/ 104775 h 1085850"/>
                  <a:gd name="connsiteX2" fmla="*/ 368245 w 508585"/>
                  <a:gd name="connsiteY2" fmla="*/ 357229 h 1085850"/>
                  <a:gd name="connsiteX3" fmla="*/ 506534 w 508585"/>
                  <a:gd name="connsiteY3" fmla="*/ 624254 h 1085850"/>
                  <a:gd name="connsiteX4" fmla="*/ 435464 w 508585"/>
                  <a:gd name="connsiteY4" fmla="*/ 856272 h 1085850"/>
                  <a:gd name="connsiteX5" fmla="*/ 238125 w 508585"/>
                  <a:gd name="connsiteY5" fmla="*/ 1085850 h 1085850"/>
                  <a:gd name="connsiteX0" fmla="*/ 0 w 468850"/>
                  <a:gd name="connsiteY0" fmla="*/ 0 h 1085850"/>
                  <a:gd name="connsiteX1" fmla="*/ 228600 w 468850"/>
                  <a:gd name="connsiteY1" fmla="*/ 104775 h 1085850"/>
                  <a:gd name="connsiteX2" fmla="*/ 368245 w 468850"/>
                  <a:gd name="connsiteY2" fmla="*/ 357229 h 1085850"/>
                  <a:gd name="connsiteX3" fmla="*/ 458826 w 468850"/>
                  <a:gd name="connsiteY3" fmla="*/ 592449 h 1085850"/>
                  <a:gd name="connsiteX4" fmla="*/ 435464 w 468850"/>
                  <a:gd name="connsiteY4" fmla="*/ 856272 h 1085850"/>
                  <a:gd name="connsiteX5" fmla="*/ 238125 w 468850"/>
                  <a:gd name="connsiteY5" fmla="*/ 1085850 h 1085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8850" h="1085850">
                    <a:moveTo>
                      <a:pt x="0" y="0"/>
                    </a:moveTo>
                    <a:cubicBezTo>
                      <a:pt x="80962" y="24606"/>
                      <a:pt x="167226" y="45237"/>
                      <a:pt x="228600" y="104775"/>
                    </a:cubicBezTo>
                    <a:cubicBezTo>
                      <a:pt x="289974" y="164313"/>
                      <a:pt x="329874" y="275950"/>
                      <a:pt x="368245" y="357229"/>
                    </a:cubicBezTo>
                    <a:cubicBezTo>
                      <a:pt x="406616" y="438508"/>
                      <a:pt x="447623" y="509275"/>
                      <a:pt x="458826" y="592449"/>
                    </a:cubicBezTo>
                    <a:cubicBezTo>
                      <a:pt x="470029" y="675623"/>
                      <a:pt x="481502" y="783247"/>
                      <a:pt x="435464" y="856272"/>
                    </a:cubicBezTo>
                    <a:cubicBezTo>
                      <a:pt x="389427" y="929297"/>
                      <a:pt x="329406" y="1027112"/>
                      <a:pt x="238125" y="1085850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2" name="Oval 11">
                <a:extLst>
                  <a:ext uri="{FF2B5EF4-FFF2-40B4-BE49-F238E27FC236}">
                    <a16:creationId xmlns:a16="http://schemas.microsoft.com/office/drawing/2014/main" id="{B27E0CA2-DFE3-4D62-BA93-EB6A5337A0A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00529" y="3954627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3" name="Figura a mano libera 163">
                <a:extLst>
                  <a:ext uri="{FF2B5EF4-FFF2-40B4-BE49-F238E27FC236}">
                    <a16:creationId xmlns:a16="http://schemas.microsoft.com/office/drawing/2014/main" id="{4D53F8BE-AD6F-4BA8-994C-F1302D712252}"/>
                  </a:ext>
                </a:extLst>
              </p:cNvPr>
              <p:cNvSpPr/>
              <p:nvPr/>
            </p:nvSpPr>
            <p:spPr>
              <a:xfrm>
                <a:off x="1963720" y="1403126"/>
                <a:ext cx="852824" cy="516731"/>
              </a:xfrm>
              <a:custGeom>
                <a:avLst/>
                <a:gdLst>
                  <a:gd name="connsiteX0" fmla="*/ 0 w 762000"/>
                  <a:gd name="connsiteY0" fmla="*/ 0 h 457200"/>
                  <a:gd name="connsiteX1" fmla="*/ 571500 w 762000"/>
                  <a:gd name="connsiteY1" fmla="*/ 247650 h 457200"/>
                  <a:gd name="connsiteX2" fmla="*/ 762000 w 762000"/>
                  <a:gd name="connsiteY2" fmla="*/ 457200 h 457200"/>
                  <a:gd name="connsiteX0" fmla="*/ 0 w 762000"/>
                  <a:gd name="connsiteY0" fmla="*/ 0 h 457200"/>
                  <a:gd name="connsiteX1" fmla="*/ 504825 w 762000"/>
                  <a:gd name="connsiteY1" fmla="*/ 247650 h 457200"/>
                  <a:gd name="connsiteX2" fmla="*/ 762000 w 762000"/>
                  <a:gd name="connsiteY2" fmla="*/ 457200 h 457200"/>
                  <a:gd name="connsiteX0" fmla="*/ 0 w 714375"/>
                  <a:gd name="connsiteY0" fmla="*/ 0 h 457200"/>
                  <a:gd name="connsiteX1" fmla="*/ 457200 w 714375"/>
                  <a:gd name="connsiteY1" fmla="*/ 247650 h 457200"/>
                  <a:gd name="connsiteX2" fmla="*/ 714375 w 714375"/>
                  <a:gd name="connsiteY2" fmla="*/ 457200 h 457200"/>
                  <a:gd name="connsiteX0" fmla="*/ 0 w 676275"/>
                  <a:gd name="connsiteY0" fmla="*/ 0 h 447675"/>
                  <a:gd name="connsiteX1" fmla="*/ 419100 w 676275"/>
                  <a:gd name="connsiteY1" fmla="*/ 238125 h 447675"/>
                  <a:gd name="connsiteX2" fmla="*/ 676275 w 676275"/>
                  <a:gd name="connsiteY2" fmla="*/ 447675 h 44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6275" h="447675">
                    <a:moveTo>
                      <a:pt x="0" y="0"/>
                    </a:moveTo>
                    <a:cubicBezTo>
                      <a:pt x="222250" y="85725"/>
                      <a:pt x="306388" y="163513"/>
                      <a:pt x="419100" y="238125"/>
                    </a:cubicBezTo>
                    <a:cubicBezTo>
                      <a:pt x="531812" y="312737"/>
                      <a:pt x="644525" y="381000"/>
                      <a:pt x="676275" y="447675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4" name="Figura a mano libera 164">
                <a:extLst>
                  <a:ext uri="{FF2B5EF4-FFF2-40B4-BE49-F238E27FC236}">
                    <a16:creationId xmlns:a16="http://schemas.microsoft.com/office/drawing/2014/main" id="{CA439AAC-5CB9-47EB-9285-80503631BD79}"/>
                  </a:ext>
                </a:extLst>
              </p:cNvPr>
              <p:cNvSpPr/>
              <p:nvPr/>
            </p:nvSpPr>
            <p:spPr>
              <a:xfrm>
                <a:off x="1842376" y="1398989"/>
                <a:ext cx="75979" cy="259523"/>
              </a:xfrm>
              <a:custGeom>
                <a:avLst/>
                <a:gdLst>
                  <a:gd name="connsiteX0" fmla="*/ 51035 w 51035"/>
                  <a:gd name="connsiteY0" fmla="*/ 0 h 196850"/>
                  <a:gd name="connsiteX1" fmla="*/ 6585 w 51035"/>
                  <a:gd name="connsiteY1" fmla="*/ 101600 h 196850"/>
                  <a:gd name="connsiteX2" fmla="*/ 235 w 51035"/>
                  <a:gd name="connsiteY2" fmla="*/ 196850 h 196850"/>
                  <a:gd name="connsiteX0" fmla="*/ 103603 w 103604"/>
                  <a:gd name="connsiteY0" fmla="*/ 0 h 304480"/>
                  <a:gd name="connsiteX1" fmla="*/ 9535 w 103604"/>
                  <a:gd name="connsiteY1" fmla="*/ 209230 h 304480"/>
                  <a:gd name="connsiteX2" fmla="*/ 3185 w 103604"/>
                  <a:gd name="connsiteY2" fmla="*/ 304480 h 304480"/>
                  <a:gd name="connsiteX0" fmla="*/ 100418 w 100418"/>
                  <a:gd name="connsiteY0" fmla="*/ 0 h 304480"/>
                  <a:gd name="connsiteX1" fmla="*/ 41792 w 100418"/>
                  <a:gd name="connsiteY1" fmla="*/ 121168 h 304480"/>
                  <a:gd name="connsiteX2" fmla="*/ 0 w 100418"/>
                  <a:gd name="connsiteY2" fmla="*/ 304480 h 304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418" h="304480">
                    <a:moveTo>
                      <a:pt x="100418" y="0"/>
                    </a:moveTo>
                    <a:cubicBezTo>
                      <a:pt x="82426" y="34396"/>
                      <a:pt x="58528" y="70421"/>
                      <a:pt x="41792" y="121168"/>
                    </a:cubicBezTo>
                    <a:cubicBezTo>
                      <a:pt x="25056" y="171915"/>
                      <a:pt x="0" y="304480"/>
                      <a:pt x="0" y="304480"/>
                    </a:cubicBez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5" name="Oval 11">
                <a:extLst>
                  <a:ext uri="{FF2B5EF4-FFF2-40B4-BE49-F238E27FC236}">
                    <a16:creationId xmlns:a16="http://schemas.microsoft.com/office/drawing/2014/main" id="{C10CC6D4-CCD1-4874-9E87-3A559F06F9E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50139" y="1315189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6" name="Figura a mano libera 166">
                <a:extLst>
                  <a:ext uri="{FF2B5EF4-FFF2-40B4-BE49-F238E27FC236}">
                    <a16:creationId xmlns:a16="http://schemas.microsoft.com/office/drawing/2014/main" id="{8FCFF04D-170D-460C-BB58-E25635512125}"/>
                  </a:ext>
                </a:extLst>
              </p:cNvPr>
              <p:cNvSpPr/>
              <p:nvPr/>
            </p:nvSpPr>
            <p:spPr>
              <a:xfrm>
                <a:off x="4908503" y="4095749"/>
                <a:ext cx="94073" cy="283340"/>
              </a:xfrm>
              <a:custGeom>
                <a:avLst/>
                <a:gdLst>
                  <a:gd name="connsiteX0" fmla="*/ 0 w 521066"/>
                  <a:gd name="connsiteY0" fmla="*/ 1017766 h 1055507"/>
                  <a:gd name="connsiteX1" fmla="*/ 119269 w 521066"/>
                  <a:gd name="connsiteY1" fmla="*/ 1041620 h 1055507"/>
                  <a:gd name="connsiteX2" fmla="*/ 111318 w 521066"/>
                  <a:gd name="connsiteY2" fmla="*/ 1041620 h 1055507"/>
                  <a:gd name="connsiteX3" fmla="*/ 206734 w 521066"/>
                  <a:gd name="connsiteY3" fmla="*/ 866692 h 1055507"/>
                  <a:gd name="connsiteX4" fmla="*/ 310100 w 521066"/>
                  <a:gd name="connsiteY4" fmla="*/ 842838 h 1055507"/>
                  <a:gd name="connsiteX5" fmla="*/ 310100 w 521066"/>
                  <a:gd name="connsiteY5" fmla="*/ 842838 h 1055507"/>
                  <a:gd name="connsiteX6" fmla="*/ 286247 w 521066"/>
                  <a:gd name="connsiteY6" fmla="*/ 659958 h 1055507"/>
                  <a:gd name="connsiteX7" fmla="*/ 286247 w 521066"/>
                  <a:gd name="connsiteY7" fmla="*/ 659958 h 1055507"/>
                  <a:gd name="connsiteX8" fmla="*/ 405516 w 521066"/>
                  <a:gd name="connsiteY8" fmla="*/ 548640 h 1055507"/>
                  <a:gd name="connsiteX9" fmla="*/ 516834 w 521066"/>
                  <a:gd name="connsiteY9" fmla="*/ 572493 h 1055507"/>
                  <a:gd name="connsiteX10" fmla="*/ 485029 w 521066"/>
                  <a:gd name="connsiteY10" fmla="*/ 397565 h 1055507"/>
                  <a:gd name="connsiteX11" fmla="*/ 365760 w 521066"/>
                  <a:gd name="connsiteY11" fmla="*/ 318052 h 1055507"/>
                  <a:gd name="connsiteX12" fmla="*/ 286247 w 521066"/>
                  <a:gd name="connsiteY12" fmla="*/ 246490 h 1055507"/>
                  <a:gd name="connsiteX13" fmla="*/ 318052 w 521066"/>
                  <a:gd name="connsiteY13" fmla="*/ 71561 h 1055507"/>
                  <a:gd name="connsiteX14" fmla="*/ 318052 w 521066"/>
                  <a:gd name="connsiteY14" fmla="*/ 71561 h 1055507"/>
                  <a:gd name="connsiteX15" fmla="*/ 365760 w 521066"/>
                  <a:gd name="connsiteY15" fmla="*/ 0 h 1055507"/>
                  <a:gd name="connsiteX0" fmla="*/ 0 w 511898"/>
                  <a:gd name="connsiteY0" fmla="*/ 1017766 h 1055507"/>
                  <a:gd name="connsiteX1" fmla="*/ 119269 w 511898"/>
                  <a:gd name="connsiteY1" fmla="*/ 1041620 h 1055507"/>
                  <a:gd name="connsiteX2" fmla="*/ 111318 w 511898"/>
                  <a:gd name="connsiteY2" fmla="*/ 1041620 h 1055507"/>
                  <a:gd name="connsiteX3" fmla="*/ 206734 w 511898"/>
                  <a:gd name="connsiteY3" fmla="*/ 866692 h 1055507"/>
                  <a:gd name="connsiteX4" fmla="*/ 310100 w 511898"/>
                  <a:gd name="connsiteY4" fmla="*/ 842838 h 1055507"/>
                  <a:gd name="connsiteX5" fmla="*/ 310100 w 511898"/>
                  <a:gd name="connsiteY5" fmla="*/ 842838 h 1055507"/>
                  <a:gd name="connsiteX6" fmla="*/ 286247 w 511898"/>
                  <a:gd name="connsiteY6" fmla="*/ 659958 h 1055507"/>
                  <a:gd name="connsiteX7" fmla="*/ 286247 w 511898"/>
                  <a:gd name="connsiteY7" fmla="*/ 659958 h 1055507"/>
                  <a:gd name="connsiteX8" fmla="*/ 405516 w 511898"/>
                  <a:gd name="connsiteY8" fmla="*/ 548640 h 1055507"/>
                  <a:gd name="connsiteX9" fmla="*/ 506202 w 511898"/>
                  <a:gd name="connsiteY9" fmla="*/ 519331 h 1055507"/>
                  <a:gd name="connsiteX10" fmla="*/ 485029 w 511898"/>
                  <a:gd name="connsiteY10" fmla="*/ 397565 h 1055507"/>
                  <a:gd name="connsiteX11" fmla="*/ 365760 w 511898"/>
                  <a:gd name="connsiteY11" fmla="*/ 318052 h 1055507"/>
                  <a:gd name="connsiteX12" fmla="*/ 286247 w 511898"/>
                  <a:gd name="connsiteY12" fmla="*/ 246490 h 1055507"/>
                  <a:gd name="connsiteX13" fmla="*/ 318052 w 511898"/>
                  <a:gd name="connsiteY13" fmla="*/ 71561 h 1055507"/>
                  <a:gd name="connsiteX14" fmla="*/ 318052 w 511898"/>
                  <a:gd name="connsiteY14" fmla="*/ 71561 h 1055507"/>
                  <a:gd name="connsiteX15" fmla="*/ 365760 w 511898"/>
                  <a:gd name="connsiteY15" fmla="*/ 0 h 1055507"/>
                  <a:gd name="connsiteX0" fmla="*/ 11148 w 403777"/>
                  <a:gd name="connsiteY0" fmla="*/ 1041620 h 1055507"/>
                  <a:gd name="connsiteX1" fmla="*/ 3197 w 403777"/>
                  <a:gd name="connsiteY1" fmla="*/ 1041620 h 1055507"/>
                  <a:gd name="connsiteX2" fmla="*/ 98613 w 403777"/>
                  <a:gd name="connsiteY2" fmla="*/ 866692 h 1055507"/>
                  <a:gd name="connsiteX3" fmla="*/ 201979 w 403777"/>
                  <a:gd name="connsiteY3" fmla="*/ 842838 h 1055507"/>
                  <a:gd name="connsiteX4" fmla="*/ 201979 w 403777"/>
                  <a:gd name="connsiteY4" fmla="*/ 842838 h 1055507"/>
                  <a:gd name="connsiteX5" fmla="*/ 178126 w 403777"/>
                  <a:gd name="connsiteY5" fmla="*/ 659958 h 1055507"/>
                  <a:gd name="connsiteX6" fmla="*/ 178126 w 403777"/>
                  <a:gd name="connsiteY6" fmla="*/ 659958 h 1055507"/>
                  <a:gd name="connsiteX7" fmla="*/ 297395 w 403777"/>
                  <a:gd name="connsiteY7" fmla="*/ 548640 h 1055507"/>
                  <a:gd name="connsiteX8" fmla="*/ 398081 w 403777"/>
                  <a:gd name="connsiteY8" fmla="*/ 519331 h 1055507"/>
                  <a:gd name="connsiteX9" fmla="*/ 376908 w 403777"/>
                  <a:gd name="connsiteY9" fmla="*/ 397565 h 1055507"/>
                  <a:gd name="connsiteX10" fmla="*/ 257639 w 403777"/>
                  <a:gd name="connsiteY10" fmla="*/ 318052 h 1055507"/>
                  <a:gd name="connsiteX11" fmla="*/ 178126 w 403777"/>
                  <a:gd name="connsiteY11" fmla="*/ 246490 h 1055507"/>
                  <a:gd name="connsiteX12" fmla="*/ 209931 w 403777"/>
                  <a:gd name="connsiteY12" fmla="*/ 71561 h 1055507"/>
                  <a:gd name="connsiteX13" fmla="*/ 209931 w 403777"/>
                  <a:gd name="connsiteY13" fmla="*/ 71561 h 1055507"/>
                  <a:gd name="connsiteX14" fmla="*/ 257639 w 403777"/>
                  <a:gd name="connsiteY14" fmla="*/ 0 h 1055507"/>
                  <a:gd name="connsiteX0" fmla="*/ 0 w 392629"/>
                  <a:gd name="connsiteY0" fmla="*/ 1041620 h 1041620"/>
                  <a:gd name="connsiteX1" fmla="*/ 87465 w 392629"/>
                  <a:gd name="connsiteY1" fmla="*/ 866692 h 1041620"/>
                  <a:gd name="connsiteX2" fmla="*/ 190831 w 392629"/>
                  <a:gd name="connsiteY2" fmla="*/ 842838 h 1041620"/>
                  <a:gd name="connsiteX3" fmla="*/ 190831 w 392629"/>
                  <a:gd name="connsiteY3" fmla="*/ 842838 h 1041620"/>
                  <a:gd name="connsiteX4" fmla="*/ 166978 w 392629"/>
                  <a:gd name="connsiteY4" fmla="*/ 659958 h 1041620"/>
                  <a:gd name="connsiteX5" fmla="*/ 166978 w 392629"/>
                  <a:gd name="connsiteY5" fmla="*/ 659958 h 1041620"/>
                  <a:gd name="connsiteX6" fmla="*/ 286247 w 392629"/>
                  <a:gd name="connsiteY6" fmla="*/ 548640 h 1041620"/>
                  <a:gd name="connsiteX7" fmla="*/ 386933 w 392629"/>
                  <a:gd name="connsiteY7" fmla="*/ 519331 h 1041620"/>
                  <a:gd name="connsiteX8" fmla="*/ 365760 w 392629"/>
                  <a:gd name="connsiteY8" fmla="*/ 397565 h 1041620"/>
                  <a:gd name="connsiteX9" fmla="*/ 246491 w 392629"/>
                  <a:gd name="connsiteY9" fmla="*/ 318052 h 1041620"/>
                  <a:gd name="connsiteX10" fmla="*/ 166978 w 392629"/>
                  <a:gd name="connsiteY10" fmla="*/ 246490 h 1041620"/>
                  <a:gd name="connsiteX11" fmla="*/ 198783 w 392629"/>
                  <a:gd name="connsiteY11" fmla="*/ 71561 h 1041620"/>
                  <a:gd name="connsiteX12" fmla="*/ 198783 w 392629"/>
                  <a:gd name="connsiteY12" fmla="*/ 71561 h 1041620"/>
                  <a:gd name="connsiteX13" fmla="*/ 246491 w 392629"/>
                  <a:gd name="connsiteY13" fmla="*/ 0 h 1041620"/>
                  <a:gd name="connsiteX0" fmla="*/ 0 w 305164"/>
                  <a:gd name="connsiteY0" fmla="*/ 866692 h 866692"/>
                  <a:gd name="connsiteX1" fmla="*/ 103366 w 305164"/>
                  <a:gd name="connsiteY1" fmla="*/ 842838 h 866692"/>
                  <a:gd name="connsiteX2" fmla="*/ 103366 w 305164"/>
                  <a:gd name="connsiteY2" fmla="*/ 842838 h 866692"/>
                  <a:gd name="connsiteX3" fmla="*/ 79513 w 305164"/>
                  <a:gd name="connsiteY3" fmla="*/ 659958 h 866692"/>
                  <a:gd name="connsiteX4" fmla="*/ 79513 w 305164"/>
                  <a:gd name="connsiteY4" fmla="*/ 659958 h 866692"/>
                  <a:gd name="connsiteX5" fmla="*/ 198782 w 305164"/>
                  <a:gd name="connsiteY5" fmla="*/ 548640 h 866692"/>
                  <a:gd name="connsiteX6" fmla="*/ 299468 w 305164"/>
                  <a:gd name="connsiteY6" fmla="*/ 519331 h 866692"/>
                  <a:gd name="connsiteX7" fmla="*/ 278295 w 305164"/>
                  <a:gd name="connsiteY7" fmla="*/ 397565 h 866692"/>
                  <a:gd name="connsiteX8" fmla="*/ 159026 w 305164"/>
                  <a:gd name="connsiteY8" fmla="*/ 318052 h 866692"/>
                  <a:gd name="connsiteX9" fmla="*/ 79513 w 305164"/>
                  <a:gd name="connsiteY9" fmla="*/ 246490 h 866692"/>
                  <a:gd name="connsiteX10" fmla="*/ 111318 w 305164"/>
                  <a:gd name="connsiteY10" fmla="*/ 71561 h 866692"/>
                  <a:gd name="connsiteX11" fmla="*/ 111318 w 305164"/>
                  <a:gd name="connsiteY11" fmla="*/ 71561 h 866692"/>
                  <a:gd name="connsiteX12" fmla="*/ 159026 w 305164"/>
                  <a:gd name="connsiteY12" fmla="*/ 0 h 866692"/>
                  <a:gd name="connsiteX0" fmla="*/ 24905 w 226703"/>
                  <a:gd name="connsiteY0" fmla="*/ 842838 h 842838"/>
                  <a:gd name="connsiteX1" fmla="*/ 24905 w 226703"/>
                  <a:gd name="connsiteY1" fmla="*/ 842838 h 842838"/>
                  <a:gd name="connsiteX2" fmla="*/ 1052 w 226703"/>
                  <a:gd name="connsiteY2" fmla="*/ 659958 h 842838"/>
                  <a:gd name="connsiteX3" fmla="*/ 1052 w 226703"/>
                  <a:gd name="connsiteY3" fmla="*/ 659958 h 842838"/>
                  <a:gd name="connsiteX4" fmla="*/ 120321 w 226703"/>
                  <a:gd name="connsiteY4" fmla="*/ 548640 h 842838"/>
                  <a:gd name="connsiteX5" fmla="*/ 221007 w 226703"/>
                  <a:gd name="connsiteY5" fmla="*/ 519331 h 842838"/>
                  <a:gd name="connsiteX6" fmla="*/ 199834 w 226703"/>
                  <a:gd name="connsiteY6" fmla="*/ 397565 h 842838"/>
                  <a:gd name="connsiteX7" fmla="*/ 80565 w 226703"/>
                  <a:gd name="connsiteY7" fmla="*/ 318052 h 842838"/>
                  <a:gd name="connsiteX8" fmla="*/ 1052 w 226703"/>
                  <a:gd name="connsiteY8" fmla="*/ 246490 h 842838"/>
                  <a:gd name="connsiteX9" fmla="*/ 32857 w 226703"/>
                  <a:gd name="connsiteY9" fmla="*/ 71561 h 842838"/>
                  <a:gd name="connsiteX10" fmla="*/ 32857 w 226703"/>
                  <a:gd name="connsiteY10" fmla="*/ 71561 h 842838"/>
                  <a:gd name="connsiteX11" fmla="*/ 80565 w 226703"/>
                  <a:gd name="connsiteY11" fmla="*/ 0 h 842838"/>
                  <a:gd name="connsiteX0" fmla="*/ 24905 w 226703"/>
                  <a:gd name="connsiteY0" fmla="*/ 842838 h 842838"/>
                  <a:gd name="connsiteX1" fmla="*/ 1052 w 226703"/>
                  <a:gd name="connsiteY1" fmla="*/ 659958 h 842838"/>
                  <a:gd name="connsiteX2" fmla="*/ 1052 w 226703"/>
                  <a:gd name="connsiteY2" fmla="*/ 659958 h 842838"/>
                  <a:gd name="connsiteX3" fmla="*/ 120321 w 226703"/>
                  <a:gd name="connsiteY3" fmla="*/ 548640 h 842838"/>
                  <a:gd name="connsiteX4" fmla="*/ 221007 w 226703"/>
                  <a:gd name="connsiteY4" fmla="*/ 519331 h 842838"/>
                  <a:gd name="connsiteX5" fmla="*/ 199834 w 226703"/>
                  <a:gd name="connsiteY5" fmla="*/ 397565 h 842838"/>
                  <a:gd name="connsiteX6" fmla="*/ 80565 w 226703"/>
                  <a:gd name="connsiteY6" fmla="*/ 318052 h 842838"/>
                  <a:gd name="connsiteX7" fmla="*/ 1052 w 226703"/>
                  <a:gd name="connsiteY7" fmla="*/ 246490 h 842838"/>
                  <a:gd name="connsiteX8" fmla="*/ 32857 w 226703"/>
                  <a:gd name="connsiteY8" fmla="*/ 71561 h 842838"/>
                  <a:gd name="connsiteX9" fmla="*/ 32857 w 226703"/>
                  <a:gd name="connsiteY9" fmla="*/ 71561 h 842838"/>
                  <a:gd name="connsiteX10" fmla="*/ 80565 w 226703"/>
                  <a:gd name="connsiteY10" fmla="*/ 0 h 842838"/>
                  <a:gd name="connsiteX0" fmla="*/ 1052 w 226703"/>
                  <a:gd name="connsiteY0" fmla="*/ 659958 h 659958"/>
                  <a:gd name="connsiteX1" fmla="*/ 1052 w 226703"/>
                  <a:gd name="connsiteY1" fmla="*/ 659958 h 659958"/>
                  <a:gd name="connsiteX2" fmla="*/ 120321 w 226703"/>
                  <a:gd name="connsiteY2" fmla="*/ 548640 h 659958"/>
                  <a:gd name="connsiteX3" fmla="*/ 221007 w 226703"/>
                  <a:gd name="connsiteY3" fmla="*/ 519331 h 659958"/>
                  <a:gd name="connsiteX4" fmla="*/ 199834 w 226703"/>
                  <a:gd name="connsiteY4" fmla="*/ 397565 h 659958"/>
                  <a:gd name="connsiteX5" fmla="*/ 80565 w 226703"/>
                  <a:gd name="connsiteY5" fmla="*/ 318052 h 659958"/>
                  <a:gd name="connsiteX6" fmla="*/ 1052 w 226703"/>
                  <a:gd name="connsiteY6" fmla="*/ 246490 h 659958"/>
                  <a:gd name="connsiteX7" fmla="*/ 32857 w 226703"/>
                  <a:gd name="connsiteY7" fmla="*/ 71561 h 659958"/>
                  <a:gd name="connsiteX8" fmla="*/ 32857 w 226703"/>
                  <a:gd name="connsiteY8" fmla="*/ 71561 h 659958"/>
                  <a:gd name="connsiteX9" fmla="*/ 80565 w 226703"/>
                  <a:gd name="connsiteY9" fmla="*/ 0 h 659958"/>
                  <a:gd name="connsiteX0" fmla="*/ 1052 w 226703"/>
                  <a:gd name="connsiteY0" fmla="*/ 659958 h 659958"/>
                  <a:gd name="connsiteX1" fmla="*/ 120321 w 226703"/>
                  <a:gd name="connsiteY1" fmla="*/ 548640 h 659958"/>
                  <a:gd name="connsiteX2" fmla="*/ 221007 w 226703"/>
                  <a:gd name="connsiteY2" fmla="*/ 519331 h 659958"/>
                  <a:gd name="connsiteX3" fmla="*/ 199834 w 226703"/>
                  <a:gd name="connsiteY3" fmla="*/ 397565 h 659958"/>
                  <a:gd name="connsiteX4" fmla="*/ 80565 w 226703"/>
                  <a:gd name="connsiteY4" fmla="*/ 318052 h 659958"/>
                  <a:gd name="connsiteX5" fmla="*/ 1052 w 226703"/>
                  <a:gd name="connsiteY5" fmla="*/ 246490 h 659958"/>
                  <a:gd name="connsiteX6" fmla="*/ 32857 w 226703"/>
                  <a:gd name="connsiteY6" fmla="*/ 71561 h 659958"/>
                  <a:gd name="connsiteX7" fmla="*/ 32857 w 226703"/>
                  <a:gd name="connsiteY7" fmla="*/ 71561 h 659958"/>
                  <a:gd name="connsiteX8" fmla="*/ 80565 w 226703"/>
                  <a:gd name="connsiteY8" fmla="*/ 0 h 659958"/>
                  <a:gd name="connsiteX0" fmla="*/ 120321 w 226703"/>
                  <a:gd name="connsiteY0" fmla="*/ 548640 h 548640"/>
                  <a:gd name="connsiteX1" fmla="*/ 221007 w 226703"/>
                  <a:gd name="connsiteY1" fmla="*/ 519331 h 548640"/>
                  <a:gd name="connsiteX2" fmla="*/ 199834 w 226703"/>
                  <a:gd name="connsiteY2" fmla="*/ 397565 h 548640"/>
                  <a:gd name="connsiteX3" fmla="*/ 80565 w 226703"/>
                  <a:gd name="connsiteY3" fmla="*/ 318052 h 548640"/>
                  <a:gd name="connsiteX4" fmla="*/ 1052 w 226703"/>
                  <a:gd name="connsiteY4" fmla="*/ 246490 h 548640"/>
                  <a:gd name="connsiteX5" fmla="*/ 32857 w 226703"/>
                  <a:gd name="connsiteY5" fmla="*/ 71561 h 548640"/>
                  <a:gd name="connsiteX6" fmla="*/ 32857 w 226703"/>
                  <a:gd name="connsiteY6" fmla="*/ 71561 h 548640"/>
                  <a:gd name="connsiteX7" fmla="*/ 80565 w 226703"/>
                  <a:gd name="connsiteY7" fmla="*/ 0 h 548640"/>
                  <a:gd name="connsiteX0" fmla="*/ 221007 w 226703"/>
                  <a:gd name="connsiteY0" fmla="*/ 519331 h 519331"/>
                  <a:gd name="connsiteX1" fmla="*/ 199834 w 226703"/>
                  <a:gd name="connsiteY1" fmla="*/ 397565 h 519331"/>
                  <a:gd name="connsiteX2" fmla="*/ 80565 w 226703"/>
                  <a:gd name="connsiteY2" fmla="*/ 318052 h 519331"/>
                  <a:gd name="connsiteX3" fmla="*/ 1052 w 226703"/>
                  <a:gd name="connsiteY3" fmla="*/ 246490 h 519331"/>
                  <a:gd name="connsiteX4" fmla="*/ 32857 w 226703"/>
                  <a:gd name="connsiteY4" fmla="*/ 71561 h 519331"/>
                  <a:gd name="connsiteX5" fmla="*/ 32857 w 226703"/>
                  <a:gd name="connsiteY5" fmla="*/ 71561 h 519331"/>
                  <a:gd name="connsiteX6" fmla="*/ 80565 w 226703"/>
                  <a:gd name="connsiteY6" fmla="*/ 0 h 519331"/>
                  <a:gd name="connsiteX0" fmla="*/ 199834 w 199834"/>
                  <a:gd name="connsiteY0" fmla="*/ 397565 h 397565"/>
                  <a:gd name="connsiteX1" fmla="*/ 80565 w 199834"/>
                  <a:gd name="connsiteY1" fmla="*/ 318052 h 397565"/>
                  <a:gd name="connsiteX2" fmla="*/ 1052 w 199834"/>
                  <a:gd name="connsiteY2" fmla="*/ 246490 h 397565"/>
                  <a:gd name="connsiteX3" fmla="*/ 32857 w 199834"/>
                  <a:gd name="connsiteY3" fmla="*/ 71561 h 397565"/>
                  <a:gd name="connsiteX4" fmla="*/ 32857 w 199834"/>
                  <a:gd name="connsiteY4" fmla="*/ 71561 h 397565"/>
                  <a:gd name="connsiteX5" fmla="*/ 80565 w 199834"/>
                  <a:gd name="connsiteY5" fmla="*/ 0 h 397565"/>
                  <a:gd name="connsiteX0" fmla="*/ 80565 w 80565"/>
                  <a:gd name="connsiteY0" fmla="*/ 318052 h 318052"/>
                  <a:gd name="connsiteX1" fmla="*/ 1052 w 80565"/>
                  <a:gd name="connsiteY1" fmla="*/ 246490 h 318052"/>
                  <a:gd name="connsiteX2" fmla="*/ 32857 w 80565"/>
                  <a:gd name="connsiteY2" fmla="*/ 71561 h 318052"/>
                  <a:gd name="connsiteX3" fmla="*/ 32857 w 80565"/>
                  <a:gd name="connsiteY3" fmla="*/ 71561 h 318052"/>
                  <a:gd name="connsiteX4" fmla="*/ 80565 w 80565"/>
                  <a:gd name="connsiteY4" fmla="*/ 0 h 318052"/>
                  <a:gd name="connsiteX0" fmla="*/ 1052 w 80565"/>
                  <a:gd name="connsiteY0" fmla="*/ 246490 h 246490"/>
                  <a:gd name="connsiteX1" fmla="*/ 32857 w 80565"/>
                  <a:gd name="connsiteY1" fmla="*/ 71561 h 246490"/>
                  <a:gd name="connsiteX2" fmla="*/ 32857 w 80565"/>
                  <a:gd name="connsiteY2" fmla="*/ 71561 h 246490"/>
                  <a:gd name="connsiteX3" fmla="*/ 80565 w 80565"/>
                  <a:gd name="connsiteY3" fmla="*/ 0 h 246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565" h="246490">
                    <a:moveTo>
                      <a:pt x="1052" y="246490"/>
                    </a:moveTo>
                    <a:cubicBezTo>
                      <a:pt x="-6899" y="205408"/>
                      <a:pt x="32857" y="71561"/>
                      <a:pt x="32857" y="71561"/>
                    </a:cubicBezTo>
                    <a:lnTo>
                      <a:pt x="32857" y="71561"/>
                    </a:lnTo>
                    <a:lnTo>
                      <a:pt x="80565" y="0"/>
                    </a:lnTo>
                  </a:path>
                </a:pathLst>
              </a:custGeom>
              <a:noFill/>
              <a:ln w="2857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7" name="Oval 11">
                <a:extLst>
                  <a:ext uri="{FF2B5EF4-FFF2-40B4-BE49-F238E27FC236}">
                    <a16:creationId xmlns:a16="http://schemas.microsoft.com/office/drawing/2014/main" id="{8A894481-B352-4C83-ADCB-671C4E8BD0C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895732" y="3966536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8" name="Oval 11">
                <a:extLst>
                  <a:ext uri="{FF2B5EF4-FFF2-40B4-BE49-F238E27FC236}">
                    <a16:creationId xmlns:a16="http://schemas.microsoft.com/office/drawing/2014/main" id="{D2315DA8-BF08-434E-8BFF-F59A17FE727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622805" y="3968521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9" name="Figura a mano libera 169">
                <a:extLst>
                  <a:ext uri="{FF2B5EF4-FFF2-40B4-BE49-F238E27FC236}">
                    <a16:creationId xmlns:a16="http://schemas.microsoft.com/office/drawing/2014/main" id="{E0D59434-5B3E-4F33-9519-1631CF28C8D0}"/>
                  </a:ext>
                </a:extLst>
              </p:cNvPr>
              <p:cNvSpPr/>
              <p:nvPr/>
            </p:nvSpPr>
            <p:spPr>
              <a:xfrm>
                <a:off x="4753917" y="4008969"/>
                <a:ext cx="389949" cy="102459"/>
              </a:xfrm>
              <a:custGeom>
                <a:avLst/>
                <a:gdLst>
                  <a:gd name="connsiteX0" fmla="*/ 0 w 333955"/>
                  <a:gd name="connsiteY0" fmla="*/ 25841 h 97536"/>
                  <a:gd name="connsiteX1" fmla="*/ 222637 w 333955"/>
                  <a:gd name="connsiteY1" fmla="*/ 97403 h 97536"/>
                  <a:gd name="connsiteX2" fmla="*/ 270344 w 333955"/>
                  <a:gd name="connsiteY2" fmla="*/ 9939 h 97536"/>
                  <a:gd name="connsiteX3" fmla="*/ 333955 w 333955"/>
                  <a:gd name="connsiteY3" fmla="*/ 1988 h 97536"/>
                  <a:gd name="connsiteX4" fmla="*/ 333955 w 333955"/>
                  <a:gd name="connsiteY4" fmla="*/ 1988 h 97536"/>
                  <a:gd name="connsiteX0" fmla="*/ 0 w 333955"/>
                  <a:gd name="connsiteY0" fmla="*/ 25356 h 89133"/>
                  <a:gd name="connsiteX1" fmla="*/ 190831 w 333955"/>
                  <a:gd name="connsiteY1" fmla="*/ 88966 h 89133"/>
                  <a:gd name="connsiteX2" fmla="*/ 270344 w 333955"/>
                  <a:gd name="connsiteY2" fmla="*/ 9454 h 89133"/>
                  <a:gd name="connsiteX3" fmla="*/ 333955 w 333955"/>
                  <a:gd name="connsiteY3" fmla="*/ 1503 h 89133"/>
                  <a:gd name="connsiteX4" fmla="*/ 333955 w 333955"/>
                  <a:gd name="connsiteY4" fmla="*/ 1503 h 89133"/>
                  <a:gd name="connsiteX0" fmla="*/ 0 w 334309"/>
                  <a:gd name="connsiteY0" fmla="*/ 25356 h 89133"/>
                  <a:gd name="connsiteX1" fmla="*/ 190831 w 334309"/>
                  <a:gd name="connsiteY1" fmla="*/ 88966 h 89133"/>
                  <a:gd name="connsiteX2" fmla="*/ 270344 w 334309"/>
                  <a:gd name="connsiteY2" fmla="*/ 9454 h 89133"/>
                  <a:gd name="connsiteX3" fmla="*/ 333955 w 334309"/>
                  <a:gd name="connsiteY3" fmla="*/ 1503 h 89133"/>
                  <a:gd name="connsiteX4" fmla="*/ 294198 w 334309"/>
                  <a:gd name="connsiteY4" fmla="*/ 9454 h 89133"/>
                  <a:gd name="connsiteX0" fmla="*/ 0 w 333955"/>
                  <a:gd name="connsiteY0" fmla="*/ 25356 h 89133"/>
                  <a:gd name="connsiteX1" fmla="*/ 190831 w 333955"/>
                  <a:gd name="connsiteY1" fmla="*/ 88966 h 89133"/>
                  <a:gd name="connsiteX2" fmla="*/ 270344 w 333955"/>
                  <a:gd name="connsiteY2" fmla="*/ 9454 h 89133"/>
                  <a:gd name="connsiteX3" fmla="*/ 333955 w 333955"/>
                  <a:gd name="connsiteY3" fmla="*/ 1503 h 89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33955" h="89133">
                    <a:moveTo>
                      <a:pt x="0" y="25356"/>
                    </a:moveTo>
                    <a:cubicBezTo>
                      <a:pt x="88790" y="62462"/>
                      <a:pt x="145774" y="91616"/>
                      <a:pt x="190831" y="88966"/>
                    </a:cubicBezTo>
                    <a:cubicBezTo>
                      <a:pt x="235888" y="86316"/>
                      <a:pt x="246490" y="24031"/>
                      <a:pt x="270344" y="9454"/>
                    </a:cubicBezTo>
                    <a:cubicBezTo>
                      <a:pt x="294198" y="-5123"/>
                      <a:pt x="329979" y="1503"/>
                      <a:pt x="333955" y="1503"/>
                    </a:cubicBezTo>
                  </a:path>
                </a:pathLst>
              </a:cu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0" name="Rettangolo 379">
                <a:extLst>
                  <a:ext uri="{FF2B5EF4-FFF2-40B4-BE49-F238E27FC236}">
                    <a16:creationId xmlns:a16="http://schemas.microsoft.com/office/drawing/2014/main" id="{477E5FFF-CCDA-4307-81CF-A284CFB5C024}"/>
                  </a:ext>
                </a:extLst>
              </p:cNvPr>
              <p:cNvSpPr/>
              <p:nvPr/>
            </p:nvSpPr>
            <p:spPr>
              <a:xfrm>
                <a:off x="4598754" y="5385319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eggio Calabria</a:t>
                </a:r>
              </a:p>
            </p:txBody>
          </p:sp>
          <p:sp>
            <p:nvSpPr>
              <p:cNvPr id="381" name="Oval 11">
                <a:extLst>
                  <a:ext uri="{FF2B5EF4-FFF2-40B4-BE49-F238E27FC236}">
                    <a16:creationId xmlns:a16="http://schemas.microsoft.com/office/drawing/2014/main" id="{7C2D9330-32DE-4262-8D3B-9FA9FBEF6FD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80414" y="5213792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2" name="Figura a mano libera 172">
                <a:extLst>
                  <a:ext uri="{FF2B5EF4-FFF2-40B4-BE49-F238E27FC236}">
                    <a16:creationId xmlns:a16="http://schemas.microsoft.com/office/drawing/2014/main" id="{6945D782-9683-439C-9C5A-7D1958DB6313}"/>
                  </a:ext>
                </a:extLst>
              </p:cNvPr>
              <p:cNvSpPr/>
              <p:nvPr/>
            </p:nvSpPr>
            <p:spPr>
              <a:xfrm>
                <a:off x="3328589" y="2223612"/>
                <a:ext cx="309746" cy="232255"/>
              </a:xfrm>
              <a:custGeom>
                <a:avLst/>
                <a:gdLst>
                  <a:gd name="connsiteX0" fmla="*/ 0 w 542925"/>
                  <a:gd name="connsiteY0" fmla="*/ 0 h 342900"/>
                  <a:gd name="connsiteX1" fmla="*/ 361950 w 542925"/>
                  <a:gd name="connsiteY1" fmla="*/ 200025 h 342900"/>
                  <a:gd name="connsiteX2" fmla="*/ 542925 w 542925"/>
                  <a:gd name="connsiteY2" fmla="*/ 342900 h 342900"/>
                  <a:gd name="connsiteX0" fmla="*/ 0 w 361950"/>
                  <a:gd name="connsiteY0" fmla="*/ 0 h 200025"/>
                  <a:gd name="connsiteX1" fmla="*/ 361950 w 361950"/>
                  <a:gd name="connsiteY1" fmla="*/ 200025 h 200025"/>
                  <a:gd name="connsiteX0" fmla="*/ 0 w 88995"/>
                  <a:gd name="connsiteY0" fmla="*/ 0 h 56724"/>
                  <a:gd name="connsiteX1" fmla="*/ 88995 w 88995"/>
                  <a:gd name="connsiteY1" fmla="*/ 56724 h 56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995" h="56724">
                    <a:moveTo>
                      <a:pt x="0" y="0"/>
                    </a:moveTo>
                    <a:cubicBezTo>
                      <a:pt x="135731" y="71437"/>
                      <a:pt x="-1492" y="-426"/>
                      <a:pt x="88995" y="56724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3" name="Rettangolo 382">
                <a:extLst>
                  <a:ext uri="{FF2B5EF4-FFF2-40B4-BE49-F238E27FC236}">
                    <a16:creationId xmlns:a16="http://schemas.microsoft.com/office/drawing/2014/main" id="{9E4FF1CD-5805-4D4B-A341-32FE0E3AC64C}"/>
                  </a:ext>
                </a:extLst>
              </p:cNvPr>
              <p:cNvSpPr/>
              <p:nvPr/>
            </p:nvSpPr>
            <p:spPr>
              <a:xfrm>
                <a:off x="3433933" y="2185010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ncona</a:t>
                </a:r>
              </a:p>
            </p:txBody>
          </p:sp>
          <p:sp>
            <p:nvSpPr>
              <p:cNvPr id="384" name="Oval 11">
                <a:extLst>
                  <a:ext uri="{FF2B5EF4-FFF2-40B4-BE49-F238E27FC236}">
                    <a16:creationId xmlns:a16="http://schemas.microsoft.com/office/drawing/2014/main" id="{4A34BC6A-0EC0-4FFF-941C-5423D7C3AE8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25049" y="2359143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5" name="Figura a mano libera 175">
                <a:extLst>
                  <a:ext uri="{FF2B5EF4-FFF2-40B4-BE49-F238E27FC236}">
                    <a16:creationId xmlns:a16="http://schemas.microsoft.com/office/drawing/2014/main" id="{0D9F7267-0FD4-4A3F-9A71-10DF2E2CEF38}"/>
                  </a:ext>
                </a:extLst>
              </p:cNvPr>
              <p:cNvSpPr/>
              <p:nvPr/>
            </p:nvSpPr>
            <p:spPr>
              <a:xfrm>
                <a:off x="5186729" y="3760896"/>
                <a:ext cx="502580" cy="409581"/>
              </a:xfrm>
              <a:custGeom>
                <a:avLst/>
                <a:gdLst>
                  <a:gd name="connsiteX0" fmla="*/ 0 w 1504950"/>
                  <a:gd name="connsiteY0" fmla="*/ 0 h 1000125"/>
                  <a:gd name="connsiteX1" fmla="*/ 342900 w 1504950"/>
                  <a:gd name="connsiteY1" fmla="*/ 247650 h 1000125"/>
                  <a:gd name="connsiteX2" fmla="*/ 533400 w 1504950"/>
                  <a:gd name="connsiteY2" fmla="*/ 409575 h 1000125"/>
                  <a:gd name="connsiteX3" fmla="*/ 923925 w 1504950"/>
                  <a:gd name="connsiteY3" fmla="*/ 590550 h 1000125"/>
                  <a:gd name="connsiteX4" fmla="*/ 1428750 w 1504950"/>
                  <a:gd name="connsiteY4" fmla="*/ 866775 h 1000125"/>
                  <a:gd name="connsiteX5" fmla="*/ 1504950 w 1504950"/>
                  <a:gd name="connsiteY5" fmla="*/ 1000125 h 1000125"/>
                  <a:gd name="connsiteX0" fmla="*/ 0 w 1162050"/>
                  <a:gd name="connsiteY0" fmla="*/ 0 h 752475"/>
                  <a:gd name="connsiteX1" fmla="*/ 190500 w 1162050"/>
                  <a:gd name="connsiteY1" fmla="*/ 161925 h 752475"/>
                  <a:gd name="connsiteX2" fmla="*/ 581025 w 1162050"/>
                  <a:gd name="connsiteY2" fmla="*/ 342900 h 752475"/>
                  <a:gd name="connsiteX3" fmla="*/ 1085850 w 1162050"/>
                  <a:gd name="connsiteY3" fmla="*/ 619125 h 752475"/>
                  <a:gd name="connsiteX4" fmla="*/ 1162050 w 1162050"/>
                  <a:gd name="connsiteY4" fmla="*/ 752475 h 752475"/>
                  <a:gd name="connsiteX0" fmla="*/ 0 w 971550"/>
                  <a:gd name="connsiteY0" fmla="*/ 0 h 590550"/>
                  <a:gd name="connsiteX1" fmla="*/ 390525 w 971550"/>
                  <a:gd name="connsiteY1" fmla="*/ 180975 h 590550"/>
                  <a:gd name="connsiteX2" fmla="*/ 895350 w 971550"/>
                  <a:gd name="connsiteY2" fmla="*/ 457200 h 590550"/>
                  <a:gd name="connsiteX3" fmla="*/ 971550 w 971550"/>
                  <a:gd name="connsiteY3" fmla="*/ 590550 h 590550"/>
                  <a:gd name="connsiteX0" fmla="*/ 0 w 650828"/>
                  <a:gd name="connsiteY0" fmla="*/ 0 h 460896"/>
                  <a:gd name="connsiteX1" fmla="*/ 69803 w 650828"/>
                  <a:gd name="connsiteY1" fmla="*/ 51321 h 460896"/>
                  <a:gd name="connsiteX2" fmla="*/ 574628 w 650828"/>
                  <a:gd name="connsiteY2" fmla="*/ 327546 h 460896"/>
                  <a:gd name="connsiteX3" fmla="*/ 650828 w 650828"/>
                  <a:gd name="connsiteY3" fmla="*/ 460896 h 460896"/>
                  <a:gd name="connsiteX0" fmla="*/ 0 w 581025"/>
                  <a:gd name="connsiteY0" fmla="*/ 0 h 409575"/>
                  <a:gd name="connsiteX1" fmla="*/ 504825 w 581025"/>
                  <a:gd name="connsiteY1" fmla="*/ 276225 h 409575"/>
                  <a:gd name="connsiteX2" fmla="*/ 581025 w 581025"/>
                  <a:gd name="connsiteY2" fmla="*/ 409575 h 409575"/>
                  <a:gd name="connsiteX0" fmla="*/ 0 w 642440"/>
                  <a:gd name="connsiteY0" fmla="*/ 0 h 464166"/>
                  <a:gd name="connsiteX1" fmla="*/ 566240 w 642440"/>
                  <a:gd name="connsiteY1" fmla="*/ 330816 h 464166"/>
                  <a:gd name="connsiteX2" fmla="*/ 642440 w 642440"/>
                  <a:gd name="connsiteY2" fmla="*/ 464166 h 464166"/>
                  <a:gd name="connsiteX0" fmla="*/ 0 w 512989"/>
                  <a:gd name="connsiteY0" fmla="*/ 0 h 387214"/>
                  <a:gd name="connsiteX1" fmla="*/ 436789 w 512989"/>
                  <a:gd name="connsiteY1" fmla="*/ 253864 h 387214"/>
                  <a:gd name="connsiteX2" fmla="*/ 512989 w 512989"/>
                  <a:gd name="connsiteY2" fmla="*/ 387214 h 387214"/>
                  <a:gd name="connsiteX0" fmla="*/ 0 w 444456"/>
                  <a:gd name="connsiteY0" fmla="*/ 0 h 371824"/>
                  <a:gd name="connsiteX1" fmla="*/ 368256 w 444456"/>
                  <a:gd name="connsiteY1" fmla="*/ 238474 h 371824"/>
                  <a:gd name="connsiteX2" fmla="*/ 444456 w 444456"/>
                  <a:gd name="connsiteY2" fmla="*/ 371824 h 371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4456" h="371824">
                    <a:moveTo>
                      <a:pt x="0" y="0"/>
                    </a:moveTo>
                    <a:cubicBezTo>
                      <a:pt x="95771" y="54591"/>
                      <a:pt x="271418" y="170211"/>
                      <a:pt x="368256" y="238474"/>
                    </a:cubicBezTo>
                    <a:cubicBezTo>
                      <a:pt x="465094" y="306737"/>
                      <a:pt x="422231" y="355949"/>
                      <a:pt x="444456" y="371824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6" name="Figura a mano libera 176">
                <a:extLst>
                  <a:ext uri="{FF2B5EF4-FFF2-40B4-BE49-F238E27FC236}">
                    <a16:creationId xmlns:a16="http://schemas.microsoft.com/office/drawing/2014/main" id="{5151D44F-E8A6-46AE-91FE-64FCF4BC8FDA}"/>
                  </a:ext>
                </a:extLst>
              </p:cNvPr>
              <p:cNvSpPr/>
              <p:nvPr/>
            </p:nvSpPr>
            <p:spPr>
              <a:xfrm>
                <a:off x="5031085" y="3713848"/>
                <a:ext cx="159361" cy="88535"/>
              </a:xfrm>
              <a:custGeom>
                <a:avLst/>
                <a:gdLst>
                  <a:gd name="connsiteX0" fmla="*/ 0 w 122830"/>
                  <a:gd name="connsiteY0" fmla="*/ 0 h 95646"/>
                  <a:gd name="connsiteX1" fmla="*/ 40944 w 122830"/>
                  <a:gd name="connsiteY1" fmla="*/ 81886 h 95646"/>
                  <a:gd name="connsiteX2" fmla="*/ 122830 w 122830"/>
                  <a:gd name="connsiteY2" fmla="*/ 95534 h 95646"/>
                  <a:gd name="connsiteX3" fmla="*/ 122830 w 122830"/>
                  <a:gd name="connsiteY3" fmla="*/ 95534 h 95646"/>
                  <a:gd name="connsiteX0" fmla="*/ 0 w 136478"/>
                  <a:gd name="connsiteY0" fmla="*/ 0 h 88730"/>
                  <a:gd name="connsiteX1" fmla="*/ 54592 w 136478"/>
                  <a:gd name="connsiteY1" fmla="*/ 75062 h 88730"/>
                  <a:gd name="connsiteX2" fmla="*/ 136478 w 136478"/>
                  <a:gd name="connsiteY2" fmla="*/ 88710 h 88730"/>
                  <a:gd name="connsiteX3" fmla="*/ 136478 w 136478"/>
                  <a:gd name="connsiteY3" fmla="*/ 88710 h 88730"/>
                  <a:gd name="connsiteX0" fmla="*/ 0 w 142543"/>
                  <a:gd name="connsiteY0" fmla="*/ 0 h 90098"/>
                  <a:gd name="connsiteX1" fmla="*/ 54592 w 142543"/>
                  <a:gd name="connsiteY1" fmla="*/ 75062 h 90098"/>
                  <a:gd name="connsiteX2" fmla="*/ 136478 w 142543"/>
                  <a:gd name="connsiteY2" fmla="*/ 88710 h 90098"/>
                  <a:gd name="connsiteX3" fmla="*/ 136478 w 142543"/>
                  <a:gd name="connsiteY3" fmla="*/ 54591 h 90098"/>
                  <a:gd name="connsiteX0" fmla="*/ 0 w 136478"/>
                  <a:gd name="connsiteY0" fmla="*/ 0 h 77021"/>
                  <a:gd name="connsiteX1" fmla="*/ 54592 w 136478"/>
                  <a:gd name="connsiteY1" fmla="*/ 75062 h 77021"/>
                  <a:gd name="connsiteX2" fmla="*/ 136478 w 136478"/>
                  <a:gd name="connsiteY2" fmla="*/ 54591 h 7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6478" h="77021">
                    <a:moveTo>
                      <a:pt x="0" y="0"/>
                    </a:moveTo>
                    <a:cubicBezTo>
                      <a:pt x="10236" y="32982"/>
                      <a:pt x="31846" y="65964"/>
                      <a:pt x="54592" y="75062"/>
                    </a:cubicBezTo>
                    <a:cubicBezTo>
                      <a:pt x="77338" y="84160"/>
                      <a:pt x="119419" y="58856"/>
                      <a:pt x="136478" y="54591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7" name="Rettangolo 386">
                <a:extLst>
                  <a:ext uri="{FF2B5EF4-FFF2-40B4-BE49-F238E27FC236}">
                    <a16:creationId xmlns:a16="http://schemas.microsoft.com/office/drawing/2014/main" id="{D94C0F52-BBC9-443C-8ABF-71BC63A767FF}"/>
                  </a:ext>
                </a:extLst>
              </p:cNvPr>
              <p:cNvSpPr/>
              <p:nvPr/>
            </p:nvSpPr>
            <p:spPr>
              <a:xfrm>
                <a:off x="5041723" y="3484047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9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Bari</a:t>
                </a:r>
              </a:p>
            </p:txBody>
          </p:sp>
          <p:sp>
            <p:nvSpPr>
              <p:cNvPr id="388" name="Oval 11">
                <a:extLst>
                  <a:ext uri="{FF2B5EF4-FFF2-40B4-BE49-F238E27FC236}">
                    <a16:creationId xmlns:a16="http://schemas.microsoft.com/office/drawing/2014/main" id="{433264D6-CD0D-4662-ADD7-5AF8F55B39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54219" y="3623499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9" name="Oval 11">
                <a:extLst>
                  <a:ext uri="{FF2B5EF4-FFF2-40B4-BE49-F238E27FC236}">
                    <a16:creationId xmlns:a16="http://schemas.microsoft.com/office/drawing/2014/main" id="{157FA906-E2A8-4B87-861E-749A3554D2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39672" y="4137728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0" name="Rettangolo 389">
                <a:extLst>
                  <a:ext uri="{FF2B5EF4-FFF2-40B4-BE49-F238E27FC236}">
                    <a16:creationId xmlns:a16="http://schemas.microsoft.com/office/drawing/2014/main" id="{5AD2176D-7876-4DC1-943B-7F1E20078A2E}"/>
                  </a:ext>
                </a:extLst>
              </p:cNvPr>
              <p:cNvSpPr/>
              <p:nvPr/>
            </p:nvSpPr>
            <p:spPr>
              <a:xfrm>
                <a:off x="2158519" y="1653355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iacenza</a:t>
                </a:r>
              </a:p>
            </p:txBody>
          </p:sp>
          <p:sp>
            <p:nvSpPr>
              <p:cNvPr id="391" name="Oval 11">
                <a:extLst>
                  <a:ext uri="{FF2B5EF4-FFF2-40B4-BE49-F238E27FC236}">
                    <a16:creationId xmlns:a16="http://schemas.microsoft.com/office/drawing/2014/main" id="{D18AA414-AAEA-4B6F-876A-3F0B38D9AEF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00903" y="1549977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2" name="Rettangolo 391">
                <a:extLst>
                  <a:ext uri="{FF2B5EF4-FFF2-40B4-BE49-F238E27FC236}">
                    <a16:creationId xmlns:a16="http://schemas.microsoft.com/office/drawing/2014/main" id="{29DC760B-6B26-4D28-8994-B6C8B290E56E}"/>
                  </a:ext>
                </a:extLst>
              </p:cNvPr>
              <p:cNvSpPr/>
              <p:nvPr/>
            </p:nvSpPr>
            <p:spPr>
              <a:xfrm>
                <a:off x="3252866" y="1892422"/>
                <a:ext cx="543168" cy="1413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avenna</a:t>
                </a:r>
              </a:p>
            </p:txBody>
          </p:sp>
          <p:sp>
            <p:nvSpPr>
              <p:cNvPr id="393" name="Oval 11">
                <a:extLst>
                  <a:ext uri="{FF2B5EF4-FFF2-40B4-BE49-F238E27FC236}">
                    <a16:creationId xmlns:a16="http://schemas.microsoft.com/office/drawing/2014/main" id="{67BDA016-EC18-4FDA-A751-482426E49DC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125607" y="1889627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4" name="Figura a mano libera 184">
                <a:extLst>
                  <a:ext uri="{FF2B5EF4-FFF2-40B4-BE49-F238E27FC236}">
                    <a16:creationId xmlns:a16="http://schemas.microsoft.com/office/drawing/2014/main" id="{59FF0045-598C-4507-BEEF-458E97C67E58}"/>
                  </a:ext>
                </a:extLst>
              </p:cNvPr>
              <p:cNvSpPr/>
              <p:nvPr/>
            </p:nvSpPr>
            <p:spPr>
              <a:xfrm>
                <a:off x="3171463" y="1994159"/>
                <a:ext cx="63744" cy="149037"/>
              </a:xfrm>
              <a:custGeom>
                <a:avLst/>
                <a:gdLst>
                  <a:gd name="connsiteX0" fmla="*/ 0 w 54591"/>
                  <a:gd name="connsiteY0" fmla="*/ 0 h 129654"/>
                  <a:gd name="connsiteX1" fmla="*/ 20472 w 54591"/>
                  <a:gd name="connsiteY1" fmla="*/ 88711 h 129654"/>
                  <a:gd name="connsiteX2" fmla="*/ 54591 w 54591"/>
                  <a:gd name="connsiteY2" fmla="*/ 129654 h 129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591" h="129654">
                    <a:moveTo>
                      <a:pt x="0" y="0"/>
                    </a:moveTo>
                    <a:cubicBezTo>
                      <a:pt x="5687" y="33551"/>
                      <a:pt x="11374" y="67102"/>
                      <a:pt x="20472" y="88711"/>
                    </a:cubicBezTo>
                    <a:cubicBezTo>
                      <a:pt x="29570" y="110320"/>
                      <a:pt x="42080" y="119987"/>
                      <a:pt x="54591" y="129654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5" name="Figura a mano libera 185">
                <a:extLst>
                  <a:ext uri="{FF2B5EF4-FFF2-40B4-BE49-F238E27FC236}">
                    <a16:creationId xmlns:a16="http://schemas.microsoft.com/office/drawing/2014/main" id="{6FD51A35-907C-4D57-B533-18CB686FEE95}"/>
                  </a:ext>
                </a:extLst>
              </p:cNvPr>
              <p:cNvSpPr/>
              <p:nvPr/>
            </p:nvSpPr>
            <p:spPr>
              <a:xfrm>
                <a:off x="2906387" y="1984530"/>
                <a:ext cx="433107" cy="236160"/>
              </a:xfrm>
              <a:custGeom>
                <a:avLst/>
                <a:gdLst>
                  <a:gd name="connsiteX0" fmla="*/ 0 w 542925"/>
                  <a:gd name="connsiteY0" fmla="*/ 0 h 342900"/>
                  <a:gd name="connsiteX1" fmla="*/ 361950 w 542925"/>
                  <a:gd name="connsiteY1" fmla="*/ 200025 h 342900"/>
                  <a:gd name="connsiteX2" fmla="*/ 542925 w 542925"/>
                  <a:gd name="connsiteY2" fmla="*/ 342900 h 342900"/>
                  <a:gd name="connsiteX0" fmla="*/ 0 w 361950"/>
                  <a:gd name="connsiteY0" fmla="*/ 0 h 200025"/>
                  <a:gd name="connsiteX1" fmla="*/ 361950 w 361950"/>
                  <a:gd name="connsiteY1" fmla="*/ 200025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1950" h="200025">
                    <a:moveTo>
                      <a:pt x="0" y="0"/>
                    </a:moveTo>
                    <a:cubicBezTo>
                      <a:pt x="135731" y="71437"/>
                      <a:pt x="271463" y="142875"/>
                      <a:pt x="361950" y="200025"/>
                    </a:cubicBezTo>
                  </a:path>
                </a:pathLst>
              </a:custGeom>
              <a:noFill/>
              <a:ln w="28575"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6" name="Oval 11">
                <a:extLst>
                  <a:ext uri="{FF2B5EF4-FFF2-40B4-BE49-F238E27FC236}">
                    <a16:creationId xmlns:a16="http://schemas.microsoft.com/office/drawing/2014/main" id="{D772FD5E-68ED-47D9-A6FA-E0FF8022726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811181" y="1893028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7" name="Oval 11">
                <a:extLst>
                  <a:ext uri="{FF2B5EF4-FFF2-40B4-BE49-F238E27FC236}">
                    <a16:creationId xmlns:a16="http://schemas.microsoft.com/office/drawing/2014/main" id="{E982CE84-CAF4-401A-A3F8-202006E3A30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67255" y="1341841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8" name="Oval 11">
                <a:extLst>
                  <a:ext uri="{FF2B5EF4-FFF2-40B4-BE49-F238E27FC236}">
                    <a16:creationId xmlns:a16="http://schemas.microsoft.com/office/drawing/2014/main" id="{961C4382-1522-445B-B981-9717B42EFF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653234" y="875560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9" name="Oval 11">
                <a:extLst>
                  <a:ext uri="{FF2B5EF4-FFF2-40B4-BE49-F238E27FC236}">
                    <a16:creationId xmlns:a16="http://schemas.microsoft.com/office/drawing/2014/main" id="{88B7D477-0C0E-4CC2-B8AE-58D35BB86F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593463" y="1038835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0" name="Oval 11">
                <a:extLst>
                  <a:ext uri="{FF2B5EF4-FFF2-40B4-BE49-F238E27FC236}">
                    <a16:creationId xmlns:a16="http://schemas.microsoft.com/office/drawing/2014/main" id="{C819F24F-58BF-4465-B2E0-2726ECD789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54558" y="3476898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1" name="Oval 11">
                <a:extLst>
                  <a:ext uri="{FF2B5EF4-FFF2-40B4-BE49-F238E27FC236}">
                    <a16:creationId xmlns:a16="http://schemas.microsoft.com/office/drawing/2014/main" id="{3AFDF281-DCDB-484A-8183-E165AE51569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956372" y="3778519"/>
                <a:ext cx="126108" cy="124146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2" name="Oval 11">
                <a:extLst>
                  <a:ext uri="{FF2B5EF4-FFF2-40B4-BE49-F238E27FC236}">
                    <a16:creationId xmlns:a16="http://schemas.microsoft.com/office/drawing/2014/main" id="{773BEA1E-86AC-417A-B966-5166797FE7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879670" y="2940241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3" name="Rettangolo 402">
                <a:extLst>
                  <a:ext uri="{FF2B5EF4-FFF2-40B4-BE49-F238E27FC236}">
                    <a16:creationId xmlns:a16="http://schemas.microsoft.com/office/drawing/2014/main" id="{18FD70FB-C799-4B3D-BF80-3E9F9F7977E2}"/>
                  </a:ext>
                </a:extLst>
              </p:cNvPr>
              <p:cNvSpPr/>
              <p:nvPr/>
            </p:nvSpPr>
            <p:spPr>
              <a:xfrm>
                <a:off x="2892847" y="1255678"/>
                <a:ext cx="543168" cy="742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7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Vicenza</a:t>
                </a:r>
              </a:p>
            </p:txBody>
          </p:sp>
          <p:sp>
            <p:nvSpPr>
              <p:cNvPr id="404" name="Oval 11">
                <a:extLst>
                  <a:ext uri="{FF2B5EF4-FFF2-40B4-BE49-F238E27FC236}">
                    <a16:creationId xmlns:a16="http://schemas.microsoft.com/office/drawing/2014/main" id="{60C368D8-0D51-4C38-8B5E-9C386F0E5F3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961960" y="1309786"/>
                <a:ext cx="84072" cy="82764"/>
              </a:xfrm>
              <a:prstGeom prst="ellipse">
                <a:avLst/>
              </a:prstGeom>
              <a:solidFill>
                <a:srgbClr val="C00000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66" name="Figura a mano libera 50">
              <a:extLst>
                <a:ext uri="{FF2B5EF4-FFF2-40B4-BE49-F238E27FC236}">
                  <a16:creationId xmlns:a16="http://schemas.microsoft.com/office/drawing/2014/main" id="{316DB457-59F0-4FA2-A0C0-70C440D94037}"/>
                </a:ext>
              </a:extLst>
            </p:cNvPr>
            <p:cNvSpPr/>
            <p:nvPr/>
          </p:nvSpPr>
          <p:spPr>
            <a:xfrm>
              <a:off x="2693560" y="821328"/>
              <a:ext cx="37073" cy="379566"/>
            </a:xfrm>
            <a:custGeom>
              <a:avLst/>
              <a:gdLst>
                <a:gd name="connsiteX0" fmla="*/ 0 w 57657"/>
                <a:gd name="connsiteY0" fmla="*/ 0 h 323850"/>
                <a:gd name="connsiteX1" fmla="*/ 50800 w 57657"/>
                <a:gd name="connsiteY1" fmla="*/ 184150 h 323850"/>
                <a:gd name="connsiteX2" fmla="*/ 57150 w 57657"/>
                <a:gd name="connsiteY2" fmla="*/ 323850 h 323850"/>
                <a:gd name="connsiteX0" fmla="*/ 0 w 31750"/>
                <a:gd name="connsiteY0" fmla="*/ 0 h 330200"/>
                <a:gd name="connsiteX1" fmla="*/ 25400 w 31750"/>
                <a:gd name="connsiteY1" fmla="*/ 190500 h 330200"/>
                <a:gd name="connsiteX2" fmla="*/ 31750 w 31750"/>
                <a:gd name="connsiteY2" fmla="*/ 330200 h 33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" h="330200">
                  <a:moveTo>
                    <a:pt x="0" y="0"/>
                  </a:moveTo>
                  <a:cubicBezTo>
                    <a:pt x="20637" y="65087"/>
                    <a:pt x="20108" y="135467"/>
                    <a:pt x="25400" y="190500"/>
                  </a:cubicBezTo>
                  <a:cubicBezTo>
                    <a:pt x="30692" y="245533"/>
                    <a:pt x="31750" y="330200"/>
                    <a:pt x="31750" y="330200"/>
                  </a:cubicBezTo>
                </a:path>
              </a:pathLst>
            </a:custGeom>
            <a:noFill/>
            <a:ln w="28575">
              <a:solidFill>
                <a:srgbClr val="C00000"/>
              </a:solidFill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05" name="Figura a mano libera 230">
            <a:extLst>
              <a:ext uri="{FF2B5EF4-FFF2-40B4-BE49-F238E27FC236}">
                <a16:creationId xmlns:a16="http://schemas.microsoft.com/office/drawing/2014/main" id="{A2A46D6A-D476-4EAF-8023-9448DB6861EA}"/>
              </a:ext>
            </a:extLst>
          </p:cNvPr>
          <p:cNvSpPr/>
          <p:nvPr/>
        </p:nvSpPr>
        <p:spPr bwMode="auto">
          <a:xfrm>
            <a:off x="4255789" y="4015584"/>
            <a:ext cx="705065" cy="1246361"/>
          </a:xfrm>
          <a:custGeom>
            <a:avLst/>
            <a:gdLst>
              <a:gd name="connsiteX0" fmla="*/ 58847 w 873659"/>
              <a:gd name="connsiteY0" fmla="*/ 208229 h 1552669"/>
              <a:gd name="connsiteX1" fmla="*/ 162962 w 873659"/>
              <a:gd name="connsiteY1" fmla="*/ 258023 h 1552669"/>
              <a:gd name="connsiteX2" fmla="*/ 230863 w 873659"/>
              <a:gd name="connsiteY2" fmla="*/ 267077 h 1552669"/>
              <a:gd name="connsiteX3" fmla="*/ 316871 w 873659"/>
              <a:gd name="connsiteY3" fmla="*/ 203703 h 1552669"/>
              <a:gd name="connsiteX4" fmla="*/ 353085 w 873659"/>
              <a:gd name="connsiteY4" fmla="*/ 208229 h 1552669"/>
              <a:gd name="connsiteX5" fmla="*/ 407406 w 873659"/>
              <a:gd name="connsiteY5" fmla="*/ 140328 h 1552669"/>
              <a:gd name="connsiteX6" fmla="*/ 479834 w 873659"/>
              <a:gd name="connsiteY6" fmla="*/ 76954 h 1552669"/>
              <a:gd name="connsiteX7" fmla="*/ 529628 w 873659"/>
              <a:gd name="connsiteY7" fmla="*/ 76954 h 1552669"/>
              <a:gd name="connsiteX8" fmla="*/ 543208 w 873659"/>
              <a:gd name="connsiteY8" fmla="*/ 58847 h 1552669"/>
              <a:gd name="connsiteX9" fmla="*/ 547735 w 873659"/>
              <a:gd name="connsiteY9" fmla="*/ 58847 h 1552669"/>
              <a:gd name="connsiteX10" fmla="*/ 538681 w 873659"/>
              <a:gd name="connsiteY10" fmla="*/ 0 h 1552669"/>
              <a:gd name="connsiteX11" fmla="*/ 611109 w 873659"/>
              <a:gd name="connsiteY11" fmla="*/ 0 h 1552669"/>
              <a:gd name="connsiteX12" fmla="*/ 620162 w 873659"/>
              <a:gd name="connsiteY12" fmla="*/ 45267 h 1552669"/>
              <a:gd name="connsiteX13" fmla="*/ 651849 w 873659"/>
              <a:gd name="connsiteY13" fmla="*/ 45267 h 1552669"/>
              <a:gd name="connsiteX14" fmla="*/ 697117 w 873659"/>
              <a:gd name="connsiteY14" fmla="*/ 4526 h 1552669"/>
              <a:gd name="connsiteX15" fmla="*/ 710697 w 873659"/>
              <a:gd name="connsiteY15" fmla="*/ 36214 h 1552669"/>
              <a:gd name="connsiteX16" fmla="*/ 710697 w 873659"/>
              <a:gd name="connsiteY16" fmla="*/ 36214 h 1552669"/>
              <a:gd name="connsiteX17" fmla="*/ 701643 w 873659"/>
              <a:gd name="connsiteY17" fmla="*/ 99588 h 1552669"/>
              <a:gd name="connsiteX18" fmla="*/ 728804 w 873659"/>
              <a:gd name="connsiteY18" fmla="*/ 86008 h 1552669"/>
              <a:gd name="connsiteX19" fmla="*/ 760491 w 873659"/>
              <a:gd name="connsiteY19" fmla="*/ 95061 h 1552669"/>
              <a:gd name="connsiteX20" fmla="*/ 760491 w 873659"/>
              <a:gd name="connsiteY20" fmla="*/ 95061 h 1552669"/>
              <a:gd name="connsiteX21" fmla="*/ 737857 w 873659"/>
              <a:gd name="connsiteY21" fmla="*/ 140328 h 1552669"/>
              <a:gd name="connsiteX22" fmla="*/ 737857 w 873659"/>
              <a:gd name="connsiteY22" fmla="*/ 185596 h 1552669"/>
              <a:gd name="connsiteX23" fmla="*/ 737857 w 873659"/>
              <a:gd name="connsiteY23" fmla="*/ 185596 h 1552669"/>
              <a:gd name="connsiteX24" fmla="*/ 778598 w 873659"/>
              <a:gd name="connsiteY24" fmla="*/ 167489 h 1552669"/>
              <a:gd name="connsiteX25" fmla="*/ 769544 w 873659"/>
              <a:gd name="connsiteY25" fmla="*/ 194649 h 1552669"/>
              <a:gd name="connsiteX26" fmla="*/ 760491 w 873659"/>
              <a:gd name="connsiteY26" fmla="*/ 244443 h 1552669"/>
              <a:gd name="connsiteX27" fmla="*/ 774071 w 873659"/>
              <a:gd name="connsiteY27" fmla="*/ 244443 h 1552669"/>
              <a:gd name="connsiteX28" fmla="*/ 805758 w 873659"/>
              <a:gd name="connsiteY28" fmla="*/ 244443 h 1552669"/>
              <a:gd name="connsiteX29" fmla="*/ 837445 w 873659"/>
              <a:gd name="connsiteY29" fmla="*/ 230863 h 1552669"/>
              <a:gd name="connsiteX30" fmla="*/ 837445 w 873659"/>
              <a:gd name="connsiteY30" fmla="*/ 230863 h 1552669"/>
              <a:gd name="connsiteX31" fmla="*/ 810285 w 873659"/>
              <a:gd name="connsiteY31" fmla="*/ 262550 h 1552669"/>
              <a:gd name="connsiteX32" fmla="*/ 851026 w 873659"/>
              <a:gd name="connsiteY32" fmla="*/ 262550 h 1552669"/>
              <a:gd name="connsiteX33" fmla="*/ 832919 w 873659"/>
              <a:gd name="connsiteY33" fmla="*/ 271604 h 1552669"/>
              <a:gd name="connsiteX34" fmla="*/ 801232 w 873659"/>
              <a:gd name="connsiteY34" fmla="*/ 307817 h 1552669"/>
              <a:gd name="connsiteX35" fmla="*/ 823865 w 873659"/>
              <a:gd name="connsiteY35" fmla="*/ 339505 h 1552669"/>
              <a:gd name="connsiteX36" fmla="*/ 832919 w 873659"/>
              <a:gd name="connsiteY36" fmla="*/ 384772 h 1552669"/>
              <a:gd name="connsiteX37" fmla="*/ 832919 w 873659"/>
              <a:gd name="connsiteY37" fmla="*/ 384772 h 1552669"/>
              <a:gd name="connsiteX38" fmla="*/ 832919 w 873659"/>
              <a:gd name="connsiteY38" fmla="*/ 434566 h 1552669"/>
              <a:gd name="connsiteX39" fmla="*/ 855552 w 873659"/>
              <a:gd name="connsiteY39" fmla="*/ 461726 h 1552669"/>
              <a:gd name="connsiteX40" fmla="*/ 873659 w 873659"/>
              <a:gd name="connsiteY40" fmla="*/ 502467 h 1552669"/>
              <a:gd name="connsiteX41" fmla="*/ 851026 w 873659"/>
              <a:gd name="connsiteY41" fmla="*/ 543208 h 1552669"/>
              <a:gd name="connsiteX42" fmla="*/ 851026 w 873659"/>
              <a:gd name="connsiteY42" fmla="*/ 574895 h 1552669"/>
              <a:gd name="connsiteX43" fmla="*/ 823865 w 873659"/>
              <a:gd name="connsiteY43" fmla="*/ 611109 h 1552669"/>
              <a:gd name="connsiteX44" fmla="*/ 783125 w 873659"/>
              <a:gd name="connsiteY44" fmla="*/ 642796 h 1552669"/>
              <a:gd name="connsiteX45" fmla="*/ 765018 w 873659"/>
              <a:gd name="connsiteY45" fmla="*/ 669956 h 1552669"/>
              <a:gd name="connsiteX46" fmla="*/ 760491 w 873659"/>
              <a:gd name="connsiteY46" fmla="*/ 710697 h 1552669"/>
              <a:gd name="connsiteX47" fmla="*/ 769544 w 873659"/>
              <a:gd name="connsiteY47" fmla="*/ 755964 h 1552669"/>
              <a:gd name="connsiteX48" fmla="*/ 769544 w 873659"/>
              <a:gd name="connsiteY48" fmla="*/ 755964 h 1552669"/>
              <a:gd name="connsiteX49" fmla="*/ 810285 w 873659"/>
              <a:gd name="connsiteY49" fmla="*/ 783124 h 1552669"/>
              <a:gd name="connsiteX50" fmla="*/ 783125 w 873659"/>
              <a:gd name="connsiteY50" fmla="*/ 860079 h 1552669"/>
              <a:gd name="connsiteX51" fmla="*/ 760491 w 873659"/>
              <a:gd name="connsiteY51" fmla="*/ 905346 h 1552669"/>
              <a:gd name="connsiteX52" fmla="*/ 769544 w 873659"/>
              <a:gd name="connsiteY52" fmla="*/ 995881 h 1552669"/>
              <a:gd name="connsiteX53" fmla="*/ 742384 w 873659"/>
              <a:gd name="connsiteY53" fmla="*/ 1045675 h 1552669"/>
              <a:gd name="connsiteX54" fmla="*/ 737857 w 873659"/>
              <a:gd name="connsiteY54" fmla="*/ 1109049 h 1552669"/>
              <a:gd name="connsiteX55" fmla="*/ 733331 w 873659"/>
              <a:gd name="connsiteY55" fmla="*/ 1163370 h 1552669"/>
              <a:gd name="connsiteX56" fmla="*/ 733331 w 873659"/>
              <a:gd name="connsiteY56" fmla="*/ 1204111 h 1552669"/>
              <a:gd name="connsiteX57" fmla="*/ 692590 w 873659"/>
              <a:gd name="connsiteY57" fmla="*/ 1244851 h 1552669"/>
              <a:gd name="connsiteX58" fmla="*/ 706170 w 873659"/>
              <a:gd name="connsiteY58" fmla="*/ 1285592 h 1552669"/>
              <a:gd name="connsiteX59" fmla="*/ 706170 w 873659"/>
              <a:gd name="connsiteY59" fmla="*/ 1285592 h 1552669"/>
              <a:gd name="connsiteX60" fmla="*/ 688063 w 873659"/>
              <a:gd name="connsiteY60" fmla="*/ 1326332 h 1552669"/>
              <a:gd name="connsiteX61" fmla="*/ 683537 w 873659"/>
              <a:gd name="connsiteY61" fmla="*/ 1371600 h 1552669"/>
              <a:gd name="connsiteX62" fmla="*/ 674483 w 873659"/>
              <a:gd name="connsiteY62" fmla="*/ 1425920 h 1552669"/>
              <a:gd name="connsiteX63" fmla="*/ 611109 w 873659"/>
              <a:gd name="connsiteY63" fmla="*/ 1416867 h 1552669"/>
              <a:gd name="connsiteX64" fmla="*/ 570368 w 873659"/>
              <a:gd name="connsiteY64" fmla="*/ 1376126 h 1552669"/>
              <a:gd name="connsiteX65" fmla="*/ 543208 w 873659"/>
              <a:gd name="connsiteY65" fmla="*/ 1348966 h 1552669"/>
              <a:gd name="connsiteX66" fmla="*/ 497940 w 873659"/>
              <a:gd name="connsiteY66" fmla="*/ 1339913 h 1552669"/>
              <a:gd name="connsiteX67" fmla="*/ 457200 w 873659"/>
              <a:gd name="connsiteY67" fmla="*/ 1367073 h 1552669"/>
              <a:gd name="connsiteX68" fmla="*/ 457200 w 873659"/>
              <a:gd name="connsiteY68" fmla="*/ 1367073 h 1552669"/>
              <a:gd name="connsiteX69" fmla="*/ 457200 w 873659"/>
              <a:gd name="connsiteY69" fmla="*/ 1367073 h 1552669"/>
              <a:gd name="connsiteX70" fmla="*/ 425513 w 873659"/>
              <a:gd name="connsiteY70" fmla="*/ 1339913 h 1552669"/>
              <a:gd name="connsiteX71" fmla="*/ 389299 w 873659"/>
              <a:gd name="connsiteY71" fmla="*/ 1403287 h 1552669"/>
              <a:gd name="connsiteX72" fmla="*/ 375719 w 873659"/>
              <a:gd name="connsiteY72" fmla="*/ 1439501 h 1552669"/>
              <a:gd name="connsiteX73" fmla="*/ 380245 w 873659"/>
              <a:gd name="connsiteY73" fmla="*/ 1484768 h 1552669"/>
              <a:gd name="connsiteX74" fmla="*/ 339505 w 873659"/>
              <a:gd name="connsiteY74" fmla="*/ 1511928 h 1552669"/>
              <a:gd name="connsiteX75" fmla="*/ 271604 w 873659"/>
              <a:gd name="connsiteY75" fmla="*/ 1552669 h 1552669"/>
              <a:gd name="connsiteX76" fmla="*/ 217283 w 873659"/>
              <a:gd name="connsiteY76" fmla="*/ 1516455 h 1552669"/>
              <a:gd name="connsiteX77" fmla="*/ 172016 w 873659"/>
              <a:gd name="connsiteY77" fmla="*/ 1548142 h 1552669"/>
              <a:gd name="connsiteX78" fmla="*/ 144855 w 873659"/>
              <a:gd name="connsiteY78" fmla="*/ 1484768 h 1552669"/>
              <a:gd name="connsiteX79" fmla="*/ 144855 w 873659"/>
              <a:gd name="connsiteY79" fmla="*/ 1421394 h 1552669"/>
              <a:gd name="connsiteX80" fmla="*/ 144855 w 873659"/>
              <a:gd name="connsiteY80" fmla="*/ 1421394 h 1552669"/>
              <a:gd name="connsiteX81" fmla="*/ 104115 w 873659"/>
              <a:gd name="connsiteY81" fmla="*/ 1444027 h 1552669"/>
              <a:gd name="connsiteX82" fmla="*/ 67901 w 873659"/>
              <a:gd name="connsiteY82" fmla="*/ 1471188 h 1552669"/>
              <a:gd name="connsiteX83" fmla="*/ 54321 w 873659"/>
              <a:gd name="connsiteY83" fmla="*/ 1507402 h 1552669"/>
              <a:gd name="connsiteX84" fmla="*/ 58847 w 873659"/>
              <a:gd name="connsiteY84" fmla="*/ 1484768 h 1552669"/>
              <a:gd name="connsiteX85" fmla="*/ 31687 w 873659"/>
              <a:gd name="connsiteY85" fmla="*/ 1421394 h 1552669"/>
              <a:gd name="connsiteX86" fmla="*/ 31687 w 873659"/>
              <a:gd name="connsiteY86" fmla="*/ 1421394 h 1552669"/>
              <a:gd name="connsiteX87" fmla="*/ 90535 w 873659"/>
              <a:gd name="connsiteY87" fmla="*/ 1394233 h 1552669"/>
              <a:gd name="connsiteX88" fmla="*/ 76954 w 873659"/>
              <a:gd name="connsiteY88" fmla="*/ 1348966 h 1552669"/>
              <a:gd name="connsiteX89" fmla="*/ 49794 w 873659"/>
              <a:gd name="connsiteY89" fmla="*/ 1321806 h 1552669"/>
              <a:gd name="connsiteX90" fmla="*/ 90535 w 873659"/>
              <a:gd name="connsiteY90" fmla="*/ 1281065 h 1552669"/>
              <a:gd name="connsiteX91" fmla="*/ 58847 w 873659"/>
              <a:gd name="connsiteY91" fmla="*/ 1226744 h 1552669"/>
              <a:gd name="connsiteX92" fmla="*/ 72428 w 873659"/>
              <a:gd name="connsiteY92" fmla="*/ 1181477 h 1552669"/>
              <a:gd name="connsiteX93" fmla="*/ 58847 w 873659"/>
              <a:gd name="connsiteY93" fmla="*/ 1149790 h 1552669"/>
              <a:gd name="connsiteX94" fmla="*/ 108641 w 873659"/>
              <a:gd name="connsiteY94" fmla="*/ 1063782 h 1552669"/>
              <a:gd name="connsiteX95" fmla="*/ 126748 w 873659"/>
              <a:gd name="connsiteY95" fmla="*/ 964194 h 1552669"/>
              <a:gd name="connsiteX96" fmla="*/ 158436 w 873659"/>
              <a:gd name="connsiteY96" fmla="*/ 982301 h 1552669"/>
              <a:gd name="connsiteX97" fmla="*/ 181069 w 873659"/>
              <a:gd name="connsiteY97" fmla="*/ 923453 h 1552669"/>
              <a:gd name="connsiteX98" fmla="*/ 162962 w 873659"/>
              <a:gd name="connsiteY98" fmla="*/ 869132 h 1552669"/>
              <a:gd name="connsiteX99" fmla="*/ 117695 w 873659"/>
              <a:gd name="connsiteY99" fmla="*/ 887239 h 1552669"/>
              <a:gd name="connsiteX100" fmla="*/ 122222 w 873659"/>
              <a:gd name="connsiteY100" fmla="*/ 887239 h 1552669"/>
              <a:gd name="connsiteX101" fmla="*/ 86008 w 873659"/>
              <a:gd name="connsiteY101" fmla="*/ 860079 h 1552669"/>
              <a:gd name="connsiteX102" fmla="*/ 90535 w 873659"/>
              <a:gd name="connsiteY102" fmla="*/ 774071 h 1552669"/>
              <a:gd name="connsiteX103" fmla="*/ 158436 w 873659"/>
              <a:gd name="connsiteY103" fmla="*/ 760491 h 1552669"/>
              <a:gd name="connsiteX104" fmla="*/ 144855 w 873659"/>
              <a:gd name="connsiteY104" fmla="*/ 715223 h 1552669"/>
              <a:gd name="connsiteX105" fmla="*/ 140329 w 873659"/>
              <a:gd name="connsiteY105" fmla="*/ 660903 h 1552669"/>
              <a:gd name="connsiteX106" fmla="*/ 158436 w 873659"/>
              <a:gd name="connsiteY106" fmla="*/ 602055 h 1552669"/>
              <a:gd name="connsiteX107" fmla="*/ 117695 w 873659"/>
              <a:gd name="connsiteY107" fmla="*/ 593002 h 1552669"/>
              <a:gd name="connsiteX108" fmla="*/ 117695 w 873659"/>
              <a:gd name="connsiteY108" fmla="*/ 538681 h 1552669"/>
              <a:gd name="connsiteX109" fmla="*/ 113168 w 873659"/>
              <a:gd name="connsiteY109" fmla="*/ 479833 h 1552669"/>
              <a:gd name="connsiteX110" fmla="*/ 67901 w 873659"/>
              <a:gd name="connsiteY110" fmla="*/ 411932 h 1552669"/>
              <a:gd name="connsiteX111" fmla="*/ 36214 w 873659"/>
              <a:gd name="connsiteY111" fmla="*/ 425513 h 1552669"/>
              <a:gd name="connsiteX112" fmla="*/ 36214 w 873659"/>
              <a:gd name="connsiteY112" fmla="*/ 389299 h 1552669"/>
              <a:gd name="connsiteX113" fmla="*/ 13580 w 873659"/>
              <a:gd name="connsiteY113" fmla="*/ 420986 h 1552669"/>
              <a:gd name="connsiteX114" fmla="*/ 0 w 873659"/>
              <a:gd name="connsiteY114" fmla="*/ 380245 h 1552669"/>
              <a:gd name="connsiteX115" fmla="*/ 31687 w 873659"/>
              <a:gd name="connsiteY115" fmla="*/ 348558 h 1552669"/>
              <a:gd name="connsiteX116" fmla="*/ 4527 w 873659"/>
              <a:gd name="connsiteY116" fmla="*/ 312344 h 1552669"/>
              <a:gd name="connsiteX117" fmla="*/ 58847 w 873659"/>
              <a:gd name="connsiteY117" fmla="*/ 208229 h 1552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873659" h="1552669">
                <a:moveTo>
                  <a:pt x="58847" y="208229"/>
                </a:moveTo>
                <a:lnTo>
                  <a:pt x="162962" y="258023"/>
                </a:lnTo>
                <a:lnTo>
                  <a:pt x="230863" y="267077"/>
                </a:lnTo>
                <a:lnTo>
                  <a:pt x="316871" y="203703"/>
                </a:lnTo>
                <a:lnTo>
                  <a:pt x="353085" y="208229"/>
                </a:lnTo>
                <a:lnTo>
                  <a:pt x="407406" y="140328"/>
                </a:lnTo>
                <a:lnTo>
                  <a:pt x="479834" y="76954"/>
                </a:lnTo>
                <a:lnTo>
                  <a:pt x="529628" y="76954"/>
                </a:lnTo>
                <a:lnTo>
                  <a:pt x="543208" y="58847"/>
                </a:lnTo>
                <a:lnTo>
                  <a:pt x="547735" y="58847"/>
                </a:lnTo>
                <a:lnTo>
                  <a:pt x="538681" y="0"/>
                </a:lnTo>
                <a:lnTo>
                  <a:pt x="611109" y="0"/>
                </a:lnTo>
                <a:lnTo>
                  <a:pt x="620162" y="45267"/>
                </a:lnTo>
                <a:lnTo>
                  <a:pt x="651849" y="45267"/>
                </a:lnTo>
                <a:lnTo>
                  <a:pt x="697117" y="4526"/>
                </a:lnTo>
                <a:lnTo>
                  <a:pt x="710697" y="36214"/>
                </a:lnTo>
                <a:lnTo>
                  <a:pt x="710697" y="36214"/>
                </a:lnTo>
                <a:lnTo>
                  <a:pt x="701643" y="99588"/>
                </a:lnTo>
                <a:lnTo>
                  <a:pt x="728804" y="86008"/>
                </a:lnTo>
                <a:lnTo>
                  <a:pt x="760491" y="95061"/>
                </a:lnTo>
                <a:lnTo>
                  <a:pt x="760491" y="95061"/>
                </a:lnTo>
                <a:lnTo>
                  <a:pt x="737857" y="140328"/>
                </a:lnTo>
                <a:lnTo>
                  <a:pt x="737857" y="185596"/>
                </a:lnTo>
                <a:lnTo>
                  <a:pt x="737857" y="185596"/>
                </a:lnTo>
                <a:lnTo>
                  <a:pt x="778598" y="167489"/>
                </a:lnTo>
                <a:lnTo>
                  <a:pt x="769544" y="194649"/>
                </a:lnTo>
                <a:lnTo>
                  <a:pt x="760491" y="244443"/>
                </a:lnTo>
                <a:lnTo>
                  <a:pt x="774071" y="244443"/>
                </a:lnTo>
                <a:lnTo>
                  <a:pt x="805758" y="244443"/>
                </a:lnTo>
                <a:lnTo>
                  <a:pt x="837445" y="230863"/>
                </a:lnTo>
                <a:lnTo>
                  <a:pt x="837445" y="230863"/>
                </a:lnTo>
                <a:lnTo>
                  <a:pt x="810285" y="262550"/>
                </a:lnTo>
                <a:lnTo>
                  <a:pt x="851026" y="262550"/>
                </a:lnTo>
                <a:lnTo>
                  <a:pt x="832919" y="271604"/>
                </a:lnTo>
                <a:lnTo>
                  <a:pt x="801232" y="307817"/>
                </a:lnTo>
                <a:lnTo>
                  <a:pt x="823865" y="339505"/>
                </a:lnTo>
                <a:lnTo>
                  <a:pt x="832919" y="384772"/>
                </a:lnTo>
                <a:lnTo>
                  <a:pt x="832919" y="384772"/>
                </a:lnTo>
                <a:lnTo>
                  <a:pt x="832919" y="434566"/>
                </a:lnTo>
                <a:lnTo>
                  <a:pt x="855552" y="461726"/>
                </a:lnTo>
                <a:lnTo>
                  <a:pt x="873659" y="502467"/>
                </a:lnTo>
                <a:lnTo>
                  <a:pt x="851026" y="543208"/>
                </a:lnTo>
                <a:lnTo>
                  <a:pt x="851026" y="574895"/>
                </a:lnTo>
                <a:lnTo>
                  <a:pt x="823865" y="611109"/>
                </a:lnTo>
                <a:lnTo>
                  <a:pt x="783125" y="642796"/>
                </a:lnTo>
                <a:lnTo>
                  <a:pt x="765018" y="669956"/>
                </a:lnTo>
                <a:lnTo>
                  <a:pt x="760491" y="710697"/>
                </a:lnTo>
                <a:cubicBezTo>
                  <a:pt x="765168" y="757465"/>
                  <a:pt x="749854" y="755964"/>
                  <a:pt x="769544" y="755964"/>
                </a:cubicBezTo>
                <a:lnTo>
                  <a:pt x="769544" y="755964"/>
                </a:lnTo>
                <a:lnTo>
                  <a:pt x="810285" y="783124"/>
                </a:lnTo>
                <a:lnTo>
                  <a:pt x="783125" y="860079"/>
                </a:lnTo>
                <a:lnTo>
                  <a:pt x="760491" y="905346"/>
                </a:lnTo>
                <a:lnTo>
                  <a:pt x="769544" y="995881"/>
                </a:lnTo>
                <a:lnTo>
                  <a:pt x="742384" y="1045675"/>
                </a:lnTo>
                <a:lnTo>
                  <a:pt x="737857" y="1109049"/>
                </a:lnTo>
                <a:lnTo>
                  <a:pt x="733331" y="1163370"/>
                </a:lnTo>
                <a:lnTo>
                  <a:pt x="733331" y="1204111"/>
                </a:lnTo>
                <a:lnTo>
                  <a:pt x="692590" y="1244851"/>
                </a:lnTo>
                <a:lnTo>
                  <a:pt x="706170" y="1285592"/>
                </a:lnTo>
                <a:lnTo>
                  <a:pt x="706170" y="1285592"/>
                </a:lnTo>
                <a:lnTo>
                  <a:pt x="688063" y="1326332"/>
                </a:lnTo>
                <a:lnTo>
                  <a:pt x="683537" y="1371600"/>
                </a:lnTo>
                <a:lnTo>
                  <a:pt x="674483" y="1425920"/>
                </a:lnTo>
                <a:lnTo>
                  <a:pt x="611109" y="1416867"/>
                </a:lnTo>
                <a:lnTo>
                  <a:pt x="570368" y="1376126"/>
                </a:lnTo>
                <a:lnTo>
                  <a:pt x="543208" y="1348966"/>
                </a:lnTo>
                <a:lnTo>
                  <a:pt x="497940" y="1339913"/>
                </a:lnTo>
                <a:lnTo>
                  <a:pt x="457200" y="1367073"/>
                </a:lnTo>
                <a:lnTo>
                  <a:pt x="457200" y="1367073"/>
                </a:lnTo>
                <a:lnTo>
                  <a:pt x="457200" y="1367073"/>
                </a:lnTo>
                <a:lnTo>
                  <a:pt x="425513" y="1339913"/>
                </a:lnTo>
                <a:lnTo>
                  <a:pt x="389299" y="1403287"/>
                </a:lnTo>
                <a:lnTo>
                  <a:pt x="375719" y="1439501"/>
                </a:lnTo>
                <a:lnTo>
                  <a:pt x="380245" y="1484768"/>
                </a:lnTo>
                <a:lnTo>
                  <a:pt x="339505" y="1511928"/>
                </a:lnTo>
                <a:lnTo>
                  <a:pt x="271604" y="1552669"/>
                </a:lnTo>
                <a:lnTo>
                  <a:pt x="217283" y="1516455"/>
                </a:lnTo>
                <a:lnTo>
                  <a:pt x="172016" y="1548142"/>
                </a:lnTo>
                <a:lnTo>
                  <a:pt x="144855" y="1484768"/>
                </a:lnTo>
                <a:lnTo>
                  <a:pt x="144855" y="1421394"/>
                </a:lnTo>
                <a:lnTo>
                  <a:pt x="144855" y="1421394"/>
                </a:lnTo>
                <a:lnTo>
                  <a:pt x="104115" y="1444027"/>
                </a:lnTo>
                <a:lnTo>
                  <a:pt x="67901" y="1471188"/>
                </a:lnTo>
                <a:lnTo>
                  <a:pt x="54321" y="1507402"/>
                </a:lnTo>
                <a:lnTo>
                  <a:pt x="58847" y="1484768"/>
                </a:lnTo>
                <a:lnTo>
                  <a:pt x="31687" y="1421394"/>
                </a:lnTo>
                <a:lnTo>
                  <a:pt x="31687" y="1421394"/>
                </a:lnTo>
                <a:lnTo>
                  <a:pt x="90535" y="1394233"/>
                </a:lnTo>
                <a:lnTo>
                  <a:pt x="76954" y="1348966"/>
                </a:lnTo>
                <a:lnTo>
                  <a:pt x="49794" y="1321806"/>
                </a:lnTo>
                <a:lnTo>
                  <a:pt x="90535" y="1281065"/>
                </a:lnTo>
                <a:lnTo>
                  <a:pt x="58847" y="1226744"/>
                </a:lnTo>
                <a:lnTo>
                  <a:pt x="72428" y="1181477"/>
                </a:lnTo>
                <a:lnTo>
                  <a:pt x="58847" y="1149790"/>
                </a:lnTo>
                <a:lnTo>
                  <a:pt x="108641" y="1063782"/>
                </a:lnTo>
                <a:lnTo>
                  <a:pt x="126748" y="964194"/>
                </a:lnTo>
                <a:lnTo>
                  <a:pt x="158436" y="982301"/>
                </a:lnTo>
                <a:lnTo>
                  <a:pt x="181069" y="923453"/>
                </a:lnTo>
                <a:lnTo>
                  <a:pt x="162962" y="869132"/>
                </a:lnTo>
                <a:lnTo>
                  <a:pt x="117695" y="887239"/>
                </a:lnTo>
                <a:lnTo>
                  <a:pt x="122222" y="887239"/>
                </a:lnTo>
                <a:lnTo>
                  <a:pt x="86008" y="860079"/>
                </a:lnTo>
                <a:lnTo>
                  <a:pt x="90535" y="774071"/>
                </a:lnTo>
                <a:lnTo>
                  <a:pt x="158436" y="760491"/>
                </a:lnTo>
                <a:lnTo>
                  <a:pt x="144855" y="715223"/>
                </a:lnTo>
                <a:lnTo>
                  <a:pt x="140329" y="660903"/>
                </a:lnTo>
                <a:lnTo>
                  <a:pt x="158436" y="602055"/>
                </a:lnTo>
                <a:lnTo>
                  <a:pt x="117695" y="593002"/>
                </a:lnTo>
                <a:lnTo>
                  <a:pt x="117695" y="538681"/>
                </a:lnTo>
                <a:lnTo>
                  <a:pt x="113168" y="479833"/>
                </a:lnTo>
                <a:lnTo>
                  <a:pt x="67901" y="411932"/>
                </a:lnTo>
                <a:lnTo>
                  <a:pt x="36214" y="425513"/>
                </a:lnTo>
                <a:lnTo>
                  <a:pt x="36214" y="389299"/>
                </a:lnTo>
                <a:lnTo>
                  <a:pt x="13580" y="420986"/>
                </a:lnTo>
                <a:lnTo>
                  <a:pt x="0" y="380245"/>
                </a:lnTo>
                <a:lnTo>
                  <a:pt x="31687" y="348558"/>
                </a:lnTo>
                <a:lnTo>
                  <a:pt x="4527" y="312344"/>
                </a:lnTo>
                <a:lnTo>
                  <a:pt x="58847" y="20822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6" name="Rettangolo 405">
            <a:extLst>
              <a:ext uri="{FF2B5EF4-FFF2-40B4-BE49-F238E27FC236}">
                <a16:creationId xmlns:a16="http://schemas.microsoft.com/office/drawing/2014/main" id="{E87861C1-361B-488F-A829-E81790B68488}"/>
              </a:ext>
            </a:extLst>
          </p:cNvPr>
          <p:cNvSpPr/>
          <p:nvPr/>
        </p:nvSpPr>
        <p:spPr>
          <a:xfrm>
            <a:off x="4561753" y="5171527"/>
            <a:ext cx="546944" cy="144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gliari</a:t>
            </a:r>
          </a:p>
        </p:txBody>
      </p:sp>
      <p:sp>
        <p:nvSpPr>
          <p:cNvPr id="407" name="Oval 11">
            <a:extLst>
              <a:ext uri="{FF2B5EF4-FFF2-40B4-BE49-F238E27FC236}">
                <a16:creationId xmlns:a16="http://schemas.microsoft.com/office/drawing/2014/main" id="{862E7707-1838-4716-B66C-1AB576C7EA5B}"/>
              </a:ext>
            </a:extLst>
          </p:cNvPr>
          <p:cNvSpPr>
            <a:spLocks/>
          </p:cNvSpPr>
          <p:nvPr/>
        </p:nvSpPr>
        <p:spPr>
          <a:xfrm>
            <a:off x="4569754" y="4968271"/>
            <a:ext cx="126985" cy="127206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8" name="Oval 11">
            <a:extLst>
              <a:ext uri="{FF2B5EF4-FFF2-40B4-BE49-F238E27FC236}">
                <a16:creationId xmlns:a16="http://schemas.microsoft.com/office/drawing/2014/main" id="{F6F4B7B9-C70A-4F5A-A35A-610C22BBD7DD}"/>
              </a:ext>
            </a:extLst>
          </p:cNvPr>
          <p:cNvSpPr>
            <a:spLocks/>
          </p:cNvSpPr>
          <p:nvPr/>
        </p:nvSpPr>
        <p:spPr>
          <a:xfrm>
            <a:off x="4815541" y="4207654"/>
            <a:ext cx="84656" cy="8480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9" name="Rettangolo 408">
            <a:extLst>
              <a:ext uri="{FF2B5EF4-FFF2-40B4-BE49-F238E27FC236}">
                <a16:creationId xmlns:a16="http://schemas.microsoft.com/office/drawing/2014/main" id="{29B040AB-BB84-40CE-9861-468655D64C2C}"/>
              </a:ext>
            </a:extLst>
          </p:cNvPr>
          <p:cNvSpPr/>
          <p:nvPr/>
        </p:nvSpPr>
        <p:spPr>
          <a:xfrm>
            <a:off x="4344696" y="4025659"/>
            <a:ext cx="546944" cy="144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ssari</a:t>
            </a:r>
          </a:p>
        </p:txBody>
      </p:sp>
      <p:sp>
        <p:nvSpPr>
          <p:cNvPr id="410" name="Oval 11">
            <a:extLst>
              <a:ext uri="{FF2B5EF4-FFF2-40B4-BE49-F238E27FC236}">
                <a16:creationId xmlns:a16="http://schemas.microsoft.com/office/drawing/2014/main" id="{F83634F4-F907-499D-A534-4F9ADEDD9DA2}"/>
              </a:ext>
            </a:extLst>
          </p:cNvPr>
          <p:cNvSpPr>
            <a:spLocks/>
          </p:cNvSpPr>
          <p:nvPr/>
        </p:nvSpPr>
        <p:spPr>
          <a:xfrm>
            <a:off x="4315192" y="4744521"/>
            <a:ext cx="84656" cy="8480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1" name="Figura a mano libera 356">
            <a:extLst>
              <a:ext uri="{FF2B5EF4-FFF2-40B4-BE49-F238E27FC236}">
                <a16:creationId xmlns:a16="http://schemas.microsoft.com/office/drawing/2014/main" id="{1370A8BF-3BA8-45CB-9E55-9156EFE4232C}"/>
              </a:ext>
            </a:extLst>
          </p:cNvPr>
          <p:cNvSpPr/>
          <p:nvPr/>
        </p:nvSpPr>
        <p:spPr>
          <a:xfrm>
            <a:off x="4482134" y="4254890"/>
            <a:ext cx="355442" cy="739862"/>
          </a:xfrm>
          <a:custGeom>
            <a:avLst/>
            <a:gdLst>
              <a:gd name="connsiteX0" fmla="*/ 95568 w 302302"/>
              <a:gd name="connsiteY0" fmla="*/ 628153 h 628153"/>
              <a:gd name="connsiteX1" fmla="*/ 153 w 302302"/>
              <a:gd name="connsiteY1" fmla="*/ 405517 h 628153"/>
              <a:gd name="connsiteX2" fmla="*/ 79666 w 302302"/>
              <a:gd name="connsiteY2" fmla="*/ 151075 h 628153"/>
              <a:gd name="connsiteX3" fmla="*/ 302302 w 302302"/>
              <a:gd name="connsiteY3" fmla="*/ 0 h 628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302" h="628153">
                <a:moveTo>
                  <a:pt x="95568" y="628153"/>
                </a:moveTo>
                <a:cubicBezTo>
                  <a:pt x="49185" y="556591"/>
                  <a:pt x="2803" y="485030"/>
                  <a:pt x="153" y="405517"/>
                </a:cubicBezTo>
                <a:cubicBezTo>
                  <a:pt x="-2497" y="326004"/>
                  <a:pt x="29308" y="218661"/>
                  <a:pt x="79666" y="151075"/>
                </a:cubicBezTo>
                <a:cubicBezTo>
                  <a:pt x="130024" y="83489"/>
                  <a:pt x="216163" y="41744"/>
                  <a:pt x="302302" y="0"/>
                </a:cubicBezTo>
              </a:path>
            </a:pathLst>
          </a:custGeom>
          <a:noFill/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2" name="Figura a mano libera 357">
            <a:extLst>
              <a:ext uri="{FF2B5EF4-FFF2-40B4-BE49-F238E27FC236}">
                <a16:creationId xmlns:a16="http://schemas.microsoft.com/office/drawing/2014/main" id="{12DFEA35-687A-455B-8557-AA61A3EEAF98}"/>
              </a:ext>
            </a:extLst>
          </p:cNvPr>
          <p:cNvSpPr/>
          <p:nvPr/>
        </p:nvSpPr>
        <p:spPr>
          <a:xfrm>
            <a:off x="4417321" y="4264029"/>
            <a:ext cx="149585" cy="177942"/>
          </a:xfrm>
          <a:custGeom>
            <a:avLst/>
            <a:gdLst>
              <a:gd name="connsiteX0" fmla="*/ 0 w 127221"/>
              <a:gd name="connsiteY0" fmla="*/ 0 h 151075"/>
              <a:gd name="connsiteX1" fmla="*/ 95415 w 127221"/>
              <a:gd name="connsiteY1" fmla="*/ 55660 h 151075"/>
              <a:gd name="connsiteX2" fmla="*/ 95415 w 127221"/>
              <a:gd name="connsiteY2" fmla="*/ 55660 h 151075"/>
              <a:gd name="connsiteX3" fmla="*/ 127221 w 127221"/>
              <a:gd name="connsiteY3" fmla="*/ 151075 h 15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221" h="151075">
                <a:moveTo>
                  <a:pt x="0" y="0"/>
                </a:moveTo>
                <a:lnTo>
                  <a:pt x="95415" y="55660"/>
                </a:lnTo>
                <a:lnTo>
                  <a:pt x="95415" y="55660"/>
                </a:lnTo>
                <a:lnTo>
                  <a:pt x="127221" y="151075"/>
                </a:lnTo>
              </a:path>
            </a:pathLst>
          </a:custGeom>
          <a:noFill/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3" name="Figura a mano libera: forma 5">
            <a:extLst>
              <a:ext uri="{FF2B5EF4-FFF2-40B4-BE49-F238E27FC236}">
                <a16:creationId xmlns:a16="http://schemas.microsoft.com/office/drawing/2014/main" id="{A91115B8-E5C5-4A84-90D1-B16B0EBAD0BF}"/>
              </a:ext>
            </a:extLst>
          </p:cNvPr>
          <p:cNvSpPr/>
          <p:nvPr/>
        </p:nvSpPr>
        <p:spPr>
          <a:xfrm>
            <a:off x="5340055" y="1830344"/>
            <a:ext cx="10886" cy="68035"/>
          </a:xfrm>
          <a:custGeom>
            <a:avLst/>
            <a:gdLst>
              <a:gd name="connsiteX0" fmla="*/ 10886 w 10886"/>
              <a:gd name="connsiteY0" fmla="*/ 0 h 68035"/>
              <a:gd name="connsiteX1" fmla="*/ 0 w 10886"/>
              <a:gd name="connsiteY1" fmla="*/ 68035 h 68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886" h="68035">
                <a:moveTo>
                  <a:pt x="10886" y="0"/>
                </a:moveTo>
                <a:lnTo>
                  <a:pt x="0" y="68035"/>
                </a:lnTo>
              </a:path>
            </a:pathLst>
          </a:cu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4" name="Figura a mano libera 361">
            <a:extLst>
              <a:ext uri="{FF2B5EF4-FFF2-40B4-BE49-F238E27FC236}">
                <a16:creationId xmlns:a16="http://schemas.microsoft.com/office/drawing/2014/main" id="{31294A44-3F26-4C7F-A8A0-E91D5FF29E06}"/>
              </a:ext>
            </a:extLst>
          </p:cNvPr>
          <p:cNvSpPr/>
          <p:nvPr/>
        </p:nvSpPr>
        <p:spPr>
          <a:xfrm>
            <a:off x="4524167" y="2429427"/>
            <a:ext cx="459367" cy="24445"/>
          </a:xfrm>
          <a:custGeom>
            <a:avLst/>
            <a:gdLst>
              <a:gd name="connsiteX0" fmla="*/ 0 w 393405"/>
              <a:gd name="connsiteY0" fmla="*/ 21266 h 21266"/>
              <a:gd name="connsiteX1" fmla="*/ 127591 w 393405"/>
              <a:gd name="connsiteY1" fmla="*/ 0 h 21266"/>
              <a:gd name="connsiteX2" fmla="*/ 127591 w 393405"/>
              <a:gd name="connsiteY2" fmla="*/ 0 h 21266"/>
              <a:gd name="connsiteX3" fmla="*/ 329609 w 393405"/>
              <a:gd name="connsiteY3" fmla="*/ 10633 h 21266"/>
              <a:gd name="connsiteX4" fmla="*/ 393405 w 393405"/>
              <a:gd name="connsiteY4" fmla="*/ 21266 h 2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3405" h="21266">
                <a:moveTo>
                  <a:pt x="0" y="21266"/>
                </a:moveTo>
                <a:lnTo>
                  <a:pt x="127591" y="0"/>
                </a:lnTo>
                <a:lnTo>
                  <a:pt x="127591" y="0"/>
                </a:lnTo>
                <a:lnTo>
                  <a:pt x="329609" y="10633"/>
                </a:lnTo>
                <a:cubicBezTo>
                  <a:pt x="373911" y="14177"/>
                  <a:pt x="383658" y="17721"/>
                  <a:pt x="393405" y="21266"/>
                </a:cubicBezTo>
              </a:path>
            </a:pathLst>
          </a:custGeom>
          <a:noFill/>
          <a:ln w="28575">
            <a:solidFill>
              <a:srgbClr val="BFBFBF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5" name="Figura a mano libera 205">
            <a:extLst>
              <a:ext uri="{FF2B5EF4-FFF2-40B4-BE49-F238E27FC236}">
                <a16:creationId xmlns:a16="http://schemas.microsoft.com/office/drawing/2014/main" id="{D54BB310-3C92-478B-912B-F8CED3E43AEB}"/>
              </a:ext>
            </a:extLst>
          </p:cNvPr>
          <p:cNvSpPr/>
          <p:nvPr/>
        </p:nvSpPr>
        <p:spPr>
          <a:xfrm>
            <a:off x="7543159" y="4877716"/>
            <a:ext cx="80594" cy="79811"/>
          </a:xfrm>
          <a:custGeom>
            <a:avLst/>
            <a:gdLst>
              <a:gd name="connsiteX0" fmla="*/ 167171 w 167171"/>
              <a:gd name="connsiteY0" fmla="*/ 0 h 184520"/>
              <a:gd name="connsiteX1" fmla="*/ 8909 w 167171"/>
              <a:gd name="connsiteY1" fmla="*/ 175846 h 184520"/>
              <a:gd name="connsiteX2" fmla="*/ 20632 w 167171"/>
              <a:gd name="connsiteY2" fmla="*/ 158261 h 184520"/>
              <a:gd name="connsiteX3" fmla="*/ 26494 w 167171"/>
              <a:gd name="connsiteY3" fmla="*/ 164123 h 184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7171" h="184520">
                <a:moveTo>
                  <a:pt x="167171" y="0"/>
                </a:moveTo>
                <a:lnTo>
                  <a:pt x="8909" y="175846"/>
                </a:lnTo>
                <a:cubicBezTo>
                  <a:pt x="-15514" y="202223"/>
                  <a:pt x="17701" y="160215"/>
                  <a:pt x="20632" y="158261"/>
                </a:cubicBezTo>
                <a:cubicBezTo>
                  <a:pt x="23563" y="156307"/>
                  <a:pt x="35286" y="170961"/>
                  <a:pt x="26494" y="164123"/>
                </a:cubicBezTo>
              </a:path>
            </a:pathLst>
          </a:cu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6" name="Oval 11">
            <a:extLst>
              <a:ext uri="{FF2B5EF4-FFF2-40B4-BE49-F238E27FC236}">
                <a16:creationId xmlns:a16="http://schemas.microsoft.com/office/drawing/2014/main" id="{CA06D8E7-C40C-4795-A753-3BC1217D2052}"/>
              </a:ext>
            </a:extLst>
          </p:cNvPr>
          <p:cNvSpPr>
            <a:spLocks/>
          </p:cNvSpPr>
          <p:nvPr/>
        </p:nvSpPr>
        <p:spPr>
          <a:xfrm>
            <a:off x="7518660" y="4921026"/>
            <a:ext cx="84072" cy="8276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7" name="Rettangolo 416">
            <a:extLst>
              <a:ext uri="{FF2B5EF4-FFF2-40B4-BE49-F238E27FC236}">
                <a16:creationId xmlns:a16="http://schemas.microsoft.com/office/drawing/2014/main" id="{EB02B7B4-269E-42AC-ACDF-9114596A8E58}"/>
              </a:ext>
            </a:extLst>
          </p:cNvPr>
          <p:cNvSpPr/>
          <p:nvPr/>
        </p:nvSpPr>
        <p:spPr>
          <a:xfrm>
            <a:off x="7387379" y="4968827"/>
            <a:ext cx="543168" cy="1413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rrandina</a:t>
            </a:r>
          </a:p>
        </p:txBody>
      </p:sp>
      <p:sp>
        <p:nvSpPr>
          <p:cNvPr id="418" name="Rettangolo 417">
            <a:extLst>
              <a:ext uri="{FF2B5EF4-FFF2-40B4-BE49-F238E27FC236}">
                <a16:creationId xmlns:a16="http://schemas.microsoft.com/office/drawing/2014/main" id="{A24D4B0D-BBC1-4937-A23F-AFA4D1CDC73E}"/>
              </a:ext>
            </a:extLst>
          </p:cNvPr>
          <p:cNvSpPr/>
          <p:nvPr/>
        </p:nvSpPr>
        <p:spPr>
          <a:xfrm>
            <a:off x="7121620" y="4628472"/>
            <a:ext cx="543168" cy="1413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enza</a:t>
            </a:r>
          </a:p>
        </p:txBody>
      </p:sp>
      <p:sp>
        <p:nvSpPr>
          <p:cNvPr id="419" name="Oval 11">
            <a:extLst>
              <a:ext uri="{FF2B5EF4-FFF2-40B4-BE49-F238E27FC236}">
                <a16:creationId xmlns:a16="http://schemas.microsoft.com/office/drawing/2014/main" id="{92565CB3-1939-4C7C-A16C-8D45CED54E91}"/>
              </a:ext>
            </a:extLst>
          </p:cNvPr>
          <p:cNvSpPr>
            <a:spLocks/>
          </p:cNvSpPr>
          <p:nvPr/>
        </p:nvSpPr>
        <p:spPr>
          <a:xfrm>
            <a:off x="5781110" y="6123868"/>
            <a:ext cx="84072" cy="8276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0" name="Rettangolo 419">
            <a:extLst>
              <a:ext uri="{FF2B5EF4-FFF2-40B4-BE49-F238E27FC236}">
                <a16:creationId xmlns:a16="http://schemas.microsoft.com/office/drawing/2014/main" id="{0D2302E8-285C-43AF-A949-BE43CE691AFC}"/>
              </a:ext>
            </a:extLst>
          </p:cNvPr>
          <p:cNvSpPr/>
          <p:nvPr/>
        </p:nvSpPr>
        <p:spPr>
          <a:xfrm>
            <a:off x="5507629" y="6138158"/>
            <a:ext cx="543168" cy="1413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pani </a:t>
            </a:r>
          </a:p>
        </p:txBody>
      </p:sp>
      <p:sp>
        <p:nvSpPr>
          <p:cNvPr id="421" name="Figura a mano libera 211">
            <a:extLst>
              <a:ext uri="{FF2B5EF4-FFF2-40B4-BE49-F238E27FC236}">
                <a16:creationId xmlns:a16="http://schemas.microsoft.com/office/drawing/2014/main" id="{691E79D4-5AC1-47A8-8E22-A36DCAABA3FA}"/>
              </a:ext>
            </a:extLst>
          </p:cNvPr>
          <p:cNvSpPr/>
          <p:nvPr/>
        </p:nvSpPr>
        <p:spPr>
          <a:xfrm>
            <a:off x="5860810" y="6068225"/>
            <a:ext cx="279274" cy="139877"/>
          </a:xfrm>
          <a:custGeom>
            <a:avLst/>
            <a:gdLst>
              <a:gd name="connsiteX0" fmla="*/ 242047 w 242047"/>
              <a:gd name="connsiteY0" fmla="*/ 0 h 76200"/>
              <a:gd name="connsiteX1" fmla="*/ 165847 w 242047"/>
              <a:gd name="connsiteY1" fmla="*/ 53788 h 76200"/>
              <a:gd name="connsiteX2" fmla="*/ 161364 w 242047"/>
              <a:gd name="connsiteY2" fmla="*/ 53788 h 76200"/>
              <a:gd name="connsiteX3" fmla="*/ 107576 w 242047"/>
              <a:gd name="connsiteY3" fmla="*/ 31376 h 76200"/>
              <a:gd name="connsiteX4" fmla="*/ 71717 w 242047"/>
              <a:gd name="connsiteY4" fmla="*/ 67235 h 76200"/>
              <a:gd name="connsiteX5" fmla="*/ 0 w 242047"/>
              <a:gd name="connsiteY5" fmla="*/ 76200 h 76200"/>
              <a:gd name="connsiteX0" fmla="*/ 242047 w 242047"/>
              <a:gd name="connsiteY0" fmla="*/ 0 h 94333"/>
              <a:gd name="connsiteX1" fmla="*/ 165847 w 242047"/>
              <a:gd name="connsiteY1" fmla="*/ 53788 h 94333"/>
              <a:gd name="connsiteX2" fmla="*/ 161364 w 242047"/>
              <a:gd name="connsiteY2" fmla="*/ 53788 h 94333"/>
              <a:gd name="connsiteX3" fmla="*/ 121537 w 242047"/>
              <a:gd name="connsiteY3" fmla="*/ 94198 h 94333"/>
              <a:gd name="connsiteX4" fmla="*/ 71717 w 242047"/>
              <a:gd name="connsiteY4" fmla="*/ 67235 h 94333"/>
              <a:gd name="connsiteX5" fmla="*/ 0 w 242047"/>
              <a:gd name="connsiteY5" fmla="*/ 76200 h 94333"/>
              <a:gd name="connsiteX0" fmla="*/ 242047 w 242047"/>
              <a:gd name="connsiteY0" fmla="*/ 0 h 94490"/>
              <a:gd name="connsiteX1" fmla="*/ 165847 w 242047"/>
              <a:gd name="connsiteY1" fmla="*/ 53788 h 94490"/>
              <a:gd name="connsiteX2" fmla="*/ 156710 w 242047"/>
              <a:gd name="connsiteY2" fmla="*/ 46808 h 94490"/>
              <a:gd name="connsiteX3" fmla="*/ 121537 w 242047"/>
              <a:gd name="connsiteY3" fmla="*/ 94198 h 94490"/>
              <a:gd name="connsiteX4" fmla="*/ 71717 w 242047"/>
              <a:gd name="connsiteY4" fmla="*/ 67235 h 94490"/>
              <a:gd name="connsiteX5" fmla="*/ 0 w 242047"/>
              <a:gd name="connsiteY5" fmla="*/ 76200 h 94490"/>
              <a:gd name="connsiteX0" fmla="*/ 279274 w 279274"/>
              <a:gd name="connsiteY0" fmla="*/ 0 h 138697"/>
              <a:gd name="connsiteX1" fmla="*/ 165847 w 279274"/>
              <a:gd name="connsiteY1" fmla="*/ 97995 h 138697"/>
              <a:gd name="connsiteX2" fmla="*/ 156710 w 279274"/>
              <a:gd name="connsiteY2" fmla="*/ 91015 h 138697"/>
              <a:gd name="connsiteX3" fmla="*/ 121537 w 279274"/>
              <a:gd name="connsiteY3" fmla="*/ 138405 h 138697"/>
              <a:gd name="connsiteX4" fmla="*/ 71717 w 279274"/>
              <a:gd name="connsiteY4" fmla="*/ 111442 h 138697"/>
              <a:gd name="connsiteX5" fmla="*/ 0 w 279274"/>
              <a:gd name="connsiteY5" fmla="*/ 120407 h 138697"/>
              <a:gd name="connsiteX0" fmla="*/ 279274 w 279274"/>
              <a:gd name="connsiteY0" fmla="*/ 0 h 140327"/>
              <a:gd name="connsiteX1" fmla="*/ 165847 w 279274"/>
              <a:gd name="connsiteY1" fmla="*/ 97995 h 140327"/>
              <a:gd name="connsiteX2" fmla="*/ 156710 w 279274"/>
              <a:gd name="connsiteY2" fmla="*/ 91015 h 140327"/>
              <a:gd name="connsiteX3" fmla="*/ 121537 w 279274"/>
              <a:gd name="connsiteY3" fmla="*/ 138405 h 140327"/>
              <a:gd name="connsiteX4" fmla="*/ 62411 w 279274"/>
              <a:gd name="connsiteY4" fmla="*/ 130056 h 140327"/>
              <a:gd name="connsiteX5" fmla="*/ 0 w 279274"/>
              <a:gd name="connsiteY5" fmla="*/ 120407 h 140327"/>
              <a:gd name="connsiteX0" fmla="*/ 279274 w 279274"/>
              <a:gd name="connsiteY0" fmla="*/ 0 h 139877"/>
              <a:gd name="connsiteX1" fmla="*/ 165847 w 279274"/>
              <a:gd name="connsiteY1" fmla="*/ 97995 h 139877"/>
              <a:gd name="connsiteX2" fmla="*/ 168344 w 279274"/>
              <a:gd name="connsiteY2" fmla="*/ 97995 h 139877"/>
              <a:gd name="connsiteX3" fmla="*/ 121537 w 279274"/>
              <a:gd name="connsiteY3" fmla="*/ 138405 h 139877"/>
              <a:gd name="connsiteX4" fmla="*/ 62411 w 279274"/>
              <a:gd name="connsiteY4" fmla="*/ 130056 h 139877"/>
              <a:gd name="connsiteX5" fmla="*/ 0 w 279274"/>
              <a:gd name="connsiteY5" fmla="*/ 120407 h 139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274" h="139877">
                <a:moveTo>
                  <a:pt x="279274" y="0"/>
                </a:moveTo>
                <a:cubicBezTo>
                  <a:pt x="253874" y="17929"/>
                  <a:pt x="184335" y="81663"/>
                  <a:pt x="165847" y="97995"/>
                </a:cubicBezTo>
                <a:cubicBezTo>
                  <a:pt x="147359" y="114328"/>
                  <a:pt x="175729" y="91260"/>
                  <a:pt x="168344" y="97995"/>
                </a:cubicBezTo>
                <a:cubicBezTo>
                  <a:pt x="160959" y="104730"/>
                  <a:pt x="139192" y="133062"/>
                  <a:pt x="121537" y="138405"/>
                </a:cubicBezTo>
                <a:cubicBezTo>
                  <a:pt x="103882" y="143748"/>
                  <a:pt x="82667" y="133056"/>
                  <a:pt x="62411" y="130056"/>
                </a:cubicBezTo>
                <a:cubicBezTo>
                  <a:pt x="42155" y="127056"/>
                  <a:pt x="0" y="113684"/>
                  <a:pt x="0" y="120407"/>
                </a:cubicBezTo>
              </a:path>
            </a:pathLst>
          </a:custGeom>
          <a:noFill/>
          <a:ln w="28575">
            <a:solidFill>
              <a:schemeClr val="bg2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2" name="Figura a mano libera 212">
            <a:extLst>
              <a:ext uri="{FF2B5EF4-FFF2-40B4-BE49-F238E27FC236}">
                <a16:creationId xmlns:a16="http://schemas.microsoft.com/office/drawing/2014/main" id="{D8A1107E-7086-45E7-859D-0507AA22278E}"/>
              </a:ext>
            </a:extLst>
          </p:cNvPr>
          <p:cNvSpPr/>
          <p:nvPr/>
        </p:nvSpPr>
        <p:spPr>
          <a:xfrm>
            <a:off x="4959683" y="2598695"/>
            <a:ext cx="324773" cy="353505"/>
          </a:xfrm>
          <a:custGeom>
            <a:avLst/>
            <a:gdLst>
              <a:gd name="connsiteX0" fmla="*/ 0 w 324773"/>
              <a:gd name="connsiteY0" fmla="*/ 353505 h 353505"/>
              <a:gd name="connsiteX1" fmla="*/ 114300 w 324773"/>
              <a:gd name="connsiteY1" fmla="*/ 286098 h 353505"/>
              <a:gd name="connsiteX2" fmla="*/ 114300 w 324773"/>
              <a:gd name="connsiteY2" fmla="*/ 286098 h 353505"/>
              <a:gd name="connsiteX3" fmla="*/ 254977 w 324773"/>
              <a:gd name="connsiteY3" fmla="*/ 154213 h 353505"/>
              <a:gd name="connsiteX4" fmla="*/ 319454 w 324773"/>
              <a:gd name="connsiteY4" fmla="*/ 13536 h 353505"/>
              <a:gd name="connsiteX5" fmla="*/ 316523 w 324773"/>
              <a:gd name="connsiteY5" fmla="*/ 13536 h 353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4773" h="353505">
                <a:moveTo>
                  <a:pt x="0" y="353505"/>
                </a:moveTo>
                <a:lnTo>
                  <a:pt x="114300" y="286098"/>
                </a:lnTo>
                <a:lnTo>
                  <a:pt x="114300" y="286098"/>
                </a:lnTo>
                <a:cubicBezTo>
                  <a:pt x="137746" y="264117"/>
                  <a:pt x="220785" y="199640"/>
                  <a:pt x="254977" y="154213"/>
                </a:cubicBezTo>
                <a:cubicBezTo>
                  <a:pt x="289169" y="108786"/>
                  <a:pt x="319454" y="13536"/>
                  <a:pt x="319454" y="13536"/>
                </a:cubicBezTo>
                <a:cubicBezTo>
                  <a:pt x="329712" y="-9910"/>
                  <a:pt x="323117" y="1813"/>
                  <a:pt x="316523" y="13536"/>
                </a:cubicBezTo>
              </a:path>
            </a:pathLst>
          </a:custGeom>
          <a:noFill/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3" name="Oval 11">
            <a:extLst>
              <a:ext uri="{FF2B5EF4-FFF2-40B4-BE49-F238E27FC236}">
                <a16:creationId xmlns:a16="http://schemas.microsoft.com/office/drawing/2014/main" id="{539A176F-A2AA-4A9C-BD4C-5D3D4F978C70}"/>
              </a:ext>
            </a:extLst>
          </p:cNvPr>
          <p:cNvSpPr>
            <a:spLocks/>
          </p:cNvSpPr>
          <p:nvPr/>
        </p:nvSpPr>
        <p:spPr>
          <a:xfrm>
            <a:off x="4892415" y="2919680"/>
            <a:ext cx="84072" cy="8276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4" name="Rettangolo 423">
            <a:extLst>
              <a:ext uri="{FF2B5EF4-FFF2-40B4-BE49-F238E27FC236}">
                <a16:creationId xmlns:a16="http://schemas.microsoft.com/office/drawing/2014/main" id="{BE713419-97BD-48DF-9979-76B55B89C6A7}"/>
              </a:ext>
            </a:extLst>
          </p:cNvPr>
          <p:cNvSpPr/>
          <p:nvPr/>
        </p:nvSpPr>
        <p:spPr>
          <a:xfrm>
            <a:off x="4711950" y="3029529"/>
            <a:ext cx="543168" cy="1413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 Spezia</a:t>
            </a:r>
          </a:p>
        </p:txBody>
      </p:sp>
      <p:sp>
        <p:nvSpPr>
          <p:cNvPr id="425" name="Rettangolo 424">
            <a:extLst>
              <a:ext uri="{FF2B5EF4-FFF2-40B4-BE49-F238E27FC236}">
                <a16:creationId xmlns:a16="http://schemas.microsoft.com/office/drawing/2014/main" id="{A1F8A9A7-B804-4288-A56B-FBB6F8C4529E}"/>
              </a:ext>
            </a:extLst>
          </p:cNvPr>
          <p:cNvSpPr/>
          <p:nvPr/>
        </p:nvSpPr>
        <p:spPr>
          <a:xfrm>
            <a:off x="5201998" y="2441079"/>
            <a:ext cx="543168" cy="1413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ma</a:t>
            </a:r>
          </a:p>
        </p:txBody>
      </p:sp>
      <p:sp>
        <p:nvSpPr>
          <p:cNvPr id="426" name="Oval 11">
            <a:extLst>
              <a:ext uri="{FF2B5EF4-FFF2-40B4-BE49-F238E27FC236}">
                <a16:creationId xmlns:a16="http://schemas.microsoft.com/office/drawing/2014/main" id="{B2AD9CFE-2B0E-44D1-9897-A761B4929A38}"/>
              </a:ext>
            </a:extLst>
          </p:cNvPr>
          <p:cNvSpPr>
            <a:spLocks/>
          </p:cNvSpPr>
          <p:nvPr/>
        </p:nvSpPr>
        <p:spPr>
          <a:xfrm>
            <a:off x="5230876" y="2576258"/>
            <a:ext cx="84072" cy="8276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7" name="Figura a mano libera 217">
            <a:extLst>
              <a:ext uri="{FF2B5EF4-FFF2-40B4-BE49-F238E27FC236}">
                <a16:creationId xmlns:a16="http://schemas.microsoft.com/office/drawing/2014/main" id="{47C8A948-D7B2-4A12-8E6E-3A4AD9535418}"/>
              </a:ext>
            </a:extLst>
          </p:cNvPr>
          <p:cNvSpPr/>
          <p:nvPr/>
        </p:nvSpPr>
        <p:spPr>
          <a:xfrm>
            <a:off x="6203425" y="6144835"/>
            <a:ext cx="266781" cy="102655"/>
          </a:xfrm>
          <a:custGeom>
            <a:avLst/>
            <a:gdLst>
              <a:gd name="connsiteX0" fmla="*/ 0 w 238125"/>
              <a:gd name="connsiteY0" fmla="*/ 2116 h 21166"/>
              <a:gd name="connsiteX1" fmla="*/ 238125 w 238125"/>
              <a:gd name="connsiteY1" fmla="*/ 21166 h 21166"/>
              <a:gd name="connsiteX0" fmla="*/ 0 w 200025"/>
              <a:gd name="connsiteY0" fmla="*/ 270 h 47895"/>
              <a:gd name="connsiteX1" fmla="*/ 200025 w 200025"/>
              <a:gd name="connsiteY1" fmla="*/ 47895 h 47895"/>
              <a:gd name="connsiteX0" fmla="*/ 0 w 209550"/>
              <a:gd name="connsiteY0" fmla="*/ 202 h 57352"/>
              <a:gd name="connsiteX1" fmla="*/ 209550 w 209550"/>
              <a:gd name="connsiteY1" fmla="*/ 57352 h 57352"/>
              <a:gd name="connsiteX0" fmla="*/ 0 w 218985"/>
              <a:gd name="connsiteY0" fmla="*/ 86 h 108350"/>
              <a:gd name="connsiteX1" fmla="*/ 218985 w 218985"/>
              <a:gd name="connsiteY1" fmla="*/ 108350 h 108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8985" h="108350">
                <a:moveTo>
                  <a:pt x="0" y="86"/>
                </a:moveTo>
                <a:cubicBezTo>
                  <a:pt x="105569" y="-3089"/>
                  <a:pt x="191998" y="82950"/>
                  <a:pt x="218985" y="108350"/>
                </a:cubicBezTo>
              </a:path>
            </a:pathLst>
          </a:cu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8" name="Figura a mano libera 218">
            <a:extLst>
              <a:ext uri="{FF2B5EF4-FFF2-40B4-BE49-F238E27FC236}">
                <a16:creationId xmlns:a16="http://schemas.microsoft.com/office/drawing/2014/main" id="{19576467-0048-42CA-8532-320ED3B546CF}"/>
              </a:ext>
            </a:extLst>
          </p:cNvPr>
          <p:cNvSpPr/>
          <p:nvPr/>
        </p:nvSpPr>
        <p:spPr>
          <a:xfrm>
            <a:off x="6420819" y="6217069"/>
            <a:ext cx="189923" cy="174469"/>
          </a:xfrm>
          <a:custGeom>
            <a:avLst/>
            <a:gdLst>
              <a:gd name="connsiteX0" fmla="*/ 0 w 215153"/>
              <a:gd name="connsiteY0" fmla="*/ 0 h 192101"/>
              <a:gd name="connsiteX1" fmla="*/ 84524 w 215153"/>
              <a:gd name="connsiteY1" fmla="*/ 69156 h 192101"/>
              <a:gd name="connsiteX2" fmla="*/ 161364 w 215153"/>
              <a:gd name="connsiteY2" fmla="*/ 169049 h 192101"/>
              <a:gd name="connsiteX3" fmla="*/ 215153 w 215153"/>
              <a:gd name="connsiteY3" fmla="*/ 192101 h 192101"/>
              <a:gd name="connsiteX0" fmla="*/ 0 w 215153"/>
              <a:gd name="connsiteY0" fmla="*/ 0 h 192101"/>
              <a:gd name="connsiteX1" fmla="*/ 84524 w 215153"/>
              <a:gd name="connsiteY1" fmla="*/ 69156 h 192101"/>
              <a:gd name="connsiteX2" fmla="*/ 145733 w 215153"/>
              <a:gd name="connsiteY2" fmla="*/ 153418 h 192101"/>
              <a:gd name="connsiteX3" fmla="*/ 215153 w 215153"/>
              <a:gd name="connsiteY3" fmla="*/ 192101 h 192101"/>
              <a:gd name="connsiteX0" fmla="*/ 0 w 183891"/>
              <a:gd name="connsiteY0" fmla="*/ 0 h 192101"/>
              <a:gd name="connsiteX1" fmla="*/ 84524 w 183891"/>
              <a:gd name="connsiteY1" fmla="*/ 69156 h 192101"/>
              <a:gd name="connsiteX2" fmla="*/ 145733 w 183891"/>
              <a:gd name="connsiteY2" fmla="*/ 153418 h 192101"/>
              <a:gd name="connsiteX3" fmla="*/ 183891 w 183891"/>
              <a:gd name="connsiteY3" fmla="*/ 192101 h 192101"/>
              <a:gd name="connsiteX0" fmla="*/ 0 w 238599"/>
              <a:gd name="connsiteY0" fmla="*/ 0 h 192101"/>
              <a:gd name="connsiteX1" fmla="*/ 84524 w 238599"/>
              <a:gd name="connsiteY1" fmla="*/ 69156 h 192101"/>
              <a:gd name="connsiteX2" fmla="*/ 145733 w 238599"/>
              <a:gd name="connsiteY2" fmla="*/ 153418 h 192101"/>
              <a:gd name="connsiteX3" fmla="*/ 238599 w 238599"/>
              <a:gd name="connsiteY3" fmla="*/ 192101 h 192101"/>
              <a:gd name="connsiteX0" fmla="*/ 0 w 145733"/>
              <a:gd name="connsiteY0" fmla="*/ 0 h 153418"/>
              <a:gd name="connsiteX1" fmla="*/ 84524 w 145733"/>
              <a:gd name="connsiteY1" fmla="*/ 69156 h 153418"/>
              <a:gd name="connsiteX2" fmla="*/ 145733 w 145733"/>
              <a:gd name="connsiteY2" fmla="*/ 153418 h 153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733" h="153418">
                <a:moveTo>
                  <a:pt x="0" y="0"/>
                </a:moveTo>
                <a:cubicBezTo>
                  <a:pt x="28815" y="20490"/>
                  <a:pt x="60235" y="43586"/>
                  <a:pt x="84524" y="69156"/>
                </a:cubicBezTo>
                <a:cubicBezTo>
                  <a:pt x="108813" y="94726"/>
                  <a:pt x="120054" y="132927"/>
                  <a:pt x="145733" y="153418"/>
                </a:cubicBezTo>
              </a:path>
            </a:pathLst>
          </a:cu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9" name="Figura a mano libera 219">
            <a:extLst>
              <a:ext uri="{FF2B5EF4-FFF2-40B4-BE49-F238E27FC236}">
                <a16:creationId xmlns:a16="http://schemas.microsoft.com/office/drawing/2014/main" id="{BA487774-1EFF-423D-88CD-2A05C1057FCF}"/>
              </a:ext>
            </a:extLst>
          </p:cNvPr>
          <p:cNvSpPr/>
          <p:nvPr/>
        </p:nvSpPr>
        <p:spPr>
          <a:xfrm>
            <a:off x="6759341" y="6438725"/>
            <a:ext cx="166182" cy="26272"/>
          </a:xfrm>
          <a:custGeom>
            <a:avLst/>
            <a:gdLst>
              <a:gd name="connsiteX0" fmla="*/ 61473 w 61473"/>
              <a:gd name="connsiteY0" fmla="*/ 0 h 15368"/>
              <a:gd name="connsiteX1" fmla="*/ 0 w 61473"/>
              <a:gd name="connsiteY1" fmla="*/ 15368 h 15368"/>
              <a:gd name="connsiteX0" fmla="*/ 66881 w 66881"/>
              <a:gd name="connsiteY0" fmla="*/ 0 h 22855"/>
              <a:gd name="connsiteX1" fmla="*/ 5408 w 66881"/>
              <a:gd name="connsiteY1" fmla="*/ 15368 h 22855"/>
              <a:gd name="connsiteX2" fmla="*/ 2716 w 66881"/>
              <a:gd name="connsiteY2" fmla="*/ 22855 h 22855"/>
              <a:gd name="connsiteX0" fmla="*/ 142319 w 142319"/>
              <a:gd name="connsiteY0" fmla="*/ 0 h 22855"/>
              <a:gd name="connsiteX1" fmla="*/ 80846 w 142319"/>
              <a:gd name="connsiteY1" fmla="*/ 15368 h 22855"/>
              <a:gd name="connsiteX2" fmla="*/ 0 w 142319"/>
              <a:gd name="connsiteY2" fmla="*/ 22855 h 2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2319" h="22855">
                <a:moveTo>
                  <a:pt x="142319" y="0"/>
                </a:moveTo>
                <a:cubicBezTo>
                  <a:pt x="119266" y="6403"/>
                  <a:pt x="96214" y="12807"/>
                  <a:pt x="80846" y="15368"/>
                </a:cubicBezTo>
                <a:cubicBezTo>
                  <a:pt x="70152" y="19177"/>
                  <a:pt x="561" y="21295"/>
                  <a:pt x="0" y="22855"/>
                </a:cubicBezTo>
              </a:path>
            </a:pathLst>
          </a:cu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0" name="Figura a mano libera 220">
            <a:extLst>
              <a:ext uri="{FF2B5EF4-FFF2-40B4-BE49-F238E27FC236}">
                <a16:creationId xmlns:a16="http://schemas.microsoft.com/office/drawing/2014/main" id="{21F9CFF9-7B29-432A-8008-4C807AF7FAB1}"/>
              </a:ext>
            </a:extLst>
          </p:cNvPr>
          <p:cNvSpPr/>
          <p:nvPr/>
        </p:nvSpPr>
        <p:spPr>
          <a:xfrm>
            <a:off x="6592983" y="6377395"/>
            <a:ext cx="182516" cy="89838"/>
          </a:xfrm>
          <a:custGeom>
            <a:avLst/>
            <a:gdLst>
              <a:gd name="connsiteX0" fmla="*/ 0 w 156308"/>
              <a:gd name="connsiteY0" fmla="*/ 0 h 78154"/>
              <a:gd name="connsiteX1" fmla="*/ 62523 w 156308"/>
              <a:gd name="connsiteY1" fmla="*/ 46892 h 78154"/>
              <a:gd name="connsiteX2" fmla="*/ 156308 w 156308"/>
              <a:gd name="connsiteY2" fmla="*/ 78154 h 78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6308" h="78154">
                <a:moveTo>
                  <a:pt x="0" y="0"/>
                </a:moveTo>
                <a:cubicBezTo>
                  <a:pt x="18236" y="16933"/>
                  <a:pt x="36472" y="33866"/>
                  <a:pt x="62523" y="46892"/>
                </a:cubicBezTo>
                <a:cubicBezTo>
                  <a:pt x="88574" y="59918"/>
                  <a:pt x="122441" y="69036"/>
                  <a:pt x="156308" y="78154"/>
                </a:cubicBezTo>
              </a:path>
            </a:pathLst>
          </a:cu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1" name="Rettangolo 430">
            <a:extLst>
              <a:ext uri="{FF2B5EF4-FFF2-40B4-BE49-F238E27FC236}">
                <a16:creationId xmlns:a16="http://schemas.microsoft.com/office/drawing/2014/main" id="{57D76A82-3BEA-4525-8472-6A38B56D5A0C}"/>
              </a:ext>
            </a:extLst>
          </p:cNvPr>
          <p:cNvSpPr/>
          <p:nvPr/>
        </p:nvSpPr>
        <p:spPr>
          <a:xfrm>
            <a:off x="6837310" y="5920867"/>
            <a:ext cx="543168" cy="1413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ssina </a:t>
            </a:r>
          </a:p>
        </p:txBody>
      </p:sp>
      <p:sp>
        <p:nvSpPr>
          <p:cNvPr id="432" name="Oval 11">
            <a:extLst>
              <a:ext uri="{FF2B5EF4-FFF2-40B4-BE49-F238E27FC236}">
                <a16:creationId xmlns:a16="http://schemas.microsoft.com/office/drawing/2014/main" id="{AB543F91-97C1-4E42-8964-77A82074186B}"/>
              </a:ext>
            </a:extLst>
          </p:cNvPr>
          <p:cNvSpPr>
            <a:spLocks/>
          </p:cNvSpPr>
          <p:nvPr/>
        </p:nvSpPr>
        <p:spPr>
          <a:xfrm>
            <a:off x="7108893" y="6048567"/>
            <a:ext cx="84072" cy="8276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3" name="Oval 11">
            <a:extLst>
              <a:ext uri="{FF2B5EF4-FFF2-40B4-BE49-F238E27FC236}">
                <a16:creationId xmlns:a16="http://schemas.microsoft.com/office/drawing/2014/main" id="{26474D57-CCC2-4A97-BA13-F674C74EBE16}"/>
              </a:ext>
            </a:extLst>
          </p:cNvPr>
          <p:cNvSpPr>
            <a:spLocks/>
          </p:cNvSpPr>
          <p:nvPr/>
        </p:nvSpPr>
        <p:spPr>
          <a:xfrm>
            <a:off x="6895490" y="6385926"/>
            <a:ext cx="84072" cy="8276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4" name="Figura a mano libera 224">
            <a:extLst>
              <a:ext uri="{FF2B5EF4-FFF2-40B4-BE49-F238E27FC236}">
                <a16:creationId xmlns:a16="http://schemas.microsoft.com/office/drawing/2014/main" id="{84288652-7EE5-4CE2-A13F-0776962E993B}"/>
              </a:ext>
            </a:extLst>
          </p:cNvPr>
          <p:cNvSpPr/>
          <p:nvPr/>
        </p:nvSpPr>
        <p:spPr>
          <a:xfrm>
            <a:off x="6948602" y="6101964"/>
            <a:ext cx="169060" cy="294796"/>
          </a:xfrm>
          <a:custGeom>
            <a:avLst/>
            <a:gdLst>
              <a:gd name="connsiteX0" fmla="*/ 0 w 133350"/>
              <a:gd name="connsiteY0" fmla="*/ 266700 h 266700"/>
              <a:gd name="connsiteX1" fmla="*/ 66675 w 133350"/>
              <a:gd name="connsiteY1" fmla="*/ 114300 h 266700"/>
              <a:gd name="connsiteX2" fmla="*/ 133350 w 133350"/>
              <a:gd name="connsiteY2" fmla="*/ 0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3350" h="266700">
                <a:moveTo>
                  <a:pt x="0" y="266700"/>
                </a:moveTo>
                <a:cubicBezTo>
                  <a:pt x="22225" y="212725"/>
                  <a:pt x="44450" y="158750"/>
                  <a:pt x="66675" y="114300"/>
                </a:cubicBezTo>
                <a:cubicBezTo>
                  <a:pt x="88900" y="69850"/>
                  <a:pt x="119063" y="19050"/>
                  <a:pt x="133350" y="0"/>
                </a:cubicBezTo>
              </a:path>
            </a:pathLst>
          </a:cu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5" name="Oval 11">
            <a:extLst>
              <a:ext uri="{FF2B5EF4-FFF2-40B4-BE49-F238E27FC236}">
                <a16:creationId xmlns:a16="http://schemas.microsoft.com/office/drawing/2014/main" id="{EE746199-7130-4438-9100-55BEF0F23DDF}"/>
              </a:ext>
            </a:extLst>
          </p:cNvPr>
          <p:cNvSpPr>
            <a:spLocks/>
          </p:cNvSpPr>
          <p:nvPr/>
        </p:nvSpPr>
        <p:spPr>
          <a:xfrm>
            <a:off x="7804085" y="4834024"/>
            <a:ext cx="84072" cy="8276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6" name="Figura a mano libera 226">
            <a:extLst>
              <a:ext uri="{FF2B5EF4-FFF2-40B4-BE49-F238E27FC236}">
                <a16:creationId xmlns:a16="http://schemas.microsoft.com/office/drawing/2014/main" id="{F88DA458-6E8C-425D-968E-71D59497FA04}"/>
              </a:ext>
            </a:extLst>
          </p:cNvPr>
          <p:cNvSpPr/>
          <p:nvPr/>
        </p:nvSpPr>
        <p:spPr>
          <a:xfrm>
            <a:off x="4878004" y="2266543"/>
            <a:ext cx="396402" cy="90010"/>
          </a:xfrm>
          <a:custGeom>
            <a:avLst/>
            <a:gdLst>
              <a:gd name="connsiteX0" fmla="*/ 0 w 374596"/>
              <a:gd name="connsiteY0" fmla="*/ 82826 h 89005"/>
              <a:gd name="connsiteX1" fmla="*/ 205409 w 374596"/>
              <a:gd name="connsiteY1" fmla="*/ 82826 h 89005"/>
              <a:gd name="connsiteX2" fmla="*/ 208722 w 374596"/>
              <a:gd name="connsiteY2" fmla="*/ 86139 h 89005"/>
              <a:gd name="connsiteX3" fmla="*/ 308113 w 374596"/>
              <a:gd name="connsiteY3" fmla="*/ 82826 h 89005"/>
              <a:gd name="connsiteX4" fmla="*/ 371061 w 374596"/>
              <a:gd name="connsiteY4" fmla="*/ 16565 h 89005"/>
              <a:gd name="connsiteX5" fmla="*/ 361122 w 374596"/>
              <a:gd name="connsiteY5" fmla="*/ 0 h 89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4596" h="89005">
                <a:moveTo>
                  <a:pt x="0" y="82826"/>
                </a:moveTo>
                <a:lnTo>
                  <a:pt x="205409" y="82826"/>
                </a:lnTo>
                <a:cubicBezTo>
                  <a:pt x="240196" y="83378"/>
                  <a:pt x="191605" y="86139"/>
                  <a:pt x="208722" y="86139"/>
                </a:cubicBezTo>
                <a:cubicBezTo>
                  <a:pt x="225839" y="86139"/>
                  <a:pt x="281056" y="94422"/>
                  <a:pt x="308113" y="82826"/>
                </a:cubicBezTo>
                <a:cubicBezTo>
                  <a:pt x="335170" y="71230"/>
                  <a:pt x="362226" y="30369"/>
                  <a:pt x="371061" y="16565"/>
                </a:cubicBezTo>
                <a:cubicBezTo>
                  <a:pt x="379896" y="2761"/>
                  <a:pt x="370509" y="1380"/>
                  <a:pt x="361122" y="0"/>
                </a:cubicBezTo>
              </a:path>
            </a:pathLst>
          </a:cu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7" name="Oval 11">
            <a:extLst>
              <a:ext uri="{FF2B5EF4-FFF2-40B4-BE49-F238E27FC236}">
                <a16:creationId xmlns:a16="http://schemas.microsoft.com/office/drawing/2014/main" id="{AB11DBD8-631E-4F8F-8A37-413ACCFB77D6}"/>
              </a:ext>
            </a:extLst>
          </p:cNvPr>
          <p:cNvSpPr>
            <a:spLocks/>
          </p:cNvSpPr>
          <p:nvPr/>
        </p:nvSpPr>
        <p:spPr>
          <a:xfrm>
            <a:off x="4778942" y="2311680"/>
            <a:ext cx="84072" cy="8276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8" name="Rettangolo 437">
            <a:extLst>
              <a:ext uri="{FF2B5EF4-FFF2-40B4-BE49-F238E27FC236}">
                <a16:creationId xmlns:a16="http://schemas.microsoft.com/office/drawing/2014/main" id="{BBFC042D-B7B0-495D-968C-C6412CB787C8}"/>
              </a:ext>
            </a:extLst>
          </p:cNvPr>
          <p:cNvSpPr/>
          <p:nvPr/>
        </p:nvSpPr>
        <p:spPr>
          <a:xfrm>
            <a:off x="4468370" y="2289186"/>
            <a:ext cx="543168" cy="1413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dogno</a:t>
            </a:r>
          </a:p>
        </p:txBody>
      </p:sp>
      <p:sp>
        <p:nvSpPr>
          <p:cNvPr id="439" name="Oval 11">
            <a:extLst>
              <a:ext uri="{FF2B5EF4-FFF2-40B4-BE49-F238E27FC236}">
                <a16:creationId xmlns:a16="http://schemas.microsoft.com/office/drawing/2014/main" id="{2A6B60CF-E980-42CC-B4AA-BEB399D6ABA0}"/>
              </a:ext>
            </a:extLst>
          </p:cNvPr>
          <p:cNvSpPr>
            <a:spLocks/>
          </p:cNvSpPr>
          <p:nvPr/>
        </p:nvSpPr>
        <p:spPr>
          <a:xfrm>
            <a:off x="5133428" y="2318148"/>
            <a:ext cx="84072" cy="82764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0" name="Rettangolo 439">
            <a:extLst>
              <a:ext uri="{FF2B5EF4-FFF2-40B4-BE49-F238E27FC236}">
                <a16:creationId xmlns:a16="http://schemas.microsoft.com/office/drawing/2014/main" id="{F76EA638-63BB-48D8-BBF0-B235931A5126}"/>
              </a:ext>
            </a:extLst>
          </p:cNvPr>
          <p:cNvSpPr/>
          <p:nvPr/>
        </p:nvSpPr>
        <p:spPr>
          <a:xfrm>
            <a:off x="5253967" y="2308670"/>
            <a:ext cx="543168" cy="1413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tova</a:t>
            </a:r>
          </a:p>
        </p:txBody>
      </p:sp>
      <p:cxnSp>
        <p:nvCxnSpPr>
          <p:cNvPr id="441" name="Connettore diritto 440">
            <a:extLst>
              <a:ext uri="{FF2B5EF4-FFF2-40B4-BE49-F238E27FC236}">
                <a16:creationId xmlns:a16="http://schemas.microsoft.com/office/drawing/2014/main" id="{CF768E52-C4F9-4089-B95E-A950A87B6A14}"/>
              </a:ext>
            </a:extLst>
          </p:cNvPr>
          <p:cNvCxnSpPr>
            <a:cxnSpLocks/>
            <a:stCxn id="366" idx="1"/>
          </p:cNvCxnSpPr>
          <p:nvPr/>
        </p:nvCxnSpPr>
        <p:spPr>
          <a:xfrm flipV="1">
            <a:off x="6351118" y="2262706"/>
            <a:ext cx="1411664" cy="179024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2" name="Figura a mano libera 232">
            <a:extLst>
              <a:ext uri="{FF2B5EF4-FFF2-40B4-BE49-F238E27FC236}">
                <a16:creationId xmlns:a16="http://schemas.microsoft.com/office/drawing/2014/main" id="{E3810BE6-2E34-4BA2-B942-F4D8F53E891C}"/>
              </a:ext>
            </a:extLst>
          </p:cNvPr>
          <p:cNvSpPr/>
          <p:nvPr/>
        </p:nvSpPr>
        <p:spPr>
          <a:xfrm>
            <a:off x="6745651" y="4403389"/>
            <a:ext cx="505980" cy="322985"/>
          </a:xfrm>
          <a:custGeom>
            <a:avLst/>
            <a:gdLst>
              <a:gd name="connsiteX0" fmla="*/ 7746 w 436371"/>
              <a:gd name="connsiteY0" fmla="*/ 276225 h 276225"/>
              <a:gd name="connsiteX1" fmla="*/ 17271 w 436371"/>
              <a:gd name="connsiteY1" fmla="*/ 171450 h 276225"/>
              <a:gd name="connsiteX2" fmla="*/ 160146 w 436371"/>
              <a:gd name="connsiteY2" fmla="*/ 85725 h 276225"/>
              <a:gd name="connsiteX3" fmla="*/ 274446 w 436371"/>
              <a:gd name="connsiteY3" fmla="*/ 114300 h 276225"/>
              <a:gd name="connsiteX4" fmla="*/ 360171 w 436371"/>
              <a:gd name="connsiteY4" fmla="*/ 28575 h 276225"/>
              <a:gd name="connsiteX5" fmla="*/ 341121 w 436371"/>
              <a:gd name="connsiteY5" fmla="*/ 9525 h 276225"/>
              <a:gd name="connsiteX6" fmla="*/ 436371 w 436371"/>
              <a:gd name="connsiteY6" fmla="*/ 0 h 276225"/>
              <a:gd name="connsiteX0" fmla="*/ 7746 w 436371"/>
              <a:gd name="connsiteY0" fmla="*/ 276225 h 276225"/>
              <a:gd name="connsiteX1" fmla="*/ 17271 w 436371"/>
              <a:gd name="connsiteY1" fmla="*/ 171450 h 276225"/>
              <a:gd name="connsiteX2" fmla="*/ 160146 w 436371"/>
              <a:gd name="connsiteY2" fmla="*/ 85725 h 276225"/>
              <a:gd name="connsiteX3" fmla="*/ 274446 w 436371"/>
              <a:gd name="connsiteY3" fmla="*/ 114300 h 276225"/>
              <a:gd name="connsiteX4" fmla="*/ 360171 w 436371"/>
              <a:gd name="connsiteY4" fmla="*/ 28575 h 276225"/>
              <a:gd name="connsiteX5" fmla="*/ 436371 w 436371"/>
              <a:gd name="connsiteY5" fmla="*/ 0 h 276225"/>
              <a:gd name="connsiteX0" fmla="*/ 7746 w 436371"/>
              <a:gd name="connsiteY0" fmla="*/ 276225 h 276225"/>
              <a:gd name="connsiteX1" fmla="*/ 17271 w 436371"/>
              <a:gd name="connsiteY1" fmla="*/ 171450 h 276225"/>
              <a:gd name="connsiteX2" fmla="*/ 160146 w 436371"/>
              <a:gd name="connsiteY2" fmla="*/ 114300 h 276225"/>
              <a:gd name="connsiteX3" fmla="*/ 274446 w 436371"/>
              <a:gd name="connsiteY3" fmla="*/ 114300 h 276225"/>
              <a:gd name="connsiteX4" fmla="*/ 360171 w 436371"/>
              <a:gd name="connsiteY4" fmla="*/ 28575 h 276225"/>
              <a:gd name="connsiteX5" fmla="*/ 436371 w 436371"/>
              <a:gd name="connsiteY5" fmla="*/ 0 h 276225"/>
              <a:gd name="connsiteX0" fmla="*/ 7746 w 436371"/>
              <a:gd name="connsiteY0" fmla="*/ 276225 h 276225"/>
              <a:gd name="connsiteX1" fmla="*/ 17271 w 436371"/>
              <a:gd name="connsiteY1" fmla="*/ 171450 h 276225"/>
              <a:gd name="connsiteX2" fmla="*/ 160146 w 436371"/>
              <a:gd name="connsiteY2" fmla="*/ 114300 h 276225"/>
              <a:gd name="connsiteX3" fmla="*/ 312546 w 436371"/>
              <a:gd name="connsiteY3" fmla="*/ 171450 h 276225"/>
              <a:gd name="connsiteX4" fmla="*/ 360171 w 436371"/>
              <a:gd name="connsiteY4" fmla="*/ 28575 h 276225"/>
              <a:gd name="connsiteX5" fmla="*/ 436371 w 436371"/>
              <a:gd name="connsiteY5" fmla="*/ 0 h 276225"/>
              <a:gd name="connsiteX0" fmla="*/ 7746 w 436371"/>
              <a:gd name="connsiteY0" fmla="*/ 276225 h 276225"/>
              <a:gd name="connsiteX1" fmla="*/ 17271 w 436371"/>
              <a:gd name="connsiteY1" fmla="*/ 171450 h 276225"/>
              <a:gd name="connsiteX2" fmla="*/ 160146 w 436371"/>
              <a:gd name="connsiteY2" fmla="*/ 114300 h 276225"/>
              <a:gd name="connsiteX3" fmla="*/ 312546 w 436371"/>
              <a:gd name="connsiteY3" fmla="*/ 171450 h 276225"/>
              <a:gd name="connsiteX4" fmla="*/ 398271 w 436371"/>
              <a:gd name="connsiteY4" fmla="*/ 66675 h 276225"/>
              <a:gd name="connsiteX5" fmla="*/ 436371 w 436371"/>
              <a:gd name="connsiteY5" fmla="*/ 0 h 276225"/>
              <a:gd name="connsiteX0" fmla="*/ 7746 w 455421"/>
              <a:gd name="connsiteY0" fmla="*/ 295275 h 295275"/>
              <a:gd name="connsiteX1" fmla="*/ 17271 w 455421"/>
              <a:gd name="connsiteY1" fmla="*/ 190500 h 295275"/>
              <a:gd name="connsiteX2" fmla="*/ 160146 w 455421"/>
              <a:gd name="connsiteY2" fmla="*/ 133350 h 295275"/>
              <a:gd name="connsiteX3" fmla="*/ 312546 w 455421"/>
              <a:gd name="connsiteY3" fmla="*/ 190500 h 295275"/>
              <a:gd name="connsiteX4" fmla="*/ 398271 w 455421"/>
              <a:gd name="connsiteY4" fmla="*/ 85725 h 295275"/>
              <a:gd name="connsiteX5" fmla="*/ 455421 w 455421"/>
              <a:gd name="connsiteY5" fmla="*/ 0 h 295275"/>
              <a:gd name="connsiteX0" fmla="*/ 7746 w 455421"/>
              <a:gd name="connsiteY0" fmla="*/ 295275 h 295275"/>
              <a:gd name="connsiteX1" fmla="*/ 17271 w 455421"/>
              <a:gd name="connsiteY1" fmla="*/ 190500 h 295275"/>
              <a:gd name="connsiteX2" fmla="*/ 160146 w 455421"/>
              <a:gd name="connsiteY2" fmla="*/ 133350 h 295275"/>
              <a:gd name="connsiteX3" fmla="*/ 312546 w 455421"/>
              <a:gd name="connsiteY3" fmla="*/ 190500 h 295275"/>
              <a:gd name="connsiteX4" fmla="*/ 379221 w 455421"/>
              <a:gd name="connsiteY4" fmla="*/ 47625 h 295275"/>
              <a:gd name="connsiteX5" fmla="*/ 455421 w 455421"/>
              <a:gd name="connsiteY5" fmla="*/ 0 h 295275"/>
              <a:gd name="connsiteX0" fmla="*/ 606 w 543931"/>
              <a:gd name="connsiteY0" fmla="*/ 295275 h 295275"/>
              <a:gd name="connsiteX1" fmla="*/ 105781 w 543931"/>
              <a:gd name="connsiteY1" fmla="*/ 190500 h 295275"/>
              <a:gd name="connsiteX2" fmla="*/ 248656 w 543931"/>
              <a:gd name="connsiteY2" fmla="*/ 133350 h 295275"/>
              <a:gd name="connsiteX3" fmla="*/ 401056 w 543931"/>
              <a:gd name="connsiteY3" fmla="*/ 190500 h 295275"/>
              <a:gd name="connsiteX4" fmla="*/ 467731 w 543931"/>
              <a:gd name="connsiteY4" fmla="*/ 47625 h 295275"/>
              <a:gd name="connsiteX5" fmla="*/ 543931 w 543931"/>
              <a:gd name="connsiteY5" fmla="*/ 0 h 295275"/>
              <a:gd name="connsiteX0" fmla="*/ 607 w 543932"/>
              <a:gd name="connsiteY0" fmla="*/ 295275 h 295275"/>
              <a:gd name="connsiteX1" fmla="*/ 105782 w 543932"/>
              <a:gd name="connsiteY1" fmla="*/ 190500 h 295275"/>
              <a:gd name="connsiteX2" fmla="*/ 248656 w 543932"/>
              <a:gd name="connsiteY2" fmla="*/ 74712 h 295275"/>
              <a:gd name="connsiteX3" fmla="*/ 401057 w 543932"/>
              <a:gd name="connsiteY3" fmla="*/ 190500 h 295275"/>
              <a:gd name="connsiteX4" fmla="*/ 467732 w 543932"/>
              <a:gd name="connsiteY4" fmla="*/ 47625 h 295275"/>
              <a:gd name="connsiteX5" fmla="*/ 543932 w 543932"/>
              <a:gd name="connsiteY5" fmla="*/ 0 h 295275"/>
              <a:gd name="connsiteX0" fmla="*/ 607 w 543932"/>
              <a:gd name="connsiteY0" fmla="*/ 295275 h 295275"/>
              <a:gd name="connsiteX1" fmla="*/ 105782 w 543932"/>
              <a:gd name="connsiteY1" fmla="*/ 190500 h 295275"/>
              <a:gd name="connsiteX2" fmla="*/ 248656 w 543932"/>
              <a:gd name="connsiteY2" fmla="*/ 74712 h 295275"/>
              <a:gd name="connsiteX3" fmla="*/ 385115 w 543932"/>
              <a:gd name="connsiteY3" fmla="*/ 148615 h 295275"/>
              <a:gd name="connsiteX4" fmla="*/ 467732 w 543932"/>
              <a:gd name="connsiteY4" fmla="*/ 47625 h 295275"/>
              <a:gd name="connsiteX5" fmla="*/ 543932 w 543932"/>
              <a:gd name="connsiteY5" fmla="*/ 0 h 295275"/>
              <a:gd name="connsiteX0" fmla="*/ 607 w 543932"/>
              <a:gd name="connsiteY0" fmla="*/ 321589 h 321589"/>
              <a:gd name="connsiteX1" fmla="*/ 105782 w 543932"/>
              <a:gd name="connsiteY1" fmla="*/ 216814 h 321589"/>
              <a:gd name="connsiteX2" fmla="*/ 248656 w 543932"/>
              <a:gd name="connsiteY2" fmla="*/ 101026 h 321589"/>
              <a:gd name="connsiteX3" fmla="*/ 385115 w 543932"/>
              <a:gd name="connsiteY3" fmla="*/ 174929 h 321589"/>
              <a:gd name="connsiteX4" fmla="*/ 435849 w 543932"/>
              <a:gd name="connsiteY4" fmla="*/ 6923 h 321589"/>
              <a:gd name="connsiteX5" fmla="*/ 543932 w 543932"/>
              <a:gd name="connsiteY5" fmla="*/ 26314 h 321589"/>
              <a:gd name="connsiteX0" fmla="*/ 607 w 543932"/>
              <a:gd name="connsiteY0" fmla="*/ 370667 h 370667"/>
              <a:gd name="connsiteX1" fmla="*/ 105782 w 543932"/>
              <a:gd name="connsiteY1" fmla="*/ 265892 h 370667"/>
              <a:gd name="connsiteX2" fmla="*/ 248656 w 543932"/>
              <a:gd name="connsiteY2" fmla="*/ 150104 h 370667"/>
              <a:gd name="connsiteX3" fmla="*/ 385115 w 543932"/>
              <a:gd name="connsiteY3" fmla="*/ 224007 h 370667"/>
              <a:gd name="connsiteX4" fmla="*/ 435849 w 543932"/>
              <a:gd name="connsiteY4" fmla="*/ 56001 h 370667"/>
              <a:gd name="connsiteX5" fmla="*/ 543932 w 543932"/>
              <a:gd name="connsiteY5" fmla="*/ 0 h 370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3932" h="370667">
                <a:moveTo>
                  <a:pt x="607" y="370667"/>
                </a:moveTo>
                <a:cubicBezTo>
                  <a:pt x="-7331" y="334154"/>
                  <a:pt x="64441" y="302652"/>
                  <a:pt x="105782" y="265892"/>
                </a:cubicBezTo>
                <a:cubicBezTo>
                  <a:pt x="147123" y="229132"/>
                  <a:pt x="202101" y="157085"/>
                  <a:pt x="248656" y="150104"/>
                </a:cubicBezTo>
                <a:cubicBezTo>
                  <a:pt x="295211" y="143123"/>
                  <a:pt x="353916" y="239691"/>
                  <a:pt x="385115" y="224007"/>
                </a:cubicBezTo>
                <a:cubicBezTo>
                  <a:pt x="416314" y="208323"/>
                  <a:pt x="409380" y="93336"/>
                  <a:pt x="435849" y="56001"/>
                </a:cubicBezTo>
                <a:cubicBezTo>
                  <a:pt x="462319" y="18666"/>
                  <a:pt x="528057" y="5953"/>
                  <a:pt x="543932" y="0"/>
                </a:cubicBezTo>
              </a:path>
            </a:pathLst>
          </a:cu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3" name="Connettore diritto 442">
            <a:extLst>
              <a:ext uri="{FF2B5EF4-FFF2-40B4-BE49-F238E27FC236}">
                <a16:creationId xmlns:a16="http://schemas.microsoft.com/office/drawing/2014/main" id="{D57A9406-B46E-4B73-B455-6F3C3C27CE47}"/>
              </a:ext>
            </a:extLst>
          </p:cNvPr>
          <p:cNvCxnSpPr>
            <a:cxnSpLocks/>
            <a:stCxn id="479" idx="1"/>
            <a:endCxn id="442" idx="2"/>
          </p:cNvCxnSpPr>
          <p:nvPr/>
        </p:nvCxnSpPr>
        <p:spPr>
          <a:xfrm flipH="1">
            <a:off x="6976957" y="4252090"/>
            <a:ext cx="1411709" cy="28209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4" name="Connettore diritto 443">
            <a:extLst>
              <a:ext uri="{FF2B5EF4-FFF2-40B4-BE49-F238E27FC236}">
                <a16:creationId xmlns:a16="http://schemas.microsoft.com/office/drawing/2014/main" id="{A2B2761D-2FF2-408B-9300-F6F5927E9751}"/>
              </a:ext>
            </a:extLst>
          </p:cNvPr>
          <p:cNvCxnSpPr>
            <a:cxnSpLocks/>
            <a:stCxn id="359" idx="1"/>
          </p:cNvCxnSpPr>
          <p:nvPr/>
        </p:nvCxnSpPr>
        <p:spPr>
          <a:xfrm flipV="1">
            <a:off x="6018058" y="2295734"/>
            <a:ext cx="1744724" cy="136518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5" name="Connettore diritto 444">
            <a:extLst>
              <a:ext uri="{FF2B5EF4-FFF2-40B4-BE49-F238E27FC236}">
                <a16:creationId xmlns:a16="http://schemas.microsoft.com/office/drawing/2014/main" id="{F4C74895-B5A1-451E-98C2-EC13AB493143}"/>
              </a:ext>
            </a:extLst>
          </p:cNvPr>
          <p:cNvCxnSpPr>
            <a:cxnSpLocks/>
            <a:endCxn id="399" idx="7"/>
          </p:cNvCxnSpPr>
          <p:nvPr/>
        </p:nvCxnSpPr>
        <p:spPr>
          <a:xfrm flipH="1">
            <a:off x="5375307" y="1509625"/>
            <a:ext cx="2104599" cy="412251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Connettore diritto 445">
            <a:extLst>
              <a:ext uri="{FF2B5EF4-FFF2-40B4-BE49-F238E27FC236}">
                <a16:creationId xmlns:a16="http://schemas.microsoft.com/office/drawing/2014/main" id="{C050C367-CC54-40C1-B7E5-D419FD12F289}"/>
              </a:ext>
            </a:extLst>
          </p:cNvPr>
          <p:cNvCxnSpPr>
            <a:cxnSpLocks/>
            <a:stCxn id="338" idx="1"/>
            <a:endCxn id="457" idx="3"/>
          </p:cNvCxnSpPr>
          <p:nvPr/>
        </p:nvCxnSpPr>
        <p:spPr>
          <a:xfrm flipH="1" flipV="1">
            <a:off x="2654053" y="2000854"/>
            <a:ext cx="2652074" cy="21977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7" name="Connettore diritto 446">
            <a:extLst>
              <a:ext uri="{FF2B5EF4-FFF2-40B4-BE49-F238E27FC236}">
                <a16:creationId xmlns:a16="http://schemas.microsoft.com/office/drawing/2014/main" id="{2F78FFCB-DDAC-4750-8298-F6DB8AC2AC3E}"/>
              </a:ext>
            </a:extLst>
          </p:cNvPr>
          <p:cNvCxnSpPr>
            <a:cxnSpLocks/>
            <a:stCxn id="378" idx="3"/>
            <a:endCxn id="465" idx="1"/>
          </p:cNvCxnSpPr>
          <p:nvPr/>
        </p:nvCxnSpPr>
        <p:spPr>
          <a:xfrm>
            <a:off x="7315477" y="4939346"/>
            <a:ext cx="1331844" cy="41765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Connettore diritto 447">
            <a:extLst>
              <a:ext uri="{FF2B5EF4-FFF2-40B4-BE49-F238E27FC236}">
                <a16:creationId xmlns:a16="http://schemas.microsoft.com/office/drawing/2014/main" id="{D5F850FA-B608-4325-9859-D0DE15F41E2C}"/>
              </a:ext>
            </a:extLst>
          </p:cNvPr>
          <p:cNvCxnSpPr>
            <a:cxnSpLocks/>
            <a:endCxn id="429" idx="2"/>
          </p:cNvCxnSpPr>
          <p:nvPr/>
        </p:nvCxnSpPr>
        <p:spPr>
          <a:xfrm flipH="1">
            <a:off x="6759341" y="6354515"/>
            <a:ext cx="1235519" cy="11048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9" name="Figura a mano libera: forma 295">
            <a:extLst>
              <a:ext uri="{FF2B5EF4-FFF2-40B4-BE49-F238E27FC236}">
                <a16:creationId xmlns:a16="http://schemas.microsoft.com/office/drawing/2014/main" id="{1823932D-7B6F-4020-9B6C-933A3BA5BE86}"/>
              </a:ext>
            </a:extLst>
          </p:cNvPr>
          <p:cNvSpPr/>
          <p:nvPr/>
        </p:nvSpPr>
        <p:spPr>
          <a:xfrm>
            <a:off x="7485328" y="5292930"/>
            <a:ext cx="334278" cy="422798"/>
          </a:xfrm>
          <a:custGeom>
            <a:avLst/>
            <a:gdLst>
              <a:gd name="connsiteX0" fmla="*/ 67112 w 347378"/>
              <a:gd name="connsiteY0" fmla="*/ 0 h 436228"/>
              <a:gd name="connsiteX1" fmla="*/ 184557 w 347378"/>
              <a:gd name="connsiteY1" fmla="*/ 83890 h 436228"/>
              <a:gd name="connsiteX2" fmla="*/ 285225 w 347378"/>
              <a:gd name="connsiteY2" fmla="*/ 117446 h 436228"/>
              <a:gd name="connsiteX3" fmla="*/ 343948 w 347378"/>
              <a:gd name="connsiteY3" fmla="*/ 184558 h 436228"/>
              <a:gd name="connsiteX4" fmla="*/ 327170 w 347378"/>
              <a:gd name="connsiteY4" fmla="*/ 343949 h 436228"/>
              <a:gd name="connsiteX5" fmla="*/ 218113 w 347378"/>
              <a:gd name="connsiteY5" fmla="*/ 343949 h 436228"/>
              <a:gd name="connsiteX6" fmla="*/ 142612 w 347378"/>
              <a:gd name="connsiteY6" fmla="*/ 411061 h 436228"/>
              <a:gd name="connsiteX7" fmla="*/ 0 w 347378"/>
              <a:gd name="connsiteY7" fmla="*/ 436228 h 436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7378" h="436228">
                <a:moveTo>
                  <a:pt x="67112" y="0"/>
                </a:moveTo>
                <a:cubicBezTo>
                  <a:pt x="107658" y="32158"/>
                  <a:pt x="148205" y="64316"/>
                  <a:pt x="184557" y="83890"/>
                </a:cubicBezTo>
                <a:cubicBezTo>
                  <a:pt x="220909" y="103464"/>
                  <a:pt x="258660" y="100668"/>
                  <a:pt x="285225" y="117446"/>
                </a:cubicBezTo>
                <a:cubicBezTo>
                  <a:pt x="311790" y="134224"/>
                  <a:pt x="336957" y="146808"/>
                  <a:pt x="343948" y="184558"/>
                </a:cubicBezTo>
                <a:cubicBezTo>
                  <a:pt x="350939" y="222308"/>
                  <a:pt x="348142" y="317384"/>
                  <a:pt x="327170" y="343949"/>
                </a:cubicBezTo>
                <a:cubicBezTo>
                  <a:pt x="306198" y="370514"/>
                  <a:pt x="248873" y="332764"/>
                  <a:pt x="218113" y="343949"/>
                </a:cubicBezTo>
                <a:cubicBezTo>
                  <a:pt x="187353" y="355134"/>
                  <a:pt x="178964" y="395681"/>
                  <a:pt x="142612" y="411061"/>
                </a:cubicBezTo>
                <a:cubicBezTo>
                  <a:pt x="106260" y="426441"/>
                  <a:pt x="53130" y="431334"/>
                  <a:pt x="0" y="436228"/>
                </a:cubicBezTo>
              </a:path>
            </a:pathLst>
          </a:custGeom>
          <a:noFill/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50" name="Connettore diritto 449">
            <a:extLst>
              <a:ext uri="{FF2B5EF4-FFF2-40B4-BE49-F238E27FC236}">
                <a16:creationId xmlns:a16="http://schemas.microsoft.com/office/drawing/2014/main" id="{057A9A31-61AC-4E98-BF60-EA5A2FCDC411}"/>
              </a:ext>
            </a:extLst>
          </p:cNvPr>
          <p:cNvCxnSpPr>
            <a:cxnSpLocks/>
            <a:stCxn id="471" idx="3"/>
            <a:endCxn id="328" idx="1"/>
          </p:cNvCxnSpPr>
          <p:nvPr/>
        </p:nvCxnSpPr>
        <p:spPr>
          <a:xfrm flipV="1">
            <a:off x="3145835" y="2502565"/>
            <a:ext cx="1352210" cy="1053169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1" name="Connettore diritto 450">
            <a:extLst>
              <a:ext uri="{FF2B5EF4-FFF2-40B4-BE49-F238E27FC236}">
                <a16:creationId xmlns:a16="http://schemas.microsoft.com/office/drawing/2014/main" id="{09FB76F5-C39D-4DE2-BF3D-8359E734A5AA}"/>
              </a:ext>
            </a:extLst>
          </p:cNvPr>
          <p:cNvCxnSpPr>
            <a:cxnSpLocks/>
            <a:stCxn id="473" idx="3"/>
            <a:endCxn id="335" idx="2"/>
          </p:cNvCxnSpPr>
          <p:nvPr/>
        </p:nvCxnSpPr>
        <p:spPr>
          <a:xfrm flipV="1">
            <a:off x="3588941" y="2852932"/>
            <a:ext cx="701493" cy="194511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4" name="CasellaDiTesto 453">
            <a:extLst>
              <a:ext uri="{FF2B5EF4-FFF2-40B4-BE49-F238E27FC236}">
                <a16:creationId xmlns:a16="http://schemas.microsoft.com/office/drawing/2014/main" id="{E432E349-2EA2-4452-838B-DCE1E60D1F4A}"/>
              </a:ext>
            </a:extLst>
          </p:cNvPr>
          <p:cNvSpPr txBox="1"/>
          <p:nvPr/>
        </p:nvSpPr>
        <p:spPr>
          <a:xfrm>
            <a:off x="-392100" y="2726433"/>
            <a:ext cx="294505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nnel di bas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eguamento linea Bussoleno-Aviglian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ntura di Torino opere prioritarie</a:t>
            </a:r>
          </a:p>
          <a:p>
            <a:pPr algn="r">
              <a:defRPr/>
            </a:pPr>
            <a:r>
              <a:rPr lang="it-IT" sz="1050" dirty="0">
                <a:solidFill>
                  <a:srgbClr val="000000"/>
                </a:solidFill>
                <a:latin typeface="Calibri" panose="020F0502020204030204"/>
              </a:rPr>
              <a:t>Adeguamento linea Aosta-Chivasso</a:t>
            </a:r>
            <a:endParaRPr kumimoji="0" lang="it-IT" sz="1050" b="0" i="0" u="none" strike="noStrike" kern="1200" cap="none" spc="0" normalizeH="0" baseline="0" noProof="0" dirty="0">
              <a:ln>
                <a:noFill/>
              </a:ln>
              <a:solidFill>
                <a:srgbClr val="00468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5" name="CasellaDiTesto 454">
            <a:extLst>
              <a:ext uri="{FF2B5EF4-FFF2-40B4-BE49-F238E27FC236}">
                <a16:creationId xmlns:a16="http://schemas.microsoft.com/office/drawing/2014/main" id="{2D438D49-CE1D-43D8-BA91-7E48459A8224}"/>
              </a:ext>
            </a:extLst>
          </p:cNvPr>
          <p:cNvSpPr txBox="1"/>
          <p:nvPr/>
        </p:nvSpPr>
        <p:spPr>
          <a:xfrm>
            <a:off x="651089" y="2558168"/>
            <a:ext cx="191972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drante Nord-Ovest</a:t>
            </a:r>
          </a:p>
        </p:txBody>
      </p:sp>
      <p:sp>
        <p:nvSpPr>
          <p:cNvPr id="456" name="CasellaDiTesto 455">
            <a:extLst>
              <a:ext uri="{FF2B5EF4-FFF2-40B4-BE49-F238E27FC236}">
                <a16:creationId xmlns:a16="http://schemas.microsoft.com/office/drawing/2014/main" id="{9A8B0331-B821-430D-B4FC-6D579DAFB86C}"/>
              </a:ext>
            </a:extLst>
          </p:cNvPr>
          <p:cNvSpPr txBox="1"/>
          <p:nvPr/>
        </p:nvSpPr>
        <p:spPr>
          <a:xfrm>
            <a:off x="1149899" y="1493346"/>
            <a:ext cx="15907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versale padana</a:t>
            </a:r>
          </a:p>
        </p:txBody>
      </p:sp>
      <p:sp>
        <p:nvSpPr>
          <p:cNvPr id="457" name="CasellaDiTesto 456">
            <a:extLst>
              <a:ext uri="{FF2B5EF4-FFF2-40B4-BE49-F238E27FC236}">
                <a16:creationId xmlns:a16="http://schemas.microsoft.com/office/drawing/2014/main" id="{B777E83D-DE03-4B50-BE8E-477E5298DF18}"/>
              </a:ext>
            </a:extLst>
          </p:cNvPr>
          <p:cNvSpPr txBox="1"/>
          <p:nvPr/>
        </p:nvSpPr>
        <p:spPr>
          <a:xfrm>
            <a:off x="-18144" y="1631522"/>
            <a:ext cx="267219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/AC Brescia-Verona-Vicenz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/AC Vicenza-Padov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enziamento Venezia-Triest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ieste-Divaca, Radd. Udine-Cervignano </a:t>
            </a:r>
          </a:p>
        </p:txBody>
      </p:sp>
      <p:sp>
        <p:nvSpPr>
          <p:cNvPr id="458" name="CasellaDiTesto 457">
            <a:extLst>
              <a:ext uri="{FF2B5EF4-FFF2-40B4-BE49-F238E27FC236}">
                <a16:creationId xmlns:a16="http://schemas.microsoft.com/office/drawing/2014/main" id="{525E1CE7-386B-42B9-B1FA-D9E575F16DD2}"/>
              </a:ext>
            </a:extLst>
          </p:cNvPr>
          <p:cNvSpPr txBox="1"/>
          <p:nvPr/>
        </p:nvSpPr>
        <p:spPr>
          <a:xfrm>
            <a:off x="7479906" y="1270763"/>
            <a:ext cx="15907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ona-Brennero</a:t>
            </a:r>
          </a:p>
        </p:txBody>
      </p:sp>
      <p:sp>
        <p:nvSpPr>
          <p:cNvPr id="459" name="CasellaDiTesto 458">
            <a:extLst>
              <a:ext uri="{FF2B5EF4-FFF2-40B4-BE49-F238E27FC236}">
                <a16:creationId xmlns:a16="http://schemas.microsoft.com/office/drawing/2014/main" id="{573A36E9-EF95-4C78-89CF-375F5FB6DCAC}"/>
              </a:ext>
            </a:extLst>
          </p:cNvPr>
          <p:cNvSpPr txBox="1"/>
          <p:nvPr/>
        </p:nvSpPr>
        <p:spPr>
          <a:xfrm>
            <a:off x="7486001" y="1419557"/>
            <a:ext cx="388222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unnel del Brennero e Fortezza-P.te Garden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rconvallazione Trento e Rovereto</a:t>
            </a:r>
          </a:p>
        </p:txBody>
      </p:sp>
      <p:sp>
        <p:nvSpPr>
          <p:cNvPr id="460" name="CasellaDiTesto 459">
            <a:extLst>
              <a:ext uri="{FF2B5EF4-FFF2-40B4-BE49-F238E27FC236}">
                <a16:creationId xmlns:a16="http://schemas.microsoft.com/office/drawing/2014/main" id="{478F2AD7-F3E4-410B-BFBE-9E5CB25B5995}"/>
              </a:ext>
            </a:extLst>
          </p:cNvPr>
          <p:cNvSpPr txBox="1"/>
          <p:nvPr/>
        </p:nvSpPr>
        <p:spPr>
          <a:xfrm>
            <a:off x="7773815" y="3088674"/>
            <a:ext cx="159075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riatico-Jonica</a:t>
            </a:r>
          </a:p>
        </p:txBody>
      </p:sp>
      <p:sp>
        <p:nvSpPr>
          <p:cNvPr id="461" name="CasellaDiTesto 460">
            <a:extLst>
              <a:ext uri="{FF2B5EF4-FFF2-40B4-BE49-F238E27FC236}">
                <a16:creationId xmlns:a16="http://schemas.microsoft.com/office/drawing/2014/main" id="{1D1CC14E-9612-4AEF-A328-A86C26C51107}"/>
              </a:ext>
            </a:extLst>
          </p:cNvPr>
          <p:cNvSpPr txBox="1"/>
          <p:nvPr/>
        </p:nvSpPr>
        <p:spPr>
          <a:xfrm>
            <a:off x="7733299" y="1848634"/>
            <a:ext cx="315903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versali appenniniche Centro Italia</a:t>
            </a:r>
          </a:p>
        </p:txBody>
      </p:sp>
      <p:sp>
        <p:nvSpPr>
          <p:cNvPr id="462" name="CasellaDiTesto 461">
            <a:extLst>
              <a:ext uri="{FF2B5EF4-FFF2-40B4-BE49-F238E27FC236}">
                <a16:creationId xmlns:a16="http://schemas.microsoft.com/office/drawing/2014/main" id="{406B0563-7A73-45D2-A937-CDE342647350}"/>
              </a:ext>
            </a:extLst>
          </p:cNvPr>
          <p:cNvSpPr txBox="1"/>
          <p:nvPr/>
        </p:nvSpPr>
        <p:spPr>
          <a:xfrm>
            <a:off x="7751154" y="2021353"/>
            <a:ext cx="344870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ziamento infrastrutturale e raddoppio Orte-Falconara Potenziamento Roma-Pescara: 1°Fas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ziamento Roma-Pescara: 2°Fase</a:t>
            </a:r>
          </a:p>
          <a:p>
            <a:pPr>
              <a:defRPr/>
            </a:pPr>
            <a:r>
              <a:rPr lang="it-IT" sz="1050" dirty="0">
                <a:solidFill>
                  <a:srgbClr val="004687"/>
                </a:solidFill>
                <a:latin typeface="Calibri" panose="020F0502020204030204"/>
              </a:rPr>
              <a:t>Raddoppio Foligno-Fabriano</a:t>
            </a:r>
          </a:p>
        </p:txBody>
      </p:sp>
      <p:sp>
        <p:nvSpPr>
          <p:cNvPr id="465" name="CasellaDiTesto 464">
            <a:extLst>
              <a:ext uri="{FF2B5EF4-FFF2-40B4-BE49-F238E27FC236}">
                <a16:creationId xmlns:a16="http://schemas.microsoft.com/office/drawing/2014/main" id="{193B544D-C8A9-47F6-944A-4E1149B0B04D}"/>
              </a:ext>
            </a:extLst>
          </p:cNvPr>
          <p:cNvSpPr txBox="1"/>
          <p:nvPr/>
        </p:nvSpPr>
        <p:spPr>
          <a:xfrm>
            <a:off x="8647321" y="5226195"/>
            <a:ext cx="27713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versale meridionale</a:t>
            </a:r>
          </a:p>
        </p:txBody>
      </p:sp>
      <p:sp>
        <p:nvSpPr>
          <p:cNvPr id="467" name="CasellaDiTesto 466">
            <a:extLst>
              <a:ext uri="{FF2B5EF4-FFF2-40B4-BE49-F238E27FC236}">
                <a16:creationId xmlns:a16="http://schemas.microsoft.com/office/drawing/2014/main" id="{6A8D6E2D-A60D-4BB9-B3A4-279F8DDC8943}"/>
              </a:ext>
            </a:extLst>
          </p:cNvPr>
          <p:cNvSpPr txBox="1"/>
          <p:nvPr/>
        </p:nvSpPr>
        <p:spPr>
          <a:xfrm>
            <a:off x="7926036" y="6047698"/>
            <a:ext cx="253895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lermo-Catania-Messina</a:t>
            </a:r>
          </a:p>
        </p:txBody>
      </p:sp>
      <p:sp>
        <p:nvSpPr>
          <p:cNvPr id="468" name="CasellaDiTesto 467">
            <a:extLst>
              <a:ext uri="{FF2B5EF4-FFF2-40B4-BE49-F238E27FC236}">
                <a16:creationId xmlns:a16="http://schemas.microsoft.com/office/drawing/2014/main" id="{F9F577BA-3ABD-405E-A766-26871D695A34}"/>
              </a:ext>
            </a:extLst>
          </p:cNvPr>
          <p:cNvSpPr txBox="1"/>
          <p:nvPr/>
        </p:nvSpPr>
        <p:spPr>
          <a:xfrm>
            <a:off x="4513916" y="5115517"/>
            <a:ext cx="253895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erno-Reggio Calabria</a:t>
            </a:r>
          </a:p>
        </p:txBody>
      </p:sp>
      <p:sp>
        <p:nvSpPr>
          <p:cNvPr id="469" name="CasellaDiTesto 468">
            <a:extLst>
              <a:ext uri="{FF2B5EF4-FFF2-40B4-BE49-F238E27FC236}">
                <a16:creationId xmlns:a16="http://schemas.microsoft.com/office/drawing/2014/main" id="{0651EEB4-8BB3-45CE-B397-6CEB1FCEC93B}"/>
              </a:ext>
            </a:extLst>
          </p:cNvPr>
          <p:cNvSpPr txBox="1"/>
          <p:nvPr/>
        </p:nvSpPr>
        <p:spPr>
          <a:xfrm>
            <a:off x="8388666" y="4305847"/>
            <a:ext cx="348013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r">
              <a:defRPr sz="105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50" b="0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zione linea Cancello-Napoli con AV/A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50" b="0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doppio Cancello-Frasso Telesino-Vitulano-Apice-Orsa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grading tecnologico Napoli-Bari-Lecce/Taranto</a:t>
            </a:r>
            <a:endParaRPr kumimoji="0" lang="en-US" altLang="it-IT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1" name="CasellaDiTesto 470">
            <a:extLst>
              <a:ext uri="{FF2B5EF4-FFF2-40B4-BE49-F238E27FC236}">
                <a16:creationId xmlns:a16="http://schemas.microsoft.com/office/drawing/2014/main" id="{23308DB0-4687-48B5-95EC-68B9CE46A773}"/>
              </a:ext>
            </a:extLst>
          </p:cNvPr>
          <p:cNvSpPr txBox="1"/>
          <p:nvPr/>
        </p:nvSpPr>
        <p:spPr>
          <a:xfrm>
            <a:off x="1894298" y="3424929"/>
            <a:ext cx="125153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guria-Alpi</a:t>
            </a:r>
          </a:p>
        </p:txBody>
      </p:sp>
      <p:sp>
        <p:nvSpPr>
          <p:cNvPr id="472" name="CasellaDiTesto 471">
            <a:extLst>
              <a:ext uri="{FF2B5EF4-FFF2-40B4-BE49-F238E27FC236}">
                <a16:creationId xmlns:a16="http://schemas.microsoft.com/office/drawing/2014/main" id="{E8257F1F-72FD-4F62-ADB8-12B098C04307}"/>
              </a:ext>
            </a:extLst>
          </p:cNvPr>
          <p:cNvSpPr txBox="1"/>
          <p:nvPr/>
        </p:nvSpPr>
        <p:spPr>
          <a:xfrm>
            <a:off x="100893" y="3563962"/>
            <a:ext cx="3046109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do di Genova e Terzo Valico dei Giovi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drupl. Milano-Pavia,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lano-Tortona-Genova, Torino-Alessandria-Genov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eguamento a STI corridoio Reno-Alpi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llarate-Rho,</a:t>
            </a: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addoppio Vignale-Oleggio-Arona</a:t>
            </a:r>
          </a:p>
        </p:txBody>
      </p:sp>
      <p:sp>
        <p:nvSpPr>
          <p:cNvPr id="473" name="CasellaDiTesto 472">
            <a:extLst>
              <a:ext uri="{FF2B5EF4-FFF2-40B4-BE49-F238E27FC236}">
                <a16:creationId xmlns:a16="http://schemas.microsoft.com/office/drawing/2014/main" id="{B2A9C4F1-FACA-43AE-A43A-AC5DFE80CCB5}"/>
              </a:ext>
            </a:extLst>
          </p:cNvPr>
          <p:cNvSpPr txBox="1"/>
          <p:nvPr/>
        </p:nvSpPr>
        <p:spPr>
          <a:xfrm>
            <a:off x="1870913" y="4667243"/>
            <a:ext cx="17180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ova-Ventimiglia</a:t>
            </a:r>
          </a:p>
        </p:txBody>
      </p:sp>
      <p:sp>
        <p:nvSpPr>
          <p:cNvPr id="477" name="CasellaDiTesto 476">
            <a:extLst>
              <a:ext uri="{FF2B5EF4-FFF2-40B4-BE49-F238E27FC236}">
                <a16:creationId xmlns:a16="http://schemas.microsoft.com/office/drawing/2014/main" id="{94C00672-A1AF-4B87-A493-43F15E6B3E03}"/>
              </a:ext>
            </a:extLst>
          </p:cNvPr>
          <p:cNvSpPr txBox="1"/>
          <p:nvPr/>
        </p:nvSpPr>
        <p:spPr>
          <a:xfrm>
            <a:off x="8646050" y="5384307"/>
            <a:ext cx="274952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ziamento Taranto-Metaponto-Potenza-Battipaglia con caratteristiche AV</a:t>
            </a:r>
          </a:p>
        </p:txBody>
      </p:sp>
      <p:sp>
        <p:nvSpPr>
          <p:cNvPr id="478" name="CasellaDiTesto 477">
            <a:extLst>
              <a:ext uri="{FF2B5EF4-FFF2-40B4-BE49-F238E27FC236}">
                <a16:creationId xmlns:a16="http://schemas.microsoft.com/office/drawing/2014/main" id="{8773C250-D572-4B85-9862-CE70FE6FCD4C}"/>
              </a:ext>
            </a:extLst>
          </p:cNvPr>
          <p:cNvSpPr txBox="1"/>
          <p:nvPr/>
        </p:nvSpPr>
        <p:spPr>
          <a:xfrm>
            <a:off x="7935719" y="6203343"/>
            <a:ext cx="363437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ovo collegamento Palermo-Catan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doppio e velocizzazione Messina-Catania-Siracusa</a:t>
            </a:r>
          </a:p>
        </p:txBody>
      </p:sp>
      <p:sp>
        <p:nvSpPr>
          <p:cNvPr id="479" name="CasellaDiTesto 478">
            <a:extLst>
              <a:ext uri="{FF2B5EF4-FFF2-40B4-BE49-F238E27FC236}">
                <a16:creationId xmlns:a16="http://schemas.microsoft.com/office/drawing/2014/main" id="{BAD21335-C9CC-43F9-8EB7-70C854E42BBE}"/>
              </a:ext>
            </a:extLst>
          </p:cNvPr>
          <p:cNvSpPr txBox="1"/>
          <p:nvPr/>
        </p:nvSpPr>
        <p:spPr>
          <a:xfrm>
            <a:off x="8388666" y="4121285"/>
            <a:ext cx="17180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poli-Bari</a:t>
            </a:r>
          </a:p>
        </p:txBody>
      </p:sp>
      <p:sp>
        <p:nvSpPr>
          <p:cNvPr id="480" name="CasellaDiTesto 479">
            <a:extLst>
              <a:ext uri="{FF2B5EF4-FFF2-40B4-BE49-F238E27FC236}">
                <a16:creationId xmlns:a16="http://schemas.microsoft.com/office/drawing/2014/main" id="{B5593ED5-DCC7-4443-95E0-94A1795F93B3}"/>
              </a:ext>
            </a:extLst>
          </p:cNvPr>
          <p:cNvSpPr txBox="1"/>
          <p:nvPr/>
        </p:nvSpPr>
        <p:spPr>
          <a:xfrm>
            <a:off x="7818070" y="3273085"/>
            <a:ext cx="395424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grading infrastrutturale e tecnolog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eguamento e velocizzazione Bologna-Lec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doppio Termoli-Lesin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eguamento Linea Adriatica con caratteristiche AV/AC: 1° fase</a:t>
            </a:r>
          </a:p>
        </p:txBody>
      </p:sp>
      <p:sp>
        <p:nvSpPr>
          <p:cNvPr id="481" name="CasellaDiTesto 480">
            <a:extLst>
              <a:ext uri="{FF2B5EF4-FFF2-40B4-BE49-F238E27FC236}">
                <a16:creationId xmlns:a16="http://schemas.microsoft.com/office/drawing/2014/main" id="{92D3C955-9A3D-439A-B106-DA4B0231941D}"/>
              </a:ext>
            </a:extLst>
          </p:cNvPr>
          <p:cNvSpPr txBox="1"/>
          <p:nvPr/>
        </p:nvSpPr>
        <p:spPr>
          <a:xfrm>
            <a:off x="4108592" y="5273578"/>
            <a:ext cx="298789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r">
              <a:defRPr sz="105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50" b="0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/AC Salerno-Reggio Calabria 1^e 2^ fas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grading e tecnologico linea storica</a:t>
            </a:r>
            <a:endParaRPr kumimoji="0" lang="en-US" altLang="it-IT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2" name="Casella di testo 5">
            <a:extLst>
              <a:ext uri="{FF2B5EF4-FFF2-40B4-BE49-F238E27FC236}">
                <a16:creationId xmlns:a16="http://schemas.microsoft.com/office/drawing/2014/main" id="{9C226D1A-827B-431E-93A0-C40FFEA22BF8}"/>
              </a:ext>
            </a:extLst>
          </p:cNvPr>
          <p:cNvSpPr txBox="1"/>
          <p:nvPr/>
        </p:nvSpPr>
        <p:spPr>
          <a:xfrm>
            <a:off x="1463722" y="6536524"/>
            <a:ext cx="4028017" cy="272165"/>
          </a:xfrm>
          <a:prstGeom prst="rect">
            <a:avLst/>
          </a:prstGeom>
          <a:noFill/>
          <a:ln w="6350"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Times New Roman"/>
                <a:cs typeface="+mn-cs"/>
              </a:rPr>
              <a:t>OPERE COMMISSARIATE</a:t>
            </a:r>
            <a:endParaRPr kumimoji="0" lang="it-IT" sz="1400" b="0" i="0" u="none" strike="sngStrike" kern="0" cap="none" spc="0" normalizeH="0" baseline="0" noProof="0">
              <a:ln>
                <a:noFill/>
              </a:ln>
              <a:solidFill>
                <a:srgbClr val="004687"/>
              </a:solidFill>
              <a:effectLst/>
              <a:uLnTx/>
              <a:uFillTx/>
              <a:latin typeface="Calibri" panose="020F0502020204030204"/>
              <a:ea typeface="Calibri"/>
              <a:cs typeface="+mn-cs"/>
            </a:endParaRPr>
          </a:p>
        </p:txBody>
      </p:sp>
      <p:sp>
        <p:nvSpPr>
          <p:cNvPr id="483" name="CasellaDiTesto 482">
            <a:extLst>
              <a:ext uri="{FF2B5EF4-FFF2-40B4-BE49-F238E27FC236}">
                <a16:creationId xmlns:a16="http://schemas.microsoft.com/office/drawing/2014/main" id="{44AAA262-ED29-482A-B212-D833967884BD}"/>
              </a:ext>
            </a:extLst>
          </p:cNvPr>
          <p:cNvSpPr txBox="1"/>
          <p:nvPr/>
        </p:nvSpPr>
        <p:spPr>
          <a:xfrm>
            <a:off x="2460774" y="5774903"/>
            <a:ext cx="204986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gliari-Sassari/Olbia</a:t>
            </a:r>
          </a:p>
        </p:txBody>
      </p:sp>
      <p:cxnSp>
        <p:nvCxnSpPr>
          <p:cNvPr id="484" name="Connettore diritto 483">
            <a:extLst>
              <a:ext uri="{FF2B5EF4-FFF2-40B4-BE49-F238E27FC236}">
                <a16:creationId xmlns:a16="http://schemas.microsoft.com/office/drawing/2014/main" id="{ABF3D3E2-ADB3-4EF8-97C8-A2875D183173}"/>
              </a:ext>
            </a:extLst>
          </p:cNvPr>
          <p:cNvCxnSpPr>
            <a:cxnSpLocks/>
          </p:cNvCxnSpPr>
          <p:nvPr/>
        </p:nvCxnSpPr>
        <p:spPr>
          <a:xfrm flipV="1">
            <a:off x="3769664" y="4864818"/>
            <a:ext cx="772289" cy="973714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5" name="CasellaDiTesto 484">
            <a:extLst>
              <a:ext uri="{FF2B5EF4-FFF2-40B4-BE49-F238E27FC236}">
                <a16:creationId xmlns:a16="http://schemas.microsoft.com/office/drawing/2014/main" id="{95FB4E40-7088-4C0C-B18D-CDFFEAB892DE}"/>
              </a:ext>
            </a:extLst>
          </p:cNvPr>
          <p:cNvSpPr txBox="1"/>
          <p:nvPr/>
        </p:nvSpPr>
        <p:spPr>
          <a:xfrm>
            <a:off x="1141593" y="5948882"/>
            <a:ext cx="337384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r">
              <a:defRPr sz="105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grading infrastr. Tecnologico e velocizzazione </a:t>
            </a:r>
            <a:endParaRPr kumimoji="0" lang="en-US" altLang="it-IT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4" name="CasellaDiTesto 493">
            <a:extLst>
              <a:ext uri="{FF2B5EF4-FFF2-40B4-BE49-F238E27FC236}">
                <a16:creationId xmlns:a16="http://schemas.microsoft.com/office/drawing/2014/main" id="{E8257F1F-72FD-4F62-ADB8-12B098C04307}"/>
              </a:ext>
            </a:extLst>
          </p:cNvPr>
          <p:cNvSpPr txBox="1"/>
          <p:nvPr/>
        </p:nvSpPr>
        <p:spPr>
          <a:xfrm>
            <a:off x="547307" y="4822648"/>
            <a:ext cx="304610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etamento raddoppio Savona-Ventimiglia</a:t>
            </a:r>
          </a:p>
        </p:txBody>
      </p:sp>
      <p:sp>
        <p:nvSpPr>
          <p:cNvPr id="453" name="CasellaDiTesto 452">
            <a:extLst>
              <a:ext uri="{FF2B5EF4-FFF2-40B4-BE49-F238E27FC236}">
                <a16:creationId xmlns:a16="http://schemas.microsoft.com/office/drawing/2014/main" id="{B2A9C4F1-FACA-43AE-A43A-AC5DFE80CCB5}"/>
              </a:ext>
            </a:extLst>
          </p:cNvPr>
          <p:cNvSpPr txBox="1"/>
          <p:nvPr/>
        </p:nvSpPr>
        <p:spPr>
          <a:xfrm>
            <a:off x="747866" y="5220495"/>
            <a:ext cx="290767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rrenica nord  e acceso ai porti tirrenici</a:t>
            </a:r>
          </a:p>
        </p:txBody>
      </p:sp>
      <p:sp>
        <p:nvSpPr>
          <p:cNvPr id="463" name="CasellaDiTesto 462">
            <a:extLst>
              <a:ext uri="{FF2B5EF4-FFF2-40B4-BE49-F238E27FC236}">
                <a16:creationId xmlns:a16="http://schemas.microsoft.com/office/drawing/2014/main" id="{E8257F1F-72FD-4F62-ADB8-12B098C04307}"/>
              </a:ext>
            </a:extLst>
          </p:cNvPr>
          <p:cNvSpPr txBox="1"/>
          <p:nvPr/>
        </p:nvSpPr>
        <p:spPr>
          <a:xfrm>
            <a:off x="613906" y="5375900"/>
            <a:ext cx="304610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ntremoles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ova-Roma (in studio di fattibilità)</a:t>
            </a:r>
          </a:p>
        </p:txBody>
      </p:sp>
    </p:spTree>
    <p:extLst>
      <p:ext uri="{BB962C8B-B14F-4D97-AF65-F5344CB8AC3E}">
        <p14:creationId xmlns:p14="http://schemas.microsoft.com/office/powerpoint/2010/main" val="8020976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Rettangolo 182">
            <a:extLst>
              <a:ext uri="{FF2B5EF4-FFF2-40B4-BE49-F238E27FC236}">
                <a16:creationId xmlns:a16="http://schemas.microsoft.com/office/drawing/2014/main" id="{1CAA7491-EC08-42D2-AFAF-246D6FBAF862}"/>
              </a:ext>
            </a:extLst>
          </p:cNvPr>
          <p:cNvSpPr/>
          <p:nvPr/>
        </p:nvSpPr>
        <p:spPr>
          <a:xfrm>
            <a:off x="4568152" y="2321066"/>
            <a:ext cx="3503420" cy="3822939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Collegamenti ferroviari a porti e terminali</a:t>
            </a:r>
          </a:p>
        </p:txBody>
      </p:sp>
      <p:sp>
        <p:nvSpPr>
          <p:cNvPr id="122" name="Rettangolo 121">
            <a:extLst>
              <a:ext uri="{FF2B5EF4-FFF2-40B4-BE49-F238E27FC236}">
                <a16:creationId xmlns:a16="http://schemas.microsoft.com/office/drawing/2014/main" id="{DBD255B6-AE0E-453A-B02A-244C2E2958A1}"/>
              </a:ext>
            </a:extLst>
          </p:cNvPr>
          <p:cNvSpPr/>
          <p:nvPr/>
        </p:nvSpPr>
        <p:spPr>
          <a:xfrm>
            <a:off x="8171917" y="2322284"/>
            <a:ext cx="3503420" cy="3822939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0" name="Rettangolo 169">
            <a:extLst>
              <a:ext uri="{FF2B5EF4-FFF2-40B4-BE49-F238E27FC236}">
                <a16:creationId xmlns:a16="http://schemas.microsoft.com/office/drawing/2014/main" id="{DBD255B6-AE0E-453A-B02A-244C2E2958A1}"/>
              </a:ext>
            </a:extLst>
          </p:cNvPr>
          <p:cNvSpPr/>
          <p:nvPr/>
        </p:nvSpPr>
        <p:spPr>
          <a:xfrm>
            <a:off x="538334" y="2322284"/>
            <a:ext cx="3937585" cy="3822939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398" y="2759883"/>
            <a:ext cx="3876929" cy="2945995"/>
          </a:xfrm>
          <a:prstGeom prst="rect">
            <a:avLst/>
          </a:prstGeom>
        </p:spPr>
      </p:pic>
      <p:sp>
        <p:nvSpPr>
          <p:cNvPr id="7" name="Rettangolo 6"/>
          <p:cNvSpPr/>
          <p:nvPr/>
        </p:nvSpPr>
        <p:spPr>
          <a:xfrm>
            <a:off x="538333" y="5811856"/>
            <a:ext cx="14830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onte: Coeweb, Eurostat, analisi del team</a:t>
            </a:r>
          </a:p>
        </p:txBody>
      </p:sp>
      <p:sp>
        <p:nvSpPr>
          <p:cNvPr id="226" name="TextBox 70">
            <a:extLst>
              <a:ext uri="{FF2B5EF4-FFF2-40B4-BE49-F238E27FC236}">
                <a16:creationId xmlns:a16="http://schemas.microsoft.com/office/drawing/2014/main" id="{D1E75DEF-A6AA-4848-8B36-2173C385F444}"/>
              </a:ext>
            </a:extLst>
          </p:cNvPr>
          <p:cNvSpPr txBox="1">
            <a:spLocks/>
          </p:cNvSpPr>
          <p:nvPr/>
        </p:nvSpPr>
        <p:spPr>
          <a:xfrm>
            <a:off x="515503" y="983108"/>
            <a:ext cx="3980459" cy="409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Il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trasporto merci ferroviario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 in Italia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pesa ancora molto poco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 rispetto alle altre modalità di trasporto</a:t>
            </a:r>
          </a:p>
        </p:txBody>
      </p:sp>
      <p:cxnSp>
        <p:nvCxnSpPr>
          <p:cNvPr id="227" name="Connettore diritto 1270">
            <a:extLst>
              <a:ext uri="{FF2B5EF4-FFF2-40B4-BE49-F238E27FC236}">
                <a16:creationId xmlns:a16="http://schemas.microsoft.com/office/drawing/2014/main" id="{FD4B5944-38EF-43FC-9AB1-0D946EE11976}"/>
              </a:ext>
            </a:extLst>
          </p:cNvPr>
          <p:cNvCxnSpPr>
            <a:cxnSpLocks/>
          </p:cNvCxnSpPr>
          <p:nvPr/>
        </p:nvCxnSpPr>
        <p:spPr bwMode="gray">
          <a:xfrm>
            <a:off x="515504" y="1611251"/>
            <a:ext cx="39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TextBox 72">
            <a:extLst>
              <a:ext uri="{FF2B5EF4-FFF2-40B4-BE49-F238E27FC236}">
                <a16:creationId xmlns:a16="http://schemas.microsoft.com/office/drawing/2014/main" id="{442C4793-6120-4311-A5D0-707DF716BEAA}"/>
              </a:ext>
            </a:extLst>
          </p:cNvPr>
          <p:cNvSpPr txBox="1">
            <a:spLocks/>
          </p:cNvSpPr>
          <p:nvPr/>
        </p:nvSpPr>
        <p:spPr>
          <a:xfrm>
            <a:off x="4644622" y="988281"/>
            <a:ext cx="6903333" cy="614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Vincoli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: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scarsa capacità dei terminal di espandersi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gestire grandi volumi di traffico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, completamento tunnel del Brennero tra 2030-2032 e distanza tra porti e «destinazioni finali» (100-150 km) con forti «sbilanciamenti» (treno pieno all’andata e vuoto al ritorno).</a:t>
            </a:r>
          </a:p>
        </p:txBody>
      </p:sp>
      <p:cxnSp>
        <p:nvCxnSpPr>
          <p:cNvPr id="229" name="Connettore diritto 1270">
            <a:extLst>
              <a:ext uri="{FF2B5EF4-FFF2-40B4-BE49-F238E27FC236}">
                <a16:creationId xmlns:a16="http://schemas.microsoft.com/office/drawing/2014/main" id="{81AB0169-D338-46F6-83A6-13F8F7F39DC2}"/>
              </a:ext>
            </a:extLst>
          </p:cNvPr>
          <p:cNvCxnSpPr>
            <a:cxnSpLocks/>
          </p:cNvCxnSpPr>
          <p:nvPr/>
        </p:nvCxnSpPr>
        <p:spPr bwMode="gray">
          <a:xfrm>
            <a:off x="4583288" y="1611251"/>
            <a:ext cx="70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TextBox 72">
            <a:extLst>
              <a:ext uri="{FF2B5EF4-FFF2-40B4-BE49-F238E27FC236}">
                <a16:creationId xmlns:a16="http://schemas.microsoft.com/office/drawing/2014/main" id="{442C4793-6120-4311-A5D0-707DF716BEAA}"/>
              </a:ext>
            </a:extLst>
          </p:cNvPr>
          <p:cNvSpPr txBox="1">
            <a:spLocks/>
          </p:cNvSpPr>
          <p:nvPr/>
        </p:nvSpPr>
        <p:spPr>
          <a:xfrm>
            <a:off x="4575603" y="2130895"/>
            <a:ext cx="3010966" cy="204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PORTI</a:t>
            </a:r>
          </a:p>
        </p:txBody>
      </p:sp>
      <p:sp>
        <p:nvSpPr>
          <p:cNvPr id="231" name="TextBox 72">
            <a:extLst>
              <a:ext uri="{FF2B5EF4-FFF2-40B4-BE49-F238E27FC236}">
                <a16:creationId xmlns:a16="http://schemas.microsoft.com/office/drawing/2014/main" id="{442C4793-6120-4311-A5D0-707DF716BEAA}"/>
              </a:ext>
            </a:extLst>
          </p:cNvPr>
          <p:cNvSpPr txBox="1">
            <a:spLocks/>
          </p:cNvSpPr>
          <p:nvPr/>
        </p:nvSpPr>
        <p:spPr>
          <a:xfrm>
            <a:off x="8193037" y="2130894"/>
            <a:ext cx="3010966" cy="204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TERMINALI</a:t>
            </a:r>
          </a:p>
        </p:txBody>
      </p:sp>
      <p:sp>
        <p:nvSpPr>
          <p:cNvPr id="178" name="TextBox 72">
            <a:extLst>
              <a:ext uri="{FF2B5EF4-FFF2-40B4-BE49-F238E27FC236}">
                <a16:creationId xmlns:a16="http://schemas.microsoft.com/office/drawing/2014/main" id="{442C4793-6120-4311-A5D0-707DF716BEAA}"/>
              </a:ext>
            </a:extLst>
          </p:cNvPr>
          <p:cNvSpPr txBox="1">
            <a:spLocks/>
          </p:cNvSpPr>
          <p:nvPr/>
        </p:nvSpPr>
        <p:spPr>
          <a:xfrm>
            <a:off x="4607562" y="1658824"/>
            <a:ext cx="6940393" cy="409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Nello scenario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2032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, grazie anche all’impulso del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PNRR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, sono previsti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significativi investimenti per il potenziamento delle interconnessioni ferroviarie con i porti e terminali</a:t>
            </a:r>
          </a:p>
        </p:txBody>
      </p:sp>
      <p:sp>
        <p:nvSpPr>
          <p:cNvPr id="169" name="TextBox 72">
            <a:extLst>
              <a:ext uri="{FF2B5EF4-FFF2-40B4-BE49-F238E27FC236}">
                <a16:creationId xmlns:a16="http://schemas.microsoft.com/office/drawing/2014/main" id="{442C4793-6120-4311-A5D0-707DF716BEAA}"/>
              </a:ext>
            </a:extLst>
          </p:cNvPr>
          <p:cNvSpPr txBox="1">
            <a:spLocks/>
          </p:cNvSpPr>
          <p:nvPr/>
        </p:nvSpPr>
        <p:spPr>
          <a:xfrm>
            <a:off x="538333" y="2113970"/>
            <a:ext cx="3010966" cy="204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QUOTE MODALI</a:t>
            </a:r>
          </a:p>
        </p:txBody>
      </p:sp>
      <p:sp>
        <p:nvSpPr>
          <p:cNvPr id="181" name="CasellaDiTesto 180">
            <a:extLst>
              <a:ext uri="{FF2B5EF4-FFF2-40B4-BE49-F238E27FC236}">
                <a16:creationId xmlns:a16="http://schemas.microsoft.com/office/drawing/2014/main" id="{825B1E78-B38E-4881-8E18-AC80C03B5504}"/>
              </a:ext>
            </a:extLst>
          </p:cNvPr>
          <p:cNvSpPr txBox="1"/>
          <p:nvPr/>
        </p:nvSpPr>
        <p:spPr>
          <a:xfrm>
            <a:off x="5009941" y="2393763"/>
            <a:ext cx="298175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 2032, saranno realizzati 3 nuovi collegamenti ferroviari e potenziati 9 collegamenti già esistenti.</a:t>
            </a:r>
          </a:p>
        </p:txBody>
      </p:sp>
      <p:pic>
        <p:nvPicPr>
          <p:cNvPr id="182" name="Picture 2">
            <a:extLst>
              <a:ext uri="{FF2B5EF4-FFF2-40B4-BE49-F238E27FC236}">
                <a16:creationId xmlns:a16="http://schemas.microsoft.com/office/drawing/2014/main" id="{47452592-70E2-4E06-B9A5-5FB4B235B9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0093" y="2420766"/>
            <a:ext cx="362754" cy="377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8" name="Gruppo 77">
            <a:extLst>
              <a:ext uri="{FF2B5EF4-FFF2-40B4-BE49-F238E27FC236}">
                <a16:creationId xmlns:a16="http://schemas.microsoft.com/office/drawing/2014/main" id="{43774C8F-4898-4060-A2E3-4D5F97085F78}"/>
              </a:ext>
            </a:extLst>
          </p:cNvPr>
          <p:cNvGrpSpPr/>
          <p:nvPr/>
        </p:nvGrpSpPr>
        <p:grpSpPr>
          <a:xfrm>
            <a:off x="8301463" y="2382879"/>
            <a:ext cx="3816744" cy="3630225"/>
            <a:chOff x="5774521" y="2601726"/>
            <a:chExt cx="4240336" cy="3753243"/>
          </a:xfrm>
        </p:grpSpPr>
        <p:sp>
          <p:nvSpPr>
            <p:cNvPr id="80" name="CasellaDiTesto 79">
              <a:extLst>
                <a:ext uri="{FF2B5EF4-FFF2-40B4-BE49-F238E27FC236}">
                  <a16:creationId xmlns:a16="http://schemas.microsoft.com/office/drawing/2014/main" id="{C5ED33D7-8734-4F96-83E7-998E0BB05EA1}"/>
                </a:ext>
              </a:extLst>
            </p:cNvPr>
            <p:cNvSpPr txBox="1"/>
            <p:nvPr/>
          </p:nvSpPr>
          <p:spPr>
            <a:xfrm>
              <a:off x="6254597" y="2601726"/>
              <a:ext cx="3318077" cy="2658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l 2032, saranno potenziati 12 collegamenti.</a:t>
              </a:r>
            </a:p>
          </p:txBody>
        </p:sp>
        <p:pic>
          <p:nvPicPr>
            <p:cNvPr id="81" name="Picture 2">
              <a:extLst>
                <a:ext uri="{FF2B5EF4-FFF2-40B4-BE49-F238E27FC236}">
                  <a16:creationId xmlns:a16="http://schemas.microsoft.com/office/drawing/2014/main" id="{493D7A87-78FF-4BAE-ACD4-DA64F453E6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8521" y="2629165"/>
              <a:ext cx="403670" cy="383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82" name="Gruppo 81">
              <a:extLst>
                <a:ext uri="{FF2B5EF4-FFF2-40B4-BE49-F238E27FC236}">
                  <a16:creationId xmlns:a16="http://schemas.microsoft.com/office/drawing/2014/main" id="{F8795B76-EFBC-4D5B-BE47-63268BB7DDF5}"/>
                </a:ext>
              </a:extLst>
            </p:cNvPr>
            <p:cNvGrpSpPr/>
            <p:nvPr/>
          </p:nvGrpSpPr>
          <p:grpSpPr>
            <a:xfrm>
              <a:off x="5774521" y="2823046"/>
              <a:ext cx="4240336" cy="3531923"/>
              <a:chOff x="701012" y="1565795"/>
              <a:chExt cx="5656514" cy="4758814"/>
            </a:xfrm>
          </p:grpSpPr>
          <p:grpSp>
            <p:nvGrpSpPr>
              <p:cNvPr id="93" name="Gruppo 92">
                <a:extLst>
                  <a:ext uri="{FF2B5EF4-FFF2-40B4-BE49-F238E27FC236}">
                    <a16:creationId xmlns:a16="http://schemas.microsoft.com/office/drawing/2014/main" id="{ED53D3FA-EDF4-4226-BAB2-10C573506593}"/>
                  </a:ext>
                </a:extLst>
              </p:cNvPr>
              <p:cNvGrpSpPr/>
              <p:nvPr/>
            </p:nvGrpSpPr>
            <p:grpSpPr>
              <a:xfrm>
                <a:off x="701012" y="1565795"/>
                <a:ext cx="5656514" cy="4758814"/>
                <a:chOff x="1683662" y="1836585"/>
                <a:chExt cx="4531681" cy="3325338"/>
              </a:xfrm>
            </p:grpSpPr>
            <p:sp>
              <p:nvSpPr>
                <p:cNvPr id="107" name="Figura a mano libera 633">
                  <a:extLst>
                    <a:ext uri="{FF2B5EF4-FFF2-40B4-BE49-F238E27FC236}">
                      <a16:creationId xmlns:a16="http://schemas.microsoft.com/office/drawing/2014/main" id="{0D00758E-08C5-41CF-A127-9D5585B9CB8C}"/>
                    </a:ext>
                  </a:extLst>
                </p:cNvPr>
                <p:cNvSpPr/>
                <p:nvPr/>
              </p:nvSpPr>
              <p:spPr bwMode="auto">
                <a:xfrm>
                  <a:off x="2829771" y="1965837"/>
                  <a:ext cx="698582" cy="601074"/>
                </a:xfrm>
                <a:custGeom>
                  <a:avLst/>
                  <a:gdLst>
                    <a:gd name="connsiteX0" fmla="*/ 147638 w 1395413"/>
                    <a:gd name="connsiteY0" fmla="*/ 302419 h 1247775"/>
                    <a:gd name="connsiteX1" fmla="*/ 204788 w 1395413"/>
                    <a:gd name="connsiteY1" fmla="*/ 314325 h 1247775"/>
                    <a:gd name="connsiteX2" fmla="*/ 216694 w 1395413"/>
                    <a:gd name="connsiteY2" fmla="*/ 335756 h 1247775"/>
                    <a:gd name="connsiteX3" fmla="*/ 180975 w 1395413"/>
                    <a:gd name="connsiteY3" fmla="*/ 369094 h 1247775"/>
                    <a:gd name="connsiteX4" fmla="*/ 233363 w 1395413"/>
                    <a:gd name="connsiteY4" fmla="*/ 402431 h 1247775"/>
                    <a:gd name="connsiteX5" fmla="*/ 221456 w 1395413"/>
                    <a:gd name="connsiteY5" fmla="*/ 431006 h 1247775"/>
                    <a:gd name="connsiteX6" fmla="*/ 202406 w 1395413"/>
                    <a:gd name="connsiteY6" fmla="*/ 461963 h 1247775"/>
                    <a:gd name="connsiteX7" fmla="*/ 252413 w 1395413"/>
                    <a:gd name="connsiteY7" fmla="*/ 488156 h 1247775"/>
                    <a:gd name="connsiteX8" fmla="*/ 304800 w 1395413"/>
                    <a:gd name="connsiteY8" fmla="*/ 471488 h 1247775"/>
                    <a:gd name="connsiteX9" fmla="*/ 307181 w 1395413"/>
                    <a:gd name="connsiteY9" fmla="*/ 450056 h 1247775"/>
                    <a:gd name="connsiteX10" fmla="*/ 290513 w 1395413"/>
                    <a:gd name="connsiteY10" fmla="*/ 421481 h 1247775"/>
                    <a:gd name="connsiteX11" fmla="*/ 257175 w 1395413"/>
                    <a:gd name="connsiteY11" fmla="*/ 400050 h 1247775"/>
                    <a:gd name="connsiteX12" fmla="*/ 292894 w 1395413"/>
                    <a:gd name="connsiteY12" fmla="*/ 383381 h 1247775"/>
                    <a:gd name="connsiteX13" fmla="*/ 271463 w 1395413"/>
                    <a:gd name="connsiteY13" fmla="*/ 342900 h 1247775"/>
                    <a:gd name="connsiteX14" fmla="*/ 321469 w 1395413"/>
                    <a:gd name="connsiteY14" fmla="*/ 338138 h 1247775"/>
                    <a:gd name="connsiteX15" fmla="*/ 321469 w 1395413"/>
                    <a:gd name="connsiteY15" fmla="*/ 297656 h 1247775"/>
                    <a:gd name="connsiteX16" fmla="*/ 411956 w 1395413"/>
                    <a:gd name="connsiteY16" fmla="*/ 219075 h 1247775"/>
                    <a:gd name="connsiteX17" fmla="*/ 423863 w 1395413"/>
                    <a:gd name="connsiteY17" fmla="*/ 147638 h 1247775"/>
                    <a:gd name="connsiteX18" fmla="*/ 433388 w 1395413"/>
                    <a:gd name="connsiteY18" fmla="*/ 109538 h 1247775"/>
                    <a:gd name="connsiteX19" fmla="*/ 414338 w 1395413"/>
                    <a:gd name="connsiteY19" fmla="*/ 92869 h 1247775"/>
                    <a:gd name="connsiteX20" fmla="*/ 433388 w 1395413"/>
                    <a:gd name="connsiteY20" fmla="*/ 71438 h 1247775"/>
                    <a:gd name="connsiteX21" fmla="*/ 440531 w 1395413"/>
                    <a:gd name="connsiteY21" fmla="*/ 54769 h 1247775"/>
                    <a:gd name="connsiteX22" fmla="*/ 483394 w 1395413"/>
                    <a:gd name="connsiteY22" fmla="*/ 61913 h 1247775"/>
                    <a:gd name="connsiteX23" fmla="*/ 483394 w 1395413"/>
                    <a:gd name="connsiteY23" fmla="*/ 80963 h 1247775"/>
                    <a:gd name="connsiteX24" fmla="*/ 521494 w 1395413"/>
                    <a:gd name="connsiteY24" fmla="*/ 71438 h 1247775"/>
                    <a:gd name="connsiteX25" fmla="*/ 526256 w 1395413"/>
                    <a:gd name="connsiteY25" fmla="*/ 100013 h 1247775"/>
                    <a:gd name="connsiteX26" fmla="*/ 507206 w 1395413"/>
                    <a:gd name="connsiteY26" fmla="*/ 128588 h 1247775"/>
                    <a:gd name="connsiteX27" fmla="*/ 564356 w 1395413"/>
                    <a:gd name="connsiteY27" fmla="*/ 190500 h 1247775"/>
                    <a:gd name="connsiteX28" fmla="*/ 626269 w 1395413"/>
                    <a:gd name="connsiteY28" fmla="*/ 204788 h 1247775"/>
                    <a:gd name="connsiteX29" fmla="*/ 635794 w 1395413"/>
                    <a:gd name="connsiteY29" fmla="*/ 173831 h 1247775"/>
                    <a:gd name="connsiteX30" fmla="*/ 671513 w 1395413"/>
                    <a:gd name="connsiteY30" fmla="*/ 173831 h 1247775"/>
                    <a:gd name="connsiteX31" fmla="*/ 726281 w 1395413"/>
                    <a:gd name="connsiteY31" fmla="*/ 164306 h 1247775"/>
                    <a:gd name="connsiteX32" fmla="*/ 738188 w 1395413"/>
                    <a:gd name="connsiteY32" fmla="*/ 157163 h 1247775"/>
                    <a:gd name="connsiteX33" fmla="*/ 738188 w 1395413"/>
                    <a:gd name="connsiteY33" fmla="*/ 157163 h 1247775"/>
                    <a:gd name="connsiteX34" fmla="*/ 766763 w 1395413"/>
                    <a:gd name="connsiteY34" fmla="*/ 183356 h 1247775"/>
                    <a:gd name="connsiteX35" fmla="*/ 752475 w 1395413"/>
                    <a:gd name="connsiteY35" fmla="*/ 207169 h 1247775"/>
                    <a:gd name="connsiteX36" fmla="*/ 778669 w 1395413"/>
                    <a:gd name="connsiteY36" fmla="*/ 233363 h 1247775"/>
                    <a:gd name="connsiteX37" fmla="*/ 778669 w 1395413"/>
                    <a:gd name="connsiteY37" fmla="*/ 252413 h 1247775"/>
                    <a:gd name="connsiteX38" fmla="*/ 778669 w 1395413"/>
                    <a:gd name="connsiteY38" fmla="*/ 252413 h 1247775"/>
                    <a:gd name="connsiteX39" fmla="*/ 862013 w 1395413"/>
                    <a:gd name="connsiteY39" fmla="*/ 257175 h 1247775"/>
                    <a:gd name="connsiteX40" fmla="*/ 826294 w 1395413"/>
                    <a:gd name="connsiteY40" fmla="*/ 197644 h 1247775"/>
                    <a:gd name="connsiteX41" fmla="*/ 833438 w 1395413"/>
                    <a:gd name="connsiteY41" fmla="*/ 169069 h 1247775"/>
                    <a:gd name="connsiteX42" fmla="*/ 845344 w 1395413"/>
                    <a:gd name="connsiteY42" fmla="*/ 130969 h 1247775"/>
                    <a:gd name="connsiteX43" fmla="*/ 788194 w 1395413"/>
                    <a:gd name="connsiteY43" fmla="*/ 123825 h 1247775"/>
                    <a:gd name="connsiteX44" fmla="*/ 792956 w 1395413"/>
                    <a:gd name="connsiteY44" fmla="*/ 57150 h 1247775"/>
                    <a:gd name="connsiteX45" fmla="*/ 812006 w 1395413"/>
                    <a:gd name="connsiteY45" fmla="*/ 26194 h 1247775"/>
                    <a:gd name="connsiteX46" fmla="*/ 866775 w 1395413"/>
                    <a:gd name="connsiteY46" fmla="*/ 0 h 1247775"/>
                    <a:gd name="connsiteX47" fmla="*/ 892969 w 1395413"/>
                    <a:gd name="connsiteY47" fmla="*/ 0 h 1247775"/>
                    <a:gd name="connsiteX48" fmla="*/ 895350 w 1395413"/>
                    <a:gd name="connsiteY48" fmla="*/ 40481 h 1247775"/>
                    <a:gd name="connsiteX49" fmla="*/ 976313 w 1395413"/>
                    <a:gd name="connsiteY49" fmla="*/ 66675 h 1247775"/>
                    <a:gd name="connsiteX50" fmla="*/ 1004888 w 1395413"/>
                    <a:gd name="connsiteY50" fmla="*/ 69056 h 1247775"/>
                    <a:gd name="connsiteX51" fmla="*/ 1019175 w 1395413"/>
                    <a:gd name="connsiteY51" fmla="*/ 102394 h 1247775"/>
                    <a:gd name="connsiteX52" fmla="*/ 1057275 w 1395413"/>
                    <a:gd name="connsiteY52" fmla="*/ 109538 h 1247775"/>
                    <a:gd name="connsiteX53" fmla="*/ 1064419 w 1395413"/>
                    <a:gd name="connsiteY53" fmla="*/ 161925 h 1247775"/>
                    <a:gd name="connsiteX54" fmla="*/ 1014413 w 1395413"/>
                    <a:gd name="connsiteY54" fmla="*/ 185738 h 1247775"/>
                    <a:gd name="connsiteX55" fmla="*/ 1040606 w 1395413"/>
                    <a:gd name="connsiteY55" fmla="*/ 240506 h 1247775"/>
                    <a:gd name="connsiteX56" fmla="*/ 1040606 w 1395413"/>
                    <a:gd name="connsiteY56" fmla="*/ 271463 h 1247775"/>
                    <a:gd name="connsiteX57" fmla="*/ 1031081 w 1395413"/>
                    <a:gd name="connsiteY57" fmla="*/ 304800 h 1247775"/>
                    <a:gd name="connsiteX58" fmla="*/ 1007269 w 1395413"/>
                    <a:gd name="connsiteY58" fmla="*/ 354806 h 1247775"/>
                    <a:gd name="connsiteX59" fmla="*/ 978694 w 1395413"/>
                    <a:gd name="connsiteY59" fmla="*/ 397669 h 1247775"/>
                    <a:gd name="connsiteX60" fmla="*/ 976313 w 1395413"/>
                    <a:gd name="connsiteY60" fmla="*/ 435769 h 1247775"/>
                    <a:gd name="connsiteX61" fmla="*/ 985838 w 1395413"/>
                    <a:gd name="connsiteY61" fmla="*/ 445294 h 1247775"/>
                    <a:gd name="connsiteX62" fmla="*/ 997744 w 1395413"/>
                    <a:gd name="connsiteY62" fmla="*/ 497681 h 1247775"/>
                    <a:gd name="connsiteX63" fmla="*/ 1028700 w 1395413"/>
                    <a:gd name="connsiteY63" fmla="*/ 545306 h 1247775"/>
                    <a:gd name="connsiteX64" fmla="*/ 1078706 w 1395413"/>
                    <a:gd name="connsiteY64" fmla="*/ 528638 h 1247775"/>
                    <a:gd name="connsiteX65" fmla="*/ 1178719 w 1395413"/>
                    <a:gd name="connsiteY65" fmla="*/ 538163 h 1247775"/>
                    <a:gd name="connsiteX66" fmla="*/ 1143000 w 1395413"/>
                    <a:gd name="connsiteY66" fmla="*/ 559594 h 1247775"/>
                    <a:gd name="connsiteX67" fmla="*/ 1102519 w 1395413"/>
                    <a:gd name="connsiteY67" fmla="*/ 609600 h 1247775"/>
                    <a:gd name="connsiteX68" fmla="*/ 1081088 w 1395413"/>
                    <a:gd name="connsiteY68" fmla="*/ 638175 h 1247775"/>
                    <a:gd name="connsiteX69" fmla="*/ 1050131 w 1395413"/>
                    <a:gd name="connsiteY69" fmla="*/ 683419 h 1247775"/>
                    <a:gd name="connsiteX70" fmla="*/ 1050131 w 1395413"/>
                    <a:gd name="connsiteY70" fmla="*/ 745331 h 1247775"/>
                    <a:gd name="connsiteX71" fmla="*/ 1057275 w 1395413"/>
                    <a:gd name="connsiteY71" fmla="*/ 783431 h 1247775"/>
                    <a:gd name="connsiteX72" fmla="*/ 1090613 w 1395413"/>
                    <a:gd name="connsiteY72" fmla="*/ 781050 h 1247775"/>
                    <a:gd name="connsiteX73" fmla="*/ 1069181 w 1395413"/>
                    <a:gd name="connsiteY73" fmla="*/ 828675 h 1247775"/>
                    <a:gd name="connsiteX74" fmla="*/ 1071563 w 1395413"/>
                    <a:gd name="connsiteY74" fmla="*/ 881063 h 1247775"/>
                    <a:gd name="connsiteX75" fmla="*/ 1092994 w 1395413"/>
                    <a:gd name="connsiteY75" fmla="*/ 881063 h 1247775"/>
                    <a:gd name="connsiteX76" fmla="*/ 1097756 w 1395413"/>
                    <a:gd name="connsiteY76" fmla="*/ 850106 h 1247775"/>
                    <a:gd name="connsiteX77" fmla="*/ 1171575 w 1395413"/>
                    <a:gd name="connsiteY77" fmla="*/ 928688 h 1247775"/>
                    <a:gd name="connsiteX78" fmla="*/ 1228725 w 1395413"/>
                    <a:gd name="connsiteY78" fmla="*/ 976313 h 1247775"/>
                    <a:gd name="connsiteX79" fmla="*/ 1223963 w 1395413"/>
                    <a:gd name="connsiteY79" fmla="*/ 1000125 h 1247775"/>
                    <a:gd name="connsiteX80" fmla="*/ 1252538 w 1395413"/>
                    <a:gd name="connsiteY80" fmla="*/ 1019175 h 1247775"/>
                    <a:gd name="connsiteX81" fmla="*/ 1288256 w 1395413"/>
                    <a:gd name="connsiteY81" fmla="*/ 1007269 h 1247775"/>
                    <a:gd name="connsiteX82" fmla="*/ 1307306 w 1395413"/>
                    <a:gd name="connsiteY82" fmla="*/ 1007269 h 1247775"/>
                    <a:gd name="connsiteX83" fmla="*/ 1321594 w 1395413"/>
                    <a:gd name="connsiteY83" fmla="*/ 1059656 h 1247775"/>
                    <a:gd name="connsiteX84" fmla="*/ 1395413 w 1395413"/>
                    <a:gd name="connsiteY84" fmla="*/ 1102519 h 1247775"/>
                    <a:gd name="connsiteX85" fmla="*/ 1364456 w 1395413"/>
                    <a:gd name="connsiteY85" fmla="*/ 1114425 h 1247775"/>
                    <a:gd name="connsiteX86" fmla="*/ 1314450 w 1395413"/>
                    <a:gd name="connsiteY86" fmla="*/ 1114425 h 1247775"/>
                    <a:gd name="connsiteX87" fmla="*/ 1254919 w 1395413"/>
                    <a:gd name="connsiteY87" fmla="*/ 1107281 h 1247775"/>
                    <a:gd name="connsiteX88" fmla="*/ 1216819 w 1395413"/>
                    <a:gd name="connsiteY88" fmla="*/ 1112044 h 1247775"/>
                    <a:gd name="connsiteX89" fmla="*/ 1181100 w 1395413"/>
                    <a:gd name="connsiteY89" fmla="*/ 1138238 h 1247775"/>
                    <a:gd name="connsiteX90" fmla="*/ 1116806 w 1395413"/>
                    <a:gd name="connsiteY90" fmla="*/ 1123950 h 1247775"/>
                    <a:gd name="connsiteX91" fmla="*/ 1071563 w 1395413"/>
                    <a:gd name="connsiteY91" fmla="*/ 1081088 h 1247775"/>
                    <a:gd name="connsiteX92" fmla="*/ 1012031 w 1395413"/>
                    <a:gd name="connsiteY92" fmla="*/ 1140619 h 1247775"/>
                    <a:gd name="connsiteX93" fmla="*/ 847725 w 1395413"/>
                    <a:gd name="connsiteY93" fmla="*/ 1066800 h 1247775"/>
                    <a:gd name="connsiteX94" fmla="*/ 823913 w 1395413"/>
                    <a:gd name="connsiteY94" fmla="*/ 1054894 h 1247775"/>
                    <a:gd name="connsiteX95" fmla="*/ 823913 w 1395413"/>
                    <a:gd name="connsiteY95" fmla="*/ 1038225 h 1247775"/>
                    <a:gd name="connsiteX96" fmla="*/ 776288 w 1395413"/>
                    <a:gd name="connsiteY96" fmla="*/ 1040606 h 1247775"/>
                    <a:gd name="connsiteX97" fmla="*/ 747713 w 1395413"/>
                    <a:gd name="connsiteY97" fmla="*/ 1023938 h 1247775"/>
                    <a:gd name="connsiteX98" fmla="*/ 752475 w 1395413"/>
                    <a:gd name="connsiteY98" fmla="*/ 997744 h 1247775"/>
                    <a:gd name="connsiteX99" fmla="*/ 740569 w 1395413"/>
                    <a:gd name="connsiteY99" fmla="*/ 971550 h 1247775"/>
                    <a:gd name="connsiteX100" fmla="*/ 678656 w 1395413"/>
                    <a:gd name="connsiteY100" fmla="*/ 1000125 h 1247775"/>
                    <a:gd name="connsiteX101" fmla="*/ 678656 w 1395413"/>
                    <a:gd name="connsiteY101" fmla="*/ 976313 h 1247775"/>
                    <a:gd name="connsiteX102" fmla="*/ 650081 w 1395413"/>
                    <a:gd name="connsiteY102" fmla="*/ 997744 h 1247775"/>
                    <a:gd name="connsiteX103" fmla="*/ 621506 w 1395413"/>
                    <a:gd name="connsiteY103" fmla="*/ 1000125 h 1247775"/>
                    <a:gd name="connsiteX104" fmla="*/ 602456 w 1395413"/>
                    <a:gd name="connsiteY104" fmla="*/ 997744 h 1247775"/>
                    <a:gd name="connsiteX105" fmla="*/ 600075 w 1395413"/>
                    <a:gd name="connsiteY105" fmla="*/ 978694 h 1247775"/>
                    <a:gd name="connsiteX106" fmla="*/ 578644 w 1395413"/>
                    <a:gd name="connsiteY106" fmla="*/ 1009650 h 1247775"/>
                    <a:gd name="connsiteX107" fmla="*/ 533400 w 1395413"/>
                    <a:gd name="connsiteY107" fmla="*/ 1012031 h 1247775"/>
                    <a:gd name="connsiteX108" fmla="*/ 490538 w 1395413"/>
                    <a:gd name="connsiteY108" fmla="*/ 1004888 h 1247775"/>
                    <a:gd name="connsiteX109" fmla="*/ 485775 w 1395413"/>
                    <a:gd name="connsiteY109" fmla="*/ 971550 h 1247775"/>
                    <a:gd name="connsiteX110" fmla="*/ 461963 w 1395413"/>
                    <a:gd name="connsiteY110" fmla="*/ 971550 h 1247775"/>
                    <a:gd name="connsiteX111" fmla="*/ 381000 w 1395413"/>
                    <a:gd name="connsiteY111" fmla="*/ 1047750 h 1247775"/>
                    <a:gd name="connsiteX112" fmla="*/ 381000 w 1395413"/>
                    <a:gd name="connsiteY112" fmla="*/ 1112044 h 1247775"/>
                    <a:gd name="connsiteX113" fmla="*/ 407194 w 1395413"/>
                    <a:gd name="connsiteY113" fmla="*/ 1126331 h 1247775"/>
                    <a:gd name="connsiteX114" fmla="*/ 383381 w 1395413"/>
                    <a:gd name="connsiteY114" fmla="*/ 1152525 h 1247775"/>
                    <a:gd name="connsiteX115" fmla="*/ 359569 w 1395413"/>
                    <a:gd name="connsiteY115" fmla="*/ 1188244 h 1247775"/>
                    <a:gd name="connsiteX116" fmla="*/ 392906 w 1395413"/>
                    <a:gd name="connsiteY116" fmla="*/ 1216819 h 1247775"/>
                    <a:gd name="connsiteX117" fmla="*/ 366713 w 1395413"/>
                    <a:gd name="connsiteY117" fmla="*/ 1247775 h 1247775"/>
                    <a:gd name="connsiteX118" fmla="*/ 314325 w 1395413"/>
                    <a:gd name="connsiteY118" fmla="*/ 1214438 h 1247775"/>
                    <a:gd name="connsiteX119" fmla="*/ 309563 w 1395413"/>
                    <a:gd name="connsiteY119" fmla="*/ 1152525 h 1247775"/>
                    <a:gd name="connsiteX120" fmla="*/ 280988 w 1395413"/>
                    <a:gd name="connsiteY120" fmla="*/ 1166813 h 1247775"/>
                    <a:gd name="connsiteX121" fmla="*/ 250031 w 1395413"/>
                    <a:gd name="connsiteY121" fmla="*/ 1054894 h 1247775"/>
                    <a:gd name="connsiteX122" fmla="*/ 190500 w 1395413"/>
                    <a:gd name="connsiteY122" fmla="*/ 978694 h 1247775"/>
                    <a:gd name="connsiteX123" fmla="*/ 92869 w 1395413"/>
                    <a:gd name="connsiteY123" fmla="*/ 1009650 h 1247775"/>
                    <a:gd name="connsiteX124" fmla="*/ 71438 w 1395413"/>
                    <a:gd name="connsiteY124" fmla="*/ 962025 h 1247775"/>
                    <a:gd name="connsiteX125" fmla="*/ 28575 w 1395413"/>
                    <a:gd name="connsiteY125" fmla="*/ 914400 h 1247775"/>
                    <a:gd name="connsiteX126" fmla="*/ 23813 w 1395413"/>
                    <a:gd name="connsiteY126" fmla="*/ 845344 h 1247775"/>
                    <a:gd name="connsiteX127" fmla="*/ 0 w 1395413"/>
                    <a:gd name="connsiteY127" fmla="*/ 776288 h 1247775"/>
                    <a:gd name="connsiteX128" fmla="*/ 71438 w 1395413"/>
                    <a:gd name="connsiteY128" fmla="*/ 783431 h 1247775"/>
                    <a:gd name="connsiteX129" fmla="*/ 121444 w 1395413"/>
                    <a:gd name="connsiteY129" fmla="*/ 776288 h 1247775"/>
                    <a:gd name="connsiteX130" fmla="*/ 159544 w 1395413"/>
                    <a:gd name="connsiteY130" fmla="*/ 776288 h 1247775"/>
                    <a:gd name="connsiteX131" fmla="*/ 173831 w 1395413"/>
                    <a:gd name="connsiteY131" fmla="*/ 745331 h 1247775"/>
                    <a:gd name="connsiteX132" fmla="*/ 154781 w 1395413"/>
                    <a:gd name="connsiteY132" fmla="*/ 704850 h 1247775"/>
                    <a:gd name="connsiteX133" fmla="*/ 133350 w 1395413"/>
                    <a:gd name="connsiteY133" fmla="*/ 704850 h 1247775"/>
                    <a:gd name="connsiteX134" fmla="*/ 123825 w 1395413"/>
                    <a:gd name="connsiteY134" fmla="*/ 642938 h 1247775"/>
                    <a:gd name="connsiteX135" fmla="*/ 95250 w 1395413"/>
                    <a:gd name="connsiteY135" fmla="*/ 621506 h 1247775"/>
                    <a:gd name="connsiteX136" fmla="*/ 133350 w 1395413"/>
                    <a:gd name="connsiteY136" fmla="*/ 573881 h 1247775"/>
                    <a:gd name="connsiteX137" fmla="*/ 83344 w 1395413"/>
                    <a:gd name="connsiteY137" fmla="*/ 573881 h 1247775"/>
                    <a:gd name="connsiteX138" fmla="*/ 59531 w 1395413"/>
                    <a:gd name="connsiteY138" fmla="*/ 550069 h 1247775"/>
                    <a:gd name="connsiteX139" fmla="*/ 83344 w 1395413"/>
                    <a:gd name="connsiteY139" fmla="*/ 478631 h 1247775"/>
                    <a:gd name="connsiteX140" fmla="*/ 54769 w 1395413"/>
                    <a:gd name="connsiteY140" fmla="*/ 440531 h 1247775"/>
                    <a:gd name="connsiteX141" fmla="*/ 97631 w 1395413"/>
                    <a:gd name="connsiteY141" fmla="*/ 395288 h 1247775"/>
                    <a:gd name="connsiteX142" fmla="*/ 147638 w 1395413"/>
                    <a:gd name="connsiteY142" fmla="*/ 373856 h 1247775"/>
                    <a:gd name="connsiteX143" fmla="*/ 147638 w 1395413"/>
                    <a:gd name="connsiteY143" fmla="*/ 302419 h 1247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</a:cxnLst>
                  <a:rect l="l" t="t" r="r" b="b"/>
                  <a:pathLst>
                    <a:path w="1395413" h="1247775">
                      <a:moveTo>
                        <a:pt x="147638" y="302419"/>
                      </a:moveTo>
                      <a:lnTo>
                        <a:pt x="204788" y="314325"/>
                      </a:lnTo>
                      <a:lnTo>
                        <a:pt x="216694" y="335756"/>
                      </a:lnTo>
                      <a:lnTo>
                        <a:pt x="180975" y="369094"/>
                      </a:lnTo>
                      <a:lnTo>
                        <a:pt x="233363" y="402431"/>
                      </a:lnTo>
                      <a:lnTo>
                        <a:pt x="221456" y="431006"/>
                      </a:lnTo>
                      <a:lnTo>
                        <a:pt x="202406" y="461963"/>
                      </a:lnTo>
                      <a:lnTo>
                        <a:pt x="252413" y="488156"/>
                      </a:lnTo>
                      <a:lnTo>
                        <a:pt x="304800" y="471488"/>
                      </a:lnTo>
                      <a:lnTo>
                        <a:pt x="307181" y="450056"/>
                      </a:lnTo>
                      <a:lnTo>
                        <a:pt x="290513" y="421481"/>
                      </a:lnTo>
                      <a:lnTo>
                        <a:pt x="257175" y="400050"/>
                      </a:lnTo>
                      <a:lnTo>
                        <a:pt x="292894" y="383381"/>
                      </a:lnTo>
                      <a:lnTo>
                        <a:pt x="271463" y="342900"/>
                      </a:lnTo>
                      <a:lnTo>
                        <a:pt x="321469" y="338138"/>
                      </a:lnTo>
                      <a:lnTo>
                        <a:pt x="321469" y="297656"/>
                      </a:lnTo>
                      <a:lnTo>
                        <a:pt x="411956" y="219075"/>
                      </a:lnTo>
                      <a:lnTo>
                        <a:pt x="423863" y="147638"/>
                      </a:lnTo>
                      <a:lnTo>
                        <a:pt x="433388" y="109538"/>
                      </a:lnTo>
                      <a:lnTo>
                        <a:pt x="414338" y="92869"/>
                      </a:lnTo>
                      <a:lnTo>
                        <a:pt x="433388" y="71438"/>
                      </a:lnTo>
                      <a:lnTo>
                        <a:pt x="440531" y="54769"/>
                      </a:lnTo>
                      <a:lnTo>
                        <a:pt x="483394" y="61913"/>
                      </a:lnTo>
                      <a:lnTo>
                        <a:pt x="483394" y="80963"/>
                      </a:lnTo>
                      <a:lnTo>
                        <a:pt x="521494" y="71438"/>
                      </a:lnTo>
                      <a:lnTo>
                        <a:pt x="526256" y="100013"/>
                      </a:lnTo>
                      <a:lnTo>
                        <a:pt x="507206" y="128588"/>
                      </a:lnTo>
                      <a:lnTo>
                        <a:pt x="564356" y="190500"/>
                      </a:lnTo>
                      <a:lnTo>
                        <a:pt x="626269" y="204788"/>
                      </a:lnTo>
                      <a:lnTo>
                        <a:pt x="635794" y="173831"/>
                      </a:lnTo>
                      <a:lnTo>
                        <a:pt x="671513" y="173831"/>
                      </a:lnTo>
                      <a:lnTo>
                        <a:pt x="726281" y="164306"/>
                      </a:lnTo>
                      <a:lnTo>
                        <a:pt x="738188" y="157163"/>
                      </a:lnTo>
                      <a:lnTo>
                        <a:pt x="738188" y="157163"/>
                      </a:lnTo>
                      <a:lnTo>
                        <a:pt x="766763" y="183356"/>
                      </a:lnTo>
                      <a:lnTo>
                        <a:pt x="752475" y="207169"/>
                      </a:lnTo>
                      <a:lnTo>
                        <a:pt x="778669" y="233363"/>
                      </a:lnTo>
                      <a:lnTo>
                        <a:pt x="778669" y="252413"/>
                      </a:lnTo>
                      <a:lnTo>
                        <a:pt x="778669" y="252413"/>
                      </a:lnTo>
                      <a:lnTo>
                        <a:pt x="862013" y="257175"/>
                      </a:lnTo>
                      <a:lnTo>
                        <a:pt x="826294" y="197644"/>
                      </a:lnTo>
                      <a:lnTo>
                        <a:pt x="833438" y="169069"/>
                      </a:lnTo>
                      <a:lnTo>
                        <a:pt x="845344" y="130969"/>
                      </a:lnTo>
                      <a:lnTo>
                        <a:pt x="788194" y="123825"/>
                      </a:lnTo>
                      <a:lnTo>
                        <a:pt x="792956" y="57150"/>
                      </a:lnTo>
                      <a:lnTo>
                        <a:pt x="812006" y="26194"/>
                      </a:lnTo>
                      <a:lnTo>
                        <a:pt x="866775" y="0"/>
                      </a:lnTo>
                      <a:lnTo>
                        <a:pt x="892969" y="0"/>
                      </a:lnTo>
                      <a:lnTo>
                        <a:pt x="895350" y="40481"/>
                      </a:lnTo>
                      <a:lnTo>
                        <a:pt x="976313" y="66675"/>
                      </a:lnTo>
                      <a:lnTo>
                        <a:pt x="1004888" y="69056"/>
                      </a:lnTo>
                      <a:lnTo>
                        <a:pt x="1019175" y="102394"/>
                      </a:lnTo>
                      <a:lnTo>
                        <a:pt x="1057275" y="109538"/>
                      </a:lnTo>
                      <a:lnTo>
                        <a:pt x="1064419" y="161925"/>
                      </a:lnTo>
                      <a:lnTo>
                        <a:pt x="1014413" y="185738"/>
                      </a:lnTo>
                      <a:lnTo>
                        <a:pt x="1040606" y="240506"/>
                      </a:lnTo>
                      <a:lnTo>
                        <a:pt x="1040606" y="271463"/>
                      </a:lnTo>
                      <a:lnTo>
                        <a:pt x="1031081" y="304800"/>
                      </a:lnTo>
                      <a:lnTo>
                        <a:pt x="1007269" y="354806"/>
                      </a:lnTo>
                      <a:lnTo>
                        <a:pt x="978694" y="397669"/>
                      </a:lnTo>
                      <a:lnTo>
                        <a:pt x="976313" y="435769"/>
                      </a:lnTo>
                      <a:lnTo>
                        <a:pt x="985838" y="445294"/>
                      </a:lnTo>
                      <a:lnTo>
                        <a:pt x="997744" y="497681"/>
                      </a:lnTo>
                      <a:lnTo>
                        <a:pt x="1028700" y="545306"/>
                      </a:lnTo>
                      <a:lnTo>
                        <a:pt x="1078706" y="528638"/>
                      </a:lnTo>
                      <a:lnTo>
                        <a:pt x="1178719" y="538163"/>
                      </a:lnTo>
                      <a:lnTo>
                        <a:pt x="1143000" y="559594"/>
                      </a:lnTo>
                      <a:lnTo>
                        <a:pt x="1102519" y="609600"/>
                      </a:lnTo>
                      <a:lnTo>
                        <a:pt x="1081088" y="638175"/>
                      </a:lnTo>
                      <a:lnTo>
                        <a:pt x="1050131" y="683419"/>
                      </a:lnTo>
                      <a:lnTo>
                        <a:pt x="1050131" y="745331"/>
                      </a:lnTo>
                      <a:lnTo>
                        <a:pt x="1057275" y="783431"/>
                      </a:lnTo>
                      <a:lnTo>
                        <a:pt x="1090613" y="781050"/>
                      </a:lnTo>
                      <a:lnTo>
                        <a:pt x="1069181" y="828675"/>
                      </a:lnTo>
                      <a:lnTo>
                        <a:pt x="1071563" y="881063"/>
                      </a:lnTo>
                      <a:lnTo>
                        <a:pt x="1092994" y="881063"/>
                      </a:lnTo>
                      <a:lnTo>
                        <a:pt x="1097756" y="850106"/>
                      </a:lnTo>
                      <a:lnTo>
                        <a:pt x="1171575" y="928688"/>
                      </a:lnTo>
                      <a:lnTo>
                        <a:pt x="1228725" y="976313"/>
                      </a:lnTo>
                      <a:lnTo>
                        <a:pt x="1223963" y="1000125"/>
                      </a:lnTo>
                      <a:lnTo>
                        <a:pt x="1252538" y="1019175"/>
                      </a:lnTo>
                      <a:lnTo>
                        <a:pt x="1288256" y="1007269"/>
                      </a:lnTo>
                      <a:lnTo>
                        <a:pt x="1307306" y="1007269"/>
                      </a:lnTo>
                      <a:lnTo>
                        <a:pt x="1321594" y="1059656"/>
                      </a:lnTo>
                      <a:lnTo>
                        <a:pt x="1395413" y="1102519"/>
                      </a:lnTo>
                      <a:lnTo>
                        <a:pt x="1364456" y="1114425"/>
                      </a:lnTo>
                      <a:lnTo>
                        <a:pt x="1314450" y="1114425"/>
                      </a:lnTo>
                      <a:lnTo>
                        <a:pt x="1254919" y="1107281"/>
                      </a:lnTo>
                      <a:lnTo>
                        <a:pt x="1216819" y="1112044"/>
                      </a:lnTo>
                      <a:lnTo>
                        <a:pt x="1181100" y="1138238"/>
                      </a:lnTo>
                      <a:lnTo>
                        <a:pt x="1116806" y="1123950"/>
                      </a:lnTo>
                      <a:lnTo>
                        <a:pt x="1071563" y="1081088"/>
                      </a:lnTo>
                      <a:lnTo>
                        <a:pt x="1012031" y="1140619"/>
                      </a:lnTo>
                      <a:lnTo>
                        <a:pt x="847725" y="1066800"/>
                      </a:lnTo>
                      <a:lnTo>
                        <a:pt x="823913" y="1054894"/>
                      </a:lnTo>
                      <a:lnTo>
                        <a:pt x="823913" y="1038225"/>
                      </a:lnTo>
                      <a:lnTo>
                        <a:pt x="776288" y="1040606"/>
                      </a:lnTo>
                      <a:lnTo>
                        <a:pt x="747713" y="1023938"/>
                      </a:lnTo>
                      <a:lnTo>
                        <a:pt x="752475" y="997744"/>
                      </a:lnTo>
                      <a:lnTo>
                        <a:pt x="740569" y="971550"/>
                      </a:lnTo>
                      <a:lnTo>
                        <a:pt x="678656" y="1000125"/>
                      </a:lnTo>
                      <a:lnTo>
                        <a:pt x="678656" y="976313"/>
                      </a:lnTo>
                      <a:lnTo>
                        <a:pt x="650081" y="997744"/>
                      </a:lnTo>
                      <a:lnTo>
                        <a:pt x="621506" y="1000125"/>
                      </a:lnTo>
                      <a:lnTo>
                        <a:pt x="602456" y="997744"/>
                      </a:lnTo>
                      <a:lnTo>
                        <a:pt x="600075" y="978694"/>
                      </a:lnTo>
                      <a:lnTo>
                        <a:pt x="578644" y="1009650"/>
                      </a:lnTo>
                      <a:lnTo>
                        <a:pt x="533400" y="1012031"/>
                      </a:lnTo>
                      <a:lnTo>
                        <a:pt x="490538" y="1004888"/>
                      </a:lnTo>
                      <a:lnTo>
                        <a:pt x="485775" y="971550"/>
                      </a:lnTo>
                      <a:lnTo>
                        <a:pt x="461963" y="971550"/>
                      </a:lnTo>
                      <a:lnTo>
                        <a:pt x="381000" y="1047750"/>
                      </a:lnTo>
                      <a:lnTo>
                        <a:pt x="381000" y="1112044"/>
                      </a:lnTo>
                      <a:lnTo>
                        <a:pt x="407194" y="1126331"/>
                      </a:lnTo>
                      <a:lnTo>
                        <a:pt x="383381" y="1152525"/>
                      </a:lnTo>
                      <a:lnTo>
                        <a:pt x="359569" y="1188244"/>
                      </a:lnTo>
                      <a:lnTo>
                        <a:pt x="392906" y="1216819"/>
                      </a:lnTo>
                      <a:lnTo>
                        <a:pt x="366713" y="1247775"/>
                      </a:lnTo>
                      <a:lnTo>
                        <a:pt x="314325" y="1214438"/>
                      </a:lnTo>
                      <a:lnTo>
                        <a:pt x="309563" y="1152525"/>
                      </a:lnTo>
                      <a:lnTo>
                        <a:pt x="280988" y="1166813"/>
                      </a:lnTo>
                      <a:lnTo>
                        <a:pt x="250031" y="1054894"/>
                      </a:lnTo>
                      <a:lnTo>
                        <a:pt x="190500" y="978694"/>
                      </a:lnTo>
                      <a:lnTo>
                        <a:pt x="92869" y="1009650"/>
                      </a:lnTo>
                      <a:lnTo>
                        <a:pt x="71438" y="962025"/>
                      </a:lnTo>
                      <a:lnTo>
                        <a:pt x="28575" y="914400"/>
                      </a:lnTo>
                      <a:lnTo>
                        <a:pt x="23813" y="845344"/>
                      </a:lnTo>
                      <a:lnTo>
                        <a:pt x="0" y="776288"/>
                      </a:lnTo>
                      <a:lnTo>
                        <a:pt x="71438" y="783431"/>
                      </a:lnTo>
                      <a:lnTo>
                        <a:pt x="121444" y="776288"/>
                      </a:lnTo>
                      <a:lnTo>
                        <a:pt x="159544" y="776288"/>
                      </a:lnTo>
                      <a:lnTo>
                        <a:pt x="173831" y="745331"/>
                      </a:lnTo>
                      <a:lnTo>
                        <a:pt x="154781" y="704850"/>
                      </a:lnTo>
                      <a:lnTo>
                        <a:pt x="133350" y="704850"/>
                      </a:lnTo>
                      <a:lnTo>
                        <a:pt x="123825" y="642938"/>
                      </a:lnTo>
                      <a:lnTo>
                        <a:pt x="95250" y="621506"/>
                      </a:lnTo>
                      <a:lnTo>
                        <a:pt x="133350" y="573881"/>
                      </a:lnTo>
                      <a:lnTo>
                        <a:pt x="83344" y="573881"/>
                      </a:lnTo>
                      <a:lnTo>
                        <a:pt x="59531" y="550069"/>
                      </a:lnTo>
                      <a:lnTo>
                        <a:pt x="83344" y="478631"/>
                      </a:lnTo>
                      <a:lnTo>
                        <a:pt x="54769" y="440531"/>
                      </a:lnTo>
                      <a:lnTo>
                        <a:pt x="97631" y="395288"/>
                      </a:lnTo>
                      <a:lnTo>
                        <a:pt x="147638" y="373856"/>
                      </a:lnTo>
                      <a:lnTo>
                        <a:pt x="147638" y="30241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igura a mano libera 621">
                  <a:extLst>
                    <a:ext uri="{FF2B5EF4-FFF2-40B4-BE49-F238E27FC236}">
                      <a16:creationId xmlns:a16="http://schemas.microsoft.com/office/drawing/2014/main" id="{6B6FAE85-2473-4931-8D55-840A1DFFAC46}"/>
                    </a:ext>
                  </a:extLst>
                </p:cNvPr>
                <p:cNvSpPr/>
                <p:nvPr/>
              </p:nvSpPr>
              <p:spPr bwMode="auto">
                <a:xfrm>
                  <a:off x="2854720" y="3650652"/>
                  <a:ext cx="436151" cy="750212"/>
                </a:xfrm>
                <a:custGeom>
                  <a:avLst/>
                  <a:gdLst>
                    <a:gd name="connsiteX0" fmla="*/ 58847 w 873659"/>
                    <a:gd name="connsiteY0" fmla="*/ 208229 h 1552669"/>
                    <a:gd name="connsiteX1" fmla="*/ 162962 w 873659"/>
                    <a:gd name="connsiteY1" fmla="*/ 258023 h 1552669"/>
                    <a:gd name="connsiteX2" fmla="*/ 230863 w 873659"/>
                    <a:gd name="connsiteY2" fmla="*/ 267077 h 1552669"/>
                    <a:gd name="connsiteX3" fmla="*/ 316871 w 873659"/>
                    <a:gd name="connsiteY3" fmla="*/ 203703 h 1552669"/>
                    <a:gd name="connsiteX4" fmla="*/ 353085 w 873659"/>
                    <a:gd name="connsiteY4" fmla="*/ 208229 h 1552669"/>
                    <a:gd name="connsiteX5" fmla="*/ 407406 w 873659"/>
                    <a:gd name="connsiteY5" fmla="*/ 140328 h 1552669"/>
                    <a:gd name="connsiteX6" fmla="*/ 479834 w 873659"/>
                    <a:gd name="connsiteY6" fmla="*/ 76954 h 1552669"/>
                    <a:gd name="connsiteX7" fmla="*/ 529628 w 873659"/>
                    <a:gd name="connsiteY7" fmla="*/ 76954 h 1552669"/>
                    <a:gd name="connsiteX8" fmla="*/ 543208 w 873659"/>
                    <a:gd name="connsiteY8" fmla="*/ 58847 h 1552669"/>
                    <a:gd name="connsiteX9" fmla="*/ 547735 w 873659"/>
                    <a:gd name="connsiteY9" fmla="*/ 58847 h 1552669"/>
                    <a:gd name="connsiteX10" fmla="*/ 538681 w 873659"/>
                    <a:gd name="connsiteY10" fmla="*/ 0 h 1552669"/>
                    <a:gd name="connsiteX11" fmla="*/ 611109 w 873659"/>
                    <a:gd name="connsiteY11" fmla="*/ 0 h 1552669"/>
                    <a:gd name="connsiteX12" fmla="*/ 620162 w 873659"/>
                    <a:gd name="connsiteY12" fmla="*/ 45267 h 1552669"/>
                    <a:gd name="connsiteX13" fmla="*/ 651849 w 873659"/>
                    <a:gd name="connsiteY13" fmla="*/ 45267 h 1552669"/>
                    <a:gd name="connsiteX14" fmla="*/ 697117 w 873659"/>
                    <a:gd name="connsiteY14" fmla="*/ 4526 h 1552669"/>
                    <a:gd name="connsiteX15" fmla="*/ 710697 w 873659"/>
                    <a:gd name="connsiteY15" fmla="*/ 36214 h 1552669"/>
                    <a:gd name="connsiteX16" fmla="*/ 710697 w 873659"/>
                    <a:gd name="connsiteY16" fmla="*/ 36214 h 1552669"/>
                    <a:gd name="connsiteX17" fmla="*/ 701643 w 873659"/>
                    <a:gd name="connsiteY17" fmla="*/ 99588 h 1552669"/>
                    <a:gd name="connsiteX18" fmla="*/ 728804 w 873659"/>
                    <a:gd name="connsiteY18" fmla="*/ 86008 h 1552669"/>
                    <a:gd name="connsiteX19" fmla="*/ 760491 w 873659"/>
                    <a:gd name="connsiteY19" fmla="*/ 95061 h 1552669"/>
                    <a:gd name="connsiteX20" fmla="*/ 760491 w 873659"/>
                    <a:gd name="connsiteY20" fmla="*/ 95061 h 1552669"/>
                    <a:gd name="connsiteX21" fmla="*/ 737857 w 873659"/>
                    <a:gd name="connsiteY21" fmla="*/ 140328 h 1552669"/>
                    <a:gd name="connsiteX22" fmla="*/ 737857 w 873659"/>
                    <a:gd name="connsiteY22" fmla="*/ 185596 h 1552669"/>
                    <a:gd name="connsiteX23" fmla="*/ 737857 w 873659"/>
                    <a:gd name="connsiteY23" fmla="*/ 185596 h 1552669"/>
                    <a:gd name="connsiteX24" fmla="*/ 778598 w 873659"/>
                    <a:gd name="connsiteY24" fmla="*/ 167489 h 1552669"/>
                    <a:gd name="connsiteX25" fmla="*/ 769544 w 873659"/>
                    <a:gd name="connsiteY25" fmla="*/ 194649 h 1552669"/>
                    <a:gd name="connsiteX26" fmla="*/ 760491 w 873659"/>
                    <a:gd name="connsiteY26" fmla="*/ 244443 h 1552669"/>
                    <a:gd name="connsiteX27" fmla="*/ 774071 w 873659"/>
                    <a:gd name="connsiteY27" fmla="*/ 244443 h 1552669"/>
                    <a:gd name="connsiteX28" fmla="*/ 805758 w 873659"/>
                    <a:gd name="connsiteY28" fmla="*/ 244443 h 1552669"/>
                    <a:gd name="connsiteX29" fmla="*/ 837445 w 873659"/>
                    <a:gd name="connsiteY29" fmla="*/ 230863 h 1552669"/>
                    <a:gd name="connsiteX30" fmla="*/ 837445 w 873659"/>
                    <a:gd name="connsiteY30" fmla="*/ 230863 h 1552669"/>
                    <a:gd name="connsiteX31" fmla="*/ 810285 w 873659"/>
                    <a:gd name="connsiteY31" fmla="*/ 262550 h 1552669"/>
                    <a:gd name="connsiteX32" fmla="*/ 851026 w 873659"/>
                    <a:gd name="connsiteY32" fmla="*/ 262550 h 1552669"/>
                    <a:gd name="connsiteX33" fmla="*/ 832919 w 873659"/>
                    <a:gd name="connsiteY33" fmla="*/ 271604 h 1552669"/>
                    <a:gd name="connsiteX34" fmla="*/ 801232 w 873659"/>
                    <a:gd name="connsiteY34" fmla="*/ 307817 h 1552669"/>
                    <a:gd name="connsiteX35" fmla="*/ 823865 w 873659"/>
                    <a:gd name="connsiteY35" fmla="*/ 339505 h 1552669"/>
                    <a:gd name="connsiteX36" fmla="*/ 832919 w 873659"/>
                    <a:gd name="connsiteY36" fmla="*/ 384772 h 1552669"/>
                    <a:gd name="connsiteX37" fmla="*/ 832919 w 873659"/>
                    <a:gd name="connsiteY37" fmla="*/ 384772 h 1552669"/>
                    <a:gd name="connsiteX38" fmla="*/ 832919 w 873659"/>
                    <a:gd name="connsiteY38" fmla="*/ 434566 h 1552669"/>
                    <a:gd name="connsiteX39" fmla="*/ 855552 w 873659"/>
                    <a:gd name="connsiteY39" fmla="*/ 461726 h 1552669"/>
                    <a:gd name="connsiteX40" fmla="*/ 873659 w 873659"/>
                    <a:gd name="connsiteY40" fmla="*/ 502467 h 1552669"/>
                    <a:gd name="connsiteX41" fmla="*/ 851026 w 873659"/>
                    <a:gd name="connsiteY41" fmla="*/ 543208 h 1552669"/>
                    <a:gd name="connsiteX42" fmla="*/ 851026 w 873659"/>
                    <a:gd name="connsiteY42" fmla="*/ 574895 h 1552669"/>
                    <a:gd name="connsiteX43" fmla="*/ 823865 w 873659"/>
                    <a:gd name="connsiteY43" fmla="*/ 611109 h 1552669"/>
                    <a:gd name="connsiteX44" fmla="*/ 783125 w 873659"/>
                    <a:gd name="connsiteY44" fmla="*/ 642796 h 1552669"/>
                    <a:gd name="connsiteX45" fmla="*/ 765018 w 873659"/>
                    <a:gd name="connsiteY45" fmla="*/ 669956 h 1552669"/>
                    <a:gd name="connsiteX46" fmla="*/ 760491 w 873659"/>
                    <a:gd name="connsiteY46" fmla="*/ 710697 h 1552669"/>
                    <a:gd name="connsiteX47" fmla="*/ 769544 w 873659"/>
                    <a:gd name="connsiteY47" fmla="*/ 755964 h 1552669"/>
                    <a:gd name="connsiteX48" fmla="*/ 769544 w 873659"/>
                    <a:gd name="connsiteY48" fmla="*/ 755964 h 1552669"/>
                    <a:gd name="connsiteX49" fmla="*/ 810285 w 873659"/>
                    <a:gd name="connsiteY49" fmla="*/ 783124 h 1552669"/>
                    <a:gd name="connsiteX50" fmla="*/ 783125 w 873659"/>
                    <a:gd name="connsiteY50" fmla="*/ 860079 h 1552669"/>
                    <a:gd name="connsiteX51" fmla="*/ 760491 w 873659"/>
                    <a:gd name="connsiteY51" fmla="*/ 905346 h 1552669"/>
                    <a:gd name="connsiteX52" fmla="*/ 769544 w 873659"/>
                    <a:gd name="connsiteY52" fmla="*/ 995881 h 1552669"/>
                    <a:gd name="connsiteX53" fmla="*/ 742384 w 873659"/>
                    <a:gd name="connsiteY53" fmla="*/ 1045675 h 1552669"/>
                    <a:gd name="connsiteX54" fmla="*/ 737857 w 873659"/>
                    <a:gd name="connsiteY54" fmla="*/ 1109049 h 1552669"/>
                    <a:gd name="connsiteX55" fmla="*/ 733331 w 873659"/>
                    <a:gd name="connsiteY55" fmla="*/ 1163370 h 1552669"/>
                    <a:gd name="connsiteX56" fmla="*/ 733331 w 873659"/>
                    <a:gd name="connsiteY56" fmla="*/ 1204111 h 1552669"/>
                    <a:gd name="connsiteX57" fmla="*/ 692590 w 873659"/>
                    <a:gd name="connsiteY57" fmla="*/ 1244851 h 1552669"/>
                    <a:gd name="connsiteX58" fmla="*/ 706170 w 873659"/>
                    <a:gd name="connsiteY58" fmla="*/ 1285592 h 1552669"/>
                    <a:gd name="connsiteX59" fmla="*/ 706170 w 873659"/>
                    <a:gd name="connsiteY59" fmla="*/ 1285592 h 1552669"/>
                    <a:gd name="connsiteX60" fmla="*/ 688063 w 873659"/>
                    <a:gd name="connsiteY60" fmla="*/ 1326332 h 1552669"/>
                    <a:gd name="connsiteX61" fmla="*/ 683537 w 873659"/>
                    <a:gd name="connsiteY61" fmla="*/ 1371600 h 1552669"/>
                    <a:gd name="connsiteX62" fmla="*/ 674483 w 873659"/>
                    <a:gd name="connsiteY62" fmla="*/ 1425920 h 1552669"/>
                    <a:gd name="connsiteX63" fmla="*/ 611109 w 873659"/>
                    <a:gd name="connsiteY63" fmla="*/ 1416867 h 1552669"/>
                    <a:gd name="connsiteX64" fmla="*/ 570368 w 873659"/>
                    <a:gd name="connsiteY64" fmla="*/ 1376126 h 1552669"/>
                    <a:gd name="connsiteX65" fmla="*/ 543208 w 873659"/>
                    <a:gd name="connsiteY65" fmla="*/ 1348966 h 1552669"/>
                    <a:gd name="connsiteX66" fmla="*/ 497940 w 873659"/>
                    <a:gd name="connsiteY66" fmla="*/ 1339913 h 1552669"/>
                    <a:gd name="connsiteX67" fmla="*/ 457200 w 873659"/>
                    <a:gd name="connsiteY67" fmla="*/ 1367073 h 1552669"/>
                    <a:gd name="connsiteX68" fmla="*/ 457200 w 873659"/>
                    <a:gd name="connsiteY68" fmla="*/ 1367073 h 1552669"/>
                    <a:gd name="connsiteX69" fmla="*/ 457200 w 873659"/>
                    <a:gd name="connsiteY69" fmla="*/ 1367073 h 1552669"/>
                    <a:gd name="connsiteX70" fmla="*/ 425513 w 873659"/>
                    <a:gd name="connsiteY70" fmla="*/ 1339913 h 1552669"/>
                    <a:gd name="connsiteX71" fmla="*/ 389299 w 873659"/>
                    <a:gd name="connsiteY71" fmla="*/ 1403287 h 1552669"/>
                    <a:gd name="connsiteX72" fmla="*/ 375719 w 873659"/>
                    <a:gd name="connsiteY72" fmla="*/ 1439501 h 1552669"/>
                    <a:gd name="connsiteX73" fmla="*/ 380245 w 873659"/>
                    <a:gd name="connsiteY73" fmla="*/ 1484768 h 1552669"/>
                    <a:gd name="connsiteX74" fmla="*/ 339505 w 873659"/>
                    <a:gd name="connsiteY74" fmla="*/ 1511928 h 1552669"/>
                    <a:gd name="connsiteX75" fmla="*/ 271604 w 873659"/>
                    <a:gd name="connsiteY75" fmla="*/ 1552669 h 1552669"/>
                    <a:gd name="connsiteX76" fmla="*/ 217283 w 873659"/>
                    <a:gd name="connsiteY76" fmla="*/ 1516455 h 1552669"/>
                    <a:gd name="connsiteX77" fmla="*/ 172016 w 873659"/>
                    <a:gd name="connsiteY77" fmla="*/ 1548142 h 1552669"/>
                    <a:gd name="connsiteX78" fmla="*/ 144855 w 873659"/>
                    <a:gd name="connsiteY78" fmla="*/ 1484768 h 1552669"/>
                    <a:gd name="connsiteX79" fmla="*/ 144855 w 873659"/>
                    <a:gd name="connsiteY79" fmla="*/ 1421394 h 1552669"/>
                    <a:gd name="connsiteX80" fmla="*/ 144855 w 873659"/>
                    <a:gd name="connsiteY80" fmla="*/ 1421394 h 1552669"/>
                    <a:gd name="connsiteX81" fmla="*/ 104115 w 873659"/>
                    <a:gd name="connsiteY81" fmla="*/ 1444027 h 1552669"/>
                    <a:gd name="connsiteX82" fmla="*/ 67901 w 873659"/>
                    <a:gd name="connsiteY82" fmla="*/ 1471188 h 1552669"/>
                    <a:gd name="connsiteX83" fmla="*/ 54321 w 873659"/>
                    <a:gd name="connsiteY83" fmla="*/ 1507402 h 1552669"/>
                    <a:gd name="connsiteX84" fmla="*/ 58847 w 873659"/>
                    <a:gd name="connsiteY84" fmla="*/ 1484768 h 1552669"/>
                    <a:gd name="connsiteX85" fmla="*/ 31687 w 873659"/>
                    <a:gd name="connsiteY85" fmla="*/ 1421394 h 1552669"/>
                    <a:gd name="connsiteX86" fmla="*/ 31687 w 873659"/>
                    <a:gd name="connsiteY86" fmla="*/ 1421394 h 1552669"/>
                    <a:gd name="connsiteX87" fmla="*/ 90535 w 873659"/>
                    <a:gd name="connsiteY87" fmla="*/ 1394233 h 1552669"/>
                    <a:gd name="connsiteX88" fmla="*/ 76954 w 873659"/>
                    <a:gd name="connsiteY88" fmla="*/ 1348966 h 1552669"/>
                    <a:gd name="connsiteX89" fmla="*/ 49794 w 873659"/>
                    <a:gd name="connsiteY89" fmla="*/ 1321806 h 1552669"/>
                    <a:gd name="connsiteX90" fmla="*/ 90535 w 873659"/>
                    <a:gd name="connsiteY90" fmla="*/ 1281065 h 1552669"/>
                    <a:gd name="connsiteX91" fmla="*/ 58847 w 873659"/>
                    <a:gd name="connsiteY91" fmla="*/ 1226744 h 1552669"/>
                    <a:gd name="connsiteX92" fmla="*/ 72428 w 873659"/>
                    <a:gd name="connsiteY92" fmla="*/ 1181477 h 1552669"/>
                    <a:gd name="connsiteX93" fmla="*/ 58847 w 873659"/>
                    <a:gd name="connsiteY93" fmla="*/ 1149790 h 1552669"/>
                    <a:gd name="connsiteX94" fmla="*/ 108641 w 873659"/>
                    <a:gd name="connsiteY94" fmla="*/ 1063782 h 1552669"/>
                    <a:gd name="connsiteX95" fmla="*/ 126748 w 873659"/>
                    <a:gd name="connsiteY95" fmla="*/ 964194 h 1552669"/>
                    <a:gd name="connsiteX96" fmla="*/ 158436 w 873659"/>
                    <a:gd name="connsiteY96" fmla="*/ 982301 h 1552669"/>
                    <a:gd name="connsiteX97" fmla="*/ 181069 w 873659"/>
                    <a:gd name="connsiteY97" fmla="*/ 923453 h 1552669"/>
                    <a:gd name="connsiteX98" fmla="*/ 162962 w 873659"/>
                    <a:gd name="connsiteY98" fmla="*/ 869132 h 1552669"/>
                    <a:gd name="connsiteX99" fmla="*/ 117695 w 873659"/>
                    <a:gd name="connsiteY99" fmla="*/ 887239 h 1552669"/>
                    <a:gd name="connsiteX100" fmla="*/ 122222 w 873659"/>
                    <a:gd name="connsiteY100" fmla="*/ 887239 h 1552669"/>
                    <a:gd name="connsiteX101" fmla="*/ 86008 w 873659"/>
                    <a:gd name="connsiteY101" fmla="*/ 860079 h 1552669"/>
                    <a:gd name="connsiteX102" fmla="*/ 90535 w 873659"/>
                    <a:gd name="connsiteY102" fmla="*/ 774071 h 1552669"/>
                    <a:gd name="connsiteX103" fmla="*/ 158436 w 873659"/>
                    <a:gd name="connsiteY103" fmla="*/ 760491 h 1552669"/>
                    <a:gd name="connsiteX104" fmla="*/ 144855 w 873659"/>
                    <a:gd name="connsiteY104" fmla="*/ 715223 h 1552669"/>
                    <a:gd name="connsiteX105" fmla="*/ 140329 w 873659"/>
                    <a:gd name="connsiteY105" fmla="*/ 660903 h 1552669"/>
                    <a:gd name="connsiteX106" fmla="*/ 158436 w 873659"/>
                    <a:gd name="connsiteY106" fmla="*/ 602055 h 1552669"/>
                    <a:gd name="connsiteX107" fmla="*/ 117695 w 873659"/>
                    <a:gd name="connsiteY107" fmla="*/ 593002 h 1552669"/>
                    <a:gd name="connsiteX108" fmla="*/ 117695 w 873659"/>
                    <a:gd name="connsiteY108" fmla="*/ 538681 h 1552669"/>
                    <a:gd name="connsiteX109" fmla="*/ 113168 w 873659"/>
                    <a:gd name="connsiteY109" fmla="*/ 479833 h 1552669"/>
                    <a:gd name="connsiteX110" fmla="*/ 67901 w 873659"/>
                    <a:gd name="connsiteY110" fmla="*/ 411932 h 1552669"/>
                    <a:gd name="connsiteX111" fmla="*/ 36214 w 873659"/>
                    <a:gd name="connsiteY111" fmla="*/ 425513 h 1552669"/>
                    <a:gd name="connsiteX112" fmla="*/ 36214 w 873659"/>
                    <a:gd name="connsiteY112" fmla="*/ 389299 h 1552669"/>
                    <a:gd name="connsiteX113" fmla="*/ 13580 w 873659"/>
                    <a:gd name="connsiteY113" fmla="*/ 420986 h 1552669"/>
                    <a:gd name="connsiteX114" fmla="*/ 0 w 873659"/>
                    <a:gd name="connsiteY114" fmla="*/ 380245 h 1552669"/>
                    <a:gd name="connsiteX115" fmla="*/ 31687 w 873659"/>
                    <a:gd name="connsiteY115" fmla="*/ 348558 h 1552669"/>
                    <a:gd name="connsiteX116" fmla="*/ 4527 w 873659"/>
                    <a:gd name="connsiteY116" fmla="*/ 312344 h 1552669"/>
                    <a:gd name="connsiteX117" fmla="*/ 58847 w 873659"/>
                    <a:gd name="connsiteY117" fmla="*/ 208229 h 1552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</a:cxnLst>
                  <a:rect l="l" t="t" r="r" b="b"/>
                  <a:pathLst>
                    <a:path w="873659" h="1552669">
                      <a:moveTo>
                        <a:pt x="58847" y="208229"/>
                      </a:moveTo>
                      <a:lnTo>
                        <a:pt x="162962" y="258023"/>
                      </a:lnTo>
                      <a:lnTo>
                        <a:pt x="230863" y="267077"/>
                      </a:lnTo>
                      <a:lnTo>
                        <a:pt x="316871" y="203703"/>
                      </a:lnTo>
                      <a:lnTo>
                        <a:pt x="353085" y="208229"/>
                      </a:lnTo>
                      <a:lnTo>
                        <a:pt x="407406" y="140328"/>
                      </a:lnTo>
                      <a:lnTo>
                        <a:pt x="479834" y="76954"/>
                      </a:lnTo>
                      <a:lnTo>
                        <a:pt x="529628" y="76954"/>
                      </a:lnTo>
                      <a:lnTo>
                        <a:pt x="543208" y="58847"/>
                      </a:lnTo>
                      <a:lnTo>
                        <a:pt x="547735" y="58847"/>
                      </a:lnTo>
                      <a:lnTo>
                        <a:pt x="538681" y="0"/>
                      </a:lnTo>
                      <a:lnTo>
                        <a:pt x="611109" y="0"/>
                      </a:lnTo>
                      <a:lnTo>
                        <a:pt x="620162" y="45267"/>
                      </a:lnTo>
                      <a:lnTo>
                        <a:pt x="651849" y="45267"/>
                      </a:lnTo>
                      <a:lnTo>
                        <a:pt x="697117" y="4526"/>
                      </a:lnTo>
                      <a:lnTo>
                        <a:pt x="710697" y="36214"/>
                      </a:lnTo>
                      <a:lnTo>
                        <a:pt x="710697" y="36214"/>
                      </a:lnTo>
                      <a:lnTo>
                        <a:pt x="701643" y="99588"/>
                      </a:lnTo>
                      <a:lnTo>
                        <a:pt x="728804" y="86008"/>
                      </a:lnTo>
                      <a:lnTo>
                        <a:pt x="760491" y="95061"/>
                      </a:lnTo>
                      <a:lnTo>
                        <a:pt x="760491" y="95061"/>
                      </a:lnTo>
                      <a:lnTo>
                        <a:pt x="737857" y="140328"/>
                      </a:lnTo>
                      <a:lnTo>
                        <a:pt x="737857" y="185596"/>
                      </a:lnTo>
                      <a:lnTo>
                        <a:pt x="737857" y="185596"/>
                      </a:lnTo>
                      <a:lnTo>
                        <a:pt x="778598" y="167489"/>
                      </a:lnTo>
                      <a:lnTo>
                        <a:pt x="769544" y="194649"/>
                      </a:lnTo>
                      <a:lnTo>
                        <a:pt x="760491" y="244443"/>
                      </a:lnTo>
                      <a:lnTo>
                        <a:pt x="774071" y="244443"/>
                      </a:lnTo>
                      <a:lnTo>
                        <a:pt x="805758" y="244443"/>
                      </a:lnTo>
                      <a:lnTo>
                        <a:pt x="837445" y="230863"/>
                      </a:lnTo>
                      <a:lnTo>
                        <a:pt x="837445" y="230863"/>
                      </a:lnTo>
                      <a:lnTo>
                        <a:pt x="810285" y="262550"/>
                      </a:lnTo>
                      <a:lnTo>
                        <a:pt x="851026" y="262550"/>
                      </a:lnTo>
                      <a:lnTo>
                        <a:pt x="832919" y="271604"/>
                      </a:lnTo>
                      <a:lnTo>
                        <a:pt x="801232" y="307817"/>
                      </a:lnTo>
                      <a:lnTo>
                        <a:pt x="823865" y="339505"/>
                      </a:lnTo>
                      <a:lnTo>
                        <a:pt x="832919" y="384772"/>
                      </a:lnTo>
                      <a:lnTo>
                        <a:pt x="832919" y="384772"/>
                      </a:lnTo>
                      <a:lnTo>
                        <a:pt x="832919" y="434566"/>
                      </a:lnTo>
                      <a:lnTo>
                        <a:pt x="855552" y="461726"/>
                      </a:lnTo>
                      <a:lnTo>
                        <a:pt x="873659" y="502467"/>
                      </a:lnTo>
                      <a:lnTo>
                        <a:pt x="851026" y="543208"/>
                      </a:lnTo>
                      <a:lnTo>
                        <a:pt x="851026" y="574895"/>
                      </a:lnTo>
                      <a:lnTo>
                        <a:pt x="823865" y="611109"/>
                      </a:lnTo>
                      <a:lnTo>
                        <a:pt x="783125" y="642796"/>
                      </a:lnTo>
                      <a:lnTo>
                        <a:pt x="765018" y="669956"/>
                      </a:lnTo>
                      <a:lnTo>
                        <a:pt x="760491" y="710697"/>
                      </a:lnTo>
                      <a:cubicBezTo>
                        <a:pt x="765168" y="757465"/>
                        <a:pt x="749854" y="755964"/>
                        <a:pt x="769544" y="755964"/>
                      </a:cubicBezTo>
                      <a:lnTo>
                        <a:pt x="769544" y="755964"/>
                      </a:lnTo>
                      <a:lnTo>
                        <a:pt x="810285" y="783124"/>
                      </a:lnTo>
                      <a:lnTo>
                        <a:pt x="783125" y="860079"/>
                      </a:lnTo>
                      <a:lnTo>
                        <a:pt x="760491" y="905346"/>
                      </a:lnTo>
                      <a:lnTo>
                        <a:pt x="769544" y="995881"/>
                      </a:lnTo>
                      <a:lnTo>
                        <a:pt x="742384" y="1045675"/>
                      </a:lnTo>
                      <a:lnTo>
                        <a:pt x="737857" y="1109049"/>
                      </a:lnTo>
                      <a:lnTo>
                        <a:pt x="733331" y="1163370"/>
                      </a:lnTo>
                      <a:lnTo>
                        <a:pt x="733331" y="1204111"/>
                      </a:lnTo>
                      <a:lnTo>
                        <a:pt x="692590" y="1244851"/>
                      </a:lnTo>
                      <a:lnTo>
                        <a:pt x="706170" y="1285592"/>
                      </a:lnTo>
                      <a:lnTo>
                        <a:pt x="706170" y="1285592"/>
                      </a:lnTo>
                      <a:lnTo>
                        <a:pt x="688063" y="1326332"/>
                      </a:lnTo>
                      <a:lnTo>
                        <a:pt x="683537" y="1371600"/>
                      </a:lnTo>
                      <a:lnTo>
                        <a:pt x="674483" y="1425920"/>
                      </a:lnTo>
                      <a:lnTo>
                        <a:pt x="611109" y="1416867"/>
                      </a:lnTo>
                      <a:lnTo>
                        <a:pt x="570368" y="1376126"/>
                      </a:lnTo>
                      <a:lnTo>
                        <a:pt x="543208" y="1348966"/>
                      </a:lnTo>
                      <a:lnTo>
                        <a:pt x="497940" y="1339913"/>
                      </a:lnTo>
                      <a:lnTo>
                        <a:pt x="457200" y="1367073"/>
                      </a:lnTo>
                      <a:lnTo>
                        <a:pt x="457200" y="1367073"/>
                      </a:lnTo>
                      <a:lnTo>
                        <a:pt x="457200" y="1367073"/>
                      </a:lnTo>
                      <a:lnTo>
                        <a:pt x="425513" y="1339913"/>
                      </a:lnTo>
                      <a:lnTo>
                        <a:pt x="389299" y="1403287"/>
                      </a:lnTo>
                      <a:lnTo>
                        <a:pt x="375719" y="1439501"/>
                      </a:lnTo>
                      <a:lnTo>
                        <a:pt x="380245" y="1484768"/>
                      </a:lnTo>
                      <a:lnTo>
                        <a:pt x="339505" y="1511928"/>
                      </a:lnTo>
                      <a:lnTo>
                        <a:pt x="271604" y="1552669"/>
                      </a:lnTo>
                      <a:lnTo>
                        <a:pt x="217283" y="1516455"/>
                      </a:lnTo>
                      <a:lnTo>
                        <a:pt x="172016" y="1548142"/>
                      </a:lnTo>
                      <a:lnTo>
                        <a:pt x="144855" y="1484768"/>
                      </a:lnTo>
                      <a:lnTo>
                        <a:pt x="144855" y="1421394"/>
                      </a:lnTo>
                      <a:lnTo>
                        <a:pt x="144855" y="1421394"/>
                      </a:lnTo>
                      <a:lnTo>
                        <a:pt x="104115" y="1444027"/>
                      </a:lnTo>
                      <a:lnTo>
                        <a:pt x="67901" y="1471188"/>
                      </a:lnTo>
                      <a:lnTo>
                        <a:pt x="54321" y="1507402"/>
                      </a:lnTo>
                      <a:lnTo>
                        <a:pt x="58847" y="1484768"/>
                      </a:lnTo>
                      <a:lnTo>
                        <a:pt x="31687" y="1421394"/>
                      </a:lnTo>
                      <a:lnTo>
                        <a:pt x="31687" y="1421394"/>
                      </a:lnTo>
                      <a:lnTo>
                        <a:pt x="90535" y="1394233"/>
                      </a:lnTo>
                      <a:lnTo>
                        <a:pt x="76954" y="1348966"/>
                      </a:lnTo>
                      <a:lnTo>
                        <a:pt x="49794" y="1321806"/>
                      </a:lnTo>
                      <a:lnTo>
                        <a:pt x="90535" y="1281065"/>
                      </a:lnTo>
                      <a:lnTo>
                        <a:pt x="58847" y="1226744"/>
                      </a:lnTo>
                      <a:lnTo>
                        <a:pt x="72428" y="1181477"/>
                      </a:lnTo>
                      <a:lnTo>
                        <a:pt x="58847" y="1149790"/>
                      </a:lnTo>
                      <a:lnTo>
                        <a:pt x="108641" y="1063782"/>
                      </a:lnTo>
                      <a:lnTo>
                        <a:pt x="126748" y="964194"/>
                      </a:lnTo>
                      <a:lnTo>
                        <a:pt x="158436" y="982301"/>
                      </a:lnTo>
                      <a:lnTo>
                        <a:pt x="181069" y="923453"/>
                      </a:lnTo>
                      <a:lnTo>
                        <a:pt x="162962" y="869132"/>
                      </a:lnTo>
                      <a:lnTo>
                        <a:pt x="117695" y="887239"/>
                      </a:lnTo>
                      <a:lnTo>
                        <a:pt x="122222" y="887239"/>
                      </a:lnTo>
                      <a:lnTo>
                        <a:pt x="86008" y="860079"/>
                      </a:lnTo>
                      <a:lnTo>
                        <a:pt x="90535" y="774071"/>
                      </a:lnTo>
                      <a:lnTo>
                        <a:pt x="158436" y="760491"/>
                      </a:lnTo>
                      <a:lnTo>
                        <a:pt x="144855" y="715223"/>
                      </a:lnTo>
                      <a:lnTo>
                        <a:pt x="140329" y="660903"/>
                      </a:lnTo>
                      <a:lnTo>
                        <a:pt x="158436" y="602055"/>
                      </a:lnTo>
                      <a:lnTo>
                        <a:pt x="117695" y="593002"/>
                      </a:lnTo>
                      <a:lnTo>
                        <a:pt x="117695" y="538681"/>
                      </a:lnTo>
                      <a:lnTo>
                        <a:pt x="113168" y="479833"/>
                      </a:lnTo>
                      <a:lnTo>
                        <a:pt x="67901" y="411932"/>
                      </a:lnTo>
                      <a:lnTo>
                        <a:pt x="36214" y="425513"/>
                      </a:lnTo>
                      <a:lnTo>
                        <a:pt x="36214" y="389299"/>
                      </a:lnTo>
                      <a:lnTo>
                        <a:pt x="13580" y="420986"/>
                      </a:lnTo>
                      <a:lnTo>
                        <a:pt x="0" y="380245"/>
                      </a:lnTo>
                      <a:lnTo>
                        <a:pt x="31687" y="348558"/>
                      </a:lnTo>
                      <a:lnTo>
                        <a:pt x="4527" y="312344"/>
                      </a:lnTo>
                      <a:lnTo>
                        <a:pt x="58847" y="20822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76200" dir="13500000" sy="23000" kx="1200000" algn="br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igura a mano libera 622">
                  <a:extLst>
                    <a:ext uri="{FF2B5EF4-FFF2-40B4-BE49-F238E27FC236}">
                      <a16:creationId xmlns:a16="http://schemas.microsoft.com/office/drawing/2014/main" id="{30327B88-4405-4EE9-8008-0DCBCC6371A9}"/>
                    </a:ext>
                  </a:extLst>
                </p:cNvPr>
                <p:cNvSpPr/>
                <p:nvPr/>
              </p:nvSpPr>
              <p:spPr bwMode="auto">
                <a:xfrm>
                  <a:off x="4578073" y="4048355"/>
                  <a:ext cx="425987" cy="711347"/>
                </a:xfrm>
                <a:custGeom>
                  <a:avLst/>
                  <a:gdLst>
                    <a:gd name="connsiteX0" fmla="*/ 81481 w 851025"/>
                    <a:gd name="connsiteY0" fmla="*/ 144856 h 1475715"/>
                    <a:gd name="connsiteX1" fmla="*/ 99588 w 851025"/>
                    <a:gd name="connsiteY1" fmla="*/ 90535 h 1475715"/>
                    <a:gd name="connsiteX2" fmla="*/ 140328 w 851025"/>
                    <a:gd name="connsiteY2" fmla="*/ 108642 h 1475715"/>
                    <a:gd name="connsiteX3" fmla="*/ 176542 w 851025"/>
                    <a:gd name="connsiteY3" fmla="*/ 90535 h 1475715"/>
                    <a:gd name="connsiteX4" fmla="*/ 208229 w 851025"/>
                    <a:gd name="connsiteY4" fmla="*/ 113169 h 1475715"/>
                    <a:gd name="connsiteX5" fmla="*/ 253497 w 851025"/>
                    <a:gd name="connsiteY5" fmla="*/ 158436 h 1475715"/>
                    <a:gd name="connsiteX6" fmla="*/ 312344 w 851025"/>
                    <a:gd name="connsiteY6" fmla="*/ 140329 h 1475715"/>
                    <a:gd name="connsiteX7" fmla="*/ 375719 w 851025"/>
                    <a:gd name="connsiteY7" fmla="*/ 126749 h 1475715"/>
                    <a:gd name="connsiteX8" fmla="*/ 393825 w 851025"/>
                    <a:gd name="connsiteY8" fmla="*/ 144856 h 1475715"/>
                    <a:gd name="connsiteX9" fmla="*/ 402879 w 851025"/>
                    <a:gd name="connsiteY9" fmla="*/ 95062 h 1475715"/>
                    <a:gd name="connsiteX10" fmla="*/ 402879 w 851025"/>
                    <a:gd name="connsiteY10" fmla="*/ 36214 h 1475715"/>
                    <a:gd name="connsiteX11" fmla="*/ 420986 w 851025"/>
                    <a:gd name="connsiteY11" fmla="*/ 0 h 1475715"/>
                    <a:gd name="connsiteX12" fmla="*/ 502467 w 851025"/>
                    <a:gd name="connsiteY12" fmla="*/ 9054 h 1475715"/>
                    <a:gd name="connsiteX13" fmla="*/ 538681 w 851025"/>
                    <a:gd name="connsiteY13" fmla="*/ 18107 h 1475715"/>
                    <a:gd name="connsiteX14" fmla="*/ 525101 w 851025"/>
                    <a:gd name="connsiteY14" fmla="*/ 67901 h 1475715"/>
                    <a:gd name="connsiteX15" fmla="*/ 525101 w 851025"/>
                    <a:gd name="connsiteY15" fmla="*/ 104115 h 1475715"/>
                    <a:gd name="connsiteX16" fmla="*/ 525101 w 851025"/>
                    <a:gd name="connsiteY16" fmla="*/ 104115 h 1475715"/>
                    <a:gd name="connsiteX17" fmla="*/ 466253 w 851025"/>
                    <a:gd name="connsiteY17" fmla="*/ 226337 h 1475715"/>
                    <a:gd name="connsiteX18" fmla="*/ 466253 w 851025"/>
                    <a:gd name="connsiteY18" fmla="*/ 276131 h 1475715"/>
                    <a:gd name="connsiteX19" fmla="*/ 484360 w 851025"/>
                    <a:gd name="connsiteY19" fmla="*/ 312345 h 1475715"/>
                    <a:gd name="connsiteX20" fmla="*/ 493414 w 851025"/>
                    <a:gd name="connsiteY20" fmla="*/ 330452 h 1475715"/>
                    <a:gd name="connsiteX21" fmla="*/ 565841 w 851025"/>
                    <a:gd name="connsiteY21" fmla="*/ 353085 h 1475715"/>
                    <a:gd name="connsiteX22" fmla="*/ 602055 w 851025"/>
                    <a:gd name="connsiteY22" fmla="*/ 348559 h 1475715"/>
                    <a:gd name="connsiteX23" fmla="*/ 706170 w 851025"/>
                    <a:gd name="connsiteY23" fmla="*/ 411933 h 1475715"/>
                    <a:gd name="connsiteX24" fmla="*/ 755964 w 851025"/>
                    <a:gd name="connsiteY24" fmla="*/ 425513 h 1475715"/>
                    <a:gd name="connsiteX25" fmla="*/ 755964 w 851025"/>
                    <a:gd name="connsiteY25" fmla="*/ 461727 h 1475715"/>
                    <a:gd name="connsiteX26" fmla="*/ 810285 w 851025"/>
                    <a:gd name="connsiteY26" fmla="*/ 479834 h 1475715"/>
                    <a:gd name="connsiteX27" fmla="*/ 792178 w 851025"/>
                    <a:gd name="connsiteY27" fmla="*/ 552262 h 1475715"/>
                    <a:gd name="connsiteX28" fmla="*/ 814812 w 851025"/>
                    <a:gd name="connsiteY28" fmla="*/ 597529 h 1475715"/>
                    <a:gd name="connsiteX29" fmla="*/ 814812 w 851025"/>
                    <a:gd name="connsiteY29" fmla="*/ 651850 h 1475715"/>
                    <a:gd name="connsiteX30" fmla="*/ 810285 w 851025"/>
                    <a:gd name="connsiteY30" fmla="*/ 697117 h 1475715"/>
                    <a:gd name="connsiteX31" fmla="*/ 823865 w 851025"/>
                    <a:gd name="connsiteY31" fmla="*/ 719751 h 1475715"/>
                    <a:gd name="connsiteX32" fmla="*/ 851025 w 851025"/>
                    <a:gd name="connsiteY32" fmla="*/ 733331 h 1475715"/>
                    <a:gd name="connsiteX33" fmla="*/ 828392 w 851025"/>
                    <a:gd name="connsiteY33" fmla="*/ 751438 h 1475715"/>
                    <a:gd name="connsiteX34" fmla="*/ 832919 w 851025"/>
                    <a:gd name="connsiteY34" fmla="*/ 787652 h 1475715"/>
                    <a:gd name="connsiteX35" fmla="*/ 796705 w 851025"/>
                    <a:gd name="connsiteY35" fmla="*/ 814812 h 1475715"/>
                    <a:gd name="connsiteX36" fmla="*/ 746911 w 851025"/>
                    <a:gd name="connsiteY36" fmla="*/ 787652 h 1475715"/>
                    <a:gd name="connsiteX37" fmla="*/ 692590 w 851025"/>
                    <a:gd name="connsiteY37" fmla="*/ 774072 h 1475715"/>
                    <a:gd name="connsiteX38" fmla="*/ 588475 w 851025"/>
                    <a:gd name="connsiteY38" fmla="*/ 819339 h 1475715"/>
                    <a:gd name="connsiteX39" fmla="*/ 506994 w 851025"/>
                    <a:gd name="connsiteY39" fmla="*/ 900820 h 1475715"/>
                    <a:gd name="connsiteX40" fmla="*/ 497940 w 851025"/>
                    <a:gd name="connsiteY40" fmla="*/ 955141 h 1475715"/>
                    <a:gd name="connsiteX41" fmla="*/ 511520 w 851025"/>
                    <a:gd name="connsiteY41" fmla="*/ 1023042 h 1475715"/>
                    <a:gd name="connsiteX42" fmla="*/ 525101 w 851025"/>
                    <a:gd name="connsiteY42" fmla="*/ 1072836 h 1475715"/>
                    <a:gd name="connsiteX43" fmla="*/ 525101 w 851025"/>
                    <a:gd name="connsiteY43" fmla="*/ 1136210 h 1475715"/>
                    <a:gd name="connsiteX44" fmla="*/ 502467 w 851025"/>
                    <a:gd name="connsiteY44" fmla="*/ 1176951 h 1475715"/>
                    <a:gd name="connsiteX45" fmla="*/ 448146 w 851025"/>
                    <a:gd name="connsiteY45" fmla="*/ 1195058 h 1475715"/>
                    <a:gd name="connsiteX46" fmla="*/ 402879 w 851025"/>
                    <a:gd name="connsiteY46" fmla="*/ 1213165 h 1475715"/>
                    <a:gd name="connsiteX47" fmla="*/ 357612 w 851025"/>
                    <a:gd name="connsiteY47" fmla="*/ 1231272 h 1475715"/>
                    <a:gd name="connsiteX48" fmla="*/ 294237 w 851025"/>
                    <a:gd name="connsiteY48" fmla="*/ 1344440 h 1475715"/>
                    <a:gd name="connsiteX49" fmla="*/ 285184 w 851025"/>
                    <a:gd name="connsiteY49" fmla="*/ 1398761 h 1475715"/>
                    <a:gd name="connsiteX50" fmla="*/ 276130 w 851025"/>
                    <a:gd name="connsiteY50" fmla="*/ 1448555 h 1475715"/>
                    <a:gd name="connsiteX51" fmla="*/ 221810 w 851025"/>
                    <a:gd name="connsiteY51" fmla="*/ 1475715 h 1475715"/>
                    <a:gd name="connsiteX52" fmla="*/ 153909 w 851025"/>
                    <a:gd name="connsiteY52" fmla="*/ 1466662 h 1475715"/>
                    <a:gd name="connsiteX53" fmla="*/ 99588 w 851025"/>
                    <a:gd name="connsiteY53" fmla="*/ 1475715 h 1475715"/>
                    <a:gd name="connsiteX54" fmla="*/ 9053 w 851025"/>
                    <a:gd name="connsiteY54" fmla="*/ 1444028 h 1475715"/>
                    <a:gd name="connsiteX55" fmla="*/ 4526 w 851025"/>
                    <a:gd name="connsiteY55" fmla="*/ 1403287 h 1475715"/>
                    <a:gd name="connsiteX56" fmla="*/ 36214 w 851025"/>
                    <a:gd name="connsiteY56" fmla="*/ 1389707 h 1475715"/>
                    <a:gd name="connsiteX57" fmla="*/ 0 w 851025"/>
                    <a:gd name="connsiteY57" fmla="*/ 1339913 h 1475715"/>
                    <a:gd name="connsiteX58" fmla="*/ 13580 w 851025"/>
                    <a:gd name="connsiteY58" fmla="*/ 1339913 h 1475715"/>
                    <a:gd name="connsiteX59" fmla="*/ 13580 w 851025"/>
                    <a:gd name="connsiteY59" fmla="*/ 1267485 h 1475715"/>
                    <a:gd name="connsiteX60" fmla="*/ 76954 w 851025"/>
                    <a:gd name="connsiteY60" fmla="*/ 1249378 h 1475715"/>
                    <a:gd name="connsiteX61" fmla="*/ 162962 w 851025"/>
                    <a:gd name="connsiteY61" fmla="*/ 1167897 h 1475715"/>
                    <a:gd name="connsiteX62" fmla="*/ 181069 w 851025"/>
                    <a:gd name="connsiteY62" fmla="*/ 1090943 h 1475715"/>
                    <a:gd name="connsiteX63" fmla="*/ 167489 w 851025"/>
                    <a:gd name="connsiteY63" fmla="*/ 1045676 h 1475715"/>
                    <a:gd name="connsiteX64" fmla="*/ 117695 w 851025"/>
                    <a:gd name="connsiteY64" fmla="*/ 1009462 h 1475715"/>
                    <a:gd name="connsiteX65" fmla="*/ 135802 w 851025"/>
                    <a:gd name="connsiteY65" fmla="*/ 977775 h 1475715"/>
                    <a:gd name="connsiteX66" fmla="*/ 181069 w 851025"/>
                    <a:gd name="connsiteY66" fmla="*/ 959668 h 1475715"/>
                    <a:gd name="connsiteX67" fmla="*/ 239917 w 851025"/>
                    <a:gd name="connsiteY67" fmla="*/ 927980 h 1475715"/>
                    <a:gd name="connsiteX68" fmla="*/ 276130 w 851025"/>
                    <a:gd name="connsiteY68" fmla="*/ 955141 h 1475715"/>
                    <a:gd name="connsiteX69" fmla="*/ 316871 w 851025"/>
                    <a:gd name="connsiteY69" fmla="*/ 914400 h 1475715"/>
                    <a:gd name="connsiteX70" fmla="*/ 339505 w 851025"/>
                    <a:gd name="connsiteY70" fmla="*/ 855553 h 1475715"/>
                    <a:gd name="connsiteX71" fmla="*/ 348558 w 851025"/>
                    <a:gd name="connsiteY71" fmla="*/ 814812 h 1475715"/>
                    <a:gd name="connsiteX72" fmla="*/ 312344 w 851025"/>
                    <a:gd name="connsiteY72" fmla="*/ 787652 h 1475715"/>
                    <a:gd name="connsiteX73" fmla="*/ 298764 w 851025"/>
                    <a:gd name="connsiteY73" fmla="*/ 778598 h 1475715"/>
                    <a:gd name="connsiteX74" fmla="*/ 235390 w 851025"/>
                    <a:gd name="connsiteY74" fmla="*/ 715224 h 1475715"/>
                    <a:gd name="connsiteX75" fmla="*/ 248970 w 851025"/>
                    <a:gd name="connsiteY75" fmla="*/ 588476 h 1475715"/>
                    <a:gd name="connsiteX76" fmla="*/ 199176 w 851025"/>
                    <a:gd name="connsiteY76" fmla="*/ 457200 h 1475715"/>
                    <a:gd name="connsiteX77" fmla="*/ 162962 w 851025"/>
                    <a:gd name="connsiteY77" fmla="*/ 384773 h 1475715"/>
                    <a:gd name="connsiteX78" fmla="*/ 140328 w 851025"/>
                    <a:gd name="connsiteY78" fmla="*/ 389299 h 1475715"/>
                    <a:gd name="connsiteX79" fmla="*/ 108641 w 851025"/>
                    <a:gd name="connsiteY79" fmla="*/ 316872 h 1475715"/>
                    <a:gd name="connsiteX80" fmla="*/ 108641 w 851025"/>
                    <a:gd name="connsiteY80" fmla="*/ 285184 h 1475715"/>
                    <a:gd name="connsiteX81" fmla="*/ 99588 w 851025"/>
                    <a:gd name="connsiteY81" fmla="*/ 239917 h 1475715"/>
                    <a:gd name="connsiteX82" fmla="*/ 81481 w 851025"/>
                    <a:gd name="connsiteY82" fmla="*/ 144856 h 14757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</a:cxnLst>
                  <a:rect l="l" t="t" r="r" b="b"/>
                  <a:pathLst>
                    <a:path w="851025" h="1475715">
                      <a:moveTo>
                        <a:pt x="81481" y="144856"/>
                      </a:moveTo>
                      <a:lnTo>
                        <a:pt x="99588" y="90535"/>
                      </a:lnTo>
                      <a:lnTo>
                        <a:pt x="140328" y="108642"/>
                      </a:lnTo>
                      <a:lnTo>
                        <a:pt x="176542" y="90535"/>
                      </a:lnTo>
                      <a:lnTo>
                        <a:pt x="208229" y="113169"/>
                      </a:lnTo>
                      <a:lnTo>
                        <a:pt x="253497" y="158436"/>
                      </a:lnTo>
                      <a:lnTo>
                        <a:pt x="312344" y="140329"/>
                      </a:lnTo>
                      <a:lnTo>
                        <a:pt x="375719" y="126749"/>
                      </a:lnTo>
                      <a:lnTo>
                        <a:pt x="393825" y="144856"/>
                      </a:lnTo>
                      <a:lnTo>
                        <a:pt x="402879" y="95062"/>
                      </a:lnTo>
                      <a:lnTo>
                        <a:pt x="402879" y="36214"/>
                      </a:lnTo>
                      <a:lnTo>
                        <a:pt x="420986" y="0"/>
                      </a:lnTo>
                      <a:lnTo>
                        <a:pt x="502467" y="9054"/>
                      </a:lnTo>
                      <a:lnTo>
                        <a:pt x="538681" y="18107"/>
                      </a:lnTo>
                      <a:lnTo>
                        <a:pt x="525101" y="67901"/>
                      </a:lnTo>
                      <a:lnTo>
                        <a:pt x="525101" y="104115"/>
                      </a:lnTo>
                      <a:lnTo>
                        <a:pt x="525101" y="104115"/>
                      </a:lnTo>
                      <a:lnTo>
                        <a:pt x="466253" y="226337"/>
                      </a:lnTo>
                      <a:lnTo>
                        <a:pt x="466253" y="276131"/>
                      </a:lnTo>
                      <a:lnTo>
                        <a:pt x="484360" y="312345"/>
                      </a:lnTo>
                      <a:lnTo>
                        <a:pt x="493414" y="330452"/>
                      </a:lnTo>
                      <a:lnTo>
                        <a:pt x="565841" y="353085"/>
                      </a:lnTo>
                      <a:lnTo>
                        <a:pt x="602055" y="348559"/>
                      </a:lnTo>
                      <a:lnTo>
                        <a:pt x="706170" y="411933"/>
                      </a:lnTo>
                      <a:lnTo>
                        <a:pt x="755964" y="425513"/>
                      </a:lnTo>
                      <a:lnTo>
                        <a:pt x="755964" y="461727"/>
                      </a:lnTo>
                      <a:lnTo>
                        <a:pt x="810285" y="479834"/>
                      </a:lnTo>
                      <a:lnTo>
                        <a:pt x="792178" y="552262"/>
                      </a:lnTo>
                      <a:lnTo>
                        <a:pt x="814812" y="597529"/>
                      </a:lnTo>
                      <a:lnTo>
                        <a:pt x="814812" y="651850"/>
                      </a:lnTo>
                      <a:lnTo>
                        <a:pt x="810285" y="697117"/>
                      </a:lnTo>
                      <a:lnTo>
                        <a:pt x="823865" y="719751"/>
                      </a:lnTo>
                      <a:lnTo>
                        <a:pt x="851025" y="733331"/>
                      </a:lnTo>
                      <a:lnTo>
                        <a:pt x="828392" y="751438"/>
                      </a:lnTo>
                      <a:lnTo>
                        <a:pt x="832919" y="787652"/>
                      </a:lnTo>
                      <a:lnTo>
                        <a:pt x="796705" y="814812"/>
                      </a:lnTo>
                      <a:lnTo>
                        <a:pt x="746911" y="787652"/>
                      </a:lnTo>
                      <a:lnTo>
                        <a:pt x="692590" y="774072"/>
                      </a:lnTo>
                      <a:lnTo>
                        <a:pt x="588475" y="819339"/>
                      </a:lnTo>
                      <a:lnTo>
                        <a:pt x="506994" y="900820"/>
                      </a:lnTo>
                      <a:lnTo>
                        <a:pt x="497940" y="955141"/>
                      </a:lnTo>
                      <a:lnTo>
                        <a:pt x="511520" y="1023042"/>
                      </a:lnTo>
                      <a:lnTo>
                        <a:pt x="525101" y="1072836"/>
                      </a:lnTo>
                      <a:lnTo>
                        <a:pt x="525101" y="1136210"/>
                      </a:lnTo>
                      <a:lnTo>
                        <a:pt x="502467" y="1176951"/>
                      </a:lnTo>
                      <a:lnTo>
                        <a:pt x="448146" y="1195058"/>
                      </a:lnTo>
                      <a:lnTo>
                        <a:pt x="402879" y="1213165"/>
                      </a:lnTo>
                      <a:lnTo>
                        <a:pt x="357612" y="1231272"/>
                      </a:lnTo>
                      <a:lnTo>
                        <a:pt x="294237" y="1344440"/>
                      </a:lnTo>
                      <a:lnTo>
                        <a:pt x="285184" y="1398761"/>
                      </a:lnTo>
                      <a:lnTo>
                        <a:pt x="276130" y="1448555"/>
                      </a:lnTo>
                      <a:lnTo>
                        <a:pt x="221810" y="1475715"/>
                      </a:lnTo>
                      <a:lnTo>
                        <a:pt x="153909" y="1466662"/>
                      </a:lnTo>
                      <a:lnTo>
                        <a:pt x="99588" y="1475715"/>
                      </a:lnTo>
                      <a:lnTo>
                        <a:pt x="9053" y="1444028"/>
                      </a:lnTo>
                      <a:lnTo>
                        <a:pt x="4526" y="1403287"/>
                      </a:lnTo>
                      <a:lnTo>
                        <a:pt x="36214" y="1389707"/>
                      </a:lnTo>
                      <a:lnTo>
                        <a:pt x="0" y="1339913"/>
                      </a:lnTo>
                      <a:lnTo>
                        <a:pt x="13580" y="1339913"/>
                      </a:lnTo>
                      <a:lnTo>
                        <a:pt x="13580" y="1267485"/>
                      </a:lnTo>
                      <a:lnTo>
                        <a:pt x="76954" y="1249378"/>
                      </a:lnTo>
                      <a:lnTo>
                        <a:pt x="162962" y="1167897"/>
                      </a:lnTo>
                      <a:lnTo>
                        <a:pt x="181069" y="1090943"/>
                      </a:lnTo>
                      <a:lnTo>
                        <a:pt x="167489" y="1045676"/>
                      </a:lnTo>
                      <a:lnTo>
                        <a:pt x="117695" y="1009462"/>
                      </a:lnTo>
                      <a:lnTo>
                        <a:pt x="135802" y="977775"/>
                      </a:lnTo>
                      <a:lnTo>
                        <a:pt x="181069" y="959668"/>
                      </a:lnTo>
                      <a:lnTo>
                        <a:pt x="239917" y="927980"/>
                      </a:lnTo>
                      <a:lnTo>
                        <a:pt x="276130" y="955141"/>
                      </a:lnTo>
                      <a:lnTo>
                        <a:pt x="316871" y="914400"/>
                      </a:lnTo>
                      <a:lnTo>
                        <a:pt x="339505" y="855553"/>
                      </a:lnTo>
                      <a:lnTo>
                        <a:pt x="348558" y="814812"/>
                      </a:lnTo>
                      <a:lnTo>
                        <a:pt x="312344" y="787652"/>
                      </a:lnTo>
                      <a:lnTo>
                        <a:pt x="298764" y="778598"/>
                      </a:lnTo>
                      <a:lnTo>
                        <a:pt x="235390" y="715224"/>
                      </a:lnTo>
                      <a:lnTo>
                        <a:pt x="248970" y="588476"/>
                      </a:lnTo>
                      <a:lnTo>
                        <a:pt x="199176" y="457200"/>
                      </a:lnTo>
                      <a:lnTo>
                        <a:pt x="162962" y="384773"/>
                      </a:lnTo>
                      <a:lnTo>
                        <a:pt x="140328" y="389299"/>
                      </a:lnTo>
                      <a:lnTo>
                        <a:pt x="108641" y="316872"/>
                      </a:lnTo>
                      <a:lnTo>
                        <a:pt x="108641" y="285184"/>
                      </a:lnTo>
                      <a:lnTo>
                        <a:pt x="99588" y="239917"/>
                      </a:lnTo>
                      <a:lnTo>
                        <a:pt x="81481" y="14485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igura a mano libera 623">
                  <a:extLst>
                    <a:ext uri="{FF2B5EF4-FFF2-40B4-BE49-F238E27FC236}">
                      <a16:creationId xmlns:a16="http://schemas.microsoft.com/office/drawing/2014/main" id="{76398386-39A4-4593-BDF1-4EE5686B7C2E}"/>
                    </a:ext>
                  </a:extLst>
                </p:cNvPr>
                <p:cNvSpPr/>
                <p:nvPr/>
              </p:nvSpPr>
              <p:spPr bwMode="auto">
                <a:xfrm>
                  <a:off x="3716858" y="4631351"/>
                  <a:ext cx="873227" cy="530572"/>
                </a:xfrm>
                <a:custGeom>
                  <a:avLst/>
                  <a:gdLst>
                    <a:gd name="connsiteX0" fmla="*/ 1688306 w 1745456"/>
                    <a:gd name="connsiteY0" fmla="*/ 0 h 1097756"/>
                    <a:gd name="connsiteX1" fmla="*/ 1745456 w 1745456"/>
                    <a:gd name="connsiteY1" fmla="*/ 23812 h 1097756"/>
                    <a:gd name="connsiteX2" fmla="*/ 1697831 w 1745456"/>
                    <a:gd name="connsiteY2" fmla="*/ 57150 h 1097756"/>
                    <a:gd name="connsiteX3" fmla="*/ 1657350 w 1745456"/>
                    <a:gd name="connsiteY3" fmla="*/ 178594 h 1097756"/>
                    <a:gd name="connsiteX4" fmla="*/ 1533525 w 1745456"/>
                    <a:gd name="connsiteY4" fmla="*/ 321469 h 1097756"/>
                    <a:gd name="connsiteX5" fmla="*/ 1507331 w 1745456"/>
                    <a:gd name="connsiteY5" fmla="*/ 397669 h 1097756"/>
                    <a:gd name="connsiteX6" fmla="*/ 1493044 w 1745456"/>
                    <a:gd name="connsiteY6" fmla="*/ 428625 h 1097756"/>
                    <a:gd name="connsiteX7" fmla="*/ 1504950 w 1745456"/>
                    <a:gd name="connsiteY7" fmla="*/ 483394 h 1097756"/>
                    <a:gd name="connsiteX8" fmla="*/ 1471613 w 1745456"/>
                    <a:gd name="connsiteY8" fmla="*/ 500062 h 1097756"/>
                    <a:gd name="connsiteX9" fmla="*/ 1440656 w 1745456"/>
                    <a:gd name="connsiteY9" fmla="*/ 547687 h 1097756"/>
                    <a:gd name="connsiteX10" fmla="*/ 1443038 w 1745456"/>
                    <a:gd name="connsiteY10" fmla="*/ 657225 h 1097756"/>
                    <a:gd name="connsiteX11" fmla="*/ 1519238 w 1745456"/>
                    <a:gd name="connsiteY11" fmla="*/ 685800 h 1097756"/>
                    <a:gd name="connsiteX12" fmla="*/ 1538288 w 1745456"/>
                    <a:gd name="connsiteY12" fmla="*/ 702469 h 1097756"/>
                    <a:gd name="connsiteX13" fmla="*/ 1502569 w 1745456"/>
                    <a:gd name="connsiteY13" fmla="*/ 707231 h 1097756"/>
                    <a:gd name="connsiteX14" fmla="*/ 1519238 w 1745456"/>
                    <a:gd name="connsiteY14" fmla="*/ 785812 h 1097756"/>
                    <a:gd name="connsiteX15" fmla="*/ 1557338 w 1745456"/>
                    <a:gd name="connsiteY15" fmla="*/ 795337 h 1097756"/>
                    <a:gd name="connsiteX16" fmla="*/ 1574006 w 1745456"/>
                    <a:gd name="connsiteY16" fmla="*/ 816769 h 1097756"/>
                    <a:gd name="connsiteX17" fmla="*/ 1559719 w 1745456"/>
                    <a:gd name="connsiteY17" fmla="*/ 845344 h 1097756"/>
                    <a:gd name="connsiteX18" fmla="*/ 1550194 w 1745456"/>
                    <a:gd name="connsiteY18" fmla="*/ 876300 h 1097756"/>
                    <a:gd name="connsiteX19" fmla="*/ 1531144 w 1745456"/>
                    <a:gd name="connsiteY19" fmla="*/ 885825 h 1097756"/>
                    <a:gd name="connsiteX20" fmla="*/ 1478756 w 1745456"/>
                    <a:gd name="connsiteY20" fmla="*/ 912019 h 1097756"/>
                    <a:gd name="connsiteX21" fmla="*/ 1450181 w 1745456"/>
                    <a:gd name="connsiteY21" fmla="*/ 971550 h 1097756"/>
                    <a:gd name="connsiteX22" fmla="*/ 1464469 w 1745456"/>
                    <a:gd name="connsiteY22" fmla="*/ 1062037 h 1097756"/>
                    <a:gd name="connsiteX23" fmla="*/ 1483519 w 1745456"/>
                    <a:gd name="connsiteY23" fmla="*/ 1092994 h 1097756"/>
                    <a:gd name="connsiteX24" fmla="*/ 1445419 w 1745456"/>
                    <a:gd name="connsiteY24" fmla="*/ 1097756 h 1097756"/>
                    <a:gd name="connsiteX25" fmla="*/ 1426369 w 1745456"/>
                    <a:gd name="connsiteY25" fmla="*/ 1057275 h 1097756"/>
                    <a:gd name="connsiteX26" fmla="*/ 1400175 w 1745456"/>
                    <a:gd name="connsiteY26" fmla="*/ 1057275 h 1097756"/>
                    <a:gd name="connsiteX27" fmla="*/ 1385888 w 1745456"/>
                    <a:gd name="connsiteY27" fmla="*/ 1073944 h 1097756"/>
                    <a:gd name="connsiteX28" fmla="*/ 1328738 w 1745456"/>
                    <a:gd name="connsiteY28" fmla="*/ 1033462 h 1097756"/>
                    <a:gd name="connsiteX29" fmla="*/ 1264444 w 1745456"/>
                    <a:gd name="connsiteY29" fmla="*/ 1062037 h 1097756"/>
                    <a:gd name="connsiteX30" fmla="*/ 1202531 w 1745456"/>
                    <a:gd name="connsiteY30" fmla="*/ 1026319 h 1097756"/>
                    <a:gd name="connsiteX31" fmla="*/ 1147763 w 1745456"/>
                    <a:gd name="connsiteY31" fmla="*/ 1002506 h 1097756"/>
                    <a:gd name="connsiteX32" fmla="*/ 1126331 w 1745456"/>
                    <a:gd name="connsiteY32" fmla="*/ 1002506 h 1097756"/>
                    <a:gd name="connsiteX33" fmla="*/ 1090613 w 1745456"/>
                    <a:gd name="connsiteY33" fmla="*/ 978694 h 1097756"/>
                    <a:gd name="connsiteX34" fmla="*/ 1004888 w 1745456"/>
                    <a:gd name="connsiteY34" fmla="*/ 831056 h 1097756"/>
                    <a:gd name="connsiteX35" fmla="*/ 897731 w 1745456"/>
                    <a:gd name="connsiteY35" fmla="*/ 792956 h 1097756"/>
                    <a:gd name="connsiteX36" fmla="*/ 854869 w 1745456"/>
                    <a:gd name="connsiteY36" fmla="*/ 792956 h 1097756"/>
                    <a:gd name="connsiteX37" fmla="*/ 802481 w 1745456"/>
                    <a:gd name="connsiteY37" fmla="*/ 792956 h 1097756"/>
                    <a:gd name="connsiteX38" fmla="*/ 790575 w 1745456"/>
                    <a:gd name="connsiteY38" fmla="*/ 807244 h 1097756"/>
                    <a:gd name="connsiteX39" fmla="*/ 769144 w 1745456"/>
                    <a:gd name="connsiteY39" fmla="*/ 769144 h 1097756"/>
                    <a:gd name="connsiteX40" fmla="*/ 719138 w 1745456"/>
                    <a:gd name="connsiteY40" fmla="*/ 759619 h 1097756"/>
                    <a:gd name="connsiteX41" fmla="*/ 666750 w 1745456"/>
                    <a:gd name="connsiteY41" fmla="*/ 721519 h 1097756"/>
                    <a:gd name="connsiteX42" fmla="*/ 631031 w 1745456"/>
                    <a:gd name="connsiteY42" fmla="*/ 683419 h 1097756"/>
                    <a:gd name="connsiteX43" fmla="*/ 626269 w 1745456"/>
                    <a:gd name="connsiteY43" fmla="*/ 681037 h 1097756"/>
                    <a:gd name="connsiteX44" fmla="*/ 566738 w 1745456"/>
                    <a:gd name="connsiteY44" fmla="*/ 673894 h 1097756"/>
                    <a:gd name="connsiteX45" fmla="*/ 526256 w 1745456"/>
                    <a:gd name="connsiteY45" fmla="*/ 654844 h 1097756"/>
                    <a:gd name="connsiteX46" fmla="*/ 471488 w 1745456"/>
                    <a:gd name="connsiteY46" fmla="*/ 607219 h 1097756"/>
                    <a:gd name="connsiteX47" fmla="*/ 411956 w 1745456"/>
                    <a:gd name="connsiteY47" fmla="*/ 540544 h 1097756"/>
                    <a:gd name="connsiteX48" fmla="*/ 392906 w 1745456"/>
                    <a:gd name="connsiteY48" fmla="*/ 526256 h 1097756"/>
                    <a:gd name="connsiteX49" fmla="*/ 333375 w 1745456"/>
                    <a:gd name="connsiteY49" fmla="*/ 523875 h 1097756"/>
                    <a:gd name="connsiteX50" fmla="*/ 300038 w 1745456"/>
                    <a:gd name="connsiteY50" fmla="*/ 504825 h 1097756"/>
                    <a:gd name="connsiteX51" fmla="*/ 271463 w 1745456"/>
                    <a:gd name="connsiteY51" fmla="*/ 469106 h 1097756"/>
                    <a:gd name="connsiteX52" fmla="*/ 164306 w 1745456"/>
                    <a:gd name="connsiteY52" fmla="*/ 473869 h 1097756"/>
                    <a:gd name="connsiteX53" fmla="*/ 142875 w 1745456"/>
                    <a:gd name="connsiteY53" fmla="*/ 490537 h 1097756"/>
                    <a:gd name="connsiteX54" fmla="*/ 83344 w 1745456"/>
                    <a:gd name="connsiteY54" fmla="*/ 411956 h 1097756"/>
                    <a:gd name="connsiteX55" fmla="*/ 52388 w 1745456"/>
                    <a:gd name="connsiteY55" fmla="*/ 414337 h 1097756"/>
                    <a:gd name="connsiteX56" fmla="*/ 28575 w 1745456"/>
                    <a:gd name="connsiteY56" fmla="*/ 378619 h 1097756"/>
                    <a:gd name="connsiteX57" fmla="*/ 26194 w 1745456"/>
                    <a:gd name="connsiteY57" fmla="*/ 342900 h 1097756"/>
                    <a:gd name="connsiteX58" fmla="*/ 4763 w 1745456"/>
                    <a:gd name="connsiteY58" fmla="*/ 323850 h 1097756"/>
                    <a:gd name="connsiteX59" fmla="*/ 35719 w 1745456"/>
                    <a:gd name="connsiteY59" fmla="*/ 295275 h 1097756"/>
                    <a:gd name="connsiteX60" fmla="*/ 0 w 1745456"/>
                    <a:gd name="connsiteY60" fmla="*/ 266700 h 1097756"/>
                    <a:gd name="connsiteX61" fmla="*/ 42863 w 1745456"/>
                    <a:gd name="connsiteY61" fmla="*/ 233362 h 1097756"/>
                    <a:gd name="connsiteX62" fmla="*/ 45244 w 1745456"/>
                    <a:gd name="connsiteY62" fmla="*/ 176212 h 1097756"/>
                    <a:gd name="connsiteX63" fmla="*/ 92869 w 1745456"/>
                    <a:gd name="connsiteY63" fmla="*/ 140494 h 1097756"/>
                    <a:gd name="connsiteX64" fmla="*/ 140494 w 1745456"/>
                    <a:gd name="connsiteY64" fmla="*/ 116681 h 1097756"/>
                    <a:gd name="connsiteX65" fmla="*/ 190500 w 1745456"/>
                    <a:gd name="connsiteY65" fmla="*/ 76200 h 1097756"/>
                    <a:gd name="connsiteX66" fmla="*/ 219075 w 1745456"/>
                    <a:gd name="connsiteY66" fmla="*/ 147637 h 1097756"/>
                    <a:gd name="connsiteX67" fmla="*/ 273844 w 1745456"/>
                    <a:gd name="connsiteY67" fmla="*/ 180975 h 1097756"/>
                    <a:gd name="connsiteX68" fmla="*/ 319088 w 1745456"/>
                    <a:gd name="connsiteY68" fmla="*/ 154781 h 1097756"/>
                    <a:gd name="connsiteX69" fmla="*/ 359569 w 1745456"/>
                    <a:gd name="connsiteY69" fmla="*/ 154781 h 1097756"/>
                    <a:gd name="connsiteX70" fmla="*/ 357188 w 1745456"/>
                    <a:gd name="connsiteY70" fmla="*/ 123825 h 1097756"/>
                    <a:gd name="connsiteX71" fmla="*/ 366713 w 1745456"/>
                    <a:gd name="connsiteY71" fmla="*/ 69056 h 1097756"/>
                    <a:gd name="connsiteX72" fmla="*/ 402431 w 1745456"/>
                    <a:gd name="connsiteY72" fmla="*/ 85725 h 1097756"/>
                    <a:gd name="connsiteX73" fmla="*/ 447675 w 1745456"/>
                    <a:gd name="connsiteY73" fmla="*/ 85725 h 1097756"/>
                    <a:gd name="connsiteX74" fmla="*/ 481013 w 1745456"/>
                    <a:gd name="connsiteY74" fmla="*/ 54769 h 1097756"/>
                    <a:gd name="connsiteX75" fmla="*/ 516731 w 1745456"/>
                    <a:gd name="connsiteY75" fmla="*/ 71437 h 1097756"/>
                    <a:gd name="connsiteX76" fmla="*/ 528638 w 1745456"/>
                    <a:gd name="connsiteY76" fmla="*/ 102394 h 1097756"/>
                    <a:gd name="connsiteX77" fmla="*/ 511969 w 1745456"/>
                    <a:gd name="connsiteY77" fmla="*/ 133350 h 1097756"/>
                    <a:gd name="connsiteX78" fmla="*/ 595313 w 1745456"/>
                    <a:gd name="connsiteY78" fmla="*/ 126206 h 1097756"/>
                    <a:gd name="connsiteX79" fmla="*/ 595313 w 1745456"/>
                    <a:gd name="connsiteY79" fmla="*/ 126206 h 1097756"/>
                    <a:gd name="connsiteX80" fmla="*/ 621506 w 1745456"/>
                    <a:gd name="connsiteY80" fmla="*/ 159544 h 1097756"/>
                    <a:gd name="connsiteX81" fmla="*/ 647700 w 1745456"/>
                    <a:gd name="connsiteY81" fmla="*/ 204787 h 1097756"/>
                    <a:gd name="connsiteX82" fmla="*/ 726281 w 1745456"/>
                    <a:gd name="connsiteY82" fmla="*/ 221456 h 1097756"/>
                    <a:gd name="connsiteX83" fmla="*/ 785813 w 1745456"/>
                    <a:gd name="connsiteY83" fmla="*/ 211931 h 1097756"/>
                    <a:gd name="connsiteX84" fmla="*/ 857250 w 1745456"/>
                    <a:gd name="connsiteY84" fmla="*/ 176212 h 1097756"/>
                    <a:gd name="connsiteX85" fmla="*/ 888206 w 1745456"/>
                    <a:gd name="connsiteY85" fmla="*/ 176212 h 1097756"/>
                    <a:gd name="connsiteX86" fmla="*/ 959644 w 1745456"/>
                    <a:gd name="connsiteY86" fmla="*/ 192881 h 1097756"/>
                    <a:gd name="connsiteX87" fmla="*/ 1059656 w 1745456"/>
                    <a:gd name="connsiteY87" fmla="*/ 192881 h 1097756"/>
                    <a:gd name="connsiteX88" fmla="*/ 1166813 w 1745456"/>
                    <a:gd name="connsiteY88" fmla="*/ 171450 h 1097756"/>
                    <a:gd name="connsiteX89" fmla="*/ 1245394 w 1745456"/>
                    <a:gd name="connsiteY89" fmla="*/ 119062 h 1097756"/>
                    <a:gd name="connsiteX90" fmla="*/ 1273969 w 1745456"/>
                    <a:gd name="connsiteY90" fmla="*/ 102394 h 1097756"/>
                    <a:gd name="connsiteX91" fmla="*/ 1366838 w 1745456"/>
                    <a:gd name="connsiteY91" fmla="*/ 76200 h 1097756"/>
                    <a:gd name="connsiteX92" fmla="*/ 1402556 w 1745456"/>
                    <a:gd name="connsiteY92" fmla="*/ 114300 h 1097756"/>
                    <a:gd name="connsiteX93" fmla="*/ 1462088 w 1745456"/>
                    <a:gd name="connsiteY93" fmla="*/ 128587 h 1097756"/>
                    <a:gd name="connsiteX94" fmla="*/ 1512094 w 1745456"/>
                    <a:gd name="connsiteY94" fmla="*/ 107156 h 1097756"/>
                    <a:gd name="connsiteX95" fmla="*/ 1528763 w 1745456"/>
                    <a:gd name="connsiteY95" fmla="*/ 61912 h 1097756"/>
                    <a:gd name="connsiteX96" fmla="*/ 1585913 w 1745456"/>
                    <a:gd name="connsiteY96" fmla="*/ 61912 h 1097756"/>
                    <a:gd name="connsiteX97" fmla="*/ 1621631 w 1745456"/>
                    <a:gd name="connsiteY97" fmla="*/ 42862 h 1097756"/>
                    <a:gd name="connsiteX98" fmla="*/ 1688306 w 1745456"/>
                    <a:gd name="connsiteY98" fmla="*/ 0 h 1097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</a:cxnLst>
                  <a:rect l="l" t="t" r="r" b="b"/>
                  <a:pathLst>
                    <a:path w="1745456" h="1097756">
                      <a:moveTo>
                        <a:pt x="1688306" y="0"/>
                      </a:moveTo>
                      <a:lnTo>
                        <a:pt x="1745456" y="23812"/>
                      </a:lnTo>
                      <a:lnTo>
                        <a:pt x="1697831" y="57150"/>
                      </a:lnTo>
                      <a:lnTo>
                        <a:pt x="1657350" y="178594"/>
                      </a:lnTo>
                      <a:lnTo>
                        <a:pt x="1533525" y="321469"/>
                      </a:lnTo>
                      <a:lnTo>
                        <a:pt x="1507331" y="397669"/>
                      </a:lnTo>
                      <a:lnTo>
                        <a:pt x="1493044" y="428625"/>
                      </a:lnTo>
                      <a:lnTo>
                        <a:pt x="1504950" y="483394"/>
                      </a:lnTo>
                      <a:lnTo>
                        <a:pt x="1471613" y="500062"/>
                      </a:lnTo>
                      <a:lnTo>
                        <a:pt x="1440656" y="547687"/>
                      </a:lnTo>
                      <a:lnTo>
                        <a:pt x="1443038" y="657225"/>
                      </a:lnTo>
                      <a:lnTo>
                        <a:pt x="1519238" y="685800"/>
                      </a:lnTo>
                      <a:lnTo>
                        <a:pt x="1538288" y="702469"/>
                      </a:lnTo>
                      <a:lnTo>
                        <a:pt x="1502569" y="707231"/>
                      </a:lnTo>
                      <a:lnTo>
                        <a:pt x="1519238" y="785812"/>
                      </a:lnTo>
                      <a:lnTo>
                        <a:pt x="1557338" y="795337"/>
                      </a:lnTo>
                      <a:lnTo>
                        <a:pt x="1574006" y="816769"/>
                      </a:lnTo>
                      <a:lnTo>
                        <a:pt x="1559719" y="845344"/>
                      </a:lnTo>
                      <a:lnTo>
                        <a:pt x="1550194" y="876300"/>
                      </a:lnTo>
                      <a:lnTo>
                        <a:pt x="1531144" y="885825"/>
                      </a:lnTo>
                      <a:lnTo>
                        <a:pt x="1478756" y="912019"/>
                      </a:lnTo>
                      <a:lnTo>
                        <a:pt x="1450181" y="971550"/>
                      </a:lnTo>
                      <a:lnTo>
                        <a:pt x="1464469" y="1062037"/>
                      </a:lnTo>
                      <a:lnTo>
                        <a:pt x="1483519" y="1092994"/>
                      </a:lnTo>
                      <a:lnTo>
                        <a:pt x="1445419" y="1097756"/>
                      </a:lnTo>
                      <a:lnTo>
                        <a:pt x="1426369" y="1057275"/>
                      </a:lnTo>
                      <a:lnTo>
                        <a:pt x="1400175" y="1057275"/>
                      </a:lnTo>
                      <a:lnTo>
                        <a:pt x="1385888" y="1073944"/>
                      </a:lnTo>
                      <a:lnTo>
                        <a:pt x="1328738" y="1033462"/>
                      </a:lnTo>
                      <a:lnTo>
                        <a:pt x="1264444" y="1062037"/>
                      </a:lnTo>
                      <a:lnTo>
                        <a:pt x="1202531" y="1026319"/>
                      </a:lnTo>
                      <a:lnTo>
                        <a:pt x="1147763" y="1002506"/>
                      </a:lnTo>
                      <a:lnTo>
                        <a:pt x="1126331" y="1002506"/>
                      </a:lnTo>
                      <a:lnTo>
                        <a:pt x="1090613" y="978694"/>
                      </a:lnTo>
                      <a:lnTo>
                        <a:pt x="1004888" y="831056"/>
                      </a:lnTo>
                      <a:lnTo>
                        <a:pt x="897731" y="792956"/>
                      </a:lnTo>
                      <a:lnTo>
                        <a:pt x="854869" y="792956"/>
                      </a:lnTo>
                      <a:lnTo>
                        <a:pt x="802481" y="792956"/>
                      </a:lnTo>
                      <a:lnTo>
                        <a:pt x="790575" y="807244"/>
                      </a:lnTo>
                      <a:lnTo>
                        <a:pt x="769144" y="769144"/>
                      </a:lnTo>
                      <a:lnTo>
                        <a:pt x="719138" y="759619"/>
                      </a:lnTo>
                      <a:lnTo>
                        <a:pt x="666750" y="721519"/>
                      </a:lnTo>
                      <a:lnTo>
                        <a:pt x="631031" y="683419"/>
                      </a:lnTo>
                      <a:lnTo>
                        <a:pt x="626269" y="681037"/>
                      </a:lnTo>
                      <a:lnTo>
                        <a:pt x="566738" y="673894"/>
                      </a:lnTo>
                      <a:lnTo>
                        <a:pt x="526256" y="654844"/>
                      </a:lnTo>
                      <a:lnTo>
                        <a:pt x="471488" y="607219"/>
                      </a:lnTo>
                      <a:lnTo>
                        <a:pt x="411956" y="540544"/>
                      </a:lnTo>
                      <a:lnTo>
                        <a:pt x="392906" y="526256"/>
                      </a:lnTo>
                      <a:lnTo>
                        <a:pt x="333375" y="523875"/>
                      </a:lnTo>
                      <a:lnTo>
                        <a:pt x="300038" y="504825"/>
                      </a:lnTo>
                      <a:lnTo>
                        <a:pt x="271463" y="469106"/>
                      </a:lnTo>
                      <a:lnTo>
                        <a:pt x="164306" y="473869"/>
                      </a:lnTo>
                      <a:lnTo>
                        <a:pt x="142875" y="490537"/>
                      </a:lnTo>
                      <a:lnTo>
                        <a:pt x="83344" y="411956"/>
                      </a:lnTo>
                      <a:lnTo>
                        <a:pt x="52388" y="414337"/>
                      </a:lnTo>
                      <a:lnTo>
                        <a:pt x="28575" y="378619"/>
                      </a:lnTo>
                      <a:lnTo>
                        <a:pt x="26194" y="342900"/>
                      </a:lnTo>
                      <a:lnTo>
                        <a:pt x="4763" y="323850"/>
                      </a:lnTo>
                      <a:lnTo>
                        <a:pt x="35719" y="295275"/>
                      </a:lnTo>
                      <a:lnTo>
                        <a:pt x="0" y="266700"/>
                      </a:lnTo>
                      <a:lnTo>
                        <a:pt x="42863" y="233362"/>
                      </a:lnTo>
                      <a:cubicBezTo>
                        <a:pt x="43657" y="214312"/>
                        <a:pt x="44450" y="195262"/>
                        <a:pt x="45244" y="176212"/>
                      </a:cubicBezTo>
                      <a:lnTo>
                        <a:pt x="92869" y="140494"/>
                      </a:lnTo>
                      <a:lnTo>
                        <a:pt x="140494" y="116681"/>
                      </a:lnTo>
                      <a:lnTo>
                        <a:pt x="190500" y="76200"/>
                      </a:lnTo>
                      <a:lnTo>
                        <a:pt x="219075" y="147637"/>
                      </a:lnTo>
                      <a:lnTo>
                        <a:pt x="273844" y="180975"/>
                      </a:lnTo>
                      <a:lnTo>
                        <a:pt x="319088" y="154781"/>
                      </a:lnTo>
                      <a:lnTo>
                        <a:pt x="359569" y="154781"/>
                      </a:lnTo>
                      <a:lnTo>
                        <a:pt x="357188" y="123825"/>
                      </a:lnTo>
                      <a:lnTo>
                        <a:pt x="366713" y="69056"/>
                      </a:lnTo>
                      <a:lnTo>
                        <a:pt x="402431" y="85725"/>
                      </a:lnTo>
                      <a:lnTo>
                        <a:pt x="447675" y="85725"/>
                      </a:lnTo>
                      <a:lnTo>
                        <a:pt x="481013" y="54769"/>
                      </a:lnTo>
                      <a:lnTo>
                        <a:pt x="516731" y="71437"/>
                      </a:lnTo>
                      <a:lnTo>
                        <a:pt x="528638" y="102394"/>
                      </a:lnTo>
                      <a:lnTo>
                        <a:pt x="511969" y="133350"/>
                      </a:lnTo>
                      <a:lnTo>
                        <a:pt x="595313" y="126206"/>
                      </a:lnTo>
                      <a:lnTo>
                        <a:pt x="595313" y="126206"/>
                      </a:lnTo>
                      <a:lnTo>
                        <a:pt x="621506" y="159544"/>
                      </a:lnTo>
                      <a:lnTo>
                        <a:pt x="647700" y="204787"/>
                      </a:lnTo>
                      <a:lnTo>
                        <a:pt x="726281" y="221456"/>
                      </a:lnTo>
                      <a:lnTo>
                        <a:pt x="785813" y="211931"/>
                      </a:lnTo>
                      <a:lnTo>
                        <a:pt x="857250" y="176212"/>
                      </a:lnTo>
                      <a:lnTo>
                        <a:pt x="888206" y="176212"/>
                      </a:lnTo>
                      <a:lnTo>
                        <a:pt x="959644" y="192881"/>
                      </a:lnTo>
                      <a:lnTo>
                        <a:pt x="1059656" y="192881"/>
                      </a:lnTo>
                      <a:lnTo>
                        <a:pt x="1166813" y="171450"/>
                      </a:lnTo>
                      <a:lnTo>
                        <a:pt x="1245394" y="119062"/>
                      </a:lnTo>
                      <a:lnTo>
                        <a:pt x="1273969" y="102394"/>
                      </a:lnTo>
                      <a:lnTo>
                        <a:pt x="1366838" y="76200"/>
                      </a:lnTo>
                      <a:lnTo>
                        <a:pt x="1402556" y="114300"/>
                      </a:lnTo>
                      <a:lnTo>
                        <a:pt x="1462088" y="128587"/>
                      </a:lnTo>
                      <a:lnTo>
                        <a:pt x="1512094" y="107156"/>
                      </a:lnTo>
                      <a:lnTo>
                        <a:pt x="1528763" y="61912"/>
                      </a:lnTo>
                      <a:lnTo>
                        <a:pt x="1585913" y="61912"/>
                      </a:lnTo>
                      <a:lnTo>
                        <a:pt x="1621631" y="42862"/>
                      </a:lnTo>
                      <a:lnTo>
                        <a:pt x="1688306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76200" dir="13500000" sy="23000" kx="1200000" algn="br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igura a mano libera 624">
                  <a:extLst>
                    <a:ext uri="{FF2B5EF4-FFF2-40B4-BE49-F238E27FC236}">
                      <a16:creationId xmlns:a16="http://schemas.microsoft.com/office/drawing/2014/main" id="{76481677-1040-42B2-90FC-276BDB37F646}"/>
                    </a:ext>
                  </a:extLst>
                </p:cNvPr>
                <p:cNvSpPr/>
                <p:nvPr/>
              </p:nvSpPr>
              <p:spPr bwMode="auto">
                <a:xfrm>
                  <a:off x="4100339" y="3611787"/>
                  <a:ext cx="528557" cy="485378"/>
                </a:xfrm>
                <a:custGeom>
                  <a:avLst/>
                  <a:gdLst>
                    <a:gd name="connsiteX0" fmla="*/ 0 w 1057275"/>
                    <a:gd name="connsiteY0" fmla="*/ 202406 h 1007268"/>
                    <a:gd name="connsiteX1" fmla="*/ 21431 w 1057275"/>
                    <a:gd name="connsiteY1" fmla="*/ 188118 h 1007268"/>
                    <a:gd name="connsiteX2" fmla="*/ 54768 w 1057275"/>
                    <a:gd name="connsiteY2" fmla="*/ 145256 h 1007268"/>
                    <a:gd name="connsiteX3" fmla="*/ 59531 w 1057275"/>
                    <a:gd name="connsiteY3" fmla="*/ 126206 h 1007268"/>
                    <a:gd name="connsiteX4" fmla="*/ 64293 w 1057275"/>
                    <a:gd name="connsiteY4" fmla="*/ 47625 h 1007268"/>
                    <a:gd name="connsiteX5" fmla="*/ 128587 w 1057275"/>
                    <a:gd name="connsiteY5" fmla="*/ 30956 h 1007268"/>
                    <a:gd name="connsiteX6" fmla="*/ 166687 w 1057275"/>
                    <a:gd name="connsiteY6" fmla="*/ 42862 h 1007268"/>
                    <a:gd name="connsiteX7" fmla="*/ 173831 w 1057275"/>
                    <a:gd name="connsiteY7" fmla="*/ 0 h 1007268"/>
                    <a:gd name="connsiteX8" fmla="*/ 247650 w 1057275"/>
                    <a:gd name="connsiteY8" fmla="*/ 16668 h 1007268"/>
                    <a:gd name="connsiteX9" fmla="*/ 285750 w 1057275"/>
                    <a:gd name="connsiteY9" fmla="*/ 40481 h 1007268"/>
                    <a:gd name="connsiteX10" fmla="*/ 350043 w 1057275"/>
                    <a:gd name="connsiteY10" fmla="*/ 52387 h 1007268"/>
                    <a:gd name="connsiteX11" fmla="*/ 369093 w 1057275"/>
                    <a:gd name="connsiteY11" fmla="*/ 78581 h 1007268"/>
                    <a:gd name="connsiteX12" fmla="*/ 395287 w 1057275"/>
                    <a:gd name="connsiteY12" fmla="*/ 92868 h 1007268"/>
                    <a:gd name="connsiteX13" fmla="*/ 409575 w 1057275"/>
                    <a:gd name="connsiteY13" fmla="*/ 85725 h 1007268"/>
                    <a:gd name="connsiteX14" fmla="*/ 416718 w 1057275"/>
                    <a:gd name="connsiteY14" fmla="*/ 97631 h 1007268"/>
                    <a:gd name="connsiteX15" fmla="*/ 478631 w 1057275"/>
                    <a:gd name="connsiteY15" fmla="*/ 66675 h 1007268"/>
                    <a:gd name="connsiteX16" fmla="*/ 514350 w 1057275"/>
                    <a:gd name="connsiteY16" fmla="*/ 66675 h 1007268"/>
                    <a:gd name="connsiteX17" fmla="*/ 514350 w 1057275"/>
                    <a:gd name="connsiteY17" fmla="*/ 42862 h 1007268"/>
                    <a:gd name="connsiteX18" fmla="*/ 545306 w 1057275"/>
                    <a:gd name="connsiteY18" fmla="*/ 54768 h 1007268"/>
                    <a:gd name="connsiteX19" fmla="*/ 602456 w 1057275"/>
                    <a:gd name="connsiteY19" fmla="*/ 33337 h 1007268"/>
                    <a:gd name="connsiteX20" fmla="*/ 635793 w 1057275"/>
                    <a:gd name="connsiteY20" fmla="*/ 21431 h 1007268"/>
                    <a:gd name="connsiteX21" fmla="*/ 647700 w 1057275"/>
                    <a:gd name="connsiteY21" fmla="*/ 50006 h 1007268"/>
                    <a:gd name="connsiteX22" fmla="*/ 681037 w 1057275"/>
                    <a:gd name="connsiteY22" fmla="*/ 59531 h 1007268"/>
                    <a:gd name="connsiteX23" fmla="*/ 650081 w 1057275"/>
                    <a:gd name="connsiteY23" fmla="*/ 85725 h 1007268"/>
                    <a:gd name="connsiteX24" fmla="*/ 673893 w 1057275"/>
                    <a:gd name="connsiteY24" fmla="*/ 123825 h 1007268"/>
                    <a:gd name="connsiteX25" fmla="*/ 716756 w 1057275"/>
                    <a:gd name="connsiteY25" fmla="*/ 140493 h 1007268"/>
                    <a:gd name="connsiteX26" fmla="*/ 754856 w 1057275"/>
                    <a:gd name="connsiteY26" fmla="*/ 157162 h 1007268"/>
                    <a:gd name="connsiteX27" fmla="*/ 778668 w 1057275"/>
                    <a:gd name="connsiteY27" fmla="*/ 176212 h 1007268"/>
                    <a:gd name="connsiteX28" fmla="*/ 759618 w 1057275"/>
                    <a:gd name="connsiteY28" fmla="*/ 185737 h 1007268"/>
                    <a:gd name="connsiteX29" fmla="*/ 759618 w 1057275"/>
                    <a:gd name="connsiteY29" fmla="*/ 204787 h 1007268"/>
                    <a:gd name="connsiteX30" fmla="*/ 742950 w 1057275"/>
                    <a:gd name="connsiteY30" fmla="*/ 226218 h 1007268"/>
                    <a:gd name="connsiteX31" fmla="*/ 752475 w 1057275"/>
                    <a:gd name="connsiteY31" fmla="*/ 240506 h 1007268"/>
                    <a:gd name="connsiteX32" fmla="*/ 778668 w 1057275"/>
                    <a:gd name="connsiteY32" fmla="*/ 271462 h 1007268"/>
                    <a:gd name="connsiteX33" fmla="*/ 814387 w 1057275"/>
                    <a:gd name="connsiteY33" fmla="*/ 276225 h 1007268"/>
                    <a:gd name="connsiteX34" fmla="*/ 845343 w 1057275"/>
                    <a:gd name="connsiteY34" fmla="*/ 269081 h 1007268"/>
                    <a:gd name="connsiteX35" fmla="*/ 885825 w 1057275"/>
                    <a:gd name="connsiteY35" fmla="*/ 283368 h 1007268"/>
                    <a:gd name="connsiteX36" fmla="*/ 902493 w 1057275"/>
                    <a:gd name="connsiteY36" fmla="*/ 290512 h 1007268"/>
                    <a:gd name="connsiteX37" fmla="*/ 921543 w 1057275"/>
                    <a:gd name="connsiteY37" fmla="*/ 309562 h 1007268"/>
                    <a:gd name="connsiteX38" fmla="*/ 923925 w 1057275"/>
                    <a:gd name="connsiteY38" fmla="*/ 340518 h 1007268"/>
                    <a:gd name="connsiteX39" fmla="*/ 923925 w 1057275"/>
                    <a:gd name="connsiteY39" fmla="*/ 378618 h 1007268"/>
                    <a:gd name="connsiteX40" fmla="*/ 892968 w 1057275"/>
                    <a:gd name="connsiteY40" fmla="*/ 404812 h 1007268"/>
                    <a:gd name="connsiteX41" fmla="*/ 831056 w 1057275"/>
                    <a:gd name="connsiteY41" fmla="*/ 411956 h 1007268"/>
                    <a:gd name="connsiteX42" fmla="*/ 823912 w 1057275"/>
                    <a:gd name="connsiteY42" fmla="*/ 435768 h 1007268"/>
                    <a:gd name="connsiteX43" fmla="*/ 826293 w 1057275"/>
                    <a:gd name="connsiteY43" fmla="*/ 469106 h 1007268"/>
                    <a:gd name="connsiteX44" fmla="*/ 828675 w 1057275"/>
                    <a:gd name="connsiteY44" fmla="*/ 500062 h 1007268"/>
                    <a:gd name="connsiteX45" fmla="*/ 854868 w 1057275"/>
                    <a:gd name="connsiteY45" fmla="*/ 538162 h 1007268"/>
                    <a:gd name="connsiteX46" fmla="*/ 892968 w 1057275"/>
                    <a:gd name="connsiteY46" fmla="*/ 557212 h 1007268"/>
                    <a:gd name="connsiteX47" fmla="*/ 864393 w 1057275"/>
                    <a:gd name="connsiteY47" fmla="*/ 588168 h 1007268"/>
                    <a:gd name="connsiteX48" fmla="*/ 900112 w 1057275"/>
                    <a:gd name="connsiteY48" fmla="*/ 621506 h 1007268"/>
                    <a:gd name="connsiteX49" fmla="*/ 916781 w 1057275"/>
                    <a:gd name="connsiteY49" fmla="*/ 645318 h 1007268"/>
                    <a:gd name="connsiteX50" fmla="*/ 923925 w 1057275"/>
                    <a:gd name="connsiteY50" fmla="*/ 678656 h 1007268"/>
                    <a:gd name="connsiteX51" fmla="*/ 900112 w 1057275"/>
                    <a:gd name="connsiteY51" fmla="*/ 681037 h 1007268"/>
                    <a:gd name="connsiteX52" fmla="*/ 945356 w 1057275"/>
                    <a:gd name="connsiteY52" fmla="*/ 704850 h 1007268"/>
                    <a:gd name="connsiteX53" fmla="*/ 985837 w 1057275"/>
                    <a:gd name="connsiteY53" fmla="*/ 740568 h 1007268"/>
                    <a:gd name="connsiteX54" fmla="*/ 1002506 w 1057275"/>
                    <a:gd name="connsiteY54" fmla="*/ 747712 h 1007268"/>
                    <a:gd name="connsiteX55" fmla="*/ 1016793 w 1057275"/>
                    <a:gd name="connsiteY55" fmla="*/ 790575 h 1007268"/>
                    <a:gd name="connsiteX56" fmla="*/ 1054893 w 1057275"/>
                    <a:gd name="connsiteY56" fmla="*/ 802481 h 1007268"/>
                    <a:gd name="connsiteX57" fmla="*/ 1057275 w 1057275"/>
                    <a:gd name="connsiteY57" fmla="*/ 840581 h 1007268"/>
                    <a:gd name="connsiteX58" fmla="*/ 1031081 w 1057275"/>
                    <a:gd name="connsiteY58" fmla="*/ 862012 h 1007268"/>
                    <a:gd name="connsiteX59" fmla="*/ 997743 w 1057275"/>
                    <a:gd name="connsiteY59" fmla="*/ 881062 h 1007268"/>
                    <a:gd name="connsiteX60" fmla="*/ 1002506 w 1057275"/>
                    <a:gd name="connsiteY60" fmla="*/ 921543 h 1007268"/>
                    <a:gd name="connsiteX61" fmla="*/ 971550 w 1057275"/>
                    <a:gd name="connsiteY61" fmla="*/ 945356 h 1007268"/>
                    <a:gd name="connsiteX62" fmla="*/ 928687 w 1057275"/>
                    <a:gd name="connsiteY62" fmla="*/ 950118 h 1007268"/>
                    <a:gd name="connsiteX63" fmla="*/ 904875 w 1057275"/>
                    <a:gd name="connsiteY63" fmla="*/ 950118 h 1007268"/>
                    <a:gd name="connsiteX64" fmla="*/ 873918 w 1057275"/>
                    <a:gd name="connsiteY64" fmla="*/ 981075 h 1007268"/>
                    <a:gd name="connsiteX65" fmla="*/ 845343 w 1057275"/>
                    <a:gd name="connsiteY65" fmla="*/ 1007268 h 1007268"/>
                    <a:gd name="connsiteX66" fmla="*/ 797718 w 1057275"/>
                    <a:gd name="connsiteY66" fmla="*/ 983456 h 1007268"/>
                    <a:gd name="connsiteX67" fmla="*/ 776287 w 1057275"/>
                    <a:gd name="connsiteY67" fmla="*/ 954881 h 1007268"/>
                    <a:gd name="connsiteX68" fmla="*/ 738187 w 1057275"/>
                    <a:gd name="connsiteY68" fmla="*/ 921543 h 1007268"/>
                    <a:gd name="connsiteX69" fmla="*/ 742950 w 1057275"/>
                    <a:gd name="connsiteY69" fmla="*/ 904875 h 1007268"/>
                    <a:gd name="connsiteX70" fmla="*/ 711993 w 1057275"/>
                    <a:gd name="connsiteY70" fmla="*/ 907256 h 1007268"/>
                    <a:gd name="connsiteX71" fmla="*/ 714375 w 1057275"/>
                    <a:gd name="connsiteY71" fmla="*/ 871537 h 1007268"/>
                    <a:gd name="connsiteX72" fmla="*/ 678656 w 1057275"/>
                    <a:gd name="connsiteY72" fmla="*/ 892968 h 1007268"/>
                    <a:gd name="connsiteX73" fmla="*/ 661987 w 1057275"/>
                    <a:gd name="connsiteY73" fmla="*/ 885825 h 1007268"/>
                    <a:gd name="connsiteX74" fmla="*/ 626268 w 1057275"/>
                    <a:gd name="connsiteY74" fmla="*/ 847725 h 1007268"/>
                    <a:gd name="connsiteX75" fmla="*/ 600075 w 1057275"/>
                    <a:gd name="connsiteY75" fmla="*/ 850106 h 1007268"/>
                    <a:gd name="connsiteX76" fmla="*/ 600075 w 1057275"/>
                    <a:gd name="connsiteY76" fmla="*/ 850106 h 1007268"/>
                    <a:gd name="connsiteX77" fmla="*/ 611981 w 1057275"/>
                    <a:gd name="connsiteY77" fmla="*/ 821531 h 1007268"/>
                    <a:gd name="connsiteX78" fmla="*/ 614362 w 1057275"/>
                    <a:gd name="connsiteY78" fmla="*/ 781050 h 1007268"/>
                    <a:gd name="connsiteX79" fmla="*/ 640556 w 1057275"/>
                    <a:gd name="connsiteY79" fmla="*/ 754856 h 1007268"/>
                    <a:gd name="connsiteX80" fmla="*/ 621506 w 1057275"/>
                    <a:gd name="connsiteY80" fmla="*/ 721518 h 1007268"/>
                    <a:gd name="connsiteX81" fmla="*/ 597693 w 1057275"/>
                    <a:gd name="connsiteY81" fmla="*/ 671512 h 1007268"/>
                    <a:gd name="connsiteX82" fmla="*/ 573881 w 1057275"/>
                    <a:gd name="connsiteY82" fmla="*/ 619125 h 1007268"/>
                    <a:gd name="connsiteX83" fmla="*/ 526256 w 1057275"/>
                    <a:gd name="connsiteY83" fmla="*/ 561975 h 1007268"/>
                    <a:gd name="connsiteX84" fmla="*/ 504825 w 1057275"/>
                    <a:gd name="connsiteY84" fmla="*/ 545306 h 1007268"/>
                    <a:gd name="connsiteX85" fmla="*/ 492918 w 1057275"/>
                    <a:gd name="connsiteY85" fmla="*/ 545306 h 1007268"/>
                    <a:gd name="connsiteX86" fmla="*/ 481012 w 1057275"/>
                    <a:gd name="connsiteY86" fmla="*/ 573881 h 1007268"/>
                    <a:gd name="connsiteX87" fmla="*/ 476250 w 1057275"/>
                    <a:gd name="connsiteY87" fmla="*/ 583406 h 1007268"/>
                    <a:gd name="connsiteX88" fmla="*/ 445293 w 1057275"/>
                    <a:gd name="connsiteY88" fmla="*/ 566737 h 1007268"/>
                    <a:gd name="connsiteX89" fmla="*/ 404812 w 1057275"/>
                    <a:gd name="connsiteY89" fmla="*/ 592931 h 1007268"/>
                    <a:gd name="connsiteX90" fmla="*/ 402431 w 1057275"/>
                    <a:gd name="connsiteY90" fmla="*/ 600075 h 1007268"/>
                    <a:gd name="connsiteX91" fmla="*/ 373856 w 1057275"/>
                    <a:gd name="connsiteY91" fmla="*/ 592931 h 1007268"/>
                    <a:gd name="connsiteX92" fmla="*/ 345281 w 1057275"/>
                    <a:gd name="connsiteY92" fmla="*/ 588168 h 1007268"/>
                    <a:gd name="connsiteX93" fmla="*/ 316706 w 1057275"/>
                    <a:gd name="connsiteY93" fmla="*/ 602456 h 1007268"/>
                    <a:gd name="connsiteX94" fmla="*/ 290512 w 1057275"/>
                    <a:gd name="connsiteY94" fmla="*/ 626268 h 1007268"/>
                    <a:gd name="connsiteX95" fmla="*/ 273843 w 1057275"/>
                    <a:gd name="connsiteY95" fmla="*/ 619125 h 1007268"/>
                    <a:gd name="connsiteX96" fmla="*/ 300037 w 1057275"/>
                    <a:gd name="connsiteY96" fmla="*/ 581025 h 1007268"/>
                    <a:gd name="connsiteX97" fmla="*/ 357187 w 1057275"/>
                    <a:gd name="connsiteY97" fmla="*/ 545306 h 1007268"/>
                    <a:gd name="connsiteX98" fmla="*/ 369093 w 1057275"/>
                    <a:gd name="connsiteY98" fmla="*/ 526256 h 1007268"/>
                    <a:gd name="connsiteX99" fmla="*/ 340518 w 1057275"/>
                    <a:gd name="connsiteY99" fmla="*/ 495300 h 1007268"/>
                    <a:gd name="connsiteX100" fmla="*/ 321468 w 1057275"/>
                    <a:gd name="connsiteY100" fmla="*/ 502443 h 1007268"/>
                    <a:gd name="connsiteX101" fmla="*/ 266700 w 1057275"/>
                    <a:gd name="connsiteY101" fmla="*/ 447675 h 1007268"/>
                    <a:gd name="connsiteX102" fmla="*/ 266700 w 1057275"/>
                    <a:gd name="connsiteY102" fmla="*/ 447675 h 1007268"/>
                    <a:gd name="connsiteX103" fmla="*/ 216693 w 1057275"/>
                    <a:gd name="connsiteY103" fmla="*/ 459581 h 1007268"/>
                    <a:gd name="connsiteX104" fmla="*/ 216693 w 1057275"/>
                    <a:gd name="connsiteY104" fmla="*/ 459581 h 1007268"/>
                    <a:gd name="connsiteX105" fmla="*/ 197643 w 1057275"/>
                    <a:gd name="connsiteY105" fmla="*/ 464343 h 1007268"/>
                    <a:gd name="connsiteX106" fmla="*/ 178593 w 1057275"/>
                    <a:gd name="connsiteY106" fmla="*/ 447675 h 1007268"/>
                    <a:gd name="connsiteX107" fmla="*/ 176212 w 1057275"/>
                    <a:gd name="connsiteY107" fmla="*/ 433387 h 1007268"/>
                    <a:gd name="connsiteX108" fmla="*/ 166687 w 1057275"/>
                    <a:gd name="connsiteY108" fmla="*/ 459581 h 1007268"/>
                    <a:gd name="connsiteX109" fmla="*/ 164306 w 1057275"/>
                    <a:gd name="connsiteY109" fmla="*/ 483393 h 1007268"/>
                    <a:gd name="connsiteX110" fmla="*/ 164306 w 1057275"/>
                    <a:gd name="connsiteY110" fmla="*/ 483393 h 1007268"/>
                    <a:gd name="connsiteX111" fmla="*/ 126206 w 1057275"/>
                    <a:gd name="connsiteY111" fmla="*/ 507206 h 1007268"/>
                    <a:gd name="connsiteX112" fmla="*/ 111918 w 1057275"/>
                    <a:gd name="connsiteY112" fmla="*/ 497681 h 1007268"/>
                    <a:gd name="connsiteX113" fmla="*/ 138112 w 1057275"/>
                    <a:gd name="connsiteY113" fmla="*/ 464343 h 1007268"/>
                    <a:gd name="connsiteX114" fmla="*/ 135731 w 1057275"/>
                    <a:gd name="connsiteY114" fmla="*/ 409575 h 1007268"/>
                    <a:gd name="connsiteX115" fmla="*/ 102393 w 1057275"/>
                    <a:gd name="connsiteY115" fmla="*/ 373856 h 1007268"/>
                    <a:gd name="connsiteX116" fmla="*/ 80962 w 1057275"/>
                    <a:gd name="connsiteY116" fmla="*/ 302418 h 1007268"/>
                    <a:gd name="connsiteX117" fmla="*/ 30956 w 1057275"/>
                    <a:gd name="connsiteY117" fmla="*/ 247650 h 1007268"/>
                    <a:gd name="connsiteX118" fmla="*/ 0 w 1057275"/>
                    <a:gd name="connsiteY118" fmla="*/ 202406 h 10072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</a:cxnLst>
                  <a:rect l="l" t="t" r="r" b="b"/>
                  <a:pathLst>
                    <a:path w="1057275" h="1007268">
                      <a:moveTo>
                        <a:pt x="0" y="202406"/>
                      </a:moveTo>
                      <a:lnTo>
                        <a:pt x="21431" y="188118"/>
                      </a:lnTo>
                      <a:lnTo>
                        <a:pt x="54768" y="145256"/>
                      </a:lnTo>
                      <a:lnTo>
                        <a:pt x="59531" y="126206"/>
                      </a:lnTo>
                      <a:lnTo>
                        <a:pt x="64293" y="47625"/>
                      </a:lnTo>
                      <a:lnTo>
                        <a:pt x="128587" y="30956"/>
                      </a:lnTo>
                      <a:lnTo>
                        <a:pt x="166687" y="42862"/>
                      </a:lnTo>
                      <a:lnTo>
                        <a:pt x="173831" y="0"/>
                      </a:lnTo>
                      <a:lnTo>
                        <a:pt x="247650" y="16668"/>
                      </a:lnTo>
                      <a:lnTo>
                        <a:pt x="285750" y="40481"/>
                      </a:lnTo>
                      <a:lnTo>
                        <a:pt x="350043" y="52387"/>
                      </a:lnTo>
                      <a:lnTo>
                        <a:pt x="369093" y="78581"/>
                      </a:lnTo>
                      <a:lnTo>
                        <a:pt x="395287" y="92868"/>
                      </a:lnTo>
                      <a:lnTo>
                        <a:pt x="409575" y="85725"/>
                      </a:lnTo>
                      <a:lnTo>
                        <a:pt x="416718" y="97631"/>
                      </a:lnTo>
                      <a:lnTo>
                        <a:pt x="478631" y="66675"/>
                      </a:lnTo>
                      <a:lnTo>
                        <a:pt x="514350" y="66675"/>
                      </a:lnTo>
                      <a:lnTo>
                        <a:pt x="514350" y="42862"/>
                      </a:lnTo>
                      <a:lnTo>
                        <a:pt x="545306" y="54768"/>
                      </a:lnTo>
                      <a:lnTo>
                        <a:pt x="602456" y="33337"/>
                      </a:lnTo>
                      <a:lnTo>
                        <a:pt x="635793" y="21431"/>
                      </a:lnTo>
                      <a:lnTo>
                        <a:pt x="647700" y="50006"/>
                      </a:lnTo>
                      <a:lnTo>
                        <a:pt x="681037" y="59531"/>
                      </a:lnTo>
                      <a:lnTo>
                        <a:pt x="650081" y="85725"/>
                      </a:lnTo>
                      <a:lnTo>
                        <a:pt x="673893" y="123825"/>
                      </a:lnTo>
                      <a:lnTo>
                        <a:pt x="716756" y="140493"/>
                      </a:lnTo>
                      <a:lnTo>
                        <a:pt x="754856" y="157162"/>
                      </a:lnTo>
                      <a:lnTo>
                        <a:pt x="778668" y="176212"/>
                      </a:lnTo>
                      <a:lnTo>
                        <a:pt x="759618" y="185737"/>
                      </a:lnTo>
                      <a:lnTo>
                        <a:pt x="759618" y="204787"/>
                      </a:lnTo>
                      <a:lnTo>
                        <a:pt x="742950" y="226218"/>
                      </a:lnTo>
                      <a:lnTo>
                        <a:pt x="752475" y="240506"/>
                      </a:lnTo>
                      <a:lnTo>
                        <a:pt x="778668" y="271462"/>
                      </a:lnTo>
                      <a:lnTo>
                        <a:pt x="814387" y="276225"/>
                      </a:lnTo>
                      <a:lnTo>
                        <a:pt x="845343" y="269081"/>
                      </a:lnTo>
                      <a:lnTo>
                        <a:pt x="885825" y="283368"/>
                      </a:lnTo>
                      <a:lnTo>
                        <a:pt x="902493" y="290512"/>
                      </a:lnTo>
                      <a:lnTo>
                        <a:pt x="921543" y="309562"/>
                      </a:lnTo>
                      <a:lnTo>
                        <a:pt x="923925" y="340518"/>
                      </a:lnTo>
                      <a:lnTo>
                        <a:pt x="923925" y="378618"/>
                      </a:lnTo>
                      <a:lnTo>
                        <a:pt x="892968" y="404812"/>
                      </a:lnTo>
                      <a:lnTo>
                        <a:pt x="831056" y="411956"/>
                      </a:lnTo>
                      <a:lnTo>
                        <a:pt x="823912" y="435768"/>
                      </a:lnTo>
                      <a:lnTo>
                        <a:pt x="826293" y="469106"/>
                      </a:lnTo>
                      <a:lnTo>
                        <a:pt x="828675" y="500062"/>
                      </a:lnTo>
                      <a:lnTo>
                        <a:pt x="854868" y="538162"/>
                      </a:lnTo>
                      <a:lnTo>
                        <a:pt x="892968" y="557212"/>
                      </a:lnTo>
                      <a:lnTo>
                        <a:pt x="864393" y="588168"/>
                      </a:lnTo>
                      <a:lnTo>
                        <a:pt x="900112" y="621506"/>
                      </a:lnTo>
                      <a:lnTo>
                        <a:pt x="916781" y="645318"/>
                      </a:lnTo>
                      <a:lnTo>
                        <a:pt x="923925" y="678656"/>
                      </a:lnTo>
                      <a:lnTo>
                        <a:pt x="900112" y="681037"/>
                      </a:lnTo>
                      <a:lnTo>
                        <a:pt x="945356" y="704850"/>
                      </a:lnTo>
                      <a:lnTo>
                        <a:pt x="985837" y="740568"/>
                      </a:lnTo>
                      <a:lnTo>
                        <a:pt x="1002506" y="747712"/>
                      </a:lnTo>
                      <a:lnTo>
                        <a:pt x="1016793" y="790575"/>
                      </a:lnTo>
                      <a:lnTo>
                        <a:pt x="1054893" y="802481"/>
                      </a:lnTo>
                      <a:lnTo>
                        <a:pt x="1057275" y="840581"/>
                      </a:lnTo>
                      <a:lnTo>
                        <a:pt x="1031081" y="862012"/>
                      </a:lnTo>
                      <a:lnTo>
                        <a:pt x="997743" y="881062"/>
                      </a:lnTo>
                      <a:lnTo>
                        <a:pt x="1002506" y="921543"/>
                      </a:lnTo>
                      <a:lnTo>
                        <a:pt x="971550" y="945356"/>
                      </a:lnTo>
                      <a:lnTo>
                        <a:pt x="928687" y="950118"/>
                      </a:lnTo>
                      <a:lnTo>
                        <a:pt x="904875" y="950118"/>
                      </a:lnTo>
                      <a:lnTo>
                        <a:pt x="873918" y="981075"/>
                      </a:lnTo>
                      <a:lnTo>
                        <a:pt x="845343" y="1007268"/>
                      </a:lnTo>
                      <a:lnTo>
                        <a:pt x="797718" y="983456"/>
                      </a:lnTo>
                      <a:lnTo>
                        <a:pt x="776287" y="954881"/>
                      </a:lnTo>
                      <a:lnTo>
                        <a:pt x="738187" y="921543"/>
                      </a:lnTo>
                      <a:lnTo>
                        <a:pt x="742950" y="904875"/>
                      </a:lnTo>
                      <a:lnTo>
                        <a:pt x="711993" y="907256"/>
                      </a:lnTo>
                      <a:lnTo>
                        <a:pt x="714375" y="871537"/>
                      </a:lnTo>
                      <a:lnTo>
                        <a:pt x="678656" y="892968"/>
                      </a:lnTo>
                      <a:lnTo>
                        <a:pt x="661987" y="885825"/>
                      </a:lnTo>
                      <a:lnTo>
                        <a:pt x="626268" y="847725"/>
                      </a:lnTo>
                      <a:lnTo>
                        <a:pt x="600075" y="850106"/>
                      </a:lnTo>
                      <a:lnTo>
                        <a:pt x="600075" y="850106"/>
                      </a:lnTo>
                      <a:lnTo>
                        <a:pt x="611981" y="821531"/>
                      </a:lnTo>
                      <a:lnTo>
                        <a:pt x="614362" y="781050"/>
                      </a:lnTo>
                      <a:lnTo>
                        <a:pt x="640556" y="754856"/>
                      </a:lnTo>
                      <a:lnTo>
                        <a:pt x="621506" y="721518"/>
                      </a:lnTo>
                      <a:lnTo>
                        <a:pt x="597693" y="671512"/>
                      </a:lnTo>
                      <a:lnTo>
                        <a:pt x="573881" y="619125"/>
                      </a:lnTo>
                      <a:lnTo>
                        <a:pt x="526256" y="561975"/>
                      </a:lnTo>
                      <a:lnTo>
                        <a:pt x="504825" y="545306"/>
                      </a:lnTo>
                      <a:lnTo>
                        <a:pt x="492918" y="545306"/>
                      </a:lnTo>
                      <a:lnTo>
                        <a:pt x="481012" y="573881"/>
                      </a:lnTo>
                      <a:lnTo>
                        <a:pt x="476250" y="583406"/>
                      </a:lnTo>
                      <a:lnTo>
                        <a:pt x="445293" y="566737"/>
                      </a:lnTo>
                      <a:lnTo>
                        <a:pt x="404812" y="592931"/>
                      </a:lnTo>
                      <a:lnTo>
                        <a:pt x="402431" y="600075"/>
                      </a:lnTo>
                      <a:lnTo>
                        <a:pt x="373856" y="592931"/>
                      </a:lnTo>
                      <a:lnTo>
                        <a:pt x="345281" y="588168"/>
                      </a:lnTo>
                      <a:lnTo>
                        <a:pt x="316706" y="602456"/>
                      </a:lnTo>
                      <a:lnTo>
                        <a:pt x="290512" y="626268"/>
                      </a:lnTo>
                      <a:lnTo>
                        <a:pt x="273843" y="619125"/>
                      </a:lnTo>
                      <a:lnTo>
                        <a:pt x="300037" y="581025"/>
                      </a:lnTo>
                      <a:lnTo>
                        <a:pt x="357187" y="545306"/>
                      </a:lnTo>
                      <a:lnTo>
                        <a:pt x="369093" y="526256"/>
                      </a:lnTo>
                      <a:lnTo>
                        <a:pt x="340518" y="495300"/>
                      </a:lnTo>
                      <a:lnTo>
                        <a:pt x="321468" y="502443"/>
                      </a:lnTo>
                      <a:lnTo>
                        <a:pt x="266700" y="447675"/>
                      </a:lnTo>
                      <a:lnTo>
                        <a:pt x="266700" y="447675"/>
                      </a:lnTo>
                      <a:lnTo>
                        <a:pt x="216693" y="459581"/>
                      </a:lnTo>
                      <a:lnTo>
                        <a:pt x="216693" y="459581"/>
                      </a:lnTo>
                      <a:lnTo>
                        <a:pt x="197643" y="464343"/>
                      </a:lnTo>
                      <a:lnTo>
                        <a:pt x="178593" y="447675"/>
                      </a:lnTo>
                      <a:lnTo>
                        <a:pt x="176212" y="433387"/>
                      </a:lnTo>
                      <a:lnTo>
                        <a:pt x="166687" y="459581"/>
                      </a:lnTo>
                      <a:lnTo>
                        <a:pt x="164306" y="483393"/>
                      </a:lnTo>
                      <a:lnTo>
                        <a:pt x="164306" y="483393"/>
                      </a:lnTo>
                      <a:lnTo>
                        <a:pt x="126206" y="507206"/>
                      </a:lnTo>
                      <a:lnTo>
                        <a:pt x="111918" y="497681"/>
                      </a:lnTo>
                      <a:lnTo>
                        <a:pt x="138112" y="464343"/>
                      </a:lnTo>
                      <a:lnTo>
                        <a:pt x="135731" y="409575"/>
                      </a:lnTo>
                      <a:lnTo>
                        <a:pt x="102393" y="373856"/>
                      </a:lnTo>
                      <a:lnTo>
                        <a:pt x="80962" y="302418"/>
                      </a:lnTo>
                      <a:lnTo>
                        <a:pt x="30956" y="247650"/>
                      </a:lnTo>
                      <a:lnTo>
                        <a:pt x="0" y="20240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igura a mano libera 625">
                  <a:extLst>
                    <a:ext uri="{FF2B5EF4-FFF2-40B4-BE49-F238E27FC236}">
                      <a16:creationId xmlns:a16="http://schemas.microsoft.com/office/drawing/2014/main" id="{C72A4204-0442-41C0-9264-9758C20FFCE3}"/>
                    </a:ext>
                  </a:extLst>
                </p:cNvPr>
                <p:cNvSpPr/>
                <p:nvPr/>
              </p:nvSpPr>
              <p:spPr bwMode="auto">
                <a:xfrm>
                  <a:off x="4513389" y="3728384"/>
                  <a:ext cx="389949" cy="395896"/>
                </a:xfrm>
                <a:custGeom>
                  <a:avLst/>
                  <a:gdLst>
                    <a:gd name="connsiteX0" fmla="*/ 676275 w 778669"/>
                    <a:gd name="connsiteY0" fmla="*/ 666750 h 819150"/>
                    <a:gd name="connsiteX1" fmla="*/ 721519 w 778669"/>
                    <a:gd name="connsiteY1" fmla="*/ 616744 h 819150"/>
                    <a:gd name="connsiteX2" fmla="*/ 723900 w 778669"/>
                    <a:gd name="connsiteY2" fmla="*/ 585788 h 819150"/>
                    <a:gd name="connsiteX3" fmla="*/ 745332 w 778669"/>
                    <a:gd name="connsiteY3" fmla="*/ 545306 h 819150"/>
                    <a:gd name="connsiteX4" fmla="*/ 778669 w 778669"/>
                    <a:gd name="connsiteY4" fmla="*/ 483394 h 819150"/>
                    <a:gd name="connsiteX5" fmla="*/ 762000 w 778669"/>
                    <a:gd name="connsiteY5" fmla="*/ 471488 h 819150"/>
                    <a:gd name="connsiteX6" fmla="*/ 740569 w 778669"/>
                    <a:gd name="connsiteY6" fmla="*/ 435769 h 819150"/>
                    <a:gd name="connsiteX7" fmla="*/ 714375 w 778669"/>
                    <a:gd name="connsiteY7" fmla="*/ 447675 h 819150"/>
                    <a:gd name="connsiteX8" fmla="*/ 707232 w 778669"/>
                    <a:gd name="connsiteY8" fmla="*/ 404813 h 819150"/>
                    <a:gd name="connsiteX9" fmla="*/ 702469 w 778669"/>
                    <a:gd name="connsiteY9" fmla="*/ 335756 h 819150"/>
                    <a:gd name="connsiteX10" fmla="*/ 711994 w 778669"/>
                    <a:gd name="connsiteY10" fmla="*/ 292894 h 819150"/>
                    <a:gd name="connsiteX11" fmla="*/ 700088 w 778669"/>
                    <a:gd name="connsiteY11" fmla="*/ 266700 h 819150"/>
                    <a:gd name="connsiteX12" fmla="*/ 676275 w 778669"/>
                    <a:gd name="connsiteY12" fmla="*/ 261938 h 819150"/>
                    <a:gd name="connsiteX13" fmla="*/ 640557 w 778669"/>
                    <a:gd name="connsiteY13" fmla="*/ 247650 h 819150"/>
                    <a:gd name="connsiteX14" fmla="*/ 597694 w 778669"/>
                    <a:gd name="connsiteY14" fmla="*/ 247650 h 819150"/>
                    <a:gd name="connsiteX15" fmla="*/ 578644 w 778669"/>
                    <a:gd name="connsiteY15" fmla="*/ 257175 h 819150"/>
                    <a:gd name="connsiteX16" fmla="*/ 554832 w 778669"/>
                    <a:gd name="connsiteY16" fmla="*/ 278606 h 819150"/>
                    <a:gd name="connsiteX17" fmla="*/ 557213 w 778669"/>
                    <a:gd name="connsiteY17" fmla="*/ 302419 h 819150"/>
                    <a:gd name="connsiteX18" fmla="*/ 531019 w 778669"/>
                    <a:gd name="connsiteY18" fmla="*/ 261938 h 819150"/>
                    <a:gd name="connsiteX19" fmla="*/ 478632 w 778669"/>
                    <a:gd name="connsiteY19" fmla="*/ 226219 h 819150"/>
                    <a:gd name="connsiteX20" fmla="*/ 454819 w 778669"/>
                    <a:gd name="connsiteY20" fmla="*/ 190500 h 819150"/>
                    <a:gd name="connsiteX21" fmla="*/ 440532 w 778669"/>
                    <a:gd name="connsiteY21" fmla="*/ 142875 h 819150"/>
                    <a:gd name="connsiteX22" fmla="*/ 404813 w 778669"/>
                    <a:gd name="connsiteY22" fmla="*/ 138113 h 819150"/>
                    <a:gd name="connsiteX23" fmla="*/ 397669 w 778669"/>
                    <a:gd name="connsiteY23" fmla="*/ 166688 h 819150"/>
                    <a:gd name="connsiteX24" fmla="*/ 361950 w 778669"/>
                    <a:gd name="connsiteY24" fmla="*/ 145256 h 819150"/>
                    <a:gd name="connsiteX25" fmla="*/ 326232 w 778669"/>
                    <a:gd name="connsiteY25" fmla="*/ 123825 h 819150"/>
                    <a:gd name="connsiteX26" fmla="*/ 304800 w 778669"/>
                    <a:gd name="connsiteY26" fmla="*/ 123825 h 819150"/>
                    <a:gd name="connsiteX27" fmla="*/ 333375 w 778669"/>
                    <a:gd name="connsiteY27" fmla="*/ 109538 h 819150"/>
                    <a:gd name="connsiteX28" fmla="*/ 335757 w 778669"/>
                    <a:gd name="connsiteY28" fmla="*/ 95250 h 819150"/>
                    <a:gd name="connsiteX29" fmla="*/ 342900 w 778669"/>
                    <a:gd name="connsiteY29" fmla="*/ 59531 h 819150"/>
                    <a:gd name="connsiteX30" fmla="*/ 307182 w 778669"/>
                    <a:gd name="connsiteY30" fmla="*/ 52388 h 819150"/>
                    <a:gd name="connsiteX31" fmla="*/ 297657 w 778669"/>
                    <a:gd name="connsiteY31" fmla="*/ 21431 h 819150"/>
                    <a:gd name="connsiteX32" fmla="*/ 245269 w 778669"/>
                    <a:gd name="connsiteY32" fmla="*/ 0 h 819150"/>
                    <a:gd name="connsiteX33" fmla="*/ 230982 w 778669"/>
                    <a:gd name="connsiteY33" fmla="*/ 26194 h 819150"/>
                    <a:gd name="connsiteX34" fmla="*/ 173832 w 778669"/>
                    <a:gd name="connsiteY34" fmla="*/ 40481 h 819150"/>
                    <a:gd name="connsiteX35" fmla="*/ 159544 w 778669"/>
                    <a:gd name="connsiteY35" fmla="*/ 40481 h 819150"/>
                    <a:gd name="connsiteX36" fmla="*/ 128588 w 778669"/>
                    <a:gd name="connsiteY36" fmla="*/ 40481 h 819150"/>
                    <a:gd name="connsiteX37" fmla="*/ 100013 w 778669"/>
                    <a:gd name="connsiteY37" fmla="*/ 47625 h 819150"/>
                    <a:gd name="connsiteX38" fmla="*/ 102394 w 778669"/>
                    <a:gd name="connsiteY38" fmla="*/ 69056 h 819150"/>
                    <a:gd name="connsiteX39" fmla="*/ 92869 w 778669"/>
                    <a:gd name="connsiteY39" fmla="*/ 116681 h 819150"/>
                    <a:gd name="connsiteX40" fmla="*/ 100013 w 778669"/>
                    <a:gd name="connsiteY40" fmla="*/ 147638 h 819150"/>
                    <a:gd name="connsiteX41" fmla="*/ 69057 w 778669"/>
                    <a:gd name="connsiteY41" fmla="*/ 159544 h 819150"/>
                    <a:gd name="connsiteX42" fmla="*/ 11907 w 778669"/>
                    <a:gd name="connsiteY42" fmla="*/ 169069 h 819150"/>
                    <a:gd name="connsiteX43" fmla="*/ 0 w 778669"/>
                    <a:gd name="connsiteY43" fmla="*/ 192881 h 819150"/>
                    <a:gd name="connsiteX44" fmla="*/ 14288 w 778669"/>
                    <a:gd name="connsiteY44" fmla="*/ 259556 h 819150"/>
                    <a:gd name="connsiteX45" fmla="*/ 38100 w 778669"/>
                    <a:gd name="connsiteY45" fmla="*/ 300038 h 819150"/>
                    <a:gd name="connsiteX46" fmla="*/ 69057 w 778669"/>
                    <a:gd name="connsiteY46" fmla="*/ 309563 h 819150"/>
                    <a:gd name="connsiteX47" fmla="*/ 45244 w 778669"/>
                    <a:gd name="connsiteY47" fmla="*/ 338138 h 819150"/>
                    <a:gd name="connsiteX48" fmla="*/ 54769 w 778669"/>
                    <a:gd name="connsiteY48" fmla="*/ 361950 h 819150"/>
                    <a:gd name="connsiteX49" fmla="*/ 90488 w 778669"/>
                    <a:gd name="connsiteY49" fmla="*/ 409575 h 819150"/>
                    <a:gd name="connsiteX50" fmla="*/ 107157 w 778669"/>
                    <a:gd name="connsiteY50" fmla="*/ 435769 h 819150"/>
                    <a:gd name="connsiteX51" fmla="*/ 85725 w 778669"/>
                    <a:gd name="connsiteY51" fmla="*/ 445294 h 819150"/>
                    <a:gd name="connsiteX52" fmla="*/ 150019 w 778669"/>
                    <a:gd name="connsiteY52" fmla="*/ 488156 h 819150"/>
                    <a:gd name="connsiteX53" fmla="*/ 164307 w 778669"/>
                    <a:gd name="connsiteY53" fmla="*/ 497681 h 819150"/>
                    <a:gd name="connsiteX54" fmla="*/ 164307 w 778669"/>
                    <a:gd name="connsiteY54" fmla="*/ 497681 h 819150"/>
                    <a:gd name="connsiteX55" fmla="*/ 192882 w 778669"/>
                    <a:gd name="connsiteY55" fmla="*/ 545306 h 819150"/>
                    <a:gd name="connsiteX56" fmla="*/ 238125 w 778669"/>
                    <a:gd name="connsiteY56" fmla="*/ 561975 h 819150"/>
                    <a:gd name="connsiteX57" fmla="*/ 235744 w 778669"/>
                    <a:gd name="connsiteY57" fmla="*/ 604838 h 819150"/>
                    <a:gd name="connsiteX58" fmla="*/ 185738 w 778669"/>
                    <a:gd name="connsiteY58" fmla="*/ 621506 h 819150"/>
                    <a:gd name="connsiteX59" fmla="*/ 178594 w 778669"/>
                    <a:gd name="connsiteY59" fmla="*/ 659606 h 819150"/>
                    <a:gd name="connsiteX60" fmla="*/ 183357 w 778669"/>
                    <a:gd name="connsiteY60" fmla="*/ 681038 h 819150"/>
                    <a:gd name="connsiteX61" fmla="*/ 133350 w 778669"/>
                    <a:gd name="connsiteY61" fmla="*/ 711994 h 819150"/>
                    <a:gd name="connsiteX62" fmla="*/ 161925 w 778669"/>
                    <a:gd name="connsiteY62" fmla="*/ 735806 h 819150"/>
                    <a:gd name="connsiteX63" fmla="*/ 164307 w 778669"/>
                    <a:gd name="connsiteY63" fmla="*/ 754856 h 819150"/>
                    <a:gd name="connsiteX64" fmla="*/ 178594 w 778669"/>
                    <a:gd name="connsiteY64" fmla="*/ 778669 h 819150"/>
                    <a:gd name="connsiteX65" fmla="*/ 202407 w 778669"/>
                    <a:gd name="connsiteY65" fmla="*/ 802481 h 819150"/>
                    <a:gd name="connsiteX66" fmla="*/ 211932 w 778669"/>
                    <a:gd name="connsiteY66" fmla="*/ 807244 h 819150"/>
                    <a:gd name="connsiteX67" fmla="*/ 242888 w 778669"/>
                    <a:gd name="connsiteY67" fmla="*/ 752475 h 819150"/>
                    <a:gd name="connsiteX68" fmla="*/ 261938 w 778669"/>
                    <a:gd name="connsiteY68" fmla="*/ 773906 h 819150"/>
                    <a:gd name="connsiteX69" fmla="*/ 328613 w 778669"/>
                    <a:gd name="connsiteY69" fmla="*/ 752475 h 819150"/>
                    <a:gd name="connsiteX70" fmla="*/ 390525 w 778669"/>
                    <a:gd name="connsiteY70" fmla="*/ 819150 h 819150"/>
                    <a:gd name="connsiteX71" fmla="*/ 478632 w 778669"/>
                    <a:gd name="connsiteY71" fmla="*/ 819150 h 819150"/>
                    <a:gd name="connsiteX72" fmla="*/ 514350 w 778669"/>
                    <a:gd name="connsiteY72" fmla="*/ 788194 h 819150"/>
                    <a:gd name="connsiteX73" fmla="*/ 528638 w 778669"/>
                    <a:gd name="connsiteY73" fmla="*/ 804863 h 819150"/>
                    <a:gd name="connsiteX74" fmla="*/ 528638 w 778669"/>
                    <a:gd name="connsiteY74" fmla="*/ 709613 h 819150"/>
                    <a:gd name="connsiteX75" fmla="*/ 547688 w 778669"/>
                    <a:gd name="connsiteY75" fmla="*/ 664369 h 819150"/>
                    <a:gd name="connsiteX76" fmla="*/ 590550 w 778669"/>
                    <a:gd name="connsiteY76" fmla="*/ 661988 h 819150"/>
                    <a:gd name="connsiteX77" fmla="*/ 676275 w 778669"/>
                    <a:gd name="connsiteY77" fmla="*/ 666750 h 819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778669" h="819150">
                      <a:moveTo>
                        <a:pt x="676275" y="666750"/>
                      </a:moveTo>
                      <a:lnTo>
                        <a:pt x="721519" y="616744"/>
                      </a:lnTo>
                      <a:lnTo>
                        <a:pt x="723900" y="585788"/>
                      </a:lnTo>
                      <a:lnTo>
                        <a:pt x="745332" y="545306"/>
                      </a:lnTo>
                      <a:lnTo>
                        <a:pt x="778669" y="483394"/>
                      </a:lnTo>
                      <a:lnTo>
                        <a:pt x="762000" y="471488"/>
                      </a:lnTo>
                      <a:lnTo>
                        <a:pt x="740569" y="435769"/>
                      </a:lnTo>
                      <a:lnTo>
                        <a:pt x="714375" y="447675"/>
                      </a:lnTo>
                      <a:lnTo>
                        <a:pt x="707232" y="404813"/>
                      </a:lnTo>
                      <a:lnTo>
                        <a:pt x="702469" y="335756"/>
                      </a:lnTo>
                      <a:lnTo>
                        <a:pt x="711994" y="292894"/>
                      </a:lnTo>
                      <a:lnTo>
                        <a:pt x="700088" y="266700"/>
                      </a:lnTo>
                      <a:lnTo>
                        <a:pt x="676275" y="261938"/>
                      </a:lnTo>
                      <a:lnTo>
                        <a:pt x="640557" y="247650"/>
                      </a:lnTo>
                      <a:lnTo>
                        <a:pt x="597694" y="247650"/>
                      </a:lnTo>
                      <a:lnTo>
                        <a:pt x="578644" y="257175"/>
                      </a:lnTo>
                      <a:lnTo>
                        <a:pt x="554832" y="278606"/>
                      </a:lnTo>
                      <a:lnTo>
                        <a:pt x="557213" y="302419"/>
                      </a:lnTo>
                      <a:lnTo>
                        <a:pt x="531019" y="261938"/>
                      </a:lnTo>
                      <a:lnTo>
                        <a:pt x="478632" y="226219"/>
                      </a:lnTo>
                      <a:lnTo>
                        <a:pt x="454819" y="190500"/>
                      </a:lnTo>
                      <a:lnTo>
                        <a:pt x="440532" y="142875"/>
                      </a:lnTo>
                      <a:lnTo>
                        <a:pt x="404813" y="138113"/>
                      </a:lnTo>
                      <a:lnTo>
                        <a:pt x="397669" y="166688"/>
                      </a:lnTo>
                      <a:lnTo>
                        <a:pt x="361950" y="145256"/>
                      </a:lnTo>
                      <a:lnTo>
                        <a:pt x="326232" y="123825"/>
                      </a:lnTo>
                      <a:lnTo>
                        <a:pt x="304800" y="123825"/>
                      </a:lnTo>
                      <a:lnTo>
                        <a:pt x="333375" y="109538"/>
                      </a:lnTo>
                      <a:lnTo>
                        <a:pt x="335757" y="95250"/>
                      </a:lnTo>
                      <a:lnTo>
                        <a:pt x="342900" y="59531"/>
                      </a:lnTo>
                      <a:lnTo>
                        <a:pt x="307182" y="52388"/>
                      </a:lnTo>
                      <a:lnTo>
                        <a:pt x="297657" y="21431"/>
                      </a:lnTo>
                      <a:lnTo>
                        <a:pt x="245269" y="0"/>
                      </a:lnTo>
                      <a:lnTo>
                        <a:pt x="230982" y="26194"/>
                      </a:lnTo>
                      <a:lnTo>
                        <a:pt x="173832" y="40481"/>
                      </a:lnTo>
                      <a:lnTo>
                        <a:pt x="159544" y="40481"/>
                      </a:lnTo>
                      <a:lnTo>
                        <a:pt x="128588" y="40481"/>
                      </a:lnTo>
                      <a:lnTo>
                        <a:pt x="100013" y="47625"/>
                      </a:lnTo>
                      <a:lnTo>
                        <a:pt x="102394" y="69056"/>
                      </a:lnTo>
                      <a:lnTo>
                        <a:pt x="92869" y="116681"/>
                      </a:lnTo>
                      <a:lnTo>
                        <a:pt x="100013" y="147638"/>
                      </a:lnTo>
                      <a:lnTo>
                        <a:pt x="69057" y="159544"/>
                      </a:lnTo>
                      <a:lnTo>
                        <a:pt x="11907" y="169069"/>
                      </a:lnTo>
                      <a:lnTo>
                        <a:pt x="0" y="192881"/>
                      </a:lnTo>
                      <a:lnTo>
                        <a:pt x="14288" y="259556"/>
                      </a:lnTo>
                      <a:lnTo>
                        <a:pt x="38100" y="300038"/>
                      </a:lnTo>
                      <a:lnTo>
                        <a:pt x="69057" y="309563"/>
                      </a:lnTo>
                      <a:lnTo>
                        <a:pt x="45244" y="338138"/>
                      </a:lnTo>
                      <a:lnTo>
                        <a:pt x="54769" y="361950"/>
                      </a:lnTo>
                      <a:lnTo>
                        <a:pt x="90488" y="409575"/>
                      </a:lnTo>
                      <a:lnTo>
                        <a:pt x="107157" y="435769"/>
                      </a:lnTo>
                      <a:lnTo>
                        <a:pt x="85725" y="445294"/>
                      </a:lnTo>
                      <a:lnTo>
                        <a:pt x="150019" y="488156"/>
                      </a:lnTo>
                      <a:lnTo>
                        <a:pt x="164307" y="497681"/>
                      </a:lnTo>
                      <a:lnTo>
                        <a:pt x="164307" y="497681"/>
                      </a:lnTo>
                      <a:lnTo>
                        <a:pt x="192882" y="545306"/>
                      </a:lnTo>
                      <a:lnTo>
                        <a:pt x="238125" y="561975"/>
                      </a:lnTo>
                      <a:lnTo>
                        <a:pt x="235744" y="604838"/>
                      </a:lnTo>
                      <a:lnTo>
                        <a:pt x="185738" y="621506"/>
                      </a:lnTo>
                      <a:lnTo>
                        <a:pt x="178594" y="659606"/>
                      </a:lnTo>
                      <a:lnTo>
                        <a:pt x="183357" y="681038"/>
                      </a:lnTo>
                      <a:lnTo>
                        <a:pt x="133350" y="711994"/>
                      </a:lnTo>
                      <a:lnTo>
                        <a:pt x="161925" y="735806"/>
                      </a:lnTo>
                      <a:lnTo>
                        <a:pt x="164307" y="754856"/>
                      </a:lnTo>
                      <a:lnTo>
                        <a:pt x="178594" y="778669"/>
                      </a:lnTo>
                      <a:lnTo>
                        <a:pt x="202407" y="802481"/>
                      </a:lnTo>
                      <a:lnTo>
                        <a:pt x="211932" y="807244"/>
                      </a:lnTo>
                      <a:lnTo>
                        <a:pt x="242888" y="752475"/>
                      </a:lnTo>
                      <a:lnTo>
                        <a:pt x="261938" y="773906"/>
                      </a:lnTo>
                      <a:lnTo>
                        <a:pt x="328613" y="752475"/>
                      </a:lnTo>
                      <a:lnTo>
                        <a:pt x="390525" y="819150"/>
                      </a:lnTo>
                      <a:lnTo>
                        <a:pt x="478632" y="819150"/>
                      </a:lnTo>
                      <a:lnTo>
                        <a:pt x="514350" y="788194"/>
                      </a:lnTo>
                      <a:lnTo>
                        <a:pt x="528638" y="804863"/>
                      </a:lnTo>
                      <a:lnTo>
                        <a:pt x="528638" y="709613"/>
                      </a:lnTo>
                      <a:lnTo>
                        <a:pt x="547688" y="664369"/>
                      </a:lnTo>
                      <a:lnTo>
                        <a:pt x="590550" y="661988"/>
                      </a:lnTo>
                      <a:lnTo>
                        <a:pt x="676275" y="66675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igura a mano libera 626">
                  <a:extLst>
                    <a:ext uri="{FF2B5EF4-FFF2-40B4-BE49-F238E27FC236}">
                      <a16:creationId xmlns:a16="http://schemas.microsoft.com/office/drawing/2014/main" id="{785A4790-5F21-4AB0-96AC-4B90105F8B74}"/>
                    </a:ext>
                  </a:extLst>
                </p:cNvPr>
                <p:cNvSpPr/>
                <p:nvPr/>
              </p:nvSpPr>
              <p:spPr bwMode="auto">
                <a:xfrm>
                  <a:off x="4399731" y="3468975"/>
                  <a:ext cx="943454" cy="679711"/>
                </a:xfrm>
                <a:custGeom>
                  <a:avLst/>
                  <a:gdLst>
                    <a:gd name="connsiteX0" fmla="*/ 1023937 w 1883568"/>
                    <a:gd name="connsiteY0" fmla="*/ 1012031 h 1409700"/>
                    <a:gd name="connsiteX1" fmla="*/ 1100137 w 1883568"/>
                    <a:gd name="connsiteY1" fmla="*/ 945356 h 1409700"/>
                    <a:gd name="connsiteX2" fmla="*/ 1152525 w 1883568"/>
                    <a:gd name="connsiteY2" fmla="*/ 942975 h 1409700"/>
                    <a:gd name="connsiteX3" fmla="*/ 1193006 w 1883568"/>
                    <a:gd name="connsiteY3" fmla="*/ 966787 h 1409700"/>
                    <a:gd name="connsiteX4" fmla="*/ 1202531 w 1883568"/>
                    <a:gd name="connsiteY4" fmla="*/ 985837 h 1409700"/>
                    <a:gd name="connsiteX5" fmla="*/ 1190625 w 1883568"/>
                    <a:gd name="connsiteY5" fmla="*/ 1014412 h 1409700"/>
                    <a:gd name="connsiteX6" fmla="*/ 1264443 w 1883568"/>
                    <a:gd name="connsiteY6" fmla="*/ 1054893 h 1409700"/>
                    <a:gd name="connsiteX7" fmla="*/ 1323975 w 1883568"/>
                    <a:gd name="connsiteY7" fmla="*/ 1069181 h 1409700"/>
                    <a:gd name="connsiteX8" fmla="*/ 1350168 w 1883568"/>
                    <a:gd name="connsiteY8" fmla="*/ 1090612 h 1409700"/>
                    <a:gd name="connsiteX9" fmla="*/ 1385887 w 1883568"/>
                    <a:gd name="connsiteY9" fmla="*/ 1076325 h 1409700"/>
                    <a:gd name="connsiteX10" fmla="*/ 1540668 w 1883568"/>
                    <a:gd name="connsiteY10" fmla="*/ 1081087 h 1409700"/>
                    <a:gd name="connsiteX11" fmla="*/ 1569243 w 1883568"/>
                    <a:gd name="connsiteY11" fmla="*/ 1128712 h 1409700"/>
                    <a:gd name="connsiteX12" fmla="*/ 1612106 w 1883568"/>
                    <a:gd name="connsiteY12" fmla="*/ 1188243 h 1409700"/>
                    <a:gd name="connsiteX13" fmla="*/ 1616868 w 1883568"/>
                    <a:gd name="connsiteY13" fmla="*/ 1219200 h 1409700"/>
                    <a:gd name="connsiteX14" fmla="*/ 1600200 w 1883568"/>
                    <a:gd name="connsiteY14" fmla="*/ 1243012 h 1409700"/>
                    <a:gd name="connsiteX15" fmla="*/ 1626393 w 1883568"/>
                    <a:gd name="connsiteY15" fmla="*/ 1254918 h 1409700"/>
                    <a:gd name="connsiteX16" fmla="*/ 1609725 w 1883568"/>
                    <a:gd name="connsiteY16" fmla="*/ 1283493 h 1409700"/>
                    <a:gd name="connsiteX17" fmla="*/ 1702593 w 1883568"/>
                    <a:gd name="connsiteY17" fmla="*/ 1369218 h 1409700"/>
                    <a:gd name="connsiteX18" fmla="*/ 1721643 w 1883568"/>
                    <a:gd name="connsiteY18" fmla="*/ 1376362 h 1409700"/>
                    <a:gd name="connsiteX19" fmla="*/ 1776412 w 1883568"/>
                    <a:gd name="connsiteY19" fmla="*/ 1390650 h 1409700"/>
                    <a:gd name="connsiteX20" fmla="*/ 1826418 w 1883568"/>
                    <a:gd name="connsiteY20" fmla="*/ 1409700 h 1409700"/>
                    <a:gd name="connsiteX21" fmla="*/ 1826418 w 1883568"/>
                    <a:gd name="connsiteY21" fmla="*/ 1357312 h 1409700"/>
                    <a:gd name="connsiteX22" fmla="*/ 1819275 w 1883568"/>
                    <a:gd name="connsiteY22" fmla="*/ 1319212 h 1409700"/>
                    <a:gd name="connsiteX23" fmla="*/ 1840706 w 1883568"/>
                    <a:gd name="connsiteY23" fmla="*/ 1281112 h 1409700"/>
                    <a:gd name="connsiteX24" fmla="*/ 1843087 w 1883568"/>
                    <a:gd name="connsiteY24" fmla="*/ 1235868 h 1409700"/>
                    <a:gd name="connsiteX25" fmla="*/ 1883568 w 1883568"/>
                    <a:gd name="connsiteY25" fmla="*/ 1188243 h 1409700"/>
                    <a:gd name="connsiteX26" fmla="*/ 1869281 w 1883568"/>
                    <a:gd name="connsiteY26" fmla="*/ 1145381 h 1409700"/>
                    <a:gd name="connsiteX27" fmla="*/ 1843087 w 1883568"/>
                    <a:gd name="connsiteY27" fmla="*/ 1073943 h 1409700"/>
                    <a:gd name="connsiteX28" fmla="*/ 1793081 w 1883568"/>
                    <a:gd name="connsiteY28" fmla="*/ 1031081 h 1409700"/>
                    <a:gd name="connsiteX29" fmla="*/ 1731168 w 1883568"/>
                    <a:gd name="connsiteY29" fmla="*/ 973931 h 1409700"/>
                    <a:gd name="connsiteX30" fmla="*/ 1674018 w 1883568"/>
                    <a:gd name="connsiteY30" fmla="*/ 947737 h 1409700"/>
                    <a:gd name="connsiteX31" fmla="*/ 1609725 w 1883568"/>
                    <a:gd name="connsiteY31" fmla="*/ 888206 h 1409700"/>
                    <a:gd name="connsiteX32" fmla="*/ 1595437 w 1883568"/>
                    <a:gd name="connsiteY32" fmla="*/ 838200 h 1409700"/>
                    <a:gd name="connsiteX33" fmla="*/ 1538287 w 1883568"/>
                    <a:gd name="connsiteY33" fmla="*/ 842962 h 1409700"/>
                    <a:gd name="connsiteX34" fmla="*/ 1552575 w 1883568"/>
                    <a:gd name="connsiteY34" fmla="*/ 814387 h 1409700"/>
                    <a:gd name="connsiteX35" fmla="*/ 1483518 w 1883568"/>
                    <a:gd name="connsiteY35" fmla="*/ 812006 h 1409700"/>
                    <a:gd name="connsiteX36" fmla="*/ 1390650 w 1883568"/>
                    <a:gd name="connsiteY36" fmla="*/ 754856 h 1409700"/>
                    <a:gd name="connsiteX37" fmla="*/ 1352550 w 1883568"/>
                    <a:gd name="connsiteY37" fmla="*/ 762000 h 1409700"/>
                    <a:gd name="connsiteX38" fmla="*/ 1250156 w 1883568"/>
                    <a:gd name="connsiteY38" fmla="*/ 676275 h 1409700"/>
                    <a:gd name="connsiteX39" fmla="*/ 1221581 w 1883568"/>
                    <a:gd name="connsiteY39" fmla="*/ 640556 h 1409700"/>
                    <a:gd name="connsiteX40" fmla="*/ 1071562 w 1883568"/>
                    <a:gd name="connsiteY40" fmla="*/ 566737 h 1409700"/>
                    <a:gd name="connsiteX41" fmla="*/ 971550 w 1883568"/>
                    <a:gd name="connsiteY41" fmla="*/ 528637 h 1409700"/>
                    <a:gd name="connsiteX42" fmla="*/ 845343 w 1883568"/>
                    <a:gd name="connsiteY42" fmla="*/ 483393 h 1409700"/>
                    <a:gd name="connsiteX43" fmla="*/ 719137 w 1883568"/>
                    <a:gd name="connsiteY43" fmla="*/ 433387 h 1409700"/>
                    <a:gd name="connsiteX44" fmla="*/ 631031 w 1883568"/>
                    <a:gd name="connsiteY44" fmla="*/ 373856 h 1409700"/>
                    <a:gd name="connsiteX45" fmla="*/ 507206 w 1883568"/>
                    <a:gd name="connsiteY45" fmla="*/ 304800 h 1409700"/>
                    <a:gd name="connsiteX46" fmla="*/ 476250 w 1883568"/>
                    <a:gd name="connsiteY46" fmla="*/ 238125 h 1409700"/>
                    <a:gd name="connsiteX47" fmla="*/ 547687 w 1883568"/>
                    <a:gd name="connsiteY47" fmla="*/ 197643 h 1409700"/>
                    <a:gd name="connsiteX48" fmla="*/ 652462 w 1883568"/>
                    <a:gd name="connsiteY48" fmla="*/ 121443 h 1409700"/>
                    <a:gd name="connsiteX49" fmla="*/ 645318 w 1883568"/>
                    <a:gd name="connsiteY49" fmla="*/ 52387 h 1409700"/>
                    <a:gd name="connsiteX50" fmla="*/ 623887 w 1883568"/>
                    <a:gd name="connsiteY50" fmla="*/ 19050 h 1409700"/>
                    <a:gd name="connsiteX51" fmla="*/ 554831 w 1883568"/>
                    <a:gd name="connsiteY51" fmla="*/ 0 h 1409700"/>
                    <a:gd name="connsiteX52" fmla="*/ 492918 w 1883568"/>
                    <a:gd name="connsiteY52" fmla="*/ 2381 h 1409700"/>
                    <a:gd name="connsiteX53" fmla="*/ 414337 w 1883568"/>
                    <a:gd name="connsiteY53" fmla="*/ 28575 h 1409700"/>
                    <a:gd name="connsiteX54" fmla="*/ 340518 w 1883568"/>
                    <a:gd name="connsiteY54" fmla="*/ 26193 h 1409700"/>
                    <a:gd name="connsiteX55" fmla="*/ 319087 w 1883568"/>
                    <a:gd name="connsiteY55" fmla="*/ 16668 h 1409700"/>
                    <a:gd name="connsiteX56" fmla="*/ 269081 w 1883568"/>
                    <a:gd name="connsiteY56" fmla="*/ 26193 h 1409700"/>
                    <a:gd name="connsiteX57" fmla="*/ 169068 w 1883568"/>
                    <a:gd name="connsiteY57" fmla="*/ 23812 h 1409700"/>
                    <a:gd name="connsiteX58" fmla="*/ 92868 w 1883568"/>
                    <a:gd name="connsiteY58" fmla="*/ 14287 h 1409700"/>
                    <a:gd name="connsiteX59" fmla="*/ 83343 w 1883568"/>
                    <a:gd name="connsiteY59" fmla="*/ 126206 h 1409700"/>
                    <a:gd name="connsiteX60" fmla="*/ 111918 w 1883568"/>
                    <a:gd name="connsiteY60" fmla="*/ 166687 h 1409700"/>
                    <a:gd name="connsiteX61" fmla="*/ 92868 w 1883568"/>
                    <a:gd name="connsiteY61" fmla="*/ 190500 h 1409700"/>
                    <a:gd name="connsiteX62" fmla="*/ 54768 w 1883568"/>
                    <a:gd name="connsiteY62" fmla="*/ 223837 h 1409700"/>
                    <a:gd name="connsiteX63" fmla="*/ 19050 w 1883568"/>
                    <a:gd name="connsiteY63" fmla="*/ 195262 h 1409700"/>
                    <a:gd name="connsiteX64" fmla="*/ 0 w 1883568"/>
                    <a:gd name="connsiteY64" fmla="*/ 254793 h 1409700"/>
                    <a:gd name="connsiteX65" fmla="*/ 23812 w 1883568"/>
                    <a:gd name="connsiteY65" fmla="*/ 290512 h 1409700"/>
                    <a:gd name="connsiteX66" fmla="*/ 38100 w 1883568"/>
                    <a:gd name="connsiteY66" fmla="*/ 330993 h 1409700"/>
                    <a:gd name="connsiteX67" fmla="*/ 78581 w 1883568"/>
                    <a:gd name="connsiteY67" fmla="*/ 354806 h 1409700"/>
                    <a:gd name="connsiteX68" fmla="*/ 57150 w 1883568"/>
                    <a:gd name="connsiteY68" fmla="*/ 378618 h 1409700"/>
                    <a:gd name="connsiteX69" fmla="*/ 80962 w 1883568"/>
                    <a:gd name="connsiteY69" fmla="*/ 419100 h 1409700"/>
                    <a:gd name="connsiteX70" fmla="*/ 164306 w 1883568"/>
                    <a:gd name="connsiteY70" fmla="*/ 461962 h 1409700"/>
                    <a:gd name="connsiteX71" fmla="*/ 188118 w 1883568"/>
                    <a:gd name="connsiteY71" fmla="*/ 471487 h 1409700"/>
                    <a:gd name="connsiteX72" fmla="*/ 171450 w 1883568"/>
                    <a:gd name="connsiteY72" fmla="*/ 483393 h 1409700"/>
                    <a:gd name="connsiteX73" fmla="*/ 150018 w 1883568"/>
                    <a:gd name="connsiteY73" fmla="*/ 516731 h 1409700"/>
                    <a:gd name="connsiteX74" fmla="*/ 188118 w 1883568"/>
                    <a:gd name="connsiteY74" fmla="*/ 573881 h 1409700"/>
                    <a:gd name="connsiteX75" fmla="*/ 257175 w 1883568"/>
                    <a:gd name="connsiteY75" fmla="*/ 559593 h 1409700"/>
                    <a:gd name="connsiteX76" fmla="*/ 273843 w 1883568"/>
                    <a:gd name="connsiteY76" fmla="*/ 583406 h 1409700"/>
                    <a:gd name="connsiteX77" fmla="*/ 297656 w 1883568"/>
                    <a:gd name="connsiteY77" fmla="*/ 583406 h 1409700"/>
                    <a:gd name="connsiteX78" fmla="*/ 323850 w 1883568"/>
                    <a:gd name="connsiteY78" fmla="*/ 600075 h 1409700"/>
                    <a:gd name="connsiteX79" fmla="*/ 354806 w 1883568"/>
                    <a:gd name="connsiteY79" fmla="*/ 581025 h 1409700"/>
                    <a:gd name="connsiteX80" fmla="*/ 409575 w 1883568"/>
                    <a:gd name="connsiteY80" fmla="*/ 578643 h 1409700"/>
                    <a:gd name="connsiteX81" fmla="*/ 450056 w 1883568"/>
                    <a:gd name="connsiteY81" fmla="*/ 578643 h 1409700"/>
                    <a:gd name="connsiteX82" fmla="*/ 488156 w 1883568"/>
                    <a:gd name="connsiteY82" fmla="*/ 533400 h 1409700"/>
                    <a:gd name="connsiteX83" fmla="*/ 531018 w 1883568"/>
                    <a:gd name="connsiteY83" fmla="*/ 571500 h 1409700"/>
                    <a:gd name="connsiteX84" fmla="*/ 547687 w 1883568"/>
                    <a:gd name="connsiteY84" fmla="*/ 588168 h 1409700"/>
                    <a:gd name="connsiteX85" fmla="*/ 559593 w 1883568"/>
                    <a:gd name="connsiteY85" fmla="*/ 597693 h 1409700"/>
                    <a:gd name="connsiteX86" fmla="*/ 583406 w 1883568"/>
                    <a:gd name="connsiteY86" fmla="*/ 614362 h 1409700"/>
                    <a:gd name="connsiteX87" fmla="*/ 533400 w 1883568"/>
                    <a:gd name="connsiteY87" fmla="*/ 650081 h 1409700"/>
                    <a:gd name="connsiteX88" fmla="*/ 581025 w 1883568"/>
                    <a:gd name="connsiteY88" fmla="*/ 681037 h 1409700"/>
                    <a:gd name="connsiteX89" fmla="*/ 623887 w 1883568"/>
                    <a:gd name="connsiteY89" fmla="*/ 709612 h 1409700"/>
                    <a:gd name="connsiteX90" fmla="*/ 661987 w 1883568"/>
                    <a:gd name="connsiteY90" fmla="*/ 671512 h 1409700"/>
                    <a:gd name="connsiteX91" fmla="*/ 678656 w 1883568"/>
                    <a:gd name="connsiteY91" fmla="*/ 683418 h 1409700"/>
                    <a:gd name="connsiteX92" fmla="*/ 700087 w 1883568"/>
                    <a:gd name="connsiteY92" fmla="*/ 759618 h 1409700"/>
                    <a:gd name="connsiteX93" fmla="*/ 752475 w 1883568"/>
                    <a:gd name="connsiteY93" fmla="*/ 792956 h 1409700"/>
                    <a:gd name="connsiteX94" fmla="*/ 783431 w 1883568"/>
                    <a:gd name="connsiteY94" fmla="*/ 838200 h 1409700"/>
                    <a:gd name="connsiteX95" fmla="*/ 795337 w 1883568"/>
                    <a:gd name="connsiteY95" fmla="*/ 807243 h 1409700"/>
                    <a:gd name="connsiteX96" fmla="*/ 852487 w 1883568"/>
                    <a:gd name="connsiteY96" fmla="*/ 792956 h 1409700"/>
                    <a:gd name="connsiteX97" fmla="*/ 902493 w 1883568"/>
                    <a:gd name="connsiteY97" fmla="*/ 800100 h 1409700"/>
                    <a:gd name="connsiteX98" fmla="*/ 947737 w 1883568"/>
                    <a:gd name="connsiteY98" fmla="*/ 823912 h 1409700"/>
                    <a:gd name="connsiteX99" fmla="*/ 928687 w 1883568"/>
                    <a:gd name="connsiteY99" fmla="*/ 878681 h 1409700"/>
                    <a:gd name="connsiteX100" fmla="*/ 931068 w 1883568"/>
                    <a:gd name="connsiteY100" fmla="*/ 928687 h 1409700"/>
                    <a:gd name="connsiteX101" fmla="*/ 931068 w 1883568"/>
                    <a:gd name="connsiteY101" fmla="*/ 983456 h 1409700"/>
                    <a:gd name="connsiteX102" fmla="*/ 962025 w 1883568"/>
                    <a:gd name="connsiteY102" fmla="*/ 973931 h 1409700"/>
                    <a:gd name="connsiteX103" fmla="*/ 1023937 w 1883568"/>
                    <a:gd name="connsiteY103" fmla="*/ 1012031 h 1409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</a:cxnLst>
                  <a:rect l="l" t="t" r="r" b="b"/>
                  <a:pathLst>
                    <a:path w="1883568" h="1409700">
                      <a:moveTo>
                        <a:pt x="1023937" y="1012031"/>
                      </a:moveTo>
                      <a:lnTo>
                        <a:pt x="1100137" y="945356"/>
                      </a:lnTo>
                      <a:lnTo>
                        <a:pt x="1152525" y="942975"/>
                      </a:lnTo>
                      <a:lnTo>
                        <a:pt x="1193006" y="966787"/>
                      </a:lnTo>
                      <a:lnTo>
                        <a:pt x="1202531" y="985837"/>
                      </a:lnTo>
                      <a:lnTo>
                        <a:pt x="1190625" y="1014412"/>
                      </a:lnTo>
                      <a:lnTo>
                        <a:pt x="1264443" y="1054893"/>
                      </a:lnTo>
                      <a:lnTo>
                        <a:pt x="1323975" y="1069181"/>
                      </a:lnTo>
                      <a:lnTo>
                        <a:pt x="1350168" y="1090612"/>
                      </a:lnTo>
                      <a:lnTo>
                        <a:pt x="1385887" y="1076325"/>
                      </a:lnTo>
                      <a:lnTo>
                        <a:pt x="1540668" y="1081087"/>
                      </a:lnTo>
                      <a:lnTo>
                        <a:pt x="1569243" y="1128712"/>
                      </a:lnTo>
                      <a:lnTo>
                        <a:pt x="1612106" y="1188243"/>
                      </a:lnTo>
                      <a:lnTo>
                        <a:pt x="1616868" y="1219200"/>
                      </a:lnTo>
                      <a:lnTo>
                        <a:pt x="1600200" y="1243012"/>
                      </a:lnTo>
                      <a:lnTo>
                        <a:pt x="1626393" y="1254918"/>
                      </a:lnTo>
                      <a:lnTo>
                        <a:pt x="1609725" y="1283493"/>
                      </a:lnTo>
                      <a:lnTo>
                        <a:pt x="1702593" y="1369218"/>
                      </a:lnTo>
                      <a:lnTo>
                        <a:pt x="1721643" y="1376362"/>
                      </a:lnTo>
                      <a:lnTo>
                        <a:pt x="1776412" y="1390650"/>
                      </a:lnTo>
                      <a:lnTo>
                        <a:pt x="1826418" y="1409700"/>
                      </a:lnTo>
                      <a:lnTo>
                        <a:pt x="1826418" y="1357312"/>
                      </a:lnTo>
                      <a:lnTo>
                        <a:pt x="1819275" y="1319212"/>
                      </a:lnTo>
                      <a:lnTo>
                        <a:pt x="1840706" y="1281112"/>
                      </a:lnTo>
                      <a:lnTo>
                        <a:pt x="1843087" y="1235868"/>
                      </a:lnTo>
                      <a:lnTo>
                        <a:pt x="1883568" y="1188243"/>
                      </a:lnTo>
                      <a:lnTo>
                        <a:pt x="1869281" y="1145381"/>
                      </a:lnTo>
                      <a:lnTo>
                        <a:pt x="1843087" y="1073943"/>
                      </a:lnTo>
                      <a:lnTo>
                        <a:pt x="1793081" y="1031081"/>
                      </a:lnTo>
                      <a:lnTo>
                        <a:pt x="1731168" y="973931"/>
                      </a:lnTo>
                      <a:lnTo>
                        <a:pt x="1674018" y="947737"/>
                      </a:lnTo>
                      <a:lnTo>
                        <a:pt x="1609725" y="888206"/>
                      </a:lnTo>
                      <a:lnTo>
                        <a:pt x="1595437" y="838200"/>
                      </a:lnTo>
                      <a:lnTo>
                        <a:pt x="1538287" y="842962"/>
                      </a:lnTo>
                      <a:lnTo>
                        <a:pt x="1552575" y="814387"/>
                      </a:lnTo>
                      <a:lnTo>
                        <a:pt x="1483518" y="812006"/>
                      </a:lnTo>
                      <a:lnTo>
                        <a:pt x="1390650" y="754856"/>
                      </a:lnTo>
                      <a:lnTo>
                        <a:pt x="1352550" y="762000"/>
                      </a:lnTo>
                      <a:lnTo>
                        <a:pt x="1250156" y="676275"/>
                      </a:lnTo>
                      <a:lnTo>
                        <a:pt x="1221581" y="640556"/>
                      </a:lnTo>
                      <a:lnTo>
                        <a:pt x="1071562" y="566737"/>
                      </a:lnTo>
                      <a:lnTo>
                        <a:pt x="971550" y="528637"/>
                      </a:lnTo>
                      <a:lnTo>
                        <a:pt x="845343" y="483393"/>
                      </a:lnTo>
                      <a:lnTo>
                        <a:pt x="719137" y="433387"/>
                      </a:lnTo>
                      <a:lnTo>
                        <a:pt x="631031" y="373856"/>
                      </a:lnTo>
                      <a:lnTo>
                        <a:pt x="507206" y="304800"/>
                      </a:lnTo>
                      <a:lnTo>
                        <a:pt x="476250" y="238125"/>
                      </a:lnTo>
                      <a:lnTo>
                        <a:pt x="547687" y="197643"/>
                      </a:lnTo>
                      <a:lnTo>
                        <a:pt x="652462" y="121443"/>
                      </a:lnTo>
                      <a:lnTo>
                        <a:pt x="645318" y="52387"/>
                      </a:lnTo>
                      <a:lnTo>
                        <a:pt x="623887" y="19050"/>
                      </a:lnTo>
                      <a:lnTo>
                        <a:pt x="554831" y="0"/>
                      </a:lnTo>
                      <a:lnTo>
                        <a:pt x="492918" y="2381"/>
                      </a:lnTo>
                      <a:lnTo>
                        <a:pt x="414337" y="28575"/>
                      </a:lnTo>
                      <a:lnTo>
                        <a:pt x="340518" y="26193"/>
                      </a:lnTo>
                      <a:lnTo>
                        <a:pt x="319087" y="16668"/>
                      </a:lnTo>
                      <a:lnTo>
                        <a:pt x="269081" y="26193"/>
                      </a:lnTo>
                      <a:lnTo>
                        <a:pt x="169068" y="23812"/>
                      </a:lnTo>
                      <a:lnTo>
                        <a:pt x="92868" y="14287"/>
                      </a:lnTo>
                      <a:lnTo>
                        <a:pt x="83343" y="126206"/>
                      </a:lnTo>
                      <a:lnTo>
                        <a:pt x="111918" y="166687"/>
                      </a:lnTo>
                      <a:lnTo>
                        <a:pt x="92868" y="190500"/>
                      </a:lnTo>
                      <a:lnTo>
                        <a:pt x="54768" y="223837"/>
                      </a:lnTo>
                      <a:lnTo>
                        <a:pt x="19050" y="195262"/>
                      </a:lnTo>
                      <a:lnTo>
                        <a:pt x="0" y="254793"/>
                      </a:lnTo>
                      <a:lnTo>
                        <a:pt x="23812" y="290512"/>
                      </a:lnTo>
                      <a:lnTo>
                        <a:pt x="38100" y="330993"/>
                      </a:lnTo>
                      <a:lnTo>
                        <a:pt x="78581" y="354806"/>
                      </a:lnTo>
                      <a:lnTo>
                        <a:pt x="57150" y="378618"/>
                      </a:lnTo>
                      <a:lnTo>
                        <a:pt x="80962" y="419100"/>
                      </a:lnTo>
                      <a:lnTo>
                        <a:pt x="164306" y="461962"/>
                      </a:lnTo>
                      <a:lnTo>
                        <a:pt x="188118" y="471487"/>
                      </a:lnTo>
                      <a:lnTo>
                        <a:pt x="171450" y="483393"/>
                      </a:lnTo>
                      <a:lnTo>
                        <a:pt x="150018" y="516731"/>
                      </a:lnTo>
                      <a:lnTo>
                        <a:pt x="188118" y="573881"/>
                      </a:lnTo>
                      <a:lnTo>
                        <a:pt x="257175" y="559593"/>
                      </a:lnTo>
                      <a:lnTo>
                        <a:pt x="273843" y="583406"/>
                      </a:lnTo>
                      <a:lnTo>
                        <a:pt x="297656" y="583406"/>
                      </a:lnTo>
                      <a:lnTo>
                        <a:pt x="323850" y="600075"/>
                      </a:lnTo>
                      <a:lnTo>
                        <a:pt x="354806" y="581025"/>
                      </a:lnTo>
                      <a:lnTo>
                        <a:pt x="409575" y="578643"/>
                      </a:lnTo>
                      <a:lnTo>
                        <a:pt x="450056" y="578643"/>
                      </a:lnTo>
                      <a:lnTo>
                        <a:pt x="488156" y="533400"/>
                      </a:lnTo>
                      <a:lnTo>
                        <a:pt x="531018" y="571500"/>
                      </a:lnTo>
                      <a:lnTo>
                        <a:pt x="547687" y="588168"/>
                      </a:lnTo>
                      <a:lnTo>
                        <a:pt x="559593" y="597693"/>
                      </a:lnTo>
                      <a:lnTo>
                        <a:pt x="583406" y="614362"/>
                      </a:lnTo>
                      <a:lnTo>
                        <a:pt x="533400" y="650081"/>
                      </a:lnTo>
                      <a:lnTo>
                        <a:pt x="581025" y="681037"/>
                      </a:lnTo>
                      <a:lnTo>
                        <a:pt x="623887" y="709612"/>
                      </a:lnTo>
                      <a:lnTo>
                        <a:pt x="661987" y="671512"/>
                      </a:lnTo>
                      <a:lnTo>
                        <a:pt x="678656" y="683418"/>
                      </a:lnTo>
                      <a:lnTo>
                        <a:pt x="700087" y="759618"/>
                      </a:lnTo>
                      <a:lnTo>
                        <a:pt x="752475" y="792956"/>
                      </a:lnTo>
                      <a:lnTo>
                        <a:pt x="783431" y="838200"/>
                      </a:lnTo>
                      <a:lnTo>
                        <a:pt x="795337" y="807243"/>
                      </a:lnTo>
                      <a:lnTo>
                        <a:pt x="852487" y="792956"/>
                      </a:lnTo>
                      <a:lnTo>
                        <a:pt x="902493" y="800100"/>
                      </a:lnTo>
                      <a:lnTo>
                        <a:pt x="947737" y="823912"/>
                      </a:lnTo>
                      <a:lnTo>
                        <a:pt x="928687" y="878681"/>
                      </a:lnTo>
                      <a:lnTo>
                        <a:pt x="931068" y="928687"/>
                      </a:lnTo>
                      <a:lnTo>
                        <a:pt x="931068" y="983456"/>
                      </a:lnTo>
                      <a:lnTo>
                        <a:pt x="962025" y="973931"/>
                      </a:lnTo>
                      <a:lnTo>
                        <a:pt x="1023937" y="101203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Figura a mano libera 627">
                  <a:extLst>
                    <a:ext uri="{FF2B5EF4-FFF2-40B4-BE49-F238E27FC236}">
                      <a16:creationId xmlns:a16="http://schemas.microsoft.com/office/drawing/2014/main" id="{332BDEE3-CD99-4935-B3E4-0397DD60A4B4}"/>
                    </a:ext>
                  </a:extLst>
                </p:cNvPr>
                <p:cNvSpPr/>
                <p:nvPr/>
              </p:nvSpPr>
              <p:spPr bwMode="auto">
                <a:xfrm>
                  <a:off x="4152086" y="3438243"/>
                  <a:ext cx="304013" cy="219641"/>
                </a:xfrm>
                <a:custGeom>
                  <a:avLst/>
                  <a:gdLst>
                    <a:gd name="connsiteX0" fmla="*/ 571500 w 609600"/>
                    <a:gd name="connsiteY0" fmla="*/ 83344 h 454819"/>
                    <a:gd name="connsiteX1" fmla="*/ 528638 w 609600"/>
                    <a:gd name="connsiteY1" fmla="*/ 47625 h 454819"/>
                    <a:gd name="connsiteX2" fmla="*/ 514350 w 609600"/>
                    <a:gd name="connsiteY2" fmla="*/ 19050 h 454819"/>
                    <a:gd name="connsiteX3" fmla="*/ 457200 w 609600"/>
                    <a:gd name="connsiteY3" fmla="*/ 23812 h 454819"/>
                    <a:gd name="connsiteX4" fmla="*/ 423863 w 609600"/>
                    <a:gd name="connsiteY4" fmla="*/ 0 h 454819"/>
                    <a:gd name="connsiteX5" fmla="*/ 388144 w 609600"/>
                    <a:gd name="connsiteY5" fmla="*/ 45244 h 454819"/>
                    <a:gd name="connsiteX6" fmla="*/ 369094 w 609600"/>
                    <a:gd name="connsiteY6" fmla="*/ 88106 h 454819"/>
                    <a:gd name="connsiteX7" fmla="*/ 342900 w 609600"/>
                    <a:gd name="connsiteY7" fmla="*/ 114300 h 454819"/>
                    <a:gd name="connsiteX8" fmla="*/ 261938 w 609600"/>
                    <a:gd name="connsiteY8" fmla="*/ 207169 h 454819"/>
                    <a:gd name="connsiteX9" fmla="*/ 252413 w 609600"/>
                    <a:gd name="connsiteY9" fmla="*/ 140494 h 454819"/>
                    <a:gd name="connsiteX10" fmla="*/ 252413 w 609600"/>
                    <a:gd name="connsiteY10" fmla="*/ 140494 h 454819"/>
                    <a:gd name="connsiteX11" fmla="*/ 242888 w 609600"/>
                    <a:gd name="connsiteY11" fmla="*/ 126206 h 454819"/>
                    <a:gd name="connsiteX12" fmla="*/ 219075 w 609600"/>
                    <a:gd name="connsiteY12" fmla="*/ 126206 h 454819"/>
                    <a:gd name="connsiteX13" fmla="*/ 195263 w 609600"/>
                    <a:gd name="connsiteY13" fmla="*/ 116681 h 454819"/>
                    <a:gd name="connsiteX14" fmla="*/ 195263 w 609600"/>
                    <a:gd name="connsiteY14" fmla="*/ 128587 h 454819"/>
                    <a:gd name="connsiteX15" fmla="*/ 171450 w 609600"/>
                    <a:gd name="connsiteY15" fmla="*/ 102394 h 454819"/>
                    <a:gd name="connsiteX16" fmla="*/ 147638 w 609600"/>
                    <a:gd name="connsiteY16" fmla="*/ 109537 h 454819"/>
                    <a:gd name="connsiteX17" fmla="*/ 114300 w 609600"/>
                    <a:gd name="connsiteY17" fmla="*/ 142875 h 454819"/>
                    <a:gd name="connsiteX18" fmla="*/ 85725 w 609600"/>
                    <a:gd name="connsiteY18" fmla="*/ 152400 h 454819"/>
                    <a:gd name="connsiteX19" fmla="*/ 109538 w 609600"/>
                    <a:gd name="connsiteY19" fmla="*/ 173831 h 454819"/>
                    <a:gd name="connsiteX20" fmla="*/ 109538 w 609600"/>
                    <a:gd name="connsiteY20" fmla="*/ 173831 h 454819"/>
                    <a:gd name="connsiteX21" fmla="*/ 61913 w 609600"/>
                    <a:gd name="connsiteY21" fmla="*/ 192881 h 454819"/>
                    <a:gd name="connsiteX22" fmla="*/ 35719 w 609600"/>
                    <a:gd name="connsiteY22" fmla="*/ 219075 h 454819"/>
                    <a:gd name="connsiteX23" fmla="*/ 45244 w 609600"/>
                    <a:gd name="connsiteY23" fmla="*/ 242887 h 454819"/>
                    <a:gd name="connsiteX24" fmla="*/ 9525 w 609600"/>
                    <a:gd name="connsiteY24" fmla="*/ 230981 h 454819"/>
                    <a:gd name="connsiteX25" fmla="*/ 9525 w 609600"/>
                    <a:gd name="connsiteY25" fmla="*/ 230981 h 454819"/>
                    <a:gd name="connsiteX26" fmla="*/ 16669 w 609600"/>
                    <a:gd name="connsiteY26" fmla="*/ 297656 h 454819"/>
                    <a:gd name="connsiteX27" fmla="*/ 30957 w 609600"/>
                    <a:gd name="connsiteY27" fmla="*/ 352425 h 454819"/>
                    <a:gd name="connsiteX28" fmla="*/ 0 w 609600"/>
                    <a:gd name="connsiteY28" fmla="*/ 376237 h 454819"/>
                    <a:gd name="connsiteX29" fmla="*/ 35719 w 609600"/>
                    <a:gd name="connsiteY29" fmla="*/ 388144 h 454819"/>
                    <a:gd name="connsiteX30" fmla="*/ 61913 w 609600"/>
                    <a:gd name="connsiteY30" fmla="*/ 400050 h 454819"/>
                    <a:gd name="connsiteX31" fmla="*/ 73819 w 609600"/>
                    <a:gd name="connsiteY31" fmla="*/ 357187 h 454819"/>
                    <a:gd name="connsiteX32" fmla="*/ 145257 w 609600"/>
                    <a:gd name="connsiteY32" fmla="*/ 378619 h 454819"/>
                    <a:gd name="connsiteX33" fmla="*/ 188119 w 609600"/>
                    <a:gd name="connsiteY33" fmla="*/ 404812 h 454819"/>
                    <a:gd name="connsiteX34" fmla="*/ 252413 w 609600"/>
                    <a:gd name="connsiteY34" fmla="*/ 416719 h 454819"/>
                    <a:gd name="connsiteX35" fmla="*/ 292894 w 609600"/>
                    <a:gd name="connsiteY35" fmla="*/ 452437 h 454819"/>
                    <a:gd name="connsiteX36" fmla="*/ 323850 w 609600"/>
                    <a:gd name="connsiteY36" fmla="*/ 454819 h 454819"/>
                    <a:gd name="connsiteX37" fmla="*/ 388144 w 609600"/>
                    <a:gd name="connsiteY37" fmla="*/ 428625 h 454819"/>
                    <a:gd name="connsiteX38" fmla="*/ 411957 w 609600"/>
                    <a:gd name="connsiteY38" fmla="*/ 419100 h 454819"/>
                    <a:gd name="connsiteX39" fmla="*/ 414338 w 609600"/>
                    <a:gd name="connsiteY39" fmla="*/ 404812 h 454819"/>
                    <a:gd name="connsiteX40" fmla="*/ 459582 w 609600"/>
                    <a:gd name="connsiteY40" fmla="*/ 409575 h 454819"/>
                    <a:gd name="connsiteX41" fmla="*/ 528638 w 609600"/>
                    <a:gd name="connsiteY41" fmla="*/ 388144 h 454819"/>
                    <a:gd name="connsiteX42" fmla="*/ 504825 w 609600"/>
                    <a:gd name="connsiteY42" fmla="*/ 311944 h 454819"/>
                    <a:gd name="connsiteX43" fmla="*/ 516732 w 609600"/>
                    <a:gd name="connsiteY43" fmla="*/ 259556 h 454819"/>
                    <a:gd name="connsiteX44" fmla="*/ 552450 w 609600"/>
                    <a:gd name="connsiteY44" fmla="*/ 288131 h 454819"/>
                    <a:gd name="connsiteX45" fmla="*/ 609600 w 609600"/>
                    <a:gd name="connsiteY45" fmla="*/ 233362 h 454819"/>
                    <a:gd name="connsiteX46" fmla="*/ 592932 w 609600"/>
                    <a:gd name="connsiteY46" fmla="*/ 197644 h 454819"/>
                    <a:gd name="connsiteX47" fmla="*/ 571500 w 609600"/>
                    <a:gd name="connsiteY47" fmla="*/ 83344 h 454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609600" h="454819">
                      <a:moveTo>
                        <a:pt x="571500" y="83344"/>
                      </a:moveTo>
                      <a:lnTo>
                        <a:pt x="528638" y="47625"/>
                      </a:lnTo>
                      <a:lnTo>
                        <a:pt x="514350" y="19050"/>
                      </a:lnTo>
                      <a:lnTo>
                        <a:pt x="457200" y="23812"/>
                      </a:lnTo>
                      <a:lnTo>
                        <a:pt x="423863" y="0"/>
                      </a:lnTo>
                      <a:lnTo>
                        <a:pt x="388144" y="45244"/>
                      </a:lnTo>
                      <a:lnTo>
                        <a:pt x="369094" y="88106"/>
                      </a:lnTo>
                      <a:lnTo>
                        <a:pt x="342900" y="114300"/>
                      </a:lnTo>
                      <a:lnTo>
                        <a:pt x="261938" y="207169"/>
                      </a:lnTo>
                      <a:lnTo>
                        <a:pt x="252413" y="140494"/>
                      </a:lnTo>
                      <a:lnTo>
                        <a:pt x="252413" y="140494"/>
                      </a:lnTo>
                      <a:lnTo>
                        <a:pt x="242888" y="126206"/>
                      </a:lnTo>
                      <a:lnTo>
                        <a:pt x="219075" y="126206"/>
                      </a:lnTo>
                      <a:lnTo>
                        <a:pt x="195263" y="116681"/>
                      </a:lnTo>
                      <a:lnTo>
                        <a:pt x="195263" y="128587"/>
                      </a:lnTo>
                      <a:lnTo>
                        <a:pt x="171450" y="102394"/>
                      </a:lnTo>
                      <a:lnTo>
                        <a:pt x="147638" y="109537"/>
                      </a:lnTo>
                      <a:lnTo>
                        <a:pt x="114300" y="142875"/>
                      </a:lnTo>
                      <a:lnTo>
                        <a:pt x="85725" y="152400"/>
                      </a:lnTo>
                      <a:lnTo>
                        <a:pt x="109538" y="173831"/>
                      </a:lnTo>
                      <a:lnTo>
                        <a:pt x="109538" y="173831"/>
                      </a:lnTo>
                      <a:lnTo>
                        <a:pt x="61913" y="192881"/>
                      </a:lnTo>
                      <a:lnTo>
                        <a:pt x="35719" y="219075"/>
                      </a:lnTo>
                      <a:lnTo>
                        <a:pt x="45244" y="242887"/>
                      </a:lnTo>
                      <a:lnTo>
                        <a:pt x="9525" y="230981"/>
                      </a:lnTo>
                      <a:lnTo>
                        <a:pt x="9525" y="230981"/>
                      </a:lnTo>
                      <a:lnTo>
                        <a:pt x="16669" y="297656"/>
                      </a:lnTo>
                      <a:lnTo>
                        <a:pt x="30957" y="352425"/>
                      </a:lnTo>
                      <a:lnTo>
                        <a:pt x="0" y="376237"/>
                      </a:lnTo>
                      <a:lnTo>
                        <a:pt x="35719" y="388144"/>
                      </a:lnTo>
                      <a:lnTo>
                        <a:pt x="61913" y="400050"/>
                      </a:lnTo>
                      <a:lnTo>
                        <a:pt x="73819" y="357187"/>
                      </a:lnTo>
                      <a:lnTo>
                        <a:pt x="145257" y="378619"/>
                      </a:lnTo>
                      <a:lnTo>
                        <a:pt x="188119" y="404812"/>
                      </a:lnTo>
                      <a:lnTo>
                        <a:pt x="252413" y="416719"/>
                      </a:lnTo>
                      <a:lnTo>
                        <a:pt x="292894" y="452437"/>
                      </a:lnTo>
                      <a:lnTo>
                        <a:pt x="323850" y="454819"/>
                      </a:lnTo>
                      <a:lnTo>
                        <a:pt x="388144" y="428625"/>
                      </a:lnTo>
                      <a:lnTo>
                        <a:pt x="411957" y="419100"/>
                      </a:lnTo>
                      <a:lnTo>
                        <a:pt x="414338" y="404812"/>
                      </a:lnTo>
                      <a:lnTo>
                        <a:pt x="459582" y="409575"/>
                      </a:lnTo>
                      <a:lnTo>
                        <a:pt x="528638" y="388144"/>
                      </a:lnTo>
                      <a:lnTo>
                        <a:pt x="504825" y="311944"/>
                      </a:lnTo>
                      <a:lnTo>
                        <a:pt x="516732" y="259556"/>
                      </a:lnTo>
                      <a:lnTo>
                        <a:pt x="552450" y="288131"/>
                      </a:lnTo>
                      <a:lnTo>
                        <a:pt x="609600" y="233362"/>
                      </a:lnTo>
                      <a:lnTo>
                        <a:pt x="592932" y="197644"/>
                      </a:lnTo>
                      <a:cubicBezTo>
                        <a:pt x="593726" y="168275"/>
                        <a:pt x="594519" y="138906"/>
                        <a:pt x="571500" y="8334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igura a mano libera 628">
                  <a:extLst>
                    <a:ext uri="{FF2B5EF4-FFF2-40B4-BE49-F238E27FC236}">
                      <a16:creationId xmlns:a16="http://schemas.microsoft.com/office/drawing/2014/main" id="{E6A4567A-DC26-48D2-942E-4DB627A2424C}"/>
                    </a:ext>
                  </a:extLst>
                </p:cNvPr>
                <p:cNvSpPr/>
                <p:nvPr/>
              </p:nvSpPr>
              <p:spPr bwMode="auto">
                <a:xfrm>
                  <a:off x="3909061" y="3170697"/>
                  <a:ext cx="456481" cy="392280"/>
                </a:xfrm>
                <a:custGeom>
                  <a:avLst/>
                  <a:gdLst>
                    <a:gd name="connsiteX0" fmla="*/ 464344 w 912019"/>
                    <a:gd name="connsiteY0" fmla="*/ 0 h 812006"/>
                    <a:gd name="connsiteX1" fmla="*/ 369094 w 912019"/>
                    <a:gd name="connsiteY1" fmla="*/ 21431 h 812006"/>
                    <a:gd name="connsiteX2" fmla="*/ 352425 w 912019"/>
                    <a:gd name="connsiteY2" fmla="*/ 42862 h 812006"/>
                    <a:gd name="connsiteX3" fmla="*/ 330994 w 912019"/>
                    <a:gd name="connsiteY3" fmla="*/ 61912 h 812006"/>
                    <a:gd name="connsiteX4" fmla="*/ 314325 w 912019"/>
                    <a:gd name="connsiteY4" fmla="*/ 57150 h 812006"/>
                    <a:gd name="connsiteX5" fmla="*/ 278607 w 912019"/>
                    <a:gd name="connsiteY5" fmla="*/ 57150 h 812006"/>
                    <a:gd name="connsiteX6" fmla="*/ 264319 w 912019"/>
                    <a:gd name="connsiteY6" fmla="*/ 90487 h 812006"/>
                    <a:gd name="connsiteX7" fmla="*/ 257175 w 912019"/>
                    <a:gd name="connsiteY7" fmla="*/ 102393 h 812006"/>
                    <a:gd name="connsiteX8" fmla="*/ 185738 w 912019"/>
                    <a:gd name="connsiteY8" fmla="*/ 138112 h 812006"/>
                    <a:gd name="connsiteX9" fmla="*/ 202407 w 912019"/>
                    <a:gd name="connsiteY9" fmla="*/ 150018 h 812006"/>
                    <a:gd name="connsiteX10" fmla="*/ 207169 w 912019"/>
                    <a:gd name="connsiteY10" fmla="*/ 171450 h 812006"/>
                    <a:gd name="connsiteX11" fmla="*/ 197644 w 912019"/>
                    <a:gd name="connsiteY11" fmla="*/ 197643 h 812006"/>
                    <a:gd name="connsiteX12" fmla="*/ 159544 w 912019"/>
                    <a:gd name="connsiteY12" fmla="*/ 207168 h 812006"/>
                    <a:gd name="connsiteX13" fmla="*/ 102394 w 912019"/>
                    <a:gd name="connsiteY13" fmla="*/ 190500 h 812006"/>
                    <a:gd name="connsiteX14" fmla="*/ 83344 w 912019"/>
                    <a:gd name="connsiteY14" fmla="*/ 221456 h 812006"/>
                    <a:gd name="connsiteX15" fmla="*/ 90488 w 912019"/>
                    <a:gd name="connsiteY15" fmla="*/ 264318 h 812006"/>
                    <a:gd name="connsiteX16" fmla="*/ 73819 w 912019"/>
                    <a:gd name="connsiteY16" fmla="*/ 278606 h 812006"/>
                    <a:gd name="connsiteX17" fmla="*/ 50007 w 912019"/>
                    <a:gd name="connsiteY17" fmla="*/ 295275 h 812006"/>
                    <a:gd name="connsiteX18" fmla="*/ 85725 w 912019"/>
                    <a:gd name="connsiteY18" fmla="*/ 335756 h 812006"/>
                    <a:gd name="connsiteX19" fmla="*/ 97632 w 912019"/>
                    <a:gd name="connsiteY19" fmla="*/ 371475 h 812006"/>
                    <a:gd name="connsiteX20" fmla="*/ 121444 w 912019"/>
                    <a:gd name="connsiteY20" fmla="*/ 404812 h 812006"/>
                    <a:gd name="connsiteX21" fmla="*/ 154782 w 912019"/>
                    <a:gd name="connsiteY21" fmla="*/ 440531 h 812006"/>
                    <a:gd name="connsiteX22" fmla="*/ 176213 w 912019"/>
                    <a:gd name="connsiteY22" fmla="*/ 454818 h 812006"/>
                    <a:gd name="connsiteX23" fmla="*/ 178594 w 912019"/>
                    <a:gd name="connsiteY23" fmla="*/ 478631 h 812006"/>
                    <a:gd name="connsiteX24" fmla="*/ 159544 w 912019"/>
                    <a:gd name="connsiteY24" fmla="*/ 502443 h 812006"/>
                    <a:gd name="connsiteX25" fmla="*/ 135732 w 912019"/>
                    <a:gd name="connsiteY25" fmla="*/ 502443 h 812006"/>
                    <a:gd name="connsiteX26" fmla="*/ 114300 w 912019"/>
                    <a:gd name="connsiteY26" fmla="*/ 502443 h 812006"/>
                    <a:gd name="connsiteX27" fmla="*/ 97632 w 912019"/>
                    <a:gd name="connsiteY27" fmla="*/ 492918 h 812006"/>
                    <a:gd name="connsiteX28" fmla="*/ 33338 w 912019"/>
                    <a:gd name="connsiteY28" fmla="*/ 461962 h 812006"/>
                    <a:gd name="connsiteX29" fmla="*/ 30957 w 912019"/>
                    <a:gd name="connsiteY29" fmla="*/ 492918 h 812006"/>
                    <a:gd name="connsiteX30" fmla="*/ 11907 w 912019"/>
                    <a:gd name="connsiteY30" fmla="*/ 500062 h 812006"/>
                    <a:gd name="connsiteX31" fmla="*/ 0 w 912019"/>
                    <a:gd name="connsiteY31" fmla="*/ 528637 h 812006"/>
                    <a:gd name="connsiteX32" fmla="*/ 11907 w 912019"/>
                    <a:gd name="connsiteY32" fmla="*/ 569118 h 812006"/>
                    <a:gd name="connsiteX33" fmla="*/ 102394 w 912019"/>
                    <a:gd name="connsiteY33" fmla="*/ 595312 h 812006"/>
                    <a:gd name="connsiteX34" fmla="*/ 180975 w 912019"/>
                    <a:gd name="connsiteY34" fmla="*/ 640556 h 812006"/>
                    <a:gd name="connsiteX35" fmla="*/ 192882 w 912019"/>
                    <a:gd name="connsiteY35" fmla="*/ 714375 h 812006"/>
                    <a:gd name="connsiteX36" fmla="*/ 221457 w 912019"/>
                    <a:gd name="connsiteY36" fmla="*/ 700087 h 812006"/>
                    <a:gd name="connsiteX37" fmla="*/ 269082 w 912019"/>
                    <a:gd name="connsiteY37" fmla="*/ 742950 h 812006"/>
                    <a:gd name="connsiteX38" fmla="*/ 302419 w 912019"/>
                    <a:gd name="connsiteY38" fmla="*/ 735806 h 812006"/>
                    <a:gd name="connsiteX39" fmla="*/ 347663 w 912019"/>
                    <a:gd name="connsiteY39" fmla="*/ 709612 h 812006"/>
                    <a:gd name="connsiteX40" fmla="*/ 366713 w 912019"/>
                    <a:gd name="connsiteY40" fmla="*/ 728662 h 812006"/>
                    <a:gd name="connsiteX41" fmla="*/ 402432 w 912019"/>
                    <a:gd name="connsiteY41" fmla="*/ 762000 h 812006"/>
                    <a:gd name="connsiteX42" fmla="*/ 402432 w 912019"/>
                    <a:gd name="connsiteY42" fmla="*/ 762000 h 812006"/>
                    <a:gd name="connsiteX43" fmla="*/ 459582 w 912019"/>
                    <a:gd name="connsiteY43" fmla="*/ 785812 h 812006"/>
                    <a:gd name="connsiteX44" fmla="*/ 478632 w 912019"/>
                    <a:gd name="connsiteY44" fmla="*/ 812006 h 812006"/>
                    <a:gd name="connsiteX45" fmla="*/ 478632 w 912019"/>
                    <a:gd name="connsiteY45" fmla="*/ 812006 h 812006"/>
                    <a:gd name="connsiteX46" fmla="*/ 478632 w 912019"/>
                    <a:gd name="connsiteY46" fmla="*/ 783431 h 812006"/>
                    <a:gd name="connsiteX47" fmla="*/ 533400 w 912019"/>
                    <a:gd name="connsiteY47" fmla="*/ 800100 h 812006"/>
                    <a:gd name="connsiteX48" fmla="*/ 545307 w 912019"/>
                    <a:gd name="connsiteY48" fmla="*/ 735806 h 812006"/>
                    <a:gd name="connsiteX49" fmla="*/ 590550 w 912019"/>
                    <a:gd name="connsiteY49" fmla="*/ 733425 h 812006"/>
                    <a:gd name="connsiteX50" fmla="*/ 578644 w 912019"/>
                    <a:gd name="connsiteY50" fmla="*/ 707231 h 812006"/>
                    <a:gd name="connsiteX51" fmla="*/ 657225 w 912019"/>
                    <a:gd name="connsiteY51" fmla="*/ 652462 h 812006"/>
                    <a:gd name="connsiteX52" fmla="*/ 669132 w 912019"/>
                    <a:gd name="connsiteY52" fmla="*/ 683418 h 812006"/>
                    <a:gd name="connsiteX53" fmla="*/ 726282 w 912019"/>
                    <a:gd name="connsiteY53" fmla="*/ 681037 h 812006"/>
                    <a:gd name="connsiteX54" fmla="*/ 740569 w 912019"/>
                    <a:gd name="connsiteY54" fmla="*/ 685800 h 812006"/>
                    <a:gd name="connsiteX55" fmla="*/ 745332 w 912019"/>
                    <a:gd name="connsiteY55" fmla="*/ 754856 h 812006"/>
                    <a:gd name="connsiteX56" fmla="*/ 850107 w 912019"/>
                    <a:gd name="connsiteY56" fmla="*/ 640556 h 812006"/>
                    <a:gd name="connsiteX57" fmla="*/ 912019 w 912019"/>
                    <a:gd name="connsiteY57" fmla="*/ 547687 h 812006"/>
                    <a:gd name="connsiteX58" fmla="*/ 876300 w 912019"/>
                    <a:gd name="connsiteY58" fmla="*/ 542925 h 812006"/>
                    <a:gd name="connsiteX59" fmla="*/ 866775 w 912019"/>
                    <a:gd name="connsiteY59" fmla="*/ 481012 h 812006"/>
                    <a:gd name="connsiteX60" fmla="*/ 831057 w 912019"/>
                    <a:gd name="connsiteY60" fmla="*/ 457200 h 812006"/>
                    <a:gd name="connsiteX61" fmla="*/ 781050 w 912019"/>
                    <a:gd name="connsiteY61" fmla="*/ 457200 h 812006"/>
                    <a:gd name="connsiteX62" fmla="*/ 721519 w 912019"/>
                    <a:gd name="connsiteY62" fmla="*/ 395287 h 812006"/>
                    <a:gd name="connsiteX63" fmla="*/ 711994 w 912019"/>
                    <a:gd name="connsiteY63" fmla="*/ 345281 h 812006"/>
                    <a:gd name="connsiteX64" fmla="*/ 645319 w 912019"/>
                    <a:gd name="connsiteY64" fmla="*/ 314325 h 812006"/>
                    <a:gd name="connsiteX65" fmla="*/ 611982 w 912019"/>
                    <a:gd name="connsiteY65" fmla="*/ 288131 h 812006"/>
                    <a:gd name="connsiteX66" fmla="*/ 540544 w 912019"/>
                    <a:gd name="connsiteY66" fmla="*/ 188118 h 812006"/>
                    <a:gd name="connsiteX67" fmla="*/ 490538 w 912019"/>
                    <a:gd name="connsiteY67" fmla="*/ 100012 h 812006"/>
                    <a:gd name="connsiteX68" fmla="*/ 464344 w 912019"/>
                    <a:gd name="connsiteY68" fmla="*/ 0 h 812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912019" h="812006">
                      <a:moveTo>
                        <a:pt x="464344" y="0"/>
                      </a:moveTo>
                      <a:lnTo>
                        <a:pt x="369094" y="21431"/>
                      </a:lnTo>
                      <a:lnTo>
                        <a:pt x="352425" y="42862"/>
                      </a:lnTo>
                      <a:lnTo>
                        <a:pt x="330994" y="61912"/>
                      </a:lnTo>
                      <a:lnTo>
                        <a:pt x="314325" y="57150"/>
                      </a:lnTo>
                      <a:lnTo>
                        <a:pt x="278607" y="57150"/>
                      </a:lnTo>
                      <a:lnTo>
                        <a:pt x="264319" y="90487"/>
                      </a:lnTo>
                      <a:lnTo>
                        <a:pt x="257175" y="102393"/>
                      </a:lnTo>
                      <a:lnTo>
                        <a:pt x="185738" y="138112"/>
                      </a:lnTo>
                      <a:lnTo>
                        <a:pt x="202407" y="150018"/>
                      </a:lnTo>
                      <a:lnTo>
                        <a:pt x="207169" y="171450"/>
                      </a:lnTo>
                      <a:lnTo>
                        <a:pt x="197644" y="197643"/>
                      </a:lnTo>
                      <a:lnTo>
                        <a:pt x="159544" y="207168"/>
                      </a:lnTo>
                      <a:lnTo>
                        <a:pt x="102394" y="190500"/>
                      </a:lnTo>
                      <a:lnTo>
                        <a:pt x="83344" y="221456"/>
                      </a:lnTo>
                      <a:lnTo>
                        <a:pt x="90488" y="264318"/>
                      </a:lnTo>
                      <a:lnTo>
                        <a:pt x="73819" y="278606"/>
                      </a:lnTo>
                      <a:lnTo>
                        <a:pt x="50007" y="295275"/>
                      </a:lnTo>
                      <a:lnTo>
                        <a:pt x="85725" y="335756"/>
                      </a:lnTo>
                      <a:lnTo>
                        <a:pt x="97632" y="371475"/>
                      </a:lnTo>
                      <a:lnTo>
                        <a:pt x="121444" y="404812"/>
                      </a:lnTo>
                      <a:lnTo>
                        <a:pt x="154782" y="440531"/>
                      </a:lnTo>
                      <a:lnTo>
                        <a:pt x="176213" y="454818"/>
                      </a:lnTo>
                      <a:lnTo>
                        <a:pt x="178594" y="478631"/>
                      </a:lnTo>
                      <a:lnTo>
                        <a:pt x="159544" y="502443"/>
                      </a:lnTo>
                      <a:lnTo>
                        <a:pt x="135732" y="502443"/>
                      </a:lnTo>
                      <a:lnTo>
                        <a:pt x="114300" y="502443"/>
                      </a:lnTo>
                      <a:lnTo>
                        <a:pt x="97632" y="492918"/>
                      </a:lnTo>
                      <a:lnTo>
                        <a:pt x="33338" y="461962"/>
                      </a:lnTo>
                      <a:lnTo>
                        <a:pt x="30957" y="492918"/>
                      </a:lnTo>
                      <a:lnTo>
                        <a:pt x="11907" y="500062"/>
                      </a:lnTo>
                      <a:lnTo>
                        <a:pt x="0" y="528637"/>
                      </a:lnTo>
                      <a:lnTo>
                        <a:pt x="11907" y="569118"/>
                      </a:lnTo>
                      <a:lnTo>
                        <a:pt x="102394" y="595312"/>
                      </a:lnTo>
                      <a:lnTo>
                        <a:pt x="180975" y="640556"/>
                      </a:lnTo>
                      <a:lnTo>
                        <a:pt x="192882" y="714375"/>
                      </a:lnTo>
                      <a:lnTo>
                        <a:pt x="221457" y="700087"/>
                      </a:lnTo>
                      <a:lnTo>
                        <a:pt x="269082" y="742950"/>
                      </a:lnTo>
                      <a:lnTo>
                        <a:pt x="302419" y="735806"/>
                      </a:lnTo>
                      <a:lnTo>
                        <a:pt x="347663" y="709612"/>
                      </a:lnTo>
                      <a:lnTo>
                        <a:pt x="366713" y="728662"/>
                      </a:lnTo>
                      <a:lnTo>
                        <a:pt x="402432" y="762000"/>
                      </a:lnTo>
                      <a:lnTo>
                        <a:pt x="402432" y="762000"/>
                      </a:lnTo>
                      <a:lnTo>
                        <a:pt x="459582" y="785812"/>
                      </a:lnTo>
                      <a:lnTo>
                        <a:pt x="478632" y="812006"/>
                      </a:lnTo>
                      <a:lnTo>
                        <a:pt x="478632" y="812006"/>
                      </a:lnTo>
                      <a:lnTo>
                        <a:pt x="478632" y="783431"/>
                      </a:lnTo>
                      <a:lnTo>
                        <a:pt x="533400" y="800100"/>
                      </a:lnTo>
                      <a:lnTo>
                        <a:pt x="545307" y="735806"/>
                      </a:lnTo>
                      <a:lnTo>
                        <a:pt x="590550" y="733425"/>
                      </a:lnTo>
                      <a:lnTo>
                        <a:pt x="578644" y="707231"/>
                      </a:lnTo>
                      <a:lnTo>
                        <a:pt x="657225" y="652462"/>
                      </a:lnTo>
                      <a:lnTo>
                        <a:pt x="669132" y="683418"/>
                      </a:lnTo>
                      <a:lnTo>
                        <a:pt x="726282" y="681037"/>
                      </a:lnTo>
                      <a:lnTo>
                        <a:pt x="740569" y="685800"/>
                      </a:lnTo>
                      <a:lnTo>
                        <a:pt x="745332" y="754856"/>
                      </a:lnTo>
                      <a:lnTo>
                        <a:pt x="850107" y="640556"/>
                      </a:lnTo>
                      <a:lnTo>
                        <a:pt x="912019" y="547687"/>
                      </a:lnTo>
                      <a:lnTo>
                        <a:pt x="876300" y="542925"/>
                      </a:lnTo>
                      <a:lnTo>
                        <a:pt x="866775" y="481012"/>
                      </a:lnTo>
                      <a:lnTo>
                        <a:pt x="831057" y="457200"/>
                      </a:lnTo>
                      <a:lnTo>
                        <a:pt x="781050" y="457200"/>
                      </a:lnTo>
                      <a:lnTo>
                        <a:pt x="721519" y="395287"/>
                      </a:lnTo>
                      <a:lnTo>
                        <a:pt x="711994" y="345281"/>
                      </a:lnTo>
                      <a:lnTo>
                        <a:pt x="645319" y="314325"/>
                      </a:lnTo>
                      <a:lnTo>
                        <a:pt x="611982" y="288131"/>
                      </a:lnTo>
                      <a:lnTo>
                        <a:pt x="540544" y="188118"/>
                      </a:lnTo>
                      <a:lnTo>
                        <a:pt x="490538" y="100012"/>
                      </a:lnTo>
                      <a:lnTo>
                        <a:pt x="464344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igura a mano libera 629">
                  <a:extLst>
                    <a:ext uri="{FF2B5EF4-FFF2-40B4-BE49-F238E27FC236}">
                      <a16:creationId xmlns:a16="http://schemas.microsoft.com/office/drawing/2014/main" id="{0121AD27-58D4-42A4-8A42-F45A61D5836B}"/>
                    </a:ext>
                  </a:extLst>
                </p:cNvPr>
                <p:cNvSpPr/>
                <p:nvPr/>
              </p:nvSpPr>
              <p:spPr bwMode="auto">
                <a:xfrm>
                  <a:off x="2547935" y="2564200"/>
                  <a:ext cx="622810" cy="263027"/>
                </a:xfrm>
                <a:custGeom>
                  <a:avLst/>
                  <a:gdLst>
                    <a:gd name="connsiteX0" fmla="*/ 1176337 w 1245394"/>
                    <a:gd name="connsiteY0" fmla="*/ 335756 h 545306"/>
                    <a:gd name="connsiteX1" fmla="*/ 1228725 w 1245394"/>
                    <a:gd name="connsiteY1" fmla="*/ 335756 h 545306"/>
                    <a:gd name="connsiteX2" fmla="*/ 1245394 w 1245394"/>
                    <a:gd name="connsiteY2" fmla="*/ 378618 h 545306"/>
                    <a:gd name="connsiteX3" fmla="*/ 1204912 w 1245394"/>
                    <a:gd name="connsiteY3" fmla="*/ 381000 h 545306"/>
                    <a:gd name="connsiteX4" fmla="*/ 1190625 w 1245394"/>
                    <a:gd name="connsiteY4" fmla="*/ 409575 h 545306"/>
                    <a:gd name="connsiteX5" fmla="*/ 1176337 w 1245394"/>
                    <a:gd name="connsiteY5" fmla="*/ 390525 h 545306"/>
                    <a:gd name="connsiteX6" fmla="*/ 1162050 w 1245394"/>
                    <a:gd name="connsiteY6" fmla="*/ 407193 h 545306"/>
                    <a:gd name="connsiteX7" fmla="*/ 1173956 w 1245394"/>
                    <a:gd name="connsiteY7" fmla="*/ 438150 h 545306"/>
                    <a:gd name="connsiteX8" fmla="*/ 1173956 w 1245394"/>
                    <a:gd name="connsiteY8" fmla="*/ 438150 h 545306"/>
                    <a:gd name="connsiteX9" fmla="*/ 1073944 w 1245394"/>
                    <a:gd name="connsiteY9" fmla="*/ 352425 h 545306"/>
                    <a:gd name="connsiteX10" fmla="*/ 1014412 w 1245394"/>
                    <a:gd name="connsiteY10" fmla="*/ 307181 h 545306"/>
                    <a:gd name="connsiteX11" fmla="*/ 978694 w 1245394"/>
                    <a:gd name="connsiteY11" fmla="*/ 273843 h 545306"/>
                    <a:gd name="connsiteX12" fmla="*/ 947737 w 1245394"/>
                    <a:gd name="connsiteY12" fmla="*/ 245268 h 545306"/>
                    <a:gd name="connsiteX13" fmla="*/ 885825 w 1245394"/>
                    <a:gd name="connsiteY13" fmla="*/ 219075 h 545306"/>
                    <a:gd name="connsiteX14" fmla="*/ 869156 w 1245394"/>
                    <a:gd name="connsiteY14" fmla="*/ 223837 h 545306"/>
                    <a:gd name="connsiteX15" fmla="*/ 859631 w 1245394"/>
                    <a:gd name="connsiteY15" fmla="*/ 240506 h 545306"/>
                    <a:gd name="connsiteX16" fmla="*/ 845344 w 1245394"/>
                    <a:gd name="connsiteY16" fmla="*/ 226218 h 545306"/>
                    <a:gd name="connsiteX17" fmla="*/ 828675 w 1245394"/>
                    <a:gd name="connsiteY17" fmla="*/ 204787 h 545306"/>
                    <a:gd name="connsiteX18" fmla="*/ 788194 w 1245394"/>
                    <a:gd name="connsiteY18" fmla="*/ 192881 h 545306"/>
                    <a:gd name="connsiteX19" fmla="*/ 707231 w 1245394"/>
                    <a:gd name="connsiteY19" fmla="*/ 164306 h 545306"/>
                    <a:gd name="connsiteX20" fmla="*/ 671512 w 1245394"/>
                    <a:gd name="connsiteY20" fmla="*/ 150018 h 545306"/>
                    <a:gd name="connsiteX21" fmla="*/ 614362 w 1245394"/>
                    <a:gd name="connsiteY21" fmla="*/ 171450 h 545306"/>
                    <a:gd name="connsiteX22" fmla="*/ 550069 w 1245394"/>
                    <a:gd name="connsiteY22" fmla="*/ 200025 h 545306"/>
                    <a:gd name="connsiteX23" fmla="*/ 483394 w 1245394"/>
                    <a:gd name="connsiteY23" fmla="*/ 235743 h 545306"/>
                    <a:gd name="connsiteX24" fmla="*/ 466725 w 1245394"/>
                    <a:gd name="connsiteY24" fmla="*/ 280987 h 545306"/>
                    <a:gd name="connsiteX25" fmla="*/ 445294 w 1245394"/>
                    <a:gd name="connsiteY25" fmla="*/ 314325 h 545306"/>
                    <a:gd name="connsiteX26" fmla="*/ 388144 w 1245394"/>
                    <a:gd name="connsiteY26" fmla="*/ 326231 h 545306"/>
                    <a:gd name="connsiteX27" fmla="*/ 364331 w 1245394"/>
                    <a:gd name="connsiteY27" fmla="*/ 369093 h 545306"/>
                    <a:gd name="connsiteX28" fmla="*/ 369094 w 1245394"/>
                    <a:gd name="connsiteY28" fmla="*/ 388143 h 545306"/>
                    <a:gd name="connsiteX29" fmla="*/ 342900 w 1245394"/>
                    <a:gd name="connsiteY29" fmla="*/ 411956 h 545306"/>
                    <a:gd name="connsiteX30" fmla="*/ 321469 w 1245394"/>
                    <a:gd name="connsiteY30" fmla="*/ 442912 h 545306"/>
                    <a:gd name="connsiteX31" fmla="*/ 311944 w 1245394"/>
                    <a:gd name="connsiteY31" fmla="*/ 478631 h 545306"/>
                    <a:gd name="connsiteX32" fmla="*/ 273844 w 1245394"/>
                    <a:gd name="connsiteY32" fmla="*/ 478631 h 545306"/>
                    <a:gd name="connsiteX33" fmla="*/ 235744 w 1245394"/>
                    <a:gd name="connsiteY33" fmla="*/ 502443 h 545306"/>
                    <a:gd name="connsiteX34" fmla="*/ 159544 w 1245394"/>
                    <a:gd name="connsiteY34" fmla="*/ 504825 h 545306"/>
                    <a:gd name="connsiteX35" fmla="*/ 126206 w 1245394"/>
                    <a:gd name="connsiteY35" fmla="*/ 521493 h 545306"/>
                    <a:gd name="connsiteX36" fmla="*/ 95250 w 1245394"/>
                    <a:gd name="connsiteY36" fmla="*/ 540543 h 545306"/>
                    <a:gd name="connsiteX37" fmla="*/ 64294 w 1245394"/>
                    <a:gd name="connsiteY37" fmla="*/ 542925 h 545306"/>
                    <a:gd name="connsiteX38" fmla="*/ 50006 w 1245394"/>
                    <a:gd name="connsiteY38" fmla="*/ 528637 h 545306"/>
                    <a:gd name="connsiteX39" fmla="*/ 28575 w 1245394"/>
                    <a:gd name="connsiteY39" fmla="*/ 545306 h 545306"/>
                    <a:gd name="connsiteX40" fmla="*/ 0 w 1245394"/>
                    <a:gd name="connsiteY40" fmla="*/ 545306 h 545306"/>
                    <a:gd name="connsiteX41" fmla="*/ 2381 w 1245394"/>
                    <a:gd name="connsiteY41" fmla="*/ 471487 h 545306"/>
                    <a:gd name="connsiteX42" fmla="*/ 35719 w 1245394"/>
                    <a:gd name="connsiteY42" fmla="*/ 454818 h 545306"/>
                    <a:gd name="connsiteX43" fmla="*/ 100012 w 1245394"/>
                    <a:gd name="connsiteY43" fmla="*/ 381000 h 545306"/>
                    <a:gd name="connsiteX44" fmla="*/ 130969 w 1245394"/>
                    <a:gd name="connsiteY44" fmla="*/ 340518 h 545306"/>
                    <a:gd name="connsiteX45" fmla="*/ 154781 w 1245394"/>
                    <a:gd name="connsiteY45" fmla="*/ 307181 h 545306"/>
                    <a:gd name="connsiteX46" fmla="*/ 219075 w 1245394"/>
                    <a:gd name="connsiteY46" fmla="*/ 338137 h 545306"/>
                    <a:gd name="connsiteX47" fmla="*/ 261937 w 1245394"/>
                    <a:gd name="connsiteY47" fmla="*/ 335756 h 545306"/>
                    <a:gd name="connsiteX48" fmla="*/ 283369 w 1245394"/>
                    <a:gd name="connsiteY48" fmla="*/ 302418 h 545306"/>
                    <a:gd name="connsiteX49" fmla="*/ 314325 w 1245394"/>
                    <a:gd name="connsiteY49" fmla="*/ 319087 h 545306"/>
                    <a:gd name="connsiteX50" fmla="*/ 316706 w 1245394"/>
                    <a:gd name="connsiteY50" fmla="*/ 273843 h 545306"/>
                    <a:gd name="connsiteX51" fmla="*/ 328612 w 1245394"/>
                    <a:gd name="connsiteY51" fmla="*/ 178593 h 545306"/>
                    <a:gd name="connsiteX52" fmla="*/ 354806 w 1245394"/>
                    <a:gd name="connsiteY52" fmla="*/ 157162 h 545306"/>
                    <a:gd name="connsiteX53" fmla="*/ 392906 w 1245394"/>
                    <a:gd name="connsiteY53" fmla="*/ 104775 h 545306"/>
                    <a:gd name="connsiteX54" fmla="*/ 402431 w 1245394"/>
                    <a:gd name="connsiteY54" fmla="*/ 71437 h 545306"/>
                    <a:gd name="connsiteX55" fmla="*/ 459581 w 1245394"/>
                    <a:gd name="connsiteY55" fmla="*/ 107156 h 545306"/>
                    <a:gd name="connsiteX56" fmla="*/ 528637 w 1245394"/>
                    <a:gd name="connsiteY56" fmla="*/ 88106 h 545306"/>
                    <a:gd name="connsiteX57" fmla="*/ 557212 w 1245394"/>
                    <a:gd name="connsiteY57" fmla="*/ 107156 h 545306"/>
                    <a:gd name="connsiteX58" fmla="*/ 590550 w 1245394"/>
                    <a:gd name="connsiteY58" fmla="*/ 45243 h 545306"/>
                    <a:gd name="connsiteX59" fmla="*/ 652462 w 1245394"/>
                    <a:gd name="connsiteY59" fmla="*/ 54768 h 545306"/>
                    <a:gd name="connsiteX60" fmla="*/ 676275 w 1245394"/>
                    <a:gd name="connsiteY60" fmla="*/ 102393 h 545306"/>
                    <a:gd name="connsiteX61" fmla="*/ 704850 w 1245394"/>
                    <a:gd name="connsiteY61" fmla="*/ 71437 h 545306"/>
                    <a:gd name="connsiteX62" fmla="*/ 742950 w 1245394"/>
                    <a:gd name="connsiteY62" fmla="*/ 80962 h 545306"/>
                    <a:gd name="connsiteX63" fmla="*/ 742950 w 1245394"/>
                    <a:gd name="connsiteY63" fmla="*/ 42862 h 545306"/>
                    <a:gd name="connsiteX64" fmla="*/ 776287 w 1245394"/>
                    <a:gd name="connsiteY64" fmla="*/ 0 h 545306"/>
                    <a:gd name="connsiteX65" fmla="*/ 814387 w 1245394"/>
                    <a:gd name="connsiteY65" fmla="*/ 42862 h 545306"/>
                    <a:gd name="connsiteX66" fmla="*/ 852487 w 1245394"/>
                    <a:gd name="connsiteY66" fmla="*/ 61912 h 545306"/>
                    <a:gd name="connsiteX67" fmla="*/ 859631 w 1245394"/>
                    <a:gd name="connsiteY67" fmla="*/ 78581 h 545306"/>
                    <a:gd name="connsiteX68" fmla="*/ 883444 w 1245394"/>
                    <a:gd name="connsiteY68" fmla="*/ 42862 h 545306"/>
                    <a:gd name="connsiteX69" fmla="*/ 928687 w 1245394"/>
                    <a:gd name="connsiteY69" fmla="*/ 76200 h 545306"/>
                    <a:gd name="connsiteX70" fmla="*/ 983456 w 1245394"/>
                    <a:gd name="connsiteY70" fmla="*/ 69056 h 545306"/>
                    <a:gd name="connsiteX71" fmla="*/ 1000125 w 1245394"/>
                    <a:gd name="connsiteY71" fmla="*/ 80962 h 545306"/>
                    <a:gd name="connsiteX72" fmla="*/ 1021556 w 1245394"/>
                    <a:gd name="connsiteY72" fmla="*/ 104775 h 545306"/>
                    <a:gd name="connsiteX73" fmla="*/ 1002506 w 1245394"/>
                    <a:gd name="connsiteY73" fmla="*/ 178593 h 545306"/>
                    <a:gd name="connsiteX74" fmla="*/ 1042987 w 1245394"/>
                    <a:gd name="connsiteY74" fmla="*/ 180975 h 545306"/>
                    <a:gd name="connsiteX75" fmla="*/ 1092994 w 1245394"/>
                    <a:gd name="connsiteY75" fmla="*/ 173831 h 545306"/>
                    <a:gd name="connsiteX76" fmla="*/ 1092994 w 1245394"/>
                    <a:gd name="connsiteY76" fmla="*/ 207168 h 545306"/>
                    <a:gd name="connsiteX77" fmla="*/ 1114425 w 1245394"/>
                    <a:gd name="connsiteY77" fmla="*/ 230981 h 545306"/>
                    <a:gd name="connsiteX78" fmla="*/ 1150144 w 1245394"/>
                    <a:gd name="connsiteY78" fmla="*/ 276225 h 545306"/>
                    <a:gd name="connsiteX79" fmla="*/ 1171575 w 1245394"/>
                    <a:gd name="connsiteY79" fmla="*/ 285750 h 545306"/>
                    <a:gd name="connsiteX80" fmla="*/ 1176337 w 1245394"/>
                    <a:gd name="connsiteY80" fmla="*/ 335756 h 5453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</a:cxnLst>
                  <a:rect l="l" t="t" r="r" b="b"/>
                  <a:pathLst>
                    <a:path w="1245394" h="545306">
                      <a:moveTo>
                        <a:pt x="1176337" y="335756"/>
                      </a:moveTo>
                      <a:lnTo>
                        <a:pt x="1228725" y="335756"/>
                      </a:lnTo>
                      <a:lnTo>
                        <a:pt x="1245394" y="378618"/>
                      </a:lnTo>
                      <a:lnTo>
                        <a:pt x="1204912" y="381000"/>
                      </a:lnTo>
                      <a:lnTo>
                        <a:pt x="1190625" y="409575"/>
                      </a:lnTo>
                      <a:lnTo>
                        <a:pt x="1176337" y="390525"/>
                      </a:lnTo>
                      <a:lnTo>
                        <a:pt x="1162050" y="407193"/>
                      </a:lnTo>
                      <a:lnTo>
                        <a:pt x="1173956" y="438150"/>
                      </a:lnTo>
                      <a:lnTo>
                        <a:pt x="1173956" y="438150"/>
                      </a:lnTo>
                      <a:lnTo>
                        <a:pt x="1073944" y="352425"/>
                      </a:lnTo>
                      <a:lnTo>
                        <a:pt x="1014412" y="307181"/>
                      </a:lnTo>
                      <a:lnTo>
                        <a:pt x="978694" y="273843"/>
                      </a:lnTo>
                      <a:lnTo>
                        <a:pt x="947737" y="245268"/>
                      </a:lnTo>
                      <a:lnTo>
                        <a:pt x="885825" y="219075"/>
                      </a:lnTo>
                      <a:lnTo>
                        <a:pt x="869156" y="223837"/>
                      </a:lnTo>
                      <a:lnTo>
                        <a:pt x="859631" y="240506"/>
                      </a:lnTo>
                      <a:lnTo>
                        <a:pt x="845344" y="226218"/>
                      </a:lnTo>
                      <a:lnTo>
                        <a:pt x="828675" y="204787"/>
                      </a:lnTo>
                      <a:lnTo>
                        <a:pt x="788194" y="192881"/>
                      </a:lnTo>
                      <a:lnTo>
                        <a:pt x="707231" y="164306"/>
                      </a:lnTo>
                      <a:lnTo>
                        <a:pt x="671512" y="150018"/>
                      </a:lnTo>
                      <a:lnTo>
                        <a:pt x="614362" y="171450"/>
                      </a:lnTo>
                      <a:lnTo>
                        <a:pt x="550069" y="200025"/>
                      </a:lnTo>
                      <a:lnTo>
                        <a:pt x="483394" y="235743"/>
                      </a:lnTo>
                      <a:lnTo>
                        <a:pt x="466725" y="280987"/>
                      </a:lnTo>
                      <a:lnTo>
                        <a:pt x="445294" y="314325"/>
                      </a:lnTo>
                      <a:lnTo>
                        <a:pt x="388144" y="326231"/>
                      </a:lnTo>
                      <a:lnTo>
                        <a:pt x="364331" y="369093"/>
                      </a:lnTo>
                      <a:lnTo>
                        <a:pt x="369094" y="388143"/>
                      </a:lnTo>
                      <a:lnTo>
                        <a:pt x="342900" y="411956"/>
                      </a:lnTo>
                      <a:lnTo>
                        <a:pt x="321469" y="442912"/>
                      </a:lnTo>
                      <a:lnTo>
                        <a:pt x="311944" y="478631"/>
                      </a:lnTo>
                      <a:lnTo>
                        <a:pt x="273844" y="478631"/>
                      </a:lnTo>
                      <a:lnTo>
                        <a:pt x="235744" y="502443"/>
                      </a:lnTo>
                      <a:lnTo>
                        <a:pt x="159544" y="504825"/>
                      </a:lnTo>
                      <a:lnTo>
                        <a:pt x="126206" y="521493"/>
                      </a:lnTo>
                      <a:lnTo>
                        <a:pt x="95250" y="540543"/>
                      </a:lnTo>
                      <a:lnTo>
                        <a:pt x="64294" y="542925"/>
                      </a:lnTo>
                      <a:lnTo>
                        <a:pt x="50006" y="528637"/>
                      </a:lnTo>
                      <a:lnTo>
                        <a:pt x="28575" y="545306"/>
                      </a:lnTo>
                      <a:lnTo>
                        <a:pt x="0" y="545306"/>
                      </a:lnTo>
                      <a:cubicBezTo>
                        <a:pt x="794" y="520700"/>
                        <a:pt x="1587" y="496093"/>
                        <a:pt x="2381" y="471487"/>
                      </a:cubicBezTo>
                      <a:lnTo>
                        <a:pt x="35719" y="454818"/>
                      </a:lnTo>
                      <a:lnTo>
                        <a:pt x="100012" y="381000"/>
                      </a:lnTo>
                      <a:lnTo>
                        <a:pt x="130969" y="340518"/>
                      </a:lnTo>
                      <a:lnTo>
                        <a:pt x="154781" y="307181"/>
                      </a:lnTo>
                      <a:lnTo>
                        <a:pt x="219075" y="338137"/>
                      </a:lnTo>
                      <a:lnTo>
                        <a:pt x="261937" y="335756"/>
                      </a:lnTo>
                      <a:lnTo>
                        <a:pt x="283369" y="302418"/>
                      </a:lnTo>
                      <a:lnTo>
                        <a:pt x="314325" y="319087"/>
                      </a:lnTo>
                      <a:lnTo>
                        <a:pt x="316706" y="273843"/>
                      </a:lnTo>
                      <a:lnTo>
                        <a:pt x="328612" y="178593"/>
                      </a:lnTo>
                      <a:lnTo>
                        <a:pt x="354806" y="157162"/>
                      </a:lnTo>
                      <a:lnTo>
                        <a:pt x="392906" y="104775"/>
                      </a:lnTo>
                      <a:lnTo>
                        <a:pt x="402431" y="71437"/>
                      </a:lnTo>
                      <a:lnTo>
                        <a:pt x="459581" y="107156"/>
                      </a:lnTo>
                      <a:lnTo>
                        <a:pt x="528637" y="88106"/>
                      </a:lnTo>
                      <a:lnTo>
                        <a:pt x="557212" y="107156"/>
                      </a:lnTo>
                      <a:lnTo>
                        <a:pt x="590550" y="45243"/>
                      </a:lnTo>
                      <a:lnTo>
                        <a:pt x="652462" y="54768"/>
                      </a:lnTo>
                      <a:lnTo>
                        <a:pt x="676275" y="102393"/>
                      </a:lnTo>
                      <a:lnTo>
                        <a:pt x="704850" y="71437"/>
                      </a:lnTo>
                      <a:lnTo>
                        <a:pt x="742950" y="80962"/>
                      </a:lnTo>
                      <a:lnTo>
                        <a:pt x="742950" y="42862"/>
                      </a:lnTo>
                      <a:lnTo>
                        <a:pt x="776287" y="0"/>
                      </a:lnTo>
                      <a:lnTo>
                        <a:pt x="814387" y="42862"/>
                      </a:lnTo>
                      <a:lnTo>
                        <a:pt x="852487" y="61912"/>
                      </a:lnTo>
                      <a:lnTo>
                        <a:pt x="859631" y="78581"/>
                      </a:lnTo>
                      <a:lnTo>
                        <a:pt x="883444" y="42862"/>
                      </a:lnTo>
                      <a:lnTo>
                        <a:pt x="928687" y="76200"/>
                      </a:lnTo>
                      <a:lnTo>
                        <a:pt x="983456" y="69056"/>
                      </a:lnTo>
                      <a:lnTo>
                        <a:pt x="1000125" y="80962"/>
                      </a:lnTo>
                      <a:lnTo>
                        <a:pt x="1021556" y="104775"/>
                      </a:lnTo>
                      <a:lnTo>
                        <a:pt x="1002506" y="178593"/>
                      </a:lnTo>
                      <a:lnTo>
                        <a:pt x="1042987" y="180975"/>
                      </a:lnTo>
                      <a:lnTo>
                        <a:pt x="1092994" y="173831"/>
                      </a:lnTo>
                      <a:lnTo>
                        <a:pt x="1092994" y="207168"/>
                      </a:lnTo>
                      <a:lnTo>
                        <a:pt x="1114425" y="230981"/>
                      </a:lnTo>
                      <a:lnTo>
                        <a:pt x="1150144" y="276225"/>
                      </a:lnTo>
                      <a:lnTo>
                        <a:pt x="1171575" y="285750"/>
                      </a:lnTo>
                      <a:lnTo>
                        <a:pt x="1176337" y="33575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igura a mano libera 630">
                  <a:extLst>
                    <a:ext uri="{FF2B5EF4-FFF2-40B4-BE49-F238E27FC236}">
                      <a16:creationId xmlns:a16="http://schemas.microsoft.com/office/drawing/2014/main" id="{8AD3AF4D-D56B-403C-828B-C5C1A75C9A52}"/>
                    </a:ext>
                  </a:extLst>
                </p:cNvPr>
                <p:cNvSpPr/>
                <p:nvPr/>
              </p:nvSpPr>
              <p:spPr bwMode="auto">
                <a:xfrm>
                  <a:off x="2983163" y="2434044"/>
                  <a:ext cx="886165" cy="457358"/>
                </a:xfrm>
                <a:custGeom>
                  <a:avLst/>
                  <a:gdLst>
                    <a:gd name="connsiteX0" fmla="*/ 11906 w 1774031"/>
                    <a:gd name="connsiteY0" fmla="*/ 311944 h 947738"/>
                    <a:gd name="connsiteX1" fmla="*/ 0 w 1774031"/>
                    <a:gd name="connsiteY1" fmla="*/ 292894 h 947738"/>
                    <a:gd name="connsiteX2" fmla="*/ 16669 w 1774031"/>
                    <a:gd name="connsiteY2" fmla="*/ 264319 h 947738"/>
                    <a:gd name="connsiteX3" fmla="*/ 52388 w 1774031"/>
                    <a:gd name="connsiteY3" fmla="*/ 266700 h 947738"/>
                    <a:gd name="connsiteX4" fmla="*/ 52388 w 1774031"/>
                    <a:gd name="connsiteY4" fmla="*/ 266700 h 947738"/>
                    <a:gd name="connsiteX5" fmla="*/ 83344 w 1774031"/>
                    <a:gd name="connsiteY5" fmla="*/ 242888 h 947738"/>
                    <a:gd name="connsiteX6" fmla="*/ 54769 w 1774031"/>
                    <a:gd name="connsiteY6" fmla="*/ 211932 h 947738"/>
                    <a:gd name="connsiteX7" fmla="*/ 85725 w 1774031"/>
                    <a:gd name="connsiteY7" fmla="*/ 180975 h 947738"/>
                    <a:gd name="connsiteX8" fmla="*/ 95250 w 1774031"/>
                    <a:gd name="connsiteY8" fmla="*/ 142875 h 947738"/>
                    <a:gd name="connsiteX9" fmla="*/ 64294 w 1774031"/>
                    <a:gd name="connsiteY9" fmla="*/ 135732 h 947738"/>
                    <a:gd name="connsiteX10" fmla="*/ 76200 w 1774031"/>
                    <a:gd name="connsiteY10" fmla="*/ 90488 h 947738"/>
                    <a:gd name="connsiteX11" fmla="*/ 121444 w 1774031"/>
                    <a:gd name="connsiteY11" fmla="*/ 33338 h 947738"/>
                    <a:gd name="connsiteX12" fmla="*/ 133350 w 1774031"/>
                    <a:gd name="connsiteY12" fmla="*/ 16669 h 947738"/>
                    <a:gd name="connsiteX13" fmla="*/ 145256 w 1774031"/>
                    <a:gd name="connsiteY13" fmla="*/ 4763 h 947738"/>
                    <a:gd name="connsiteX14" fmla="*/ 178594 w 1774031"/>
                    <a:gd name="connsiteY14" fmla="*/ 2382 h 947738"/>
                    <a:gd name="connsiteX15" fmla="*/ 180975 w 1774031"/>
                    <a:gd name="connsiteY15" fmla="*/ 21432 h 947738"/>
                    <a:gd name="connsiteX16" fmla="*/ 204788 w 1774031"/>
                    <a:gd name="connsiteY16" fmla="*/ 33338 h 947738"/>
                    <a:gd name="connsiteX17" fmla="*/ 235744 w 1774031"/>
                    <a:gd name="connsiteY17" fmla="*/ 33338 h 947738"/>
                    <a:gd name="connsiteX18" fmla="*/ 271463 w 1774031"/>
                    <a:gd name="connsiteY18" fmla="*/ 23813 h 947738"/>
                    <a:gd name="connsiteX19" fmla="*/ 295275 w 1774031"/>
                    <a:gd name="connsiteY19" fmla="*/ 11907 h 947738"/>
                    <a:gd name="connsiteX20" fmla="*/ 297656 w 1774031"/>
                    <a:gd name="connsiteY20" fmla="*/ 23813 h 947738"/>
                    <a:gd name="connsiteX21" fmla="*/ 328613 w 1774031"/>
                    <a:gd name="connsiteY21" fmla="*/ 23813 h 947738"/>
                    <a:gd name="connsiteX22" fmla="*/ 328613 w 1774031"/>
                    <a:gd name="connsiteY22" fmla="*/ 23813 h 947738"/>
                    <a:gd name="connsiteX23" fmla="*/ 371475 w 1774031"/>
                    <a:gd name="connsiteY23" fmla="*/ 0 h 947738"/>
                    <a:gd name="connsiteX24" fmla="*/ 376238 w 1774031"/>
                    <a:gd name="connsiteY24" fmla="*/ 28575 h 947738"/>
                    <a:gd name="connsiteX25" fmla="*/ 411956 w 1774031"/>
                    <a:gd name="connsiteY25" fmla="*/ 2382 h 947738"/>
                    <a:gd name="connsiteX26" fmla="*/ 440531 w 1774031"/>
                    <a:gd name="connsiteY26" fmla="*/ 23813 h 947738"/>
                    <a:gd name="connsiteX27" fmla="*/ 445294 w 1774031"/>
                    <a:gd name="connsiteY27" fmla="*/ 50007 h 947738"/>
                    <a:gd name="connsiteX28" fmla="*/ 466725 w 1774031"/>
                    <a:gd name="connsiteY28" fmla="*/ 66675 h 947738"/>
                    <a:gd name="connsiteX29" fmla="*/ 514350 w 1774031"/>
                    <a:gd name="connsiteY29" fmla="*/ 59532 h 947738"/>
                    <a:gd name="connsiteX30" fmla="*/ 514350 w 1774031"/>
                    <a:gd name="connsiteY30" fmla="*/ 83344 h 947738"/>
                    <a:gd name="connsiteX31" fmla="*/ 545306 w 1774031"/>
                    <a:gd name="connsiteY31" fmla="*/ 85725 h 947738"/>
                    <a:gd name="connsiteX32" fmla="*/ 564356 w 1774031"/>
                    <a:gd name="connsiteY32" fmla="*/ 102394 h 947738"/>
                    <a:gd name="connsiteX33" fmla="*/ 583406 w 1774031"/>
                    <a:gd name="connsiteY33" fmla="*/ 111919 h 947738"/>
                    <a:gd name="connsiteX34" fmla="*/ 602456 w 1774031"/>
                    <a:gd name="connsiteY34" fmla="*/ 119063 h 947738"/>
                    <a:gd name="connsiteX35" fmla="*/ 647700 w 1774031"/>
                    <a:gd name="connsiteY35" fmla="*/ 142875 h 947738"/>
                    <a:gd name="connsiteX36" fmla="*/ 700088 w 1774031"/>
                    <a:gd name="connsiteY36" fmla="*/ 164307 h 947738"/>
                    <a:gd name="connsiteX37" fmla="*/ 750094 w 1774031"/>
                    <a:gd name="connsiteY37" fmla="*/ 121444 h 947738"/>
                    <a:gd name="connsiteX38" fmla="*/ 766763 w 1774031"/>
                    <a:gd name="connsiteY38" fmla="*/ 109538 h 947738"/>
                    <a:gd name="connsiteX39" fmla="*/ 785813 w 1774031"/>
                    <a:gd name="connsiteY39" fmla="*/ 135732 h 947738"/>
                    <a:gd name="connsiteX40" fmla="*/ 807244 w 1774031"/>
                    <a:gd name="connsiteY40" fmla="*/ 152400 h 947738"/>
                    <a:gd name="connsiteX41" fmla="*/ 873919 w 1774031"/>
                    <a:gd name="connsiteY41" fmla="*/ 157163 h 947738"/>
                    <a:gd name="connsiteX42" fmla="*/ 907256 w 1774031"/>
                    <a:gd name="connsiteY42" fmla="*/ 135732 h 947738"/>
                    <a:gd name="connsiteX43" fmla="*/ 969169 w 1774031"/>
                    <a:gd name="connsiteY43" fmla="*/ 138113 h 947738"/>
                    <a:gd name="connsiteX44" fmla="*/ 992981 w 1774031"/>
                    <a:gd name="connsiteY44" fmla="*/ 145257 h 947738"/>
                    <a:gd name="connsiteX45" fmla="*/ 1023938 w 1774031"/>
                    <a:gd name="connsiteY45" fmla="*/ 147638 h 947738"/>
                    <a:gd name="connsiteX46" fmla="*/ 1066800 w 1774031"/>
                    <a:gd name="connsiteY46" fmla="*/ 133350 h 947738"/>
                    <a:gd name="connsiteX47" fmla="*/ 1131094 w 1774031"/>
                    <a:gd name="connsiteY47" fmla="*/ 142875 h 947738"/>
                    <a:gd name="connsiteX48" fmla="*/ 1176338 w 1774031"/>
                    <a:gd name="connsiteY48" fmla="*/ 161925 h 947738"/>
                    <a:gd name="connsiteX49" fmla="*/ 1200150 w 1774031"/>
                    <a:gd name="connsiteY49" fmla="*/ 192882 h 947738"/>
                    <a:gd name="connsiteX50" fmla="*/ 1264444 w 1774031"/>
                    <a:gd name="connsiteY50" fmla="*/ 157163 h 947738"/>
                    <a:gd name="connsiteX51" fmla="*/ 1314450 w 1774031"/>
                    <a:gd name="connsiteY51" fmla="*/ 130969 h 947738"/>
                    <a:gd name="connsiteX52" fmla="*/ 1354931 w 1774031"/>
                    <a:gd name="connsiteY52" fmla="*/ 138113 h 947738"/>
                    <a:gd name="connsiteX53" fmla="*/ 1409700 w 1774031"/>
                    <a:gd name="connsiteY53" fmla="*/ 138113 h 947738"/>
                    <a:gd name="connsiteX54" fmla="*/ 1438275 w 1774031"/>
                    <a:gd name="connsiteY54" fmla="*/ 157163 h 947738"/>
                    <a:gd name="connsiteX55" fmla="*/ 1495425 w 1774031"/>
                    <a:gd name="connsiteY55" fmla="*/ 183357 h 947738"/>
                    <a:gd name="connsiteX56" fmla="*/ 1524000 w 1774031"/>
                    <a:gd name="connsiteY56" fmla="*/ 157163 h 947738"/>
                    <a:gd name="connsiteX57" fmla="*/ 1540669 w 1774031"/>
                    <a:gd name="connsiteY57" fmla="*/ 226219 h 947738"/>
                    <a:gd name="connsiteX58" fmla="*/ 1512094 w 1774031"/>
                    <a:gd name="connsiteY58" fmla="*/ 247650 h 947738"/>
                    <a:gd name="connsiteX59" fmla="*/ 1500188 w 1774031"/>
                    <a:gd name="connsiteY59" fmla="*/ 288132 h 947738"/>
                    <a:gd name="connsiteX60" fmla="*/ 1512094 w 1774031"/>
                    <a:gd name="connsiteY60" fmla="*/ 364332 h 947738"/>
                    <a:gd name="connsiteX61" fmla="*/ 1524000 w 1774031"/>
                    <a:gd name="connsiteY61" fmla="*/ 452438 h 947738"/>
                    <a:gd name="connsiteX62" fmla="*/ 1526381 w 1774031"/>
                    <a:gd name="connsiteY62" fmla="*/ 490538 h 947738"/>
                    <a:gd name="connsiteX63" fmla="*/ 1552575 w 1774031"/>
                    <a:gd name="connsiteY63" fmla="*/ 559594 h 947738"/>
                    <a:gd name="connsiteX64" fmla="*/ 1559719 w 1774031"/>
                    <a:gd name="connsiteY64" fmla="*/ 607219 h 947738"/>
                    <a:gd name="connsiteX65" fmla="*/ 1574006 w 1774031"/>
                    <a:gd name="connsiteY65" fmla="*/ 664369 h 947738"/>
                    <a:gd name="connsiteX66" fmla="*/ 1638300 w 1774031"/>
                    <a:gd name="connsiteY66" fmla="*/ 723900 h 947738"/>
                    <a:gd name="connsiteX67" fmla="*/ 1674019 w 1774031"/>
                    <a:gd name="connsiteY67" fmla="*/ 759619 h 947738"/>
                    <a:gd name="connsiteX68" fmla="*/ 1712119 w 1774031"/>
                    <a:gd name="connsiteY68" fmla="*/ 788194 h 947738"/>
                    <a:gd name="connsiteX69" fmla="*/ 1750219 w 1774031"/>
                    <a:gd name="connsiteY69" fmla="*/ 804863 h 947738"/>
                    <a:gd name="connsiteX70" fmla="*/ 1774031 w 1774031"/>
                    <a:gd name="connsiteY70" fmla="*/ 812007 h 947738"/>
                    <a:gd name="connsiteX71" fmla="*/ 1747838 w 1774031"/>
                    <a:gd name="connsiteY71" fmla="*/ 869157 h 947738"/>
                    <a:gd name="connsiteX72" fmla="*/ 1716881 w 1774031"/>
                    <a:gd name="connsiteY72" fmla="*/ 876300 h 947738"/>
                    <a:gd name="connsiteX73" fmla="*/ 1690688 w 1774031"/>
                    <a:gd name="connsiteY73" fmla="*/ 904875 h 947738"/>
                    <a:gd name="connsiteX74" fmla="*/ 1654969 w 1774031"/>
                    <a:gd name="connsiteY74" fmla="*/ 873919 h 947738"/>
                    <a:gd name="connsiteX75" fmla="*/ 1621631 w 1774031"/>
                    <a:gd name="connsiteY75" fmla="*/ 831057 h 947738"/>
                    <a:gd name="connsiteX76" fmla="*/ 1595438 w 1774031"/>
                    <a:gd name="connsiteY76" fmla="*/ 850107 h 947738"/>
                    <a:gd name="connsiteX77" fmla="*/ 1576388 w 1774031"/>
                    <a:gd name="connsiteY77" fmla="*/ 809625 h 947738"/>
                    <a:gd name="connsiteX78" fmla="*/ 1502569 w 1774031"/>
                    <a:gd name="connsiteY78" fmla="*/ 835819 h 947738"/>
                    <a:gd name="connsiteX79" fmla="*/ 1466850 w 1774031"/>
                    <a:gd name="connsiteY79" fmla="*/ 838200 h 947738"/>
                    <a:gd name="connsiteX80" fmla="*/ 1452563 w 1774031"/>
                    <a:gd name="connsiteY80" fmla="*/ 838200 h 947738"/>
                    <a:gd name="connsiteX81" fmla="*/ 1407319 w 1774031"/>
                    <a:gd name="connsiteY81" fmla="*/ 947738 h 947738"/>
                    <a:gd name="connsiteX82" fmla="*/ 1338263 w 1774031"/>
                    <a:gd name="connsiteY82" fmla="*/ 909638 h 947738"/>
                    <a:gd name="connsiteX83" fmla="*/ 1231106 w 1774031"/>
                    <a:gd name="connsiteY83" fmla="*/ 871538 h 947738"/>
                    <a:gd name="connsiteX84" fmla="*/ 1233488 w 1774031"/>
                    <a:gd name="connsiteY84" fmla="*/ 821532 h 947738"/>
                    <a:gd name="connsiteX85" fmla="*/ 1209675 w 1774031"/>
                    <a:gd name="connsiteY85" fmla="*/ 809625 h 947738"/>
                    <a:gd name="connsiteX86" fmla="*/ 1262063 w 1774031"/>
                    <a:gd name="connsiteY86" fmla="*/ 695325 h 947738"/>
                    <a:gd name="connsiteX87" fmla="*/ 1183481 w 1774031"/>
                    <a:gd name="connsiteY87" fmla="*/ 711994 h 947738"/>
                    <a:gd name="connsiteX88" fmla="*/ 1185863 w 1774031"/>
                    <a:gd name="connsiteY88" fmla="*/ 669132 h 947738"/>
                    <a:gd name="connsiteX89" fmla="*/ 1131094 w 1774031"/>
                    <a:gd name="connsiteY89" fmla="*/ 669132 h 947738"/>
                    <a:gd name="connsiteX90" fmla="*/ 1095375 w 1774031"/>
                    <a:gd name="connsiteY90" fmla="*/ 626269 h 947738"/>
                    <a:gd name="connsiteX91" fmla="*/ 1078706 w 1774031"/>
                    <a:gd name="connsiteY91" fmla="*/ 619125 h 947738"/>
                    <a:gd name="connsiteX92" fmla="*/ 1050131 w 1774031"/>
                    <a:gd name="connsiteY92" fmla="*/ 645319 h 947738"/>
                    <a:gd name="connsiteX93" fmla="*/ 1009650 w 1774031"/>
                    <a:gd name="connsiteY93" fmla="*/ 669132 h 947738"/>
                    <a:gd name="connsiteX94" fmla="*/ 981075 w 1774031"/>
                    <a:gd name="connsiteY94" fmla="*/ 681038 h 947738"/>
                    <a:gd name="connsiteX95" fmla="*/ 1004888 w 1774031"/>
                    <a:gd name="connsiteY95" fmla="*/ 707232 h 947738"/>
                    <a:gd name="connsiteX96" fmla="*/ 985838 w 1774031"/>
                    <a:gd name="connsiteY96" fmla="*/ 702469 h 947738"/>
                    <a:gd name="connsiteX97" fmla="*/ 947738 w 1774031"/>
                    <a:gd name="connsiteY97" fmla="*/ 702469 h 947738"/>
                    <a:gd name="connsiteX98" fmla="*/ 947738 w 1774031"/>
                    <a:gd name="connsiteY98" fmla="*/ 702469 h 947738"/>
                    <a:gd name="connsiteX99" fmla="*/ 885825 w 1774031"/>
                    <a:gd name="connsiteY99" fmla="*/ 673894 h 947738"/>
                    <a:gd name="connsiteX100" fmla="*/ 847725 w 1774031"/>
                    <a:gd name="connsiteY100" fmla="*/ 728663 h 947738"/>
                    <a:gd name="connsiteX101" fmla="*/ 747713 w 1774031"/>
                    <a:gd name="connsiteY101" fmla="*/ 661988 h 947738"/>
                    <a:gd name="connsiteX102" fmla="*/ 704850 w 1774031"/>
                    <a:gd name="connsiteY102" fmla="*/ 657225 h 947738"/>
                    <a:gd name="connsiteX103" fmla="*/ 681038 w 1774031"/>
                    <a:gd name="connsiteY103" fmla="*/ 671513 h 947738"/>
                    <a:gd name="connsiteX104" fmla="*/ 647700 w 1774031"/>
                    <a:gd name="connsiteY104" fmla="*/ 633413 h 947738"/>
                    <a:gd name="connsiteX105" fmla="*/ 623888 w 1774031"/>
                    <a:gd name="connsiteY105" fmla="*/ 600075 h 947738"/>
                    <a:gd name="connsiteX106" fmla="*/ 573881 w 1774031"/>
                    <a:gd name="connsiteY106" fmla="*/ 566738 h 947738"/>
                    <a:gd name="connsiteX107" fmla="*/ 514350 w 1774031"/>
                    <a:gd name="connsiteY107" fmla="*/ 561975 h 947738"/>
                    <a:gd name="connsiteX108" fmla="*/ 431006 w 1774031"/>
                    <a:gd name="connsiteY108" fmla="*/ 521494 h 947738"/>
                    <a:gd name="connsiteX109" fmla="*/ 414338 w 1774031"/>
                    <a:gd name="connsiteY109" fmla="*/ 471488 h 947738"/>
                    <a:gd name="connsiteX110" fmla="*/ 404813 w 1774031"/>
                    <a:gd name="connsiteY110" fmla="*/ 423863 h 947738"/>
                    <a:gd name="connsiteX111" fmla="*/ 314325 w 1774031"/>
                    <a:gd name="connsiteY111" fmla="*/ 421482 h 947738"/>
                    <a:gd name="connsiteX112" fmla="*/ 292894 w 1774031"/>
                    <a:gd name="connsiteY112" fmla="*/ 461963 h 947738"/>
                    <a:gd name="connsiteX113" fmla="*/ 276225 w 1774031"/>
                    <a:gd name="connsiteY113" fmla="*/ 483394 h 947738"/>
                    <a:gd name="connsiteX114" fmla="*/ 233363 w 1774031"/>
                    <a:gd name="connsiteY114" fmla="*/ 495300 h 947738"/>
                    <a:gd name="connsiteX115" fmla="*/ 219075 w 1774031"/>
                    <a:gd name="connsiteY115" fmla="*/ 435769 h 947738"/>
                    <a:gd name="connsiteX116" fmla="*/ 133350 w 1774031"/>
                    <a:gd name="connsiteY116" fmla="*/ 454819 h 947738"/>
                    <a:gd name="connsiteX117" fmla="*/ 152400 w 1774031"/>
                    <a:gd name="connsiteY117" fmla="*/ 409575 h 947738"/>
                    <a:gd name="connsiteX118" fmla="*/ 164306 w 1774031"/>
                    <a:gd name="connsiteY118" fmla="*/ 369094 h 947738"/>
                    <a:gd name="connsiteX119" fmla="*/ 116681 w 1774031"/>
                    <a:gd name="connsiteY119" fmla="*/ 328613 h 947738"/>
                    <a:gd name="connsiteX120" fmla="*/ 64294 w 1774031"/>
                    <a:gd name="connsiteY120" fmla="*/ 340519 h 947738"/>
                    <a:gd name="connsiteX121" fmla="*/ 11906 w 1774031"/>
                    <a:gd name="connsiteY121" fmla="*/ 311944 h 947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1774031" h="947738">
                      <a:moveTo>
                        <a:pt x="11906" y="311944"/>
                      </a:moveTo>
                      <a:lnTo>
                        <a:pt x="0" y="292894"/>
                      </a:lnTo>
                      <a:lnTo>
                        <a:pt x="16669" y="264319"/>
                      </a:lnTo>
                      <a:lnTo>
                        <a:pt x="52388" y="266700"/>
                      </a:lnTo>
                      <a:lnTo>
                        <a:pt x="52388" y="266700"/>
                      </a:lnTo>
                      <a:lnTo>
                        <a:pt x="83344" y="242888"/>
                      </a:lnTo>
                      <a:lnTo>
                        <a:pt x="54769" y="211932"/>
                      </a:lnTo>
                      <a:lnTo>
                        <a:pt x="85725" y="180975"/>
                      </a:lnTo>
                      <a:lnTo>
                        <a:pt x="95250" y="142875"/>
                      </a:lnTo>
                      <a:lnTo>
                        <a:pt x="64294" y="135732"/>
                      </a:lnTo>
                      <a:lnTo>
                        <a:pt x="76200" y="90488"/>
                      </a:lnTo>
                      <a:lnTo>
                        <a:pt x="121444" y="33338"/>
                      </a:lnTo>
                      <a:lnTo>
                        <a:pt x="133350" y="16669"/>
                      </a:lnTo>
                      <a:lnTo>
                        <a:pt x="145256" y="4763"/>
                      </a:lnTo>
                      <a:lnTo>
                        <a:pt x="178594" y="2382"/>
                      </a:lnTo>
                      <a:lnTo>
                        <a:pt x="180975" y="21432"/>
                      </a:lnTo>
                      <a:lnTo>
                        <a:pt x="204788" y="33338"/>
                      </a:lnTo>
                      <a:lnTo>
                        <a:pt x="235744" y="33338"/>
                      </a:lnTo>
                      <a:lnTo>
                        <a:pt x="271463" y="23813"/>
                      </a:lnTo>
                      <a:lnTo>
                        <a:pt x="295275" y="11907"/>
                      </a:lnTo>
                      <a:lnTo>
                        <a:pt x="297656" y="23813"/>
                      </a:lnTo>
                      <a:lnTo>
                        <a:pt x="328613" y="23813"/>
                      </a:lnTo>
                      <a:lnTo>
                        <a:pt x="328613" y="23813"/>
                      </a:lnTo>
                      <a:lnTo>
                        <a:pt x="371475" y="0"/>
                      </a:lnTo>
                      <a:lnTo>
                        <a:pt x="376238" y="28575"/>
                      </a:lnTo>
                      <a:lnTo>
                        <a:pt x="411956" y="2382"/>
                      </a:lnTo>
                      <a:lnTo>
                        <a:pt x="440531" y="23813"/>
                      </a:lnTo>
                      <a:lnTo>
                        <a:pt x="445294" y="50007"/>
                      </a:lnTo>
                      <a:lnTo>
                        <a:pt x="466725" y="66675"/>
                      </a:lnTo>
                      <a:lnTo>
                        <a:pt x="514350" y="59532"/>
                      </a:lnTo>
                      <a:lnTo>
                        <a:pt x="514350" y="83344"/>
                      </a:lnTo>
                      <a:lnTo>
                        <a:pt x="545306" y="85725"/>
                      </a:lnTo>
                      <a:cubicBezTo>
                        <a:pt x="551656" y="91281"/>
                        <a:pt x="557403" y="97614"/>
                        <a:pt x="564356" y="102394"/>
                      </a:cubicBezTo>
                      <a:cubicBezTo>
                        <a:pt x="570206" y="106416"/>
                        <a:pt x="583406" y="111919"/>
                        <a:pt x="583406" y="111919"/>
                      </a:cubicBezTo>
                      <a:lnTo>
                        <a:pt x="602456" y="119063"/>
                      </a:lnTo>
                      <a:lnTo>
                        <a:pt x="647700" y="142875"/>
                      </a:lnTo>
                      <a:lnTo>
                        <a:pt x="700088" y="164307"/>
                      </a:lnTo>
                      <a:lnTo>
                        <a:pt x="750094" y="121444"/>
                      </a:lnTo>
                      <a:lnTo>
                        <a:pt x="766763" y="109538"/>
                      </a:lnTo>
                      <a:lnTo>
                        <a:pt x="785813" y="135732"/>
                      </a:lnTo>
                      <a:lnTo>
                        <a:pt x="807244" y="152400"/>
                      </a:lnTo>
                      <a:lnTo>
                        <a:pt x="873919" y="157163"/>
                      </a:lnTo>
                      <a:lnTo>
                        <a:pt x="907256" y="135732"/>
                      </a:lnTo>
                      <a:lnTo>
                        <a:pt x="969169" y="138113"/>
                      </a:lnTo>
                      <a:lnTo>
                        <a:pt x="992981" y="145257"/>
                      </a:lnTo>
                      <a:cubicBezTo>
                        <a:pt x="1017569" y="147989"/>
                        <a:pt x="1007225" y="147638"/>
                        <a:pt x="1023938" y="147638"/>
                      </a:cubicBezTo>
                      <a:lnTo>
                        <a:pt x="1066800" y="133350"/>
                      </a:lnTo>
                      <a:lnTo>
                        <a:pt x="1131094" y="142875"/>
                      </a:lnTo>
                      <a:lnTo>
                        <a:pt x="1176338" y="161925"/>
                      </a:lnTo>
                      <a:lnTo>
                        <a:pt x="1200150" y="192882"/>
                      </a:lnTo>
                      <a:lnTo>
                        <a:pt x="1264444" y="157163"/>
                      </a:lnTo>
                      <a:lnTo>
                        <a:pt x="1314450" y="130969"/>
                      </a:lnTo>
                      <a:lnTo>
                        <a:pt x="1354931" y="138113"/>
                      </a:lnTo>
                      <a:lnTo>
                        <a:pt x="1409700" y="138113"/>
                      </a:lnTo>
                      <a:lnTo>
                        <a:pt x="1438275" y="157163"/>
                      </a:lnTo>
                      <a:lnTo>
                        <a:pt x="1495425" y="183357"/>
                      </a:lnTo>
                      <a:lnTo>
                        <a:pt x="1524000" y="157163"/>
                      </a:lnTo>
                      <a:lnTo>
                        <a:pt x="1540669" y="226219"/>
                      </a:lnTo>
                      <a:lnTo>
                        <a:pt x="1512094" y="247650"/>
                      </a:lnTo>
                      <a:lnTo>
                        <a:pt x="1500188" y="288132"/>
                      </a:lnTo>
                      <a:lnTo>
                        <a:pt x="1512094" y="364332"/>
                      </a:lnTo>
                      <a:lnTo>
                        <a:pt x="1524000" y="452438"/>
                      </a:lnTo>
                      <a:lnTo>
                        <a:pt x="1526381" y="490538"/>
                      </a:lnTo>
                      <a:lnTo>
                        <a:pt x="1552575" y="559594"/>
                      </a:lnTo>
                      <a:lnTo>
                        <a:pt x="1559719" y="607219"/>
                      </a:lnTo>
                      <a:lnTo>
                        <a:pt x="1574006" y="664369"/>
                      </a:lnTo>
                      <a:lnTo>
                        <a:pt x="1638300" y="723900"/>
                      </a:lnTo>
                      <a:lnTo>
                        <a:pt x="1674019" y="759619"/>
                      </a:lnTo>
                      <a:lnTo>
                        <a:pt x="1712119" y="788194"/>
                      </a:lnTo>
                      <a:lnTo>
                        <a:pt x="1750219" y="804863"/>
                      </a:lnTo>
                      <a:lnTo>
                        <a:pt x="1774031" y="812007"/>
                      </a:lnTo>
                      <a:lnTo>
                        <a:pt x="1747838" y="869157"/>
                      </a:lnTo>
                      <a:lnTo>
                        <a:pt x="1716881" y="876300"/>
                      </a:lnTo>
                      <a:lnTo>
                        <a:pt x="1690688" y="904875"/>
                      </a:lnTo>
                      <a:lnTo>
                        <a:pt x="1654969" y="873919"/>
                      </a:lnTo>
                      <a:lnTo>
                        <a:pt x="1621631" y="831057"/>
                      </a:lnTo>
                      <a:lnTo>
                        <a:pt x="1595438" y="850107"/>
                      </a:lnTo>
                      <a:lnTo>
                        <a:pt x="1576388" y="809625"/>
                      </a:lnTo>
                      <a:lnTo>
                        <a:pt x="1502569" y="835819"/>
                      </a:lnTo>
                      <a:lnTo>
                        <a:pt x="1466850" y="838200"/>
                      </a:lnTo>
                      <a:lnTo>
                        <a:pt x="1452563" y="838200"/>
                      </a:lnTo>
                      <a:lnTo>
                        <a:pt x="1407319" y="947738"/>
                      </a:lnTo>
                      <a:lnTo>
                        <a:pt x="1338263" y="909638"/>
                      </a:lnTo>
                      <a:lnTo>
                        <a:pt x="1231106" y="871538"/>
                      </a:lnTo>
                      <a:lnTo>
                        <a:pt x="1233488" y="821532"/>
                      </a:lnTo>
                      <a:lnTo>
                        <a:pt x="1209675" y="809625"/>
                      </a:lnTo>
                      <a:lnTo>
                        <a:pt x="1262063" y="695325"/>
                      </a:lnTo>
                      <a:lnTo>
                        <a:pt x="1183481" y="711994"/>
                      </a:lnTo>
                      <a:lnTo>
                        <a:pt x="1185863" y="669132"/>
                      </a:lnTo>
                      <a:lnTo>
                        <a:pt x="1131094" y="669132"/>
                      </a:lnTo>
                      <a:lnTo>
                        <a:pt x="1095375" y="626269"/>
                      </a:lnTo>
                      <a:lnTo>
                        <a:pt x="1078706" y="619125"/>
                      </a:lnTo>
                      <a:lnTo>
                        <a:pt x="1050131" y="645319"/>
                      </a:lnTo>
                      <a:lnTo>
                        <a:pt x="1009650" y="669132"/>
                      </a:lnTo>
                      <a:lnTo>
                        <a:pt x="981075" y="681038"/>
                      </a:lnTo>
                      <a:lnTo>
                        <a:pt x="1004888" y="707232"/>
                      </a:lnTo>
                      <a:lnTo>
                        <a:pt x="985838" y="702469"/>
                      </a:lnTo>
                      <a:lnTo>
                        <a:pt x="947738" y="702469"/>
                      </a:lnTo>
                      <a:lnTo>
                        <a:pt x="947738" y="702469"/>
                      </a:lnTo>
                      <a:lnTo>
                        <a:pt x="885825" y="673894"/>
                      </a:lnTo>
                      <a:lnTo>
                        <a:pt x="847725" y="728663"/>
                      </a:lnTo>
                      <a:lnTo>
                        <a:pt x="747713" y="661988"/>
                      </a:lnTo>
                      <a:lnTo>
                        <a:pt x="704850" y="657225"/>
                      </a:lnTo>
                      <a:lnTo>
                        <a:pt x="681038" y="671513"/>
                      </a:lnTo>
                      <a:lnTo>
                        <a:pt x="647700" y="633413"/>
                      </a:lnTo>
                      <a:lnTo>
                        <a:pt x="623888" y="600075"/>
                      </a:lnTo>
                      <a:lnTo>
                        <a:pt x="573881" y="566738"/>
                      </a:lnTo>
                      <a:lnTo>
                        <a:pt x="514350" y="561975"/>
                      </a:lnTo>
                      <a:lnTo>
                        <a:pt x="431006" y="521494"/>
                      </a:lnTo>
                      <a:lnTo>
                        <a:pt x="414338" y="471488"/>
                      </a:lnTo>
                      <a:lnTo>
                        <a:pt x="404813" y="423863"/>
                      </a:lnTo>
                      <a:lnTo>
                        <a:pt x="314325" y="421482"/>
                      </a:lnTo>
                      <a:lnTo>
                        <a:pt x="292894" y="461963"/>
                      </a:lnTo>
                      <a:lnTo>
                        <a:pt x="276225" y="483394"/>
                      </a:lnTo>
                      <a:lnTo>
                        <a:pt x="233363" y="495300"/>
                      </a:lnTo>
                      <a:lnTo>
                        <a:pt x="219075" y="435769"/>
                      </a:lnTo>
                      <a:lnTo>
                        <a:pt x="133350" y="454819"/>
                      </a:lnTo>
                      <a:lnTo>
                        <a:pt x="152400" y="409575"/>
                      </a:lnTo>
                      <a:lnTo>
                        <a:pt x="164306" y="369094"/>
                      </a:lnTo>
                      <a:lnTo>
                        <a:pt x="116681" y="328613"/>
                      </a:lnTo>
                      <a:lnTo>
                        <a:pt x="64294" y="340519"/>
                      </a:lnTo>
                      <a:lnTo>
                        <a:pt x="11906" y="31194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Figura a mano libera 631">
                  <a:extLst>
                    <a:ext uri="{FF2B5EF4-FFF2-40B4-BE49-F238E27FC236}">
                      <a16:creationId xmlns:a16="http://schemas.microsoft.com/office/drawing/2014/main" id="{58F20B99-1448-445E-B2F6-27818E21AD00}"/>
                    </a:ext>
                  </a:extLst>
                </p:cNvPr>
                <p:cNvSpPr/>
                <p:nvPr/>
              </p:nvSpPr>
              <p:spPr bwMode="auto">
                <a:xfrm>
                  <a:off x="2433352" y="2125822"/>
                  <a:ext cx="271671" cy="161793"/>
                </a:xfrm>
                <a:custGeom>
                  <a:avLst/>
                  <a:gdLst>
                    <a:gd name="connsiteX0" fmla="*/ 121444 w 542925"/>
                    <a:gd name="connsiteY0" fmla="*/ 335756 h 335756"/>
                    <a:gd name="connsiteX1" fmla="*/ 135731 w 542925"/>
                    <a:gd name="connsiteY1" fmla="*/ 304800 h 335756"/>
                    <a:gd name="connsiteX2" fmla="*/ 195262 w 542925"/>
                    <a:gd name="connsiteY2" fmla="*/ 330994 h 335756"/>
                    <a:gd name="connsiteX3" fmla="*/ 242887 w 542925"/>
                    <a:gd name="connsiteY3" fmla="*/ 295275 h 335756"/>
                    <a:gd name="connsiteX4" fmla="*/ 335756 w 542925"/>
                    <a:gd name="connsiteY4" fmla="*/ 264319 h 335756"/>
                    <a:gd name="connsiteX5" fmla="*/ 404812 w 542925"/>
                    <a:gd name="connsiteY5" fmla="*/ 302419 h 335756"/>
                    <a:gd name="connsiteX6" fmla="*/ 483394 w 542925"/>
                    <a:gd name="connsiteY6" fmla="*/ 269081 h 335756"/>
                    <a:gd name="connsiteX7" fmla="*/ 521494 w 542925"/>
                    <a:gd name="connsiteY7" fmla="*/ 269081 h 335756"/>
                    <a:gd name="connsiteX8" fmla="*/ 535781 w 542925"/>
                    <a:gd name="connsiteY8" fmla="*/ 247650 h 335756"/>
                    <a:gd name="connsiteX9" fmla="*/ 526256 w 542925"/>
                    <a:gd name="connsiteY9" fmla="*/ 195263 h 335756"/>
                    <a:gd name="connsiteX10" fmla="*/ 542925 w 542925"/>
                    <a:gd name="connsiteY10" fmla="*/ 188119 h 335756"/>
                    <a:gd name="connsiteX11" fmla="*/ 511969 w 542925"/>
                    <a:gd name="connsiteY11" fmla="*/ 135731 h 335756"/>
                    <a:gd name="connsiteX12" fmla="*/ 519112 w 542925"/>
                    <a:gd name="connsiteY12" fmla="*/ 71438 h 335756"/>
                    <a:gd name="connsiteX13" fmla="*/ 521494 w 542925"/>
                    <a:gd name="connsiteY13" fmla="*/ 50006 h 335756"/>
                    <a:gd name="connsiteX14" fmla="*/ 500062 w 542925"/>
                    <a:gd name="connsiteY14" fmla="*/ 52388 h 335756"/>
                    <a:gd name="connsiteX15" fmla="*/ 452437 w 542925"/>
                    <a:gd name="connsiteY15" fmla="*/ 50006 h 335756"/>
                    <a:gd name="connsiteX16" fmla="*/ 445294 w 542925"/>
                    <a:gd name="connsiteY16" fmla="*/ 54769 h 335756"/>
                    <a:gd name="connsiteX17" fmla="*/ 426244 w 542925"/>
                    <a:gd name="connsiteY17" fmla="*/ 21431 h 335756"/>
                    <a:gd name="connsiteX18" fmla="*/ 404812 w 542925"/>
                    <a:gd name="connsiteY18" fmla="*/ 4763 h 335756"/>
                    <a:gd name="connsiteX19" fmla="*/ 364331 w 542925"/>
                    <a:gd name="connsiteY19" fmla="*/ 0 h 335756"/>
                    <a:gd name="connsiteX20" fmla="*/ 333375 w 542925"/>
                    <a:gd name="connsiteY20" fmla="*/ 30956 h 335756"/>
                    <a:gd name="connsiteX21" fmla="*/ 288131 w 542925"/>
                    <a:gd name="connsiteY21" fmla="*/ 42863 h 335756"/>
                    <a:gd name="connsiteX22" fmla="*/ 280987 w 542925"/>
                    <a:gd name="connsiteY22" fmla="*/ 64294 h 335756"/>
                    <a:gd name="connsiteX23" fmla="*/ 247650 w 542925"/>
                    <a:gd name="connsiteY23" fmla="*/ 30956 h 335756"/>
                    <a:gd name="connsiteX24" fmla="*/ 230981 w 542925"/>
                    <a:gd name="connsiteY24" fmla="*/ 54769 h 335756"/>
                    <a:gd name="connsiteX25" fmla="*/ 204787 w 542925"/>
                    <a:gd name="connsiteY25" fmla="*/ 76200 h 335756"/>
                    <a:gd name="connsiteX26" fmla="*/ 178594 w 542925"/>
                    <a:gd name="connsiteY26" fmla="*/ 78581 h 335756"/>
                    <a:gd name="connsiteX27" fmla="*/ 183356 w 542925"/>
                    <a:gd name="connsiteY27" fmla="*/ 54769 h 335756"/>
                    <a:gd name="connsiteX28" fmla="*/ 138112 w 542925"/>
                    <a:gd name="connsiteY28" fmla="*/ 64294 h 335756"/>
                    <a:gd name="connsiteX29" fmla="*/ 126206 w 542925"/>
                    <a:gd name="connsiteY29" fmla="*/ 88106 h 335756"/>
                    <a:gd name="connsiteX30" fmla="*/ 126206 w 542925"/>
                    <a:gd name="connsiteY30" fmla="*/ 52388 h 335756"/>
                    <a:gd name="connsiteX31" fmla="*/ 123825 w 542925"/>
                    <a:gd name="connsiteY31" fmla="*/ 28575 h 335756"/>
                    <a:gd name="connsiteX32" fmla="*/ 95250 w 542925"/>
                    <a:gd name="connsiteY32" fmla="*/ 45244 h 335756"/>
                    <a:gd name="connsiteX33" fmla="*/ 90487 w 542925"/>
                    <a:gd name="connsiteY33" fmla="*/ 64294 h 335756"/>
                    <a:gd name="connsiteX34" fmla="*/ 35719 w 542925"/>
                    <a:gd name="connsiteY34" fmla="*/ 69056 h 335756"/>
                    <a:gd name="connsiteX35" fmla="*/ 19050 w 542925"/>
                    <a:gd name="connsiteY35" fmla="*/ 83344 h 335756"/>
                    <a:gd name="connsiteX36" fmla="*/ 0 w 542925"/>
                    <a:gd name="connsiteY36" fmla="*/ 128588 h 335756"/>
                    <a:gd name="connsiteX37" fmla="*/ 16669 w 542925"/>
                    <a:gd name="connsiteY37" fmla="*/ 161925 h 335756"/>
                    <a:gd name="connsiteX38" fmla="*/ 50006 w 542925"/>
                    <a:gd name="connsiteY38" fmla="*/ 202406 h 335756"/>
                    <a:gd name="connsiteX39" fmla="*/ 76200 w 542925"/>
                    <a:gd name="connsiteY39" fmla="*/ 200025 h 335756"/>
                    <a:gd name="connsiteX40" fmla="*/ 88106 w 542925"/>
                    <a:gd name="connsiteY40" fmla="*/ 223838 h 335756"/>
                    <a:gd name="connsiteX41" fmla="*/ 69056 w 542925"/>
                    <a:gd name="connsiteY41" fmla="*/ 233363 h 335756"/>
                    <a:gd name="connsiteX42" fmla="*/ 52387 w 542925"/>
                    <a:gd name="connsiteY42" fmla="*/ 250031 h 335756"/>
                    <a:gd name="connsiteX43" fmla="*/ 121444 w 542925"/>
                    <a:gd name="connsiteY43" fmla="*/ 335756 h 335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542925" h="335756">
                      <a:moveTo>
                        <a:pt x="121444" y="335756"/>
                      </a:moveTo>
                      <a:lnTo>
                        <a:pt x="135731" y="304800"/>
                      </a:lnTo>
                      <a:lnTo>
                        <a:pt x="195262" y="330994"/>
                      </a:lnTo>
                      <a:lnTo>
                        <a:pt x="242887" y="295275"/>
                      </a:lnTo>
                      <a:lnTo>
                        <a:pt x="335756" y="264319"/>
                      </a:lnTo>
                      <a:lnTo>
                        <a:pt x="404812" y="302419"/>
                      </a:lnTo>
                      <a:lnTo>
                        <a:pt x="483394" y="269081"/>
                      </a:lnTo>
                      <a:lnTo>
                        <a:pt x="521494" y="269081"/>
                      </a:lnTo>
                      <a:lnTo>
                        <a:pt x="535781" y="247650"/>
                      </a:lnTo>
                      <a:lnTo>
                        <a:pt x="526256" y="195263"/>
                      </a:lnTo>
                      <a:lnTo>
                        <a:pt x="542925" y="188119"/>
                      </a:lnTo>
                      <a:lnTo>
                        <a:pt x="511969" y="135731"/>
                      </a:lnTo>
                      <a:lnTo>
                        <a:pt x="519112" y="71438"/>
                      </a:lnTo>
                      <a:lnTo>
                        <a:pt x="521494" y="50006"/>
                      </a:lnTo>
                      <a:lnTo>
                        <a:pt x="500062" y="52388"/>
                      </a:lnTo>
                      <a:lnTo>
                        <a:pt x="452437" y="50006"/>
                      </a:lnTo>
                      <a:lnTo>
                        <a:pt x="445294" y="54769"/>
                      </a:lnTo>
                      <a:lnTo>
                        <a:pt x="426244" y="21431"/>
                      </a:lnTo>
                      <a:lnTo>
                        <a:pt x="404812" y="4763"/>
                      </a:lnTo>
                      <a:lnTo>
                        <a:pt x="364331" y="0"/>
                      </a:lnTo>
                      <a:lnTo>
                        <a:pt x="333375" y="30956"/>
                      </a:lnTo>
                      <a:lnTo>
                        <a:pt x="288131" y="42863"/>
                      </a:lnTo>
                      <a:lnTo>
                        <a:pt x="280987" y="64294"/>
                      </a:lnTo>
                      <a:lnTo>
                        <a:pt x="247650" y="30956"/>
                      </a:lnTo>
                      <a:lnTo>
                        <a:pt x="230981" y="54769"/>
                      </a:lnTo>
                      <a:lnTo>
                        <a:pt x="204787" y="76200"/>
                      </a:lnTo>
                      <a:lnTo>
                        <a:pt x="178594" y="78581"/>
                      </a:lnTo>
                      <a:lnTo>
                        <a:pt x="183356" y="54769"/>
                      </a:lnTo>
                      <a:lnTo>
                        <a:pt x="138112" y="64294"/>
                      </a:lnTo>
                      <a:lnTo>
                        <a:pt x="126206" y="88106"/>
                      </a:lnTo>
                      <a:lnTo>
                        <a:pt x="126206" y="52388"/>
                      </a:lnTo>
                      <a:lnTo>
                        <a:pt x="123825" y="28575"/>
                      </a:lnTo>
                      <a:lnTo>
                        <a:pt x="95250" y="45244"/>
                      </a:lnTo>
                      <a:lnTo>
                        <a:pt x="90487" y="64294"/>
                      </a:lnTo>
                      <a:lnTo>
                        <a:pt x="35719" y="69056"/>
                      </a:lnTo>
                      <a:lnTo>
                        <a:pt x="19050" y="83344"/>
                      </a:lnTo>
                      <a:lnTo>
                        <a:pt x="0" y="128588"/>
                      </a:lnTo>
                      <a:lnTo>
                        <a:pt x="16669" y="161925"/>
                      </a:lnTo>
                      <a:lnTo>
                        <a:pt x="50006" y="202406"/>
                      </a:lnTo>
                      <a:lnTo>
                        <a:pt x="76200" y="200025"/>
                      </a:lnTo>
                      <a:lnTo>
                        <a:pt x="88106" y="223838"/>
                      </a:lnTo>
                      <a:lnTo>
                        <a:pt x="69056" y="233363"/>
                      </a:lnTo>
                      <a:lnTo>
                        <a:pt x="52387" y="250031"/>
                      </a:lnTo>
                      <a:lnTo>
                        <a:pt x="121444" y="33575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igura a mano libera 632">
                  <a:extLst>
                    <a:ext uri="{FF2B5EF4-FFF2-40B4-BE49-F238E27FC236}">
                      <a16:creationId xmlns:a16="http://schemas.microsoft.com/office/drawing/2014/main" id="{4A3B52AF-CFAC-4F8B-AEE8-0C3C217093BB}"/>
                    </a:ext>
                  </a:extLst>
                </p:cNvPr>
                <p:cNvSpPr/>
                <p:nvPr/>
              </p:nvSpPr>
              <p:spPr bwMode="auto">
                <a:xfrm>
                  <a:off x="2370518" y="1992954"/>
                  <a:ext cx="633898" cy="738462"/>
                </a:xfrm>
                <a:custGeom>
                  <a:avLst/>
                  <a:gdLst>
                    <a:gd name="connsiteX0" fmla="*/ 483393 w 1624012"/>
                    <a:gd name="connsiteY0" fmla="*/ 1533525 h 1533525"/>
                    <a:gd name="connsiteX1" fmla="*/ 459581 w 1624012"/>
                    <a:gd name="connsiteY1" fmla="*/ 1481138 h 1533525"/>
                    <a:gd name="connsiteX2" fmla="*/ 438150 w 1624012"/>
                    <a:gd name="connsiteY2" fmla="*/ 1471613 h 1533525"/>
                    <a:gd name="connsiteX3" fmla="*/ 400050 w 1624012"/>
                    <a:gd name="connsiteY3" fmla="*/ 1485900 h 1533525"/>
                    <a:gd name="connsiteX4" fmla="*/ 338137 w 1624012"/>
                    <a:gd name="connsiteY4" fmla="*/ 1490663 h 1533525"/>
                    <a:gd name="connsiteX5" fmla="*/ 330993 w 1624012"/>
                    <a:gd name="connsiteY5" fmla="*/ 1497806 h 1533525"/>
                    <a:gd name="connsiteX6" fmla="*/ 271462 w 1624012"/>
                    <a:gd name="connsiteY6" fmla="*/ 1471613 h 1533525"/>
                    <a:gd name="connsiteX7" fmla="*/ 219075 w 1624012"/>
                    <a:gd name="connsiteY7" fmla="*/ 1443038 h 1533525"/>
                    <a:gd name="connsiteX8" fmla="*/ 138112 w 1624012"/>
                    <a:gd name="connsiteY8" fmla="*/ 1402556 h 1533525"/>
                    <a:gd name="connsiteX9" fmla="*/ 95250 w 1624012"/>
                    <a:gd name="connsiteY9" fmla="*/ 1316831 h 1533525"/>
                    <a:gd name="connsiteX10" fmla="*/ 80962 w 1624012"/>
                    <a:gd name="connsiteY10" fmla="*/ 1288256 h 1533525"/>
                    <a:gd name="connsiteX11" fmla="*/ 104775 w 1624012"/>
                    <a:gd name="connsiteY11" fmla="*/ 1266825 h 1533525"/>
                    <a:gd name="connsiteX12" fmla="*/ 76200 w 1624012"/>
                    <a:gd name="connsiteY12" fmla="*/ 1212056 h 1533525"/>
                    <a:gd name="connsiteX13" fmla="*/ 109537 w 1624012"/>
                    <a:gd name="connsiteY13" fmla="*/ 1193006 h 1533525"/>
                    <a:gd name="connsiteX14" fmla="*/ 140493 w 1624012"/>
                    <a:gd name="connsiteY14" fmla="*/ 1143000 h 1533525"/>
                    <a:gd name="connsiteX15" fmla="*/ 123825 w 1624012"/>
                    <a:gd name="connsiteY15" fmla="*/ 1107281 h 1533525"/>
                    <a:gd name="connsiteX16" fmla="*/ 178593 w 1624012"/>
                    <a:gd name="connsiteY16" fmla="*/ 1107281 h 1533525"/>
                    <a:gd name="connsiteX17" fmla="*/ 192881 w 1624012"/>
                    <a:gd name="connsiteY17" fmla="*/ 1109663 h 1533525"/>
                    <a:gd name="connsiteX18" fmla="*/ 159543 w 1624012"/>
                    <a:gd name="connsiteY18" fmla="*/ 1064419 h 1533525"/>
                    <a:gd name="connsiteX19" fmla="*/ 169068 w 1624012"/>
                    <a:gd name="connsiteY19" fmla="*/ 1014413 h 1533525"/>
                    <a:gd name="connsiteX20" fmla="*/ 123825 w 1624012"/>
                    <a:gd name="connsiteY20" fmla="*/ 997744 h 1533525"/>
                    <a:gd name="connsiteX21" fmla="*/ 61912 w 1624012"/>
                    <a:gd name="connsiteY21" fmla="*/ 954881 h 1533525"/>
                    <a:gd name="connsiteX22" fmla="*/ 45243 w 1624012"/>
                    <a:gd name="connsiteY22" fmla="*/ 938213 h 1533525"/>
                    <a:gd name="connsiteX23" fmla="*/ 64293 w 1624012"/>
                    <a:gd name="connsiteY23" fmla="*/ 909638 h 1533525"/>
                    <a:gd name="connsiteX24" fmla="*/ 47625 w 1624012"/>
                    <a:gd name="connsiteY24" fmla="*/ 897731 h 1533525"/>
                    <a:gd name="connsiteX25" fmla="*/ 47625 w 1624012"/>
                    <a:gd name="connsiteY25" fmla="*/ 881063 h 1533525"/>
                    <a:gd name="connsiteX26" fmla="*/ 26193 w 1624012"/>
                    <a:gd name="connsiteY26" fmla="*/ 881063 h 1533525"/>
                    <a:gd name="connsiteX27" fmla="*/ 7143 w 1624012"/>
                    <a:gd name="connsiteY27" fmla="*/ 847725 h 1533525"/>
                    <a:gd name="connsiteX28" fmla="*/ 0 w 1624012"/>
                    <a:gd name="connsiteY28" fmla="*/ 816769 h 1533525"/>
                    <a:gd name="connsiteX29" fmla="*/ 54768 w 1624012"/>
                    <a:gd name="connsiteY29" fmla="*/ 800100 h 1533525"/>
                    <a:gd name="connsiteX30" fmla="*/ 76200 w 1624012"/>
                    <a:gd name="connsiteY30" fmla="*/ 788194 h 1533525"/>
                    <a:gd name="connsiteX31" fmla="*/ 128587 w 1624012"/>
                    <a:gd name="connsiteY31" fmla="*/ 821531 h 1533525"/>
                    <a:gd name="connsiteX32" fmla="*/ 126206 w 1624012"/>
                    <a:gd name="connsiteY32" fmla="*/ 800100 h 1533525"/>
                    <a:gd name="connsiteX33" fmla="*/ 164306 w 1624012"/>
                    <a:gd name="connsiteY33" fmla="*/ 795338 h 1533525"/>
                    <a:gd name="connsiteX34" fmla="*/ 173831 w 1624012"/>
                    <a:gd name="connsiteY34" fmla="*/ 759619 h 1533525"/>
                    <a:gd name="connsiteX35" fmla="*/ 235743 w 1624012"/>
                    <a:gd name="connsiteY35" fmla="*/ 764381 h 1533525"/>
                    <a:gd name="connsiteX36" fmla="*/ 235743 w 1624012"/>
                    <a:gd name="connsiteY36" fmla="*/ 764381 h 1533525"/>
                    <a:gd name="connsiteX37" fmla="*/ 245268 w 1624012"/>
                    <a:gd name="connsiteY37" fmla="*/ 704850 h 1533525"/>
                    <a:gd name="connsiteX38" fmla="*/ 276225 w 1624012"/>
                    <a:gd name="connsiteY38" fmla="*/ 666750 h 1533525"/>
                    <a:gd name="connsiteX39" fmla="*/ 292893 w 1624012"/>
                    <a:gd name="connsiteY39" fmla="*/ 638175 h 1533525"/>
                    <a:gd name="connsiteX40" fmla="*/ 245268 w 1624012"/>
                    <a:gd name="connsiteY40" fmla="*/ 602456 h 1533525"/>
                    <a:gd name="connsiteX41" fmla="*/ 264318 w 1624012"/>
                    <a:gd name="connsiteY41" fmla="*/ 585788 h 1533525"/>
                    <a:gd name="connsiteX42" fmla="*/ 311943 w 1624012"/>
                    <a:gd name="connsiteY42" fmla="*/ 602456 h 1533525"/>
                    <a:gd name="connsiteX43" fmla="*/ 369093 w 1624012"/>
                    <a:gd name="connsiteY43" fmla="*/ 573881 h 1533525"/>
                    <a:gd name="connsiteX44" fmla="*/ 457200 w 1624012"/>
                    <a:gd name="connsiteY44" fmla="*/ 545306 h 1533525"/>
                    <a:gd name="connsiteX45" fmla="*/ 538162 w 1624012"/>
                    <a:gd name="connsiteY45" fmla="*/ 578644 h 1533525"/>
                    <a:gd name="connsiteX46" fmla="*/ 614362 w 1624012"/>
                    <a:gd name="connsiteY46" fmla="*/ 550069 h 1533525"/>
                    <a:gd name="connsiteX47" fmla="*/ 650081 w 1624012"/>
                    <a:gd name="connsiteY47" fmla="*/ 552450 h 1533525"/>
                    <a:gd name="connsiteX48" fmla="*/ 654843 w 1624012"/>
                    <a:gd name="connsiteY48" fmla="*/ 523875 h 1533525"/>
                    <a:gd name="connsiteX49" fmla="*/ 654843 w 1624012"/>
                    <a:gd name="connsiteY49" fmla="*/ 490538 h 1533525"/>
                    <a:gd name="connsiteX50" fmla="*/ 669131 w 1624012"/>
                    <a:gd name="connsiteY50" fmla="*/ 469106 h 1533525"/>
                    <a:gd name="connsiteX51" fmla="*/ 652462 w 1624012"/>
                    <a:gd name="connsiteY51" fmla="*/ 450056 h 1533525"/>
                    <a:gd name="connsiteX52" fmla="*/ 642937 w 1624012"/>
                    <a:gd name="connsiteY52" fmla="*/ 411956 h 1533525"/>
                    <a:gd name="connsiteX53" fmla="*/ 642937 w 1624012"/>
                    <a:gd name="connsiteY53" fmla="*/ 330994 h 1533525"/>
                    <a:gd name="connsiteX54" fmla="*/ 633412 w 1624012"/>
                    <a:gd name="connsiteY54" fmla="*/ 319088 h 1533525"/>
                    <a:gd name="connsiteX55" fmla="*/ 664368 w 1624012"/>
                    <a:gd name="connsiteY55" fmla="*/ 285750 h 1533525"/>
                    <a:gd name="connsiteX56" fmla="*/ 721518 w 1624012"/>
                    <a:gd name="connsiteY56" fmla="*/ 292894 h 1533525"/>
                    <a:gd name="connsiteX57" fmla="*/ 733425 w 1624012"/>
                    <a:gd name="connsiteY57" fmla="*/ 264319 h 1533525"/>
                    <a:gd name="connsiteX58" fmla="*/ 731043 w 1624012"/>
                    <a:gd name="connsiteY58" fmla="*/ 228600 h 1533525"/>
                    <a:gd name="connsiteX59" fmla="*/ 790575 w 1624012"/>
                    <a:gd name="connsiteY59" fmla="*/ 192881 h 1533525"/>
                    <a:gd name="connsiteX60" fmla="*/ 804862 w 1624012"/>
                    <a:gd name="connsiteY60" fmla="*/ 166688 h 1533525"/>
                    <a:gd name="connsiteX61" fmla="*/ 778668 w 1624012"/>
                    <a:gd name="connsiteY61" fmla="*/ 128588 h 1533525"/>
                    <a:gd name="connsiteX62" fmla="*/ 771525 w 1624012"/>
                    <a:gd name="connsiteY62" fmla="*/ 104775 h 1533525"/>
                    <a:gd name="connsiteX63" fmla="*/ 823912 w 1624012"/>
                    <a:gd name="connsiteY63" fmla="*/ 97631 h 1533525"/>
                    <a:gd name="connsiteX64" fmla="*/ 869156 w 1624012"/>
                    <a:gd name="connsiteY64" fmla="*/ 52388 h 1533525"/>
                    <a:gd name="connsiteX65" fmla="*/ 890587 w 1624012"/>
                    <a:gd name="connsiteY65" fmla="*/ 23813 h 1533525"/>
                    <a:gd name="connsiteX66" fmla="*/ 923925 w 1624012"/>
                    <a:gd name="connsiteY66" fmla="*/ 9525 h 1533525"/>
                    <a:gd name="connsiteX67" fmla="*/ 971550 w 1624012"/>
                    <a:gd name="connsiteY67" fmla="*/ 0 h 1533525"/>
                    <a:gd name="connsiteX68" fmla="*/ 971550 w 1624012"/>
                    <a:gd name="connsiteY68" fmla="*/ 40481 h 1533525"/>
                    <a:gd name="connsiteX69" fmla="*/ 950118 w 1624012"/>
                    <a:gd name="connsiteY69" fmla="*/ 80963 h 1533525"/>
                    <a:gd name="connsiteX70" fmla="*/ 950118 w 1624012"/>
                    <a:gd name="connsiteY70" fmla="*/ 140494 h 1533525"/>
                    <a:gd name="connsiteX71" fmla="*/ 969168 w 1624012"/>
                    <a:gd name="connsiteY71" fmla="*/ 161925 h 1533525"/>
                    <a:gd name="connsiteX72" fmla="*/ 1007268 w 1624012"/>
                    <a:gd name="connsiteY72" fmla="*/ 188119 h 1533525"/>
                    <a:gd name="connsiteX73" fmla="*/ 1019175 w 1624012"/>
                    <a:gd name="connsiteY73" fmla="*/ 216694 h 1533525"/>
                    <a:gd name="connsiteX74" fmla="*/ 1004887 w 1624012"/>
                    <a:gd name="connsiteY74" fmla="*/ 226219 h 1533525"/>
                    <a:gd name="connsiteX75" fmla="*/ 1057275 w 1624012"/>
                    <a:gd name="connsiteY75" fmla="*/ 250031 h 1533525"/>
                    <a:gd name="connsiteX76" fmla="*/ 1073943 w 1624012"/>
                    <a:gd name="connsiteY76" fmla="*/ 228600 h 1533525"/>
                    <a:gd name="connsiteX77" fmla="*/ 1083468 w 1624012"/>
                    <a:gd name="connsiteY77" fmla="*/ 252413 h 1533525"/>
                    <a:gd name="connsiteX78" fmla="*/ 1116806 w 1624012"/>
                    <a:gd name="connsiteY78" fmla="*/ 252413 h 1533525"/>
                    <a:gd name="connsiteX79" fmla="*/ 1123950 w 1624012"/>
                    <a:gd name="connsiteY79" fmla="*/ 257175 h 1533525"/>
                    <a:gd name="connsiteX80" fmla="*/ 1116806 w 1624012"/>
                    <a:gd name="connsiteY80" fmla="*/ 276225 h 1533525"/>
                    <a:gd name="connsiteX81" fmla="*/ 1088231 w 1624012"/>
                    <a:gd name="connsiteY81" fmla="*/ 309563 h 1533525"/>
                    <a:gd name="connsiteX82" fmla="*/ 1123950 w 1624012"/>
                    <a:gd name="connsiteY82" fmla="*/ 333375 h 1533525"/>
                    <a:gd name="connsiteX83" fmla="*/ 1135856 w 1624012"/>
                    <a:gd name="connsiteY83" fmla="*/ 347663 h 1533525"/>
                    <a:gd name="connsiteX84" fmla="*/ 1135856 w 1624012"/>
                    <a:gd name="connsiteY84" fmla="*/ 376238 h 1533525"/>
                    <a:gd name="connsiteX85" fmla="*/ 1119187 w 1624012"/>
                    <a:gd name="connsiteY85" fmla="*/ 411956 h 1533525"/>
                    <a:gd name="connsiteX86" fmla="*/ 1162050 w 1624012"/>
                    <a:gd name="connsiteY86" fmla="*/ 423863 h 1533525"/>
                    <a:gd name="connsiteX87" fmla="*/ 1233487 w 1624012"/>
                    <a:gd name="connsiteY87" fmla="*/ 416719 h 1533525"/>
                    <a:gd name="connsiteX88" fmla="*/ 1223962 w 1624012"/>
                    <a:gd name="connsiteY88" fmla="*/ 385763 h 1533525"/>
                    <a:gd name="connsiteX89" fmla="*/ 1188243 w 1624012"/>
                    <a:gd name="connsiteY89" fmla="*/ 347663 h 1533525"/>
                    <a:gd name="connsiteX90" fmla="*/ 1181100 w 1624012"/>
                    <a:gd name="connsiteY90" fmla="*/ 333375 h 1533525"/>
                    <a:gd name="connsiteX91" fmla="*/ 1207293 w 1624012"/>
                    <a:gd name="connsiteY91" fmla="*/ 326231 h 1533525"/>
                    <a:gd name="connsiteX92" fmla="*/ 1200150 w 1624012"/>
                    <a:gd name="connsiteY92" fmla="*/ 302419 h 1533525"/>
                    <a:gd name="connsiteX93" fmla="*/ 1223962 w 1624012"/>
                    <a:gd name="connsiteY93" fmla="*/ 283369 h 1533525"/>
                    <a:gd name="connsiteX94" fmla="*/ 1250156 w 1624012"/>
                    <a:gd name="connsiteY94" fmla="*/ 242888 h 1533525"/>
                    <a:gd name="connsiteX95" fmla="*/ 1302543 w 1624012"/>
                    <a:gd name="connsiteY95" fmla="*/ 211931 h 1533525"/>
                    <a:gd name="connsiteX96" fmla="*/ 1350168 w 1624012"/>
                    <a:gd name="connsiteY96" fmla="*/ 123825 h 1533525"/>
                    <a:gd name="connsiteX97" fmla="*/ 1343025 w 1624012"/>
                    <a:gd name="connsiteY97" fmla="*/ 61913 h 1533525"/>
                    <a:gd name="connsiteX98" fmla="*/ 1381125 w 1624012"/>
                    <a:gd name="connsiteY98" fmla="*/ 0 h 1533525"/>
                    <a:gd name="connsiteX99" fmla="*/ 1419225 w 1624012"/>
                    <a:gd name="connsiteY99" fmla="*/ 11906 h 1533525"/>
                    <a:gd name="connsiteX100" fmla="*/ 1440656 w 1624012"/>
                    <a:gd name="connsiteY100" fmla="*/ 7144 h 1533525"/>
                    <a:gd name="connsiteX101" fmla="*/ 1438275 w 1624012"/>
                    <a:gd name="connsiteY101" fmla="*/ 69056 h 1533525"/>
                    <a:gd name="connsiteX102" fmla="*/ 1440656 w 1624012"/>
                    <a:gd name="connsiteY102" fmla="*/ 104775 h 1533525"/>
                    <a:gd name="connsiteX103" fmla="*/ 1490662 w 1624012"/>
                    <a:gd name="connsiteY103" fmla="*/ 142875 h 1533525"/>
                    <a:gd name="connsiteX104" fmla="*/ 1543050 w 1624012"/>
                    <a:gd name="connsiteY104" fmla="*/ 147638 h 1533525"/>
                    <a:gd name="connsiteX105" fmla="*/ 1547812 w 1624012"/>
                    <a:gd name="connsiteY105" fmla="*/ 121444 h 1533525"/>
                    <a:gd name="connsiteX106" fmla="*/ 1574006 w 1624012"/>
                    <a:gd name="connsiteY106" fmla="*/ 121444 h 1533525"/>
                    <a:gd name="connsiteX107" fmla="*/ 1624012 w 1624012"/>
                    <a:gd name="connsiteY107" fmla="*/ 109538 h 1533525"/>
                    <a:gd name="connsiteX108" fmla="*/ 1057275 w 1624012"/>
                    <a:gd name="connsiteY108" fmla="*/ 264319 h 1533525"/>
                    <a:gd name="connsiteX109" fmla="*/ 1062037 w 1624012"/>
                    <a:gd name="connsiteY109" fmla="*/ 304800 h 1533525"/>
                    <a:gd name="connsiteX110" fmla="*/ 995362 w 1624012"/>
                    <a:gd name="connsiteY110" fmla="*/ 352425 h 1533525"/>
                    <a:gd name="connsiteX111" fmla="*/ 973931 w 1624012"/>
                    <a:gd name="connsiteY111" fmla="*/ 383381 h 1533525"/>
                    <a:gd name="connsiteX112" fmla="*/ 1000125 w 1624012"/>
                    <a:gd name="connsiteY112" fmla="*/ 428625 h 1533525"/>
                    <a:gd name="connsiteX113" fmla="*/ 983456 w 1624012"/>
                    <a:gd name="connsiteY113" fmla="*/ 466725 h 1533525"/>
                    <a:gd name="connsiteX114" fmla="*/ 1000125 w 1624012"/>
                    <a:gd name="connsiteY114" fmla="*/ 519113 h 1533525"/>
                    <a:gd name="connsiteX115" fmla="*/ 1033462 w 1624012"/>
                    <a:gd name="connsiteY115" fmla="*/ 519113 h 1533525"/>
                    <a:gd name="connsiteX116" fmla="*/ 1019175 w 1624012"/>
                    <a:gd name="connsiteY116" fmla="*/ 552450 h 1533525"/>
                    <a:gd name="connsiteX117" fmla="*/ 1035843 w 1624012"/>
                    <a:gd name="connsiteY117" fmla="*/ 590550 h 1533525"/>
                    <a:gd name="connsiteX118" fmla="*/ 1035843 w 1624012"/>
                    <a:gd name="connsiteY118" fmla="*/ 607219 h 1533525"/>
                    <a:gd name="connsiteX119" fmla="*/ 1045368 w 1624012"/>
                    <a:gd name="connsiteY119" fmla="*/ 645319 h 1533525"/>
                    <a:gd name="connsiteX120" fmla="*/ 1064418 w 1624012"/>
                    <a:gd name="connsiteY120" fmla="*/ 645319 h 1533525"/>
                    <a:gd name="connsiteX121" fmla="*/ 1078706 w 1624012"/>
                    <a:gd name="connsiteY121" fmla="*/ 666750 h 1533525"/>
                    <a:gd name="connsiteX122" fmla="*/ 1085850 w 1624012"/>
                    <a:gd name="connsiteY122" fmla="*/ 688181 h 1533525"/>
                    <a:gd name="connsiteX123" fmla="*/ 1076325 w 1624012"/>
                    <a:gd name="connsiteY123" fmla="*/ 719138 h 1533525"/>
                    <a:gd name="connsiteX124" fmla="*/ 1021556 w 1624012"/>
                    <a:gd name="connsiteY124" fmla="*/ 714375 h 1533525"/>
                    <a:gd name="connsiteX125" fmla="*/ 1002506 w 1624012"/>
                    <a:gd name="connsiteY125" fmla="*/ 721519 h 1533525"/>
                    <a:gd name="connsiteX126" fmla="*/ 995362 w 1624012"/>
                    <a:gd name="connsiteY126" fmla="*/ 726281 h 1533525"/>
                    <a:gd name="connsiteX127" fmla="*/ 995362 w 1624012"/>
                    <a:gd name="connsiteY127" fmla="*/ 726281 h 1533525"/>
                    <a:gd name="connsiteX128" fmla="*/ 923925 w 1624012"/>
                    <a:gd name="connsiteY128" fmla="*/ 721519 h 1533525"/>
                    <a:gd name="connsiteX129" fmla="*/ 940593 w 1624012"/>
                    <a:gd name="connsiteY129" fmla="*/ 778669 h 1533525"/>
                    <a:gd name="connsiteX130" fmla="*/ 938212 w 1624012"/>
                    <a:gd name="connsiteY130" fmla="*/ 847725 h 1533525"/>
                    <a:gd name="connsiteX131" fmla="*/ 954881 w 1624012"/>
                    <a:gd name="connsiteY131" fmla="*/ 871538 h 1533525"/>
                    <a:gd name="connsiteX132" fmla="*/ 997743 w 1624012"/>
                    <a:gd name="connsiteY132" fmla="*/ 919163 h 1533525"/>
                    <a:gd name="connsiteX133" fmla="*/ 1012031 w 1624012"/>
                    <a:gd name="connsiteY133" fmla="*/ 954881 h 1533525"/>
                    <a:gd name="connsiteX134" fmla="*/ 1031081 w 1624012"/>
                    <a:gd name="connsiteY134" fmla="*/ 954881 h 1533525"/>
                    <a:gd name="connsiteX135" fmla="*/ 1071562 w 1624012"/>
                    <a:gd name="connsiteY135" fmla="*/ 940594 h 1533525"/>
                    <a:gd name="connsiteX136" fmla="*/ 1102518 w 1624012"/>
                    <a:gd name="connsiteY136" fmla="*/ 933450 h 1533525"/>
                    <a:gd name="connsiteX137" fmla="*/ 1159668 w 1624012"/>
                    <a:gd name="connsiteY137" fmla="*/ 997744 h 1533525"/>
                    <a:gd name="connsiteX138" fmla="*/ 1178718 w 1624012"/>
                    <a:gd name="connsiteY138" fmla="*/ 1052513 h 1533525"/>
                    <a:gd name="connsiteX139" fmla="*/ 1190625 w 1624012"/>
                    <a:gd name="connsiteY139" fmla="*/ 1081088 h 1533525"/>
                    <a:gd name="connsiteX140" fmla="*/ 1212056 w 1624012"/>
                    <a:gd name="connsiteY140" fmla="*/ 1109663 h 1533525"/>
                    <a:gd name="connsiteX141" fmla="*/ 1231106 w 1624012"/>
                    <a:gd name="connsiteY141" fmla="*/ 1102519 h 1533525"/>
                    <a:gd name="connsiteX142" fmla="*/ 1231106 w 1624012"/>
                    <a:gd name="connsiteY142" fmla="*/ 1131094 h 1533525"/>
                    <a:gd name="connsiteX143" fmla="*/ 1233487 w 1624012"/>
                    <a:gd name="connsiteY143" fmla="*/ 1145381 h 1533525"/>
                    <a:gd name="connsiteX144" fmla="*/ 1266825 w 1624012"/>
                    <a:gd name="connsiteY144" fmla="*/ 1181100 h 1533525"/>
                    <a:gd name="connsiteX145" fmla="*/ 1233487 w 1624012"/>
                    <a:gd name="connsiteY145" fmla="*/ 1181100 h 1533525"/>
                    <a:gd name="connsiteX146" fmla="*/ 1228725 w 1624012"/>
                    <a:gd name="connsiteY146" fmla="*/ 1223963 h 1533525"/>
                    <a:gd name="connsiteX147" fmla="*/ 1226343 w 1624012"/>
                    <a:gd name="connsiteY147" fmla="*/ 1243013 h 1533525"/>
                    <a:gd name="connsiteX148" fmla="*/ 1216818 w 1624012"/>
                    <a:gd name="connsiteY148" fmla="*/ 1264444 h 1533525"/>
                    <a:gd name="connsiteX149" fmla="*/ 1190625 w 1624012"/>
                    <a:gd name="connsiteY149" fmla="*/ 1238250 h 1533525"/>
                    <a:gd name="connsiteX150" fmla="*/ 1157287 w 1624012"/>
                    <a:gd name="connsiteY150" fmla="*/ 1209675 h 1533525"/>
                    <a:gd name="connsiteX151" fmla="*/ 1131093 w 1624012"/>
                    <a:gd name="connsiteY151" fmla="*/ 1185863 h 1533525"/>
                    <a:gd name="connsiteX152" fmla="*/ 1107281 w 1624012"/>
                    <a:gd name="connsiteY152" fmla="*/ 1219200 h 1533525"/>
                    <a:gd name="connsiteX153" fmla="*/ 1104900 w 1624012"/>
                    <a:gd name="connsiteY153" fmla="*/ 1264444 h 1533525"/>
                    <a:gd name="connsiteX154" fmla="*/ 1062037 w 1624012"/>
                    <a:gd name="connsiteY154" fmla="*/ 1259681 h 1533525"/>
                    <a:gd name="connsiteX155" fmla="*/ 1026318 w 1624012"/>
                    <a:gd name="connsiteY155" fmla="*/ 1288256 h 1533525"/>
                    <a:gd name="connsiteX156" fmla="*/ 1007268 w 1624012"/>
                    <a:gd name="connsiteY156" fmla="*/ 1240631 h 1533525"/>
                    <a:gd name="connsiteX157" fmla="*/ 947737 w 1624012"/>
                    <a:gd name="connsiteY157" fmla="*/ 1231106 h 1533525"/>
                    <a:gd name="connsiteX158" fmla="*/ 921543 w 1624012"/>
                    <a:gd name="connsiteY158" fmla="*/ 1297781 h 1533525"/>
                    <a:gd name="connsiteX159" fmla="*/ 885825 w 1624012"/>
                    <a:gd name="connsiteY159" fmla="*/ 1278731 h 1533525"/>
                    <a:gd name="connsiteX160" fmla="*/ 816768 w 1624012"/>
                    <a:gd name="connsiteY160" fmla="*/ 1295400 h 1533525"/>
                    <a:gd name="connsiteX161" fmla="*/ 757237 w 1624012"/>
                    <a:gd name="connsiteY161" fmla="*/ 1259681 h 1533525"/>
                    <a:gd name="connsiteX162" fmla="*/ 742950 w 1624012"/>
                    <a:gd name="connsiteY162" fmla="*/ 1312069 h 1533525"/>
                    <a:gd name="connsiteX163" fmla="*/ 704850 w 1624012"/>
                    <a:gd name="connsiteY163" fmla="*/ 1345406 h 1533525"/>
                    <a:gd name="connsiteX164" fmla="*/ 692943 w 1624012"/>
                    <a:gd name="connsiteY164" fmla="*/ 1366838 h 1533525"/>
                    <a:gd name="connsiteX165" fmla="*/ 671512 w 1624012"/>
                    <a:gd name="connsiteY165" fmla="*/ 1509713 h 1533525"/>
                    <a:gd name="connsiteX166" fmla="*/ 633412 w 1624012"/>
                    <a:gd name="connsiteY166" fmla="*/ 1490663 h 1533525"/>
                    <a:gd name="connsiteX167" fmla="*/ 614362 w 1624012"/>
                    <a:gd name="connsiteY167" fmla="*/ 1504950 h 1533525"/>
                    <a:gd name="connsiteX168" fmla="*/ 581025 w 1624012"/>
                    <a:gd name="connsiteY168" fmla="*/ 1531144 h 1533525"/>
                    <a:gd name="connsiteX169" fmla="*/ 523875 w 1624012"/>
                    <a:gd name="connsiteY169" fmla="*/ 1502569 h 1533525"/>
                    <a:gd name="connsiteX170" fmla="*/ 514350 w 1624012"/>
                    <a:gd name="connsiteY170" fmla="*/ 1490663 h 1533525"/>
                    <a:gd name="connsiteX171" fmla="*/ 483393 w 1624012"/>
                    <a:gd name="connsiteY171" fmla="*/ 1533525 h 1533525"/>
                    <a:gd name="connsiteX0" fmla="*/ 483393 w 1624012"/>
                    <a:gd name="connsiteY0" fmla="*/ 1533525 h 1533525"/>
                    <a:gd name="connsiteX1" fmla="*/ 459581 w 1624012"/>
                    <a:gd name="connsiteY1" fmla="*/ 1481138 h 1533525"/>
                    <a:gd name="connsiteX2" fmla="*/ 438150 w 1624012"/>
                    <a:gd name="connsiteY2" fmla="*/ 1471613 h 1533525"/>
                    <a:gd name="connsiteX3" fmla="*/ 400050 w 1624012"/>
                    <a:gd name="connsiteY3" fmla="*/ 1485900 h 1533525"/>
                    <a:gd name="connsiteX4" fmla="*/ 338137 w 1624012"/>
                    <a:gd name="connsiteY4" fmla="*/ 1490663 h 1533525"/>
                    <a:gd name="connsiteX5" fmla="*/ 330993 w 1624012"/>
                    <a:gd name="connsiteY5" fmla="*/ 1497806 h 1533525"/>
                    <a:gd name="connsiteX6" fmla="*/ 271462 w 1624012"/>
                    <a:gd name="connsiteY6" fmla="*/ 1471613 h 1533525"/>
                    <a:gd name="connsiteX7" fmla="*/ 219075 w 1624012"/>
                    <a:gd name="connsiteY7" fmla="*/ 1443038 h 1533525"/>
                    <a:gd name="connsiteX8" fmla="*/ 138112 w 1624012"/>
                    <a:gd name="connsiteY8" fmla="*/ 1402556 h 1533525"/>
                    <a:gd name="connsiteX9" fmla="*/ 95250 w 1624012"/>
                    <a:gd name="connsiteY9" fmla="*/ 1316831 h 1533525"/>
                    <a:gd name="connsiteX10" fmla="*/ 80962 w 1624012"/>
                    <a:gd name="connsiteY10" fmla="*/ 1288256 h 1533525"/>
                    <a:gd name="connsiteX11" fmla="*/ 104775 w 1624012"/>
                    <a:gd name="connsiteY11" fmla="*/ 1266825 h 1533525"/>
                    <a:gd name="connsiteX12" fmla="*/ 76200 w 1624012"/>
                    <a:gd name="connsiteY12" fmla="*/ 1212056 h 1533525"/>
                    <a:gd name="connsiteX13" fmla="*/ 109537 w 1624012"/>
                    <a:gd name="connsiteY13" fmla="*/ 1193006 h 1533525"/>
                    <a:gd name="connsiteX14" fmla="*/ 140493 w 1624012"/>
                    <a:gd name="connsiteY14" fmla="*/ 1143000 h 1533525"/>
                    <a:gd name="connsiteX15" fmla="*/ 123825 w 1624012"/>
                    <a:gd name="connsiteY15" fmla="*/ 1107281 h 1533525"/>
                    <a:gd name="connsiteX16" fmla="*/ 178593 w 1624012"/>
                    <a:gd name="connsiteY16" fmla="*/ 1107281 h 1533525"/>
                    <a:gd name="connsiteX17" fmla="*/ 192881 w 1624012"/>
                    <a:gd name="connsiteY17" fmla="*/ 1109663 h 1533525"/>
                    <a:gd name="connsiteX18" fmla="*/ 159543 w 1624012"/>
                    <a:gd name="connsiteY18" fmla="*/ 1064419 h 1533525"/>
                    <a:gd name="connsiteX19" fmla="*/ 169068 w 1624012"/>
                    <a:gd name="connsiteY19" fmla="*/ 1014413 h 1533525"/>
                    <a:gd name="connsiteX20" fmla="*/ 123825 w 1624012"/>
                    <a:gd name="connsiteY20" fmla="*/ 997744 h 1533525"/>
                    <a:gd name="connsiteX21" fmla="*/ 61912 w 1624012"/>
                    <a:gd name="connsiteY21" fmla="*/ 954881 h 1533525"/>
                    <a:gd name="connsiteX22" fmla="*/ 45243 w 1624012"/>
                    <a:gd name="connsiteY22" fmla="*/ 938213 h 1533525"/>
                    <a:gd name="connsiteX23" fmla="*/ 64293 w 1624012"/>
                    <a:gd name="connsiteY23" fmla="*/ 909638 h 1533525"/>
                    <a:gd name="connsiteX24" fmla="*/ 47625 w 1624012"/>
                    <a:gd name="connsiteY24" fmla="*/ 897731 h 1533525"/>
                    <a:gd name="connsiteX25" fmla="*/ 47625 w 1624012"/>
                    <a:gd name="connsiteY25" fmla="*/ 881063 h 1533525"/>
                    <a:gd name="connsiteX26" fmla="*/ 26193 w 1624012"/>
                    <a:gd name="connsiteY26" fmla="*/ 881063 h 1533525"/>
                    <a:gd name="connsiteX27" fmla="*/ 7143 w 1624012"/>
                    <a:gd name="connsiteY27" fmla="*/ 847725 h 1533525"/>
                    <a:gd name="connsiteX28" fmla="*/ 0 w 1624012"/>
                    <a:gd name="connsiteY28" fmla="*/ 816769 h 1533525"/>
                    <a:gd name="connsiteX29" fmla="*/ 54768 w 1624012"/>
                    <a:gd name="connsiteY29" fmla="*/ 800100 h 1533525"/>
                    <a:gd name="connsiteX30" fmla="*/ 76200 w 1624012"/>
                    <a:gd name="connsiteY30" fmla="*/ 788194 h 1533525"/>
                    <a:gd name="connsiteX31" fmla="*/ 128587 w 1624012"/>
                    <a:gd name="connsiteY31" fmla="*/ 821531 h 1533525"/>
                    <a:gd name="connsiteX32" fmla="*/ 126206 w 1624012"/>
                    <a:gd name="connsiteY32" fmla="*/ 800100 h 1533525"/>
                    <a:gd name="connsiteX33" fmla="*/ 164306 w 1624012"/>
                    <a:gd name="connsiteY33" fmla="*/ 795338 h 1533525"/>
                    <a:gd name="connsiteX34" fmla="*/ 173831 w 1624012"/>
                    <a:gd name="connsiteY34" fmla="*/ 759619 h 1533525"/>
                    <a:gd name="connsiteX35" fmla="*/ 235743 w 1624012"/>
                    <a:gd name="connsiteY35" fmla="*/ 764381 h 1533525"/>
                    <a:gd name="connsiteX36" fmla="*/ 235743 w 1624012"/>
                    <a:gd name="connsiteY36" fmla="*/ 764381 h 1533525"/>
                    <a:gd name="connsiteX37" fmla="*/ 245268 w 1624012"/>
                    <a:gd name="connsiteY37" fmla="*/ 704850 h 1533525"/>
                    <a:gd name="connsiteX38" fmla="*/ 276225 w 1624012"/>
                    <a:gd name="connsiteY38" fmla="*/ 666750 h 1533525"/>
                    <a:gd name="connsiteX39" fmla="*/ 292893 w 1624012"/>
                    <a:gd name="connsiteY39" fmla="*/ 638175 h 1533525"/>
                    <a:gd name="connsiteX40" fmla="*/ 245268 w 1624012"/>
                    <a:gd name="connsiteY40" fmla="*/ 602456 h 1533525"/>
                    <a:gd name="connsiteX41" fmla="*/ 264318 w 1624012"/>
                    <a:gd name="connsiteY41" fmla="*/ 585788 h 1533525"/>
                    <a:gd name="connsiteX42" fmla="*/ 311943 w 1624012"/>
                    <a:gd name="connsiteY42" fmla="*/ 602456 h 1533525"/>
                    <a:gd name="connsiteX43" fmla="*/ 369093 w 1624012"/>
                    <a:gd name="connsiteY43" fmla="*/ 573881 h 1533525"/>
                    <a:gd name="connsiteX44" fmla="*/ 457200 w 1624012"/>
                    <a:gd name="connsiteY44" fmla="*/ 545306 h 1533525"/>
                    <a:gd name="connsiteX45" fmla="*/ 538162 w 1624012"/>
                    <a:gd name="connsiteY45" fmla="*/ 578644 h 1533525"/>
                    <a:gd name="connsiteX46" fmla="*/ 614362 w 1624012"/>
                    <a:gd name="connsiteY46" fmla="*/ 550069 h 1533525"/>
                    <a:gd name="connsiteX47" fmla="*/ 650081 w 1624012"/>
                    <a:gd name="connsiteY47" fmla="*/ 552450 h 1533525"/>
                    <a:gd name="connsiteX48" fmla="*/ 654843 w 1624012"/>
                    <a:gd name="connsiteY48" fmla="*/ 523875 h 1533525"/>
                    <a:gd name="connsiteX49" fmla="*/ 654843 w 1624012"/>
                    <a:gd name="connsiteY49" fmla="*/ 490538 h 1533525"/>
                    <a:gd name="connsiteX50" fmla="*/ 669131 w 1624012"/>
                    <a:gd name="connsiteY50" fmla="*/ 469106 h 1533525"/>
                    <a:gd name="connsiteX51" fmla="*/ 652462 w 1624012"/>
                    <a:gd name="connsiteY51" fmla="*/ 450056 h 1533525"/>
                    <a:gd name="connsiteX52" fmla="*/ 642937 w 1624012"/>
                    <a:gd name="connsiteY52" fmla="*/ 411956 h 1533525"/>
                    <a:gd name="connsiteX53" fmla="*/ 642937 w 1624012"/>
                    <a:gd name="connsiteY53" fmla="*/ 330994 h 1533525"/>
                    <a:gd name="connsiteX54" fmla="*/ 633412 w 1624012"/>
                    <a:gd name="connsiteY54" fmla="*/ 319088 h 1533525"/>
                    <a:gd name="connsiteX55" fmla="*/ 664368 w 1624012"/>
                    <a:gd name="connsiteY55" fmla="*/ 285750 h 1533525"/>
                    <a:gd name="connsiteX56" fmla="*/ 721518 w 1624012"/>
                    <a:gd name="connsiteY56" fmla="*/ 292894 h 1533525"/>
                    <a:gd name="connsiteX57" fmla="*/ 733425 w 1624012"/>
                    <a:gd name="connsiteY57" fmla="*/ 264319 h 1533525"/>
                    <a:gd name="connsiteX58" fmla="*/ 731043 w 1624012"/>
                    <a:gd name="connsiteY58" fmla="*/ 228600 h 1533525"/>
                    <a:gd name="connsiteX59" fmla="*/ 790575 w 1624012"/>
                    <a:gd name="connsiteY59" fmla="*/ 192881 h 1533525"/>
                    <a:gd name="connsiteX60" fmla="*/ 804862 w 1624012"/>
                    <a:gd name="connsiteY60" fmla="*/ 166688 h 1533525"/>
                    <a:gd name="connsiteX61" fmla="*/ 778668 w 1624012"/>
                    <a:gd name="connsiteY61" fmla="*/ 128588 h 1533525"/>
                    <a:gd name="connsiteX62" fmla="*/ 771525 w 1624012"/>
                    <a:gd name="connsiteY62" fmla="*/ 104775 h 1533525"/>
                    <a:gd name="connsiteX63" fmla="*/ 823912 w 1624012"/>
                    <a:gd name="connsiteY63" fmla="*/ 97631 h 1533525"/>
                    <a:gd name="connsiteX64" fmla="*/ 869156 w 1624012"/>
                    <a:gd name="connsiteY64" fmla="*/ 52388 h 1533525"/>
                    <a:gd name="connsiteX65" fmla="*/ 890587 w 1624012"/>
                    <a:gd name="connsiteY65" fmla="*/ 23813 h 1533525"/>
                    <a:gd name="connsiteX66" fmla="*/ 923925 w 1624012"/>
                    <a:gd name="connsiteY66" fmla="*/ 9525 h 1533525"/>
                    <a:gd name="connsiteX67" fmla="*/ 971550 w 1624012"/>
                    <a:gd name="connsiteY67" fmla="*/ 0 h 1533525"/>
                    <a:gd name="connsiteX68" fmla="*/ 971550 w 1624012"/>
                    <a:gd name="connsiteY68" fmla="*/ 40481 h 1533525"/>
                    <a:gd name="connsiteX69" fmla="*/ 950118 w 1624012"/>
                    <a:gd name="connsiteY69" fmla="*/ 80963 h 1533525"/>
                    <a:gd name="connsiteX70" fmla="*/ 950118 w 1624012"/>
                    <a:gd name="connsiteY70" fmla="*/ 140494 h 1533525"/>
                    <a:gd name="connsiteX71" fmla="*/ 969168 w 1624012"/>
                    <a:gd name="connsiteY71" fmla="*/ 161925 h 1533525"/>
                    <a:gd name="connsiteX72" fmla="*/ 1007268 w 1624012"/>
                    <a:gd name="connsiteY72" fmla="*/ 188119 h 1533525"/>
                    <a:gd name="connsiteX73" fmla="*/ 1019175 w 1624012"/>
                    <a:gd name="connsiteY73" fmla="*/ 216694 h 1533525"/>
                    <a:gd name="connsiteX74" fmla="*/ 1004887 w 1624012"/>
                    <a:gd name="connsiteY74" fmla="*/ 226219 h 1533525"/>
                    <a:gd name="connsiteX75" fmla="*/ 1057275 w 1624012"/>
                    <a:gd name="connsiteY75" fmla="*/ 250031 h 1533525"/>
                    <a:gd name="connsiteX76" fmla="*/ 1073943 w 1624012"/>
                    <a:gd name="connsiteY76" fmla="*/ 228600 h 1533525"/>
                    <a:gd name="connsiteX77" fmla="*/ 1083468 w 1624012"/>
                    <a:gd name="connsiteY77" fmla="*/ 252413 h 1533525"/>
                    <a:gd name="connsiteX78" fmla="*/ 1116806 w 1624012"/>
                    <a:gd name="connsiteY78" fmla="*/ 252413 h 1533525"/>
                    <a:gd name="connsiteX79" fmla="*/ 1123950 w 1624012"/>
                    <a:gd name="connsiteY79" fmla="*/ 257175 h 1533525"/>
                    <a:gd name="connsiteX80" fmla="*/ 1116806 w 1624012"/>
                    <a:gd name="connsiteY80" fmla="*/ 276225 h 1533525"/>
                    <a:gd name="connsiteX81" fmla="*/ 1088231 w 1624012"/>
                    <a:gd name="connsiteY81" fmla="*/ 309563 h 1533525"/>
                    <a:gd name="connsiteX82" fmla="*/ 1123950 w 1624012"/>
                    <a:gd name="connsiteY82" fmla="*/ 333375 h 1533525"/>
                    <a:gd name="connsiteX83" fmla="*/ 1135856 w 1624012"/>
                    <a:gd name="connsiteY83" fmla="*/ 347663 h 1533525"/>
                    <a:gd name="connsiteX84" fmla="*/ 1135856 w 1624012"/>
                    <a:gd name="connsiteY84" fmla="*/ 376238 h 1533525"/>
                    <a:gd name="connsiteX85" fmla="*/ 1119187 w 1624012"/>
                    <a:gd name="connsiteY85" fmla="*/ 411956 h 1533525"/>
                    <a:gd name="connsiteX86" fmla="*/ 1162050 w 1624012"/>
                    <a:gd name="connsiteY86" fmla="*/ 423863 h 1533525"/>
                    <a:gd name="connsiteX87" fmla="*/ 1233487 w 1624012"/>
                    <a:gd name="connsiteY87" fmla="*/ 416719 h 1533525"/>
                    <a:gd name="connsiteX88" fmla="*/ 1223962 w 1624012"/>
                    <a:gd name="connsiteY88" fmla="*/ 385763 h 1533525"/>
                    <a:gd name="connsiteX89" fmla="*/ 1188243 w 1624012"/>
                    <a:gd name="connsiteY89" fmla="*/ 347663 h 1533525"/>
                    <a:gd name="connsiteX90" fmla="*/ 1181100 w 1624012"/>
                    <a:gd name="connsiteY90" fmla="*/ 333375 h 1533525"/>
                    <a:gd name="connsiteX91" fmla="*/ 1207293 w 1624012"/>
                    <a:gd name="connsiteY91" fmla="*/ 326231 h 1533525"/>
                    <a:gd name="connsiteX92" fmla="*/ 1200150 w 1624012"/>
                    <a:gd name="connsiteY92" fmla="*/ 302419 h 1533525"/>
                    <a:gd name="connsiteX93" fmla="*/ 1223962 w 1624012"/>
                    <a:gd name="connsiteY93" fmla="*/ 283369 h 1533525"/>
                    <a:gd name="connsiteX94" fmla="*/ 1250156 w 1624012"/>
                    <a:gd name="connsiteY94" fmla="*/ 242888 h 1533525"/>
                    <a:gd name="connsiteX95" fmla="*/ 1302543 w 1624012"/>
                    <a:gd name="connsiteY95" fmla="*/ 211931 h 1533525"/>
                    <a:gd name="connsiteX96" fmla="*/ 1350168 w 1624012"/>
                    <a:gd name="connsiteY96" fmla="*/ 123825 h 1533525"/>
                    <a:gd name="connsiteX97" fmla="*/ 1343025 w 1624012"/>
                    <a:gd name="connsiteY97" fmla="*/ 61913 h 1533525"/>
                    <a:gd name="connsiteX98" fmla="*/ 1381125 w 1624012"/>
                    <a:gd name="connsiteY98" fmla="*/ 0 h 1533525"/>
                    <a:gd name="connsiteX99" fmla="*/ 1419225 w 1624012"/>
                    <a:gd name="connsiteY99" fmla="*/ 11906 h 1533525"/>
                    <a:gd name="connsiteX100" fmla="*/ 1438275 w 1624012"/>
                    <a:gd name="connsiteY100" fmla="*/ 69056 h 1533525"/>
                    <a:gd name="connsiteX101" fmla="*/ 1440656 w 1624012"/>
                    <a:gd name="connsiteY101" fmla="*/ 104775 h 1533525"/>
                    <a:gd name="connsiteX102" fmla="*/ 1490662 w 1624012"/>
                    <a:gd name="connsiteY102" fmla="*/ 142875 h 1533525"/>
                    <a:gd name="connsiteX103" fmla="*/ 1543050 w 1624012"/>
                    <a:gd name="connsiteY103" fmla="*/ 147638 h 1533525"/>
                    <a:gd name="connsiteX104" fmla="*/ 1547812 w 1624012"/>
                    <a:gd name="connsiteY104" fmla="*/ 121444 h 1533525"/>
                    <a:gd name="connsiteX105" fmla="*/ 1574006 w 1624012"/>
                    <a:gd name="connsiteY105" fmla="*/ 121444 h 1533525"/>
                    <a:gd name="connsiteX106" fmla="*/ 1624012 w 1624012"/>
                    <a:gd name="connsiteY106" fmla="*/ 109538 h 1533525"/>
                    <a:gd name="connsiteX107" fmla="*/ 1057275 w 1624012"/>
                    <a:gd name="connsiteY107" fmla="*/ 264319 h 1533525"/>
                    <a:gd name="connsiteX108" fmla="*/ 1062037 w 1624012"/>
                    <a:gd name="connsiteY108" fmla="*/ 304800 h 1533525"/>
                    <a:gd name="connsiteX109" fmla="*/ 995362 w 1624012"/>
                    <a:gd name="connsiteY109" fmla="*/ 352425 h 1533525"/>
                    <a:gd name="connsiteX110" fmla="*/ 973931 w 1624012"/>
                    <a:gd name="connsiteY110" fmla="*/ 383381 h 1533525"/>
                    <a:gd name="connsiteX111" fmla="*/ 1000125 w 1624012"/>
                    <a:gd name="connsiteY111" fmla="*/ 428625 h 1533525"/>
                    <a:gd name="connsiteX112" fmla="*/ 983456 w 1624012"/>
                    <a:gd name="connsiteY112" fmla="*/ 466725 h 1533525"/>
                    <a:gd name="connsiteX113" fmla="*/ 1000125 w 1624012"/>
                    <a:gd name="connsiteY113" fmla="*/ 519113 h 1533525"/>
                    <a:gd name="connsiteX114" fmla="*/ 1033462 w 1624012"/>
                    <a:gd name="connsiteY114" fmla="*/ 519113 h 1533525"/>
                    <a:gd name="connsiteX115" fmla="*/ 1019175 w 1624012"/>
                    <a:gd name="connsiteY115" fmla="*/ 552450 h 1533525"/>
                    <a:gd name="connsiteX116" fmla="*/ 1035843 w 1624012"/>
                    <a:gd name="connsiteY116" fmla="*/ 590550 h 1533525"/>
                    <a:gd name="connsiteX117" fmla="*/ 1035843 w 1624012"/>
                    <a:gd name="connsiteY117" fmla="*/ 607219 h 1533525"/>
                    <a:gd name="connsiteX118" fmla="*/ 1045368 w 1624012"/>
                    <a:gd name="connsiteY118" fmla="*/ 645319 h 1533525"/>
                    <a:gd name="connsiteX119" fmla="*/ 1064418 w 1624012"/>
                    <a:gd name="connsiteY119" fmla="*/ 645319 h 1533525"/>
                    <a:gd name="connsiteX120" fmla="*/ 1078706 w 1624012"/>
                    <a:gd name="connsiteY120" fmla="*/ 666750 h 1533525"/>
                    <a:gd name="connsiteX121" fmla="*/ 1085850 w 1624012"/>
                    <a:gd name="connsiteY121" fmla="*/ 688181 h 1533525"/>
                    <a:gd name="connsiteX122" fmla="*/ 1076325 w 1624012"/>
                    <a:gd name="connsiteY122" fmla="*/ 719138 h 1533525"/>
                    <a:gd name="connsiteX123" fmla="*/ 1021556 w 1624012"/>
                    <a:gd name="connsiteY123" fmla="*/ 714375 h 1533525"/>
                    <a:gd name="connsiteX124" fmla="*/ 1002506 w 1624012"/>
                    <a:gd name="connsiteY124" fmla="*/ 721519 h 1533525"/>
                    <a:gd name="connsiteX125" fmla="*/ 995362 w 1624012"/>
                    <a:gd name="connsiteY125" fmla="*/ 726281 h 1533525"/>
                    <a:gd name="connsiteX126" fmla="*/ 995362 w 1624012"/>
                    <a:gd name="connsiteY126" fmla="*/ 726281 h 1533525"/>
                    <a:gd name="connsiteX127" fmla="*/ 923925 w 1624012"/>
                    <a:gd name="connsiteY127" fmla="*/ 721519 h 1533525"/>
                    <a:gd name="connsiteX128" fmla="*/ 940593 w 1624012"/>
                    <a:gd name="connsiteY128" fmla="*/ 778669 h 1533525"/>
                    <a:gd name="connsiteX129" fmla="*/ 938212 w 1624012"/>
                    <a:gd name="connsiteY129" fmla="*/ 847725 h 1533525"/>
                    <a:gd name="connsiteX130" fmla="*/ 954881 w 1624012"/>
                    <a:gd name="connsiteY130" fmla="*/ 871538 h 1533525"/>
                    <a:gd name="connsiteX131" fmla="*/ 997743 w 1624012"/>
                    <a:gd name="connsiteY131" fmla="*/ 919163 h 1533525"/>
                    <a:gd name="connsiteX132" fmla="*/ 1012031 w 1624012"/>
                    <a:gd name="connsiteY132" fmla="*/ 954881 h 1533525"/>
                    <a:gd name="connsiteX133" fmla="*/ 1031081 w 1624012"/>
                    <a:gd name="connsiteY133" fmla="*/ 954881 h 1533525"/>
                    <a:gd name="connsiteX134" fmla="*/ 1071562 w 1624012"/>
                    <a:gd name="connsiteY134" fmla="*/ 940594 h 1533525"/>
                    <a:gd name="connsiteX135" fmla="*/ 1102518 w 1624012"/>
                    <a:gd name="connsiteY135" fmla="*/ 933450 h 1533525"/>
                    <a:gd name="connsiteX136" fmla="*/ 1159668 w 1624012"/>
                    <a:gd name="connsiteY136" fmla="*/ 997744 h 1533525"/>
                    <a:gd name="connsiteX137" fmla="*/ 1178718 w 1624012"/>
                    <a:gd name="connsiteY137" fmla="*/ 1052513 h 1533525"/>
                    <a:gd name="connsiteX138" fmla="*/ 1190625 w 1624012"/>
                    <a:gd name="connsiteY138" fmla="*/ 1081088 h 1533525"/>
                    <a:gd name="connsiteX139" fmla="*/ 1212056 w 1624012"/>
                    <a:gd name="connsiteY139" fmla="*/ 1109663 h 1533525"/>
                    <a:gd name="connsiteX140" fmla="*/ 1231106 w 1624012"/>
                    <a:gd name="connsiteY140" fmla="*/ 1102519 h 1533525"/>
                    <a:gd name="connsiteX141" fmla="*/ 1231106 w 1624012"/>
                    <a:gd name="connsiteY141" fmla="*/ 1131094 h 1533525"/>
                    <a:gd name="connsiteX142" fmla="*/ 1233487 w 1624012"/>
                    <a:gd name="connsiteY142" fmla="*/ 1145381 h 1533525"/>
                    <a:gd name="connsiteX143" fmla="*/ 1266825 w 1624012"/>
                    <a:gd name="connsiteY143" fmla="*/ 1181100 h 1533525"/>
                    <a:gd name="connsiteX144" fmla="*/ 1233487 w 1624012"/>
                    <a:gd name="connsiteY144" fmla="*/ 1181100 h 1533525"/>
                    <a:gd name="connsiteX145" fmla="*/ 1228725 w 1624012"/>
                    <a:gd name="connsiteY145" fmla="*/ 1223963 h 1533525"/>
                    <a:gd name="connsiteX146" fmla="*/ 1226343 w 1624012"/>
                    <a:gd name="connsiteY146" fmla="*/ 1243013 h 1533525"/>
                    <a:gd name="connsiteX147" fmla="*/ 1216818 w 1624012"/>
                    <a:gd name="connsiteY147" fmla="*/ 1264444 h 1533525"/>
                    <a:gd name="connsiteX148" fmla="*/ 1190625 w 1624012"/>
                    <a:gd name="connsiteY148" fmla="*/ 1238250 h 1533525"/>
                    <a:gd name="connsiteX149" fmla="*/ 1157287 w 1624012"/>
                    <a:gd name="connsiteY149" fmla="*/ 1209675 h 1533525"/>
                    <a:gd name="connsiteX150" fmla="*/ 1131093 w 1624012"/>
                    <a:gd name="connsiteY150" fmla="*/ 1185863 h 1533525"/>
                    <a:gd name="connsiteX151" fmla="*/ 1107281 w 1624012"/>
                    <a:gd name="connsiteY151" fmla="*/ 1219200 h 1533525"/>
                    <a:gd name="connsiteX152" fmla="*/ 1104900 w 1624012"/>
                    <a:gd name="connsiteY152" fmla="*/ 1264444 h 1533525"/>
                    <a:gd name="connsiteX153" fmla="*/ 1062037 w 1624012"/>
                    <a:gd name="connsiteY153" fmla="*/ 1259681 h 1533525"/>
                    <a:gd name="connsiteX154" fmla="*/ 1026318 w 1624012"/>
                    <a:gd name="connsiteY154" fmla="*/ 1288256 h 1533525"/>
                    <a:gd name="connsiteX155" fmla="*/ 1007268 w 1624012"/>
                    <a:gd name="connsiteY155" fmla="*/ 1240631 h 1533525"/>
                    <a:gd name="connsiteX156" fmla="*/ 947737 w 1624012"/>
                    <a:gd name="connsiteY156" fmla="*/ 1231106 h 1533525"/>
                    <a:gd name="connsiteX157" fmla="*/ 921543 w 1624012"/>
                    <a:gd name="connsiteY157" fmla="*/ 1297781 h 1533525"/>
                    <a:gd name="connsiteX158" fmla="*/ 885825 w 1624012"/>
                    <a:gd name="connsiteY158" fmla="*/ 1278731 h 1533525"/>
                    <a:gd name="connsiteX159" fmla="*/ 816768 w 1624012"/>
                    <a:gd name="connsiteY159" fmla="*/ 1295400 h 1533525"/>
                    <a:gd name="connsiteX160" fmla="*/ 757237 w 1624012"/>
                    <a:gd name="connsiteY160" fmla="*/ 1259681 h 1533525"/>
                    <a:gd name="connsiteX161" fmla="*/ 742950 w 1624012"/>
                    <a:gd name="connsiteY161" fmla="*/ 1312069 h 1533525"/>
                    <a:gd name="connsiteX162" fmla="*/ 704850 w 1624012"/>
                    <a:gd name="connsiteY162" fmla="*/ 1345406 h 1533525"/>
                    <a:gd name="connsiteX163" fmla="*/ 692943 w 1624012"/>
                    <a:gd name="connsiteY163" fmla="*/ 1366838 h 1533525"/>
                    <a:gd name="connsiteX164" fmla="*/ 671512 w 1624012"/>
                    <a:gd name="connsiteY164" fmla="*/ 1509713 h 1533525"/>
                    <a:gd name="connsiteX165" fmla="*/ 633412 w 1624012"/>
                    <a:gd name="connsiteY165" fmla="*/ 1490663 h 1533525"/>
                    <a:gd name="connsiteX166" fmla="*/ 614362 w 1624012"/>
                    <a:gd name="connsiteY166" fmla="*/ 1504950 h 1533525"/>
                    <a:gd name="connsiteX167" fmla="*/ 581025 w 1624012"/>
                    <a:gd name="connsiteY167" fmla="*/ 1531144 h 1533525"/>
                    <a:gd name="connsiteX168" fmla="*/ 523875 w 1624012"/>
                    <a:gd name="connsiteY168" fmla="*/ 1502569 h 1533525"/>
                    <a:gd name="connsiteX169" fmla="*/ 514350 w 1624012"/>
                    <a:gd name="connsiteY169" fmla="*/ 1490663 h 1533525"/>
                    <a:gd name="connsiteX170" fmla="*/ 483393 w 1624012"/>
                    <a:gd name="connsiteY170" fmla="*/ 1533525 h 1533525"/>
                    <a:gd name="connsiteX0" fmla="*/ 483393 w 1624012"/>
                    <a:gd name="connsiteY0" fmla="*/ 1533525 h 1533525"/>
                    <a:gd name="connsiteX1" fmla="*/ 459581 w 1624012"/>
                    <a:gd name="connsiteY1" fmla="*/ 1481138 h 1533525"/>
                    <a:gd name="connsiteX2" fmla="*/ 438150 w 1624012"/>
                    <a:gd name="connsiteY2" fmla="*/ 1471613 h 1533525"/>
                    <a:gd name="connsiteX3" fmla="*/ 400050 w 1624012"/>
                    <a:gd name="connsiteY3" fmla="*/ 1485900 h 1533525"/>
                    <a:gd name="connsiteX4" fmla="*/ 338137 w 1624012"/>
                    <a:gd name="connsiteY4" fmla="*/ 1490663 h 1533525"/>
                    <a:gd name="connsiteX5" fmla="*/ 330993 w 1624012"/>
                    <a:gd name="connsiteY5" fmla="*/ 1497806 h 1533525"/>
                    <a:gd name="connsiteX6" fmla="*/ 271462 w 1624012"/>
                    <a:gd name="connsiteY6" fmla="*/ 1471613 h 1533525"/>
                    <a:gd name="connsiteX7" fmla="*/ 219075 w 1624012"/>
                    <a:gd name="connsiteY7" fmla="*/ 1443038 h 1533525"/>
                    <a:gd name="connsiteX8" fmla="*/ 138112 w 1624012"/>
                    <a:gd name="connsiteY8" fmla="*/ 1402556 h 1533525"/>
                    <a:gd name="connsiteX9" fmla="*/ 95250 w 1624012"/>
                    <a:gd name="connsiteY9" fmla="*/ 1316831 h 1533525"/>
                    <a:gd name="connsiteX10" fmla="*/ 80962 w 1624012"/>
                    <a:gd name="connsiteY10" fmla="*/ 1288256 h 1533525"/>
                    <a:gd name="connsiteX11" fmla="*/ 104775 w 1624012"/>
                    <a:gd name="connsiteY11" fmla="*/ 1266825 h 1533525"/>
                    <a:gd name="connsiteX12" fmla="*/ 76200 w 1624012"/>
                    <a:gd name="connsiteY12" fmla="*/ 1212056 h 1533525"/>
                    <a:gd name="connsiteX13" fmla="*/ 109537 w 1624012"/>
                    <a:gd name="connsiteY13" fmla="*/ 1193006 h 1533525"/>
                    <a:gd name="connsiteX14" fmla="*/ 140493 w 1624012"/>
                    <a:gd name="connsiteY14" fmla="*/ 1143000 h 1533525"/>
                    <a:gd name="connsiteX15" fmla="*/ 123825 w 1624012"/>
                    <a:gd name="connsiteY15" fmla="*/ 1107281 h 1533525"/>
                    <a:gd name="connsiteX16" fmla="*/ 178593 w 1624012"/>
                    <a:gd name="connsiteY16" fmla="*/ 1107281 h 1533525"/>
                    <a:gd name="connsiteX17" fmla="*/ 192881 w 1624012"/>
                    <a:gd name="connsiteY17" fmla="*/ 1109663 h 1533525"/>
                    <a:gd name="connsiteX18" fmla="*/ 159543 w 1624012"/>
                    <a:gd name="connsiteY18" fmla="*/ 1064419 h 1533525"/>
                    <a:gd name="connsiteX19" fmla="*/ 169068 w 1624012"/>
                    <a:gd name="connsiteY19" fmla="*/ 1014413 h 1533525"/>
                    <a:gd name="connsiteX20" fmla="*/ 123825 w 1624012"/>
                    <a:gd name="connsiteY20" fmla="*/ 997744 h 1533525"/>
                    <a:gd name="connsiteX21" fmla="*/ 61912 w 1624012"/>
                    <a:gd name="connsiteY21" fmla="*/ 954881 h 1533525"/>
                    <a:gd name="connsiteX22" fmla="*/ 45243 w 1624012"/>
                    <a:gd name="connsiteY22" fmla="*/ 938213 h 1533525"/>
                    <a:gd name="connsiteX23" fmla="*/ 64293 w 1624012"/>
                    <a:gd name="connsiteY23" fmla="*/ 909638 h 1533525"/>
                    <a:gd name="connsiteX24" fmla="*/ 47625 w 1624012"/>
                    <a:gd name="connsiteY24" fmla="*/ 897731 h 1533525"/>
                    <a:gd name="connsiteX25" fmla="*/ 47625 w 1624012"/>
                    <a:gd name="connsiteY25" fmla="*/ 881063 h 1533525"/>
                    <a:gd name="connsiteX26" fmla="*/ 26193 w 1624012"/>
                    <a:gd name="connsiteY26" fmla="*/ 881063 h 1533525"/>
                    <a:gd name="connsiteX27" fmla="*/ 7143 w 1624012"/>
                    <a:gd name="connsiteY27" fmla="*/ 847725 h 1533525"/>
                    <a:gd name="connsiteX28" fmla="*/ 0 w 1624012"/>
                    <a:gd name="connsiteY28" fmla="*/ 816769 h 1533525"/>
                    <a:gd name="connsiteX29" fmla="*/ 54768 w 1624012"/>
                    <a:gd name="connsiteY29" fmla="*/ 800100 h 1533525"/>
                    <a:gd name="connsiteX30" fmla="*/ 76200 w 1624012"/>
                    <a:gd name="connsiteY30" fmla="*/ 788194 h 1533525"/>
                    <a:gd name="connsiteX31" fmla="*/ 128587 w 1624012"/>
                    <a:gd name="connsiteY31" fmla="*/ 821531 h 1533525"/>
                    <a:gd name="connsiteX32" fmla="*/ 126206 w 1624012"/>
                    <a:gd name="connsiteY32" fmla="*/ 800100 h 1533525"/>
                    <a:gd name="connsiteX33" fmla="*/ 164306 w 1624012"/>
                    <a:gd name="connsiteY33" fmla="*/ 795338 h 1533525"/>
                    <a:gd name="connsiteX34" fmla="*/ 173831 w 1624012"/>
                    <a:gd name="connsiteY34" fmla="*/ 759619 h 1533525"/>
                    <a:gd name="connsiteX35" fmla="*/ 235743 w 1624012"/>
                    <a:gd name="connsiteY35" fmla="*/ 764381 h 1533525"/>
                    <a:gd name="connsiteX36" fmla="*/ 235743 w 1624012"/>
                    <a:gd name="connsiteY36" fmla="*/ 764381 h 1533525"/>
                    <a:gd name="connsiteX37" fmla="*/ 245268 w 1624012"/>
                    <a:gd name="connsiteY37" fmla="*/ 704850 h 1533525"/>
                    <a:gd name="connsiteX38" fmla="*/ 276225 w 1624012"/>
                    <a:gd name="connsiteY38" fmla="*/ 666750 h 1533525"/>
                    <a:gd name="connsiteX39" fmla="*/ 292893 w 1624012"/>
                    <a:gd name="connsiteY39" fmla="*/ 638175 h 1533525"/>
                    <a:gd name="connsiteX40" fmla="*/ 245268 w 1624012"/>
                    <a:gd name="connsiteY40" fmla="*/ 602456 h 1533525"/>
                    <a:gd name="connsiteX41" fmla="*/ 264318 w 1624012"/>
                    <a:gd name="connsiteY41" fmla="*/ 585788 h 1533525"/>
                    <a:gd name="connsiteX42" fmla="*/ 311943 w 1624012"/>
                    <a:gd name="connsiteY42" fmla="*/ 602456 h 1533525"/>
                    <a:gd name="connsiteX43" fmla="*/ 369093 w 1624012"/>
                    <a:gd name="connsiteY43" fmla="*/ 573881 h 1533525"/>
                    <a:gd name="connsiteX44" fmla="*/ 457200 w 1624012"/>
                    <a:gd name="connsiteY44" fmla="*/ 545306 h 1533525"/>
                    <a:gd name="connsiteX45" fmla="*/ 538162 w 1624012"/>
                    <a:gd name="connsiteY45" fmla="*/ 578644 h 1533525"/>
                    <a:gd name="connsiteX46" fmla="*/ 614362 w 1624012"/>
                    <a:gd name="connsiteY46" fmla="*/ 550069 h 1533525"/>
                    <a:gd name="connsiteX47" fmla="*/ 650081 w 1624012"/>
                    <a:gd name="connsiteY47" fmla="*/ 552450 h 1533525"/>
                    <a:gd name="connsiteX48" fmla="*/ 654843 w 1624012"/>
                    <a:gd name="connsiteY48" fmla="*/ 523875 h 1533525"/>
                    <a:gd name="connsiteX49" fmla="*/ 654843 w 1624012"/>
                    <a:gd name="connsiteY49" fmla="*/ 490538 h 1533525"/>
                    <a:gd name="connsiteX50" fmla="*/ 669131 w 1624012"/>
                    <a:gd name="connsiteY50" fmla="*/ 469106 h 1533525"/>
                    <a:gd name="connsiteX51" fmla="*/ 652462 w 1624012"/>
                    <a:gd name="connsiteY51" fmla="*/ 450056 h 1533525"/>
                    <a:gd name="connsiteX52" fmla="*/ 642937 w 1624012"/>
                    <a:gd name="connsiteY52" fmla="*/ 411956 h 1533525"/>
                    <a:gd name="connsiteX53" fmla="*/ 642937 w 1624012"/>
                    <a:gd name="connsiteY53" fmla="*/ 330994 h 1533525"/>
                    <a:gd name="connsiteX54" fmla="*/ 633412 w 1624012"/>
                    <a:gd name="connsiteY54" fmla="*/ 319088 h 1533525"/>
                    <a:gd name="connsiteX55" fmla="*/ 664368 w 1624012"/>
                    <a:gd name="connsiteY55" fmla="*/ 285750 h 1533525"/>
                    <a:gd name="connsiteX56" fmla="*/ 721518 w 1624012"/>
                    <a:gd name="connsiteY56" fmla="*/ 292894 h 1533525"/>
                    <a:gd name="connsiteX57" fmla="*/ 733425 w 1624012"/>
                    <a:gd name="connsiteY57" fmla="*/ 264319 h 1533525"/>
                    <a:gd name="connsiteX58" fmla="*/ 731043 w 1624012"/>
                    <a:gd name="connsiteY58" fmla="*/ 228600 h 1533525"/>
                    <a:gd name="connsiteX59" fmla="*/ 790575 w 1624012"/>
                    <a:gd name="connsiteY59" fmla="*/ 192881 h 1533525"/>
                    <a:gd name="connsiteX60" fmla="*/ 804862 w 1624012"/>
                    <a:gd name="connsiteY60" fmla="*/ 166688 h 1533525"/>
                    <a:gd name="connsiteX61" fmla="*/ 778668 w 1624012"/>
                    <a:gd name="connsiteY61" fmla="*/ 128588 h 1533525"/>
                    <a:gd name="connsiteX62" fmla="*/ 771525 w 1624012"/>
                    <a:gd name="connsiteY62" fmla="*/ 104775 h 1533525"/>
                    <a:gd name="connsiteX63" fmla="*/ 823912 w 1624012"/>
                    <a:gd name="connsiteY63" fmla="*/ 97631 h 1533525"/>
                    <a:gd name="connsiteX64" fmla="*/ 869156 w 1624012"/>
                    <a:gd name="connsiteY64" fmla="*/ 52388 h 1533525"/>
                    <a:gd name="connsiteX65" fmla="*/ 890587 w 1624012"/>
                    <a:gd name="connsiteY65" fmla="*/ 23813 h 1533525"/>
                    <a:gd name="connsiteX66" fmla="*/ 923925 w 1624012"/>
                    <a:gd name="connsiteY66" fmla="*/ 9525 h 1533525"/>
                    <a:gd name="connsiteX67" fmla="*/ 971550 w 1624012"/>
                    <a:gd name="connsiteY67" fmla="*/ 0 h 1533525"/>
                    <a:gd name="connsiteX68" fmla="*/ 971550 w 1624012"/>
                    <a:gd name="connsiteY68" fmla="*/ 40481 h 1533525"/>
                    <a:gd name="connsiteX69" fmla="*/ 950118 w 1624012"/>
                    <a:gd name="connsiteY69" fmla="*/ 80963 h 1533525"/>
                    <a:gd name="connsiteX70" fmla="*/ 950118 w 1624012"/>
                    <a:gd name="connsiteY70" fmla="*/ 140494 h 1533525"/>
                    <a:gd name="connsiteX71" fmla="*/ 969168 w 1624012"/>
                    <a:gd name="connsiteY71" fmla="*/ 161925 h 1533525"/>
                    <a:gd name="connsiteX72" fmla="*/ 1007268 w 1624012"/>
                    <a:gd name="connsiteY72" fmla="*/ 188119 h 1533525"/>
                    <a:gd name="connsiteX73" fmla="*/ 1019175 w 1624012"/>
                    <a:gd name="connsiteY73" fmla="*/ 216694 h 1533525"/>
                    <a:gd name="connsiteX74" fmla="*/ 1004887 w 1624012"/>
                    <a:gd name="connsiteY74" fmla="*/ 226219 h 1533525"/>
                    <a:gd name="connsiteX75" fmla="*/ 1057275 w 1624012"/>
                    <a:gd name="connsiteY75" fmla="*/ 250031 h 1533525"/>
                    <a:gd name="connsiteX76" fmla="*/ 1073943 w 1624012"/>
                    <a:gd name="connsiteY76" fmla="*/ 228600 h 1533525"/>
                    <a:gd name="connsiteX77" fmla="*/ 1083468 w 1624012"/>
                    <a:gd name="connsiteY77" fmla="*/ 252413 h 1533525"/>
                    <a:gd name="connsiteX78" fmla="*/ 1116806 w 1624012"/>
                    <a:gd name="connsiteY78" fmla="*/ 252413 h 1533525"/>
                    <a:gd name="connsiteX79" fmla="*/ 1123950 w 1624012"/>
                    <a:gd name="connsiteY79" fmla="*/ 257175 h 1533525"/>
                    <a:gd name="connsiteX80" fmla="*/ 1116806 w 1624012"/>
                    <a:gd name="connsiteY80" fmla="*/ 276225 h 1533525"/>
                    <a:gd name="connsiteX81" fmla="*/ 1088231 w 1624012"/>
                    <a:gd name="connsiteY81" fmla="*/ 309563 h 1533525"/>
                    <a:gd name="connsiteX82" fmla="*/ 1123950 w 1624012"/>
                    <a:gd name="connsiteY82" fmla="*/ 333375 h 1533525"/>
                    <a:gd name="connsiteX83" fmla="*/ 1135856 w 1624012"/>
                    <a:gd name="connsiteY83" fmla="*/ 347663 h 1533525"/>
                    <a:gd name="connsiteX84" fmla="*/ 1135856 w 1624012"/>
                    <a:gd name="connsiteY84" fmla="*/ 376238 h 1533525"/>
                    <a:gd name="connsiteX85" fmla="*/ 1119187 w 1624012"/>
                    <a:gd name="connsiteY85" fmla="*/ 411956 h 1533525"/>
                    <a:gd name="connsiteX86" fmla="*/ 1162050 w 1624012"/>
                    <a:gd name="connsiteY86" fmla="*/ 423863 h 1533525"/>
                    <a:gd name="connsiteX87" fmla="*/ 1233487 w 1624012"/>
                    <a:gd name="connsiteY87" fmla="*/ 416719 h 1533525"/>
                    <a:gd name="connsiteX88" fmla="*/ 1223962 w 1624012"/>
                    <a:gd name="connsiteY88" fmla="*/ 385763 h 1533525"/>
                    <a:gd name="connsiteX89" fmla="*/ 1188243 w 1624012"/>
                    <a:gd name="connsiteY89" fmla="*/ 347663 h 1533525"/>
                    <a:gd name="connsiteX90" fmla="*/ 1181100 w 1624012"/>
                    <a:gd name="connsiteY90" fmla="*/ 333375 h 1533525"/>
                    <a:gd name="connsiteX91" fmla="*/ 1207293 w 1624012"/>
                    <a:gd name="connsiteY91" fmla="*/ 326231 h 1533525"/>
                    <a:gd name="connsiteX92" fmla="*/ 1200150 w 1624012"/>
                    <a:gd name="connsiteY92" fmla="*/ 302419 h 1533525"/>
                    <a:gd name="connsiteX93" fmla="*/ 1223962 w 1624012"/>
                    <a:gd name="connsiteY93" fmla="*/ 283369 h 1533525"/>
                    <a:gd name="connsiteX94" fmla="*/ 1250156 w 1624012"/>
                    <a:gd name="connsiteY94" fmla="*/ 242888 h 1533525"/>
                    <a:gd name="connsiteX95" fmla="*/ 1302543 w 1624012"/>
                    <a:gd name="connsiteY95" fmla="*/ 211931 h 1533525"/>
                    <a:gd name="connsiteX96" fmla="*/ 1350168 w 1624012"/>
                    <a:gd name="connsiteY96" fmla="*/ 123825 h 1533525"/>
                    <a:gd name="connsiteX97" fmla="*/ 1343025 w 1624012"/>
                    <a:gd name="connsiteY97" fmla="*/ 61913 h 1533525"/>
                    <a:gd name="connsiteX98" fmla="*/ 1419225 w 1624012"/>
                    <a:gd name="connsiteY98" fmla="*/ 11906 h 1533525"/>
                    <a:gd name="connsiteX99" fmla="*/ 1438275 w 1624012"/>
                    <a:gd name="connsiteY99" fmla="*/ 69056 h 1533525"/>
                    <a:gd name="connsiteX100" fmla="*/ 1440656 w 1624012"/>
                    <a:gd name="connsiteY100" fmla="*/ 104775 h 1533525"/>
                    <a:gd name="connsiteX101" fmla="*/ 1490662 w 1624012"/>
                    <a:gd name="connsiteY101" fmla="*/ 142875 h 1533525"/>
                    <a:gd name="connsiteX102" fmla="*/ 1543050 w 1624012"/>
                    <a:gd name="connsiteY102" fmla="*/ 147638 h 1533525"/>
                    <a:gd name="connsiteX103" fmla="*/ 1547812 w 1624012"/>
                    <a:gd name="connsiteY103" fmla="*/ 121444 h 1533525"/>
                    <a:gd name="connsiteX104" fmla="*/ 1574006 w 1624012"/>
                    <a:gd name="connsiteY104" fmla="*/ 121444 h 1533525"/>
                    <a:gd name="connsiteX105" fmla="*/ 1624012 w 1624012"/>
                    <a:gd name="connsiteY105" fmla="*/ 109538 h 1533525"/>
                    <a:gd name="connsiteX106" fmla="*/ 1057275 w 1624012"/>
                    <a:gd name="connsiteY106" fmla="*/ 264319 h 1533525"/>
                    <a:gd name="connsiteX107" fmla="*/ 1062037 w 1624012"/>
                    <a:gd name="connsiteY107" fmla="*/ 304800 h 1533525"/>
                    <a:gd name="connsiteX108" fmla="*/ 995362 w 1624012"/>
                    <a:gd name="connsiteY108" fmla="*/ 352425 h 1533525"/>
                    <a:gd name="connsiteX109" fmla="*/ 973931 w 1624012"/>
                    <a:gd name="connsiteY109" fmla="*/ 383381 h 1533525"/>
                    <a:gd name="connsiteX110" fmla="*/ 1000125 w 1624012"/>
                    <a:gd name="connsiteY110" fmla="*/ 428625 h 1533525"/>
                    <a:gd name="connsiteX111" fmla="*/ 983456 w 1624012"/>
                    <a:gd name="connsiteY111" fmla="*/ 466725 h 1533525"/>
                    <a:gd name="connsiteX112" fmla="*/ 1000125 w 1624012"/>
                    <a:gd name="connsiteY112" fmla="*/ 519113 h 1533525"/>
                    <a:gd name="connsiteX113" fmla="*/ 1033462 w 1624012"/>
                    <a:gd name="connsiteY113" fmla="*/ 519113 h 1533525"/>
                    <a:gd name="connsiteX114" fmla="*/ 1019175 w 1624012"/>
                    <a:gd name="connsiteY114" fmla="*/ 552450 h 1533525"/>
                    <a:gd name="connsiteX115" fmla="*/ 1035843 w 1624012"/>
                    <a:gd name="connsiteY115" fmla="*/ 590550 h 1533525"/>
                    <a:gd name="connsiteX116" fmla="*/ 1035843 w 1624012"/>
                    <a:gd name="connsiteY116" fmla="*/ 607219 h 1533525"/>
                    <a:gd name="connsiteX117" fmla="*/ 1045368 w 1624012"/>
                    <a:gd name="connsiteY117" fmla="*/ 645319 h 1533525"/>
                    <a:gd name="connsiteX118" fmla="*/ 1064418 w 1624012"/>
                    <a:gd name="connsiteY118" fmla="*/ 645319 h 1533525"/>
                    <a:gd name="connsiteX119" fmla="*/ 1078706 w 1624012"/>
                    <a:gd name="connsiteY119" fmla="*/ 666750 h 1533525"/>
                    <a:gd name="connsiteX120" fmla="*/ 1085850 w 1624012"/>
                    <a:gd name="connsiteY120" fmla="*/ 688181 h 1533525"/>
                    <a:gd name="connsiteX121" fmla="*/ 1076325 w 1624012"/>
                    <a:gd name="connsiteY121" fmla="*/ 719138 h 1533525"/>
                    <a:gd name="connsiteX122" fmla="*/ 1021556 w 1624012"/>
                    <a:gd name="connsiteY122" fmla="*/ 714375 h 1533525"/>
                    <a:gd name="connsiteX123" fmla="*/ 1002506 w 1624012"/>
                    <a:gd name="connsiteY123" fmla="*/ 721519 h 1533525"/>
                    <a:gd name="connsiteX124" fmla="*/ 995362 w 1624012"/>
                    <a:gd name="connsiteY124" fmla="*/ 726281 h 1533525"/>
                    <a:gd name="connsiteX125" fmla="*/ 995362 w 1624012"/>
                    <a:gd name="connsiteY125" fmla="*/ 726281 h 1533525"/>
                    <a:gd name="connsiteX126" fmla="*/ 923925 w 1624012"/>
                    <a:gd name="connsiteY126" fmla="*/ 721519 h 1533525"/>
                    <a:gd name="connsiteX127" fmla="*/ 940593 w 1624012"/>
                    <a:gd name="connsiteY127" fmla="*/ 778669 h 1533525"/>
                    <a:gd name="connsiteX128" fmla="*/ 938212 w 1624012"/>
                    <a:gd name="connsiteY128" fmla="*/ 847725 h 1533525"/>
                    <a:gd name="connsiteX129" fmla="*/ 954881 w 1624012"/>
                    <a:gd name="connsiteY129" fmla="*/ 871538 h 1533525"/>
                    <a:gd name="connsiteX130" fmla="*/ 997743 w 1624012"/>
                    <a:gd name="connsiteY130" fmla="*/ 919163 h 1533525"/>
                    <a:gd name="connsiteX131" fmla="*/ 1012031 w 1624012"/>
                    <a:gd name="connsiteY131" fmla="*/ 954881 h 1533525"/>
                    <a:gd name="connsiteX132" fmla="*/ 1031081 w 1624012"/>
                    <a:gd name="connsiteY132" fmla="*/ 954881 h 1533525"/>
                    <a:gd name="connsiteX133" fmla="*/ 1071562 w 1624012"/>
                    <a:gd name="connsiteY133" fmla="*/ 940594 h 1533525"/>
                    <a:gd name="connsiteX134" fmla="*/ 1102518 w 1624012"/>
                    <a:gd name="connsiteY134" fmla="*/ 933450 h 1533525"/>
                    <a:gd name="connsiteX135" fmla="*/ 1159668 w 1624012"/>
                    <a:gd name="connsiteY135" fmla="*/ 997744 h 1533525"/>
                    <a:gd name="connsiteX136" fmla="*/ 1178718 w 1624012"/>
                    <a:gd name="connsiteY136" fmla="*/ 1052513 h 1533525"/>
                    <a:gd name="connsiteX137" fmla="*/ 1190625 w 1624012"/>
                    <a:gd name="connsiteY137" fmla="*/ 1081088 h 1533525"/>
                    <a:gd name="connsiteX138" fmla="*/ 1212056 w 1624012"/>
                    <a:gd name="connsiteY138" fmla="*/ 1109663 h 1533525"/>
                    <a:gd name="connsiteX139" fmla="*/ 1231106 w 1624012"/>
                    <a:gd name="connsiteY139" fmla="*/ 1102519 h 1533525"/>
                    <a:gd name="connsiteX140" fmla="*/ 1231106 w 1624012"/>
                    <a:gd name="connsiteY140" fmla="*/ 1131094 h 1533525"/>
                    <a:gd name="connsiteX141" fmla="*/ 1233487 w 1624012"/>
                    <a:gd name="connsiteY141" fmla="*/ 1145381 h 1533525"/>
                    <a:gd name="connsiteX142" fmla="*/ 1266825 w 1624012"/>
                    <a:gd name="connsiteY142" fmla="*/ 1181100 h 1533525"/>
                    <a:gd name="connsiteX143" fmla="*/ 1233487 w 1624012"/>
                    <a:gd name="connsiteY143" fmla="*/ 1181100 h 1533525"/>
                    <a:gd name="connsiteX144" fmla="*/ 1228725 w 1624012"/>
                    <a:gd name="connsiteY144" fmla="*/ 1223963 h 1533525"/>
                    <a:gd name="connsiteX145" fmla="*/ 1226343 w 1624012"/>
                    <a:gd name="connsiteY145" fmla="*/ 1243013 h 1533525"/>
                    <a:gd name="connsiteX146" fmla="*/ 1216818 w 1624012"/>
                    <a:gd name="connsiteY146" fmla="*/ 1264444 h 1533525"/>
                    <a:gd name="connsiteX147" fmla="*/ 1190625 w 1624012"/>
                    <a:gd name="connsiteY147" fmla="*/ 1238250 h 1533525"/>
                    <a:gd name="connsiteX148" fmla="*/ 1157287 w 1624012"/>
                    <a:gd name="connsiteY148" fmla="*/ 1209675 h 1533525"/>
                    <a:gd name="connsiteX149" fmla="*/ 1131093 w 1624012"/>
                    <a:gd name="connsiteY149" fmla="*/ 1185863 h 1533525"/>
                    <a:gd name="connsiteX150" fmla="*/ 1107281 w 1624012"/>
                    <a:gd name="connsiteY150" fmla="*/ 1219200 h 1533525"/>
                    <a:gd name="connsiteX151" fmla="*/ 1104900 w 1624012"/>
                    <a:gd name="connsiteY151" fmla="*/ 1264444 h 1533525"/>
                    <a:gd name="connsiteX152" fmla="*/ 1062037 w 1624012"/>
                    <a:gd name="connsiteY152" fmla="*/ 1259681 h 1533525"/>
                    <a:gd name="connsiteX153" fmla="*/ 1026318 w 1624012"/>
                    <a:gd name="connsiteY153" fmla="*/ 1288256 h 1533525"/>
                    <a:gd name="connsiteX154" fmla="*/ 1007268 w 1624012"/>
                    <a:gd name="connsiteY154" fmla="*/ 1240631 h 1533525"/>
                    <a:gd name="connsiteX155" fmla="*/ 947737 w 1624012"/>
                    <a:gd name="connsiteY155" fmla="*/ 1231106 h 1533525"/>
                    <a:gd name="connsiteX156" fmla="*/ 921543 w 1624012"/>
                    <a:gd name="connsiteY156" fmla="*/ 1297781 h 1533525"/>
                    <a:gd name="connsiteX157" fmla="*/ 885825 w 1624012"/>
                    <a:gd name="connsiteY157" fmla="*/ 1278731 h 1533525"/>
                    <a:gd name="connsiteX158" fmla="*/ 816768 w 1624012"/>
                    <a:gd name="connsiteY158" fmla="*/ 1295400 h 1533525"/>
                    <a:gd name="connsiteX159" fmla="*/ 757237 w 1624012"/>
                    <a:gd name="connsiteY159" fmla="*/ 1259681 h 1533525"/>
                    <a:gd name="connsiteX160" fmla="*/ 742950 w 1624012"/>
                    <a:gd name="connsiteY160" fmla="*/ 1312069 h 1533525"/>
                    <a:gd name="connsiteX161" fmla="*/ 704850 w 1624012"/>
                    <a:gd name="connsiteY161" fmla="*/ 1345406 h 1533525"/>
                    <a:gd name="connsiteX162" fmla="*/ 692943 w 1624012"/>
                    <a:gd name="connsiteY162" fmla="*/ 1366838 h 1533525"/>
                    <a:gd name="connsiteX163" fmla="*/ 671512 w 1624012"/>
                    <a:gd name="connsiteY163" fmla="*/ 1509713 h 1533525"/>
                    <a:gd name="connsiteX164" fmla="*/ 633412 w 1624012"/>
                    <a:gd name="connsiteY164" fmla="*/ 1490663 h 1533525"/>
                    <a:gd name="connsiteX165" fmla="*/ 614362 w 1624012"/>
                    <a:gd name="connsiteY165" fmla="*/ 1504950 h 1533525"/>
                    <a:gd name="connsiteX166" fmla="*/ 581025 w 1624012"/>
                    <a:gd name="connsiteY166" fmla="*/ 1531144 h 1533525"/>
                    <a:gd name="connsiteX167" fmla="*/ 523875 w 1624012"/>
                    <a:gd name="connsiteY167" fmla="*/ 1502569 h 1533525"/>
                    <a:gd name="connsiteX168" fmla="*/ 514350 w 1624012"/>
                    <a:gd name="connsiteY168" fmla="*/ 1490663 h 1533525"/>
                    <a:gd name="connsiteX169" fmla="*/ 483393 w 1624012"/>
                    <a:gd name="connsiteY169" fmla="*/ 1533525 h 1533525"/>
                    <a:gd name="connsiteX0" fmla="*/ 483393 w 1624012"/>
                    <a:gd name="connsiteY0" fmla="*/ 1533525 h 1533525"/>
                    <a:gd name="connsiteX1" fmla="*/ 459581 w 1624012"/>
                    <a:gd name="connsiteY1" fmla="*/ 1481138 h 1533525"/>
                    <a:gd name="connsiteX2" fmla="*/ 438150 w 1624012"/>
                    <a:gd name="connsiteY2" fmla="*/ 1471613 h 1533525"/>
                    <a:gd name="connsiteX3" fmla="*/ 400050 w 1624012"/>
                    <a:gd name="connsiteY3" fmla="*/ 1485900 h 1533525"/>
                    <a:gd name="connsiteX4" fmla="*/ 338137 w 1624012"/>
                    <a:gd name="connsiteY4" fmla="*/ 1490663 h 1533525"/>
                    <a:gd name="connsiteX5" fmla="*/ 330993 w 1624012"/>
                    <a:gd name="connsiteY5" fmla="*/ 1497806 h 1533525"/>
                    <a:gd name="connsiteX6" fmla="*/ 271462 w 1624012"/>
                    <a:gd name="connsiteY6" fmla="*/ 1471613 h 1533525"/>
                    <a:gd name="connsiteX7" fmla="*/ 219075 w 1624012"/>
                    <a:gd name="connsiteY7" fmla="*/ 1443038 h 1533525"/>
                    <a:gd name="connsiteX8" fmla="*/ 138112 w 1624012"/>
                    <a:gd name="connsiteY8" fmla="*/ 1402556 h 1533525"/>
                    <a:gd name="connsiteX9" fmla="*/ 95250 w 1624012"/>
                    <a:gd name="connsiteY9" fmla="*/ 1316831 h 1533525"/>
                    <a:gd name="connsiteX10" fmla="*/ 80962 w 1624012"/>
                    <a:gd name="connsiteY10" fmla="*/ 1288256 h 1533525"/>
                    <a:gd name="connsiteX11" fmla="*/ 104775 w 1624012"/>
                    <a:gd name="connsiteY11" fmla="*/ 1266825 h 1533525"/>
                    <a:gd name="connsiteX12" fmla="*/ 76200 w 1624012"/>
                    <a:gd name="connsiteY12" fmla="*/ 1212056 h 1533525"/>
                    <a:gd name="connsiteX13" fmla="*/ 109537 w 1624012"/>
                    <a:gd name="connsiteY13" fmla="*/ 1193006 h 1533525"/>
                    <a:gd name="connsiteX14" fmla="*/ 140493 w 1624012"/>
                    <a:gd name="connsiteY14" fmla="*/ 1143000 h 1533525"/>
                    <a:gd name="connsiteX15" fmla="*/ 123825 w 1624012"/>
                    <a:gd name="connsiteY15" fmla="*/ 1107281 h 1533525"/>
                    <a:gd name="connsiteX16" fmla="*/ 178593 w 1624012"/>
                    <a:gd name="connsiteY16" fmla="*/ 1107281 h 1533525"/>
                    <a:gd name="connsiteX17" fmla="*/ 192881 w 1624012"/>
                    <a:gd name="connsiteY17" fmla="*/ 1109663 h 1533525"/>
                    <a:gd name="connsiteX18" fmla="*/ 159543 w 1624012"/>
                    <a:gd name="connsiteY18" fmla="*/ 1064419 h 1533525"/>
                    <a:gd name="connsiteX19" fmla="*/ 169068 w 1624012"/>
                    <a:gd name="connsiteY19" fmla="*/ 1014413 h 1533525"/>
                    <a:gd name="connsiteX20" fmla="*/ 123825 w 1624012"/>
                    <a:gd name="connsiteY20" fmla="*/ 997744 h 1533525"/>
                    <a:gd name="connsiteX21" fmla="*/ 61912 w 1624012"/>
                    <a:gd name="connsiteY21" fmla="*/ 954881 h 1533525"/>
                    <a:gd name="connsiteX22" fmla="*/ 45243 w 1624012"/>
                    <a:gd name="connsiteY22" fmla="*/ 938213 h 1533525"/>
                    <a:gd name="connsiteX23" fmla="*/ 64293 w 1624012"/>
                    <a:gd name="connsiteY23" fmla="*/ 909638 h 1533525"/>
                    <a:gd name="connsiteX24" fmla="*/ 47625 w 1624012"/>
                    <a:gd name="connsiteY24" fmla="*/ 897731 h 1533525"/>
                    <a:gd name="connsiteX25" fmla="*/ 47625 w 1624012"/>
                    <a:gd name="connsiteY25" fmla="*/ 881063 h 1533525"/>
                    <a:gd name="connsiteX26" fmla="*/ 26193 w 1624012"/>
                    <a:gd name="connsiteY26" fmla="*/ 881063 h 1533525"/>
                    <a:gd name="connsiteX27" fmla="*/ 7143 w 1624012"/>
                    <a:gd name="connsiteY27" fmla="*/ 847725 h 1533525"/>
                    <a:gd name="connsiteX28" fmla="*/ 0 w 1624012"/>
                    <a:gd name="connsiteY28" fmla="*/ 816769 h 1533525"/>
                    <a:gd name="connsiteX29" fmla="*/ 54768 w 1624012"/>
                    <a:gd name="connsiteY29" fmla="*/ 800100 h 1533525"/>
                    <a:gd name="connsiteX30" fmla="*/ 76200 w 1624012"/>
                    <a:gd name="connsiteY30" fmla="*/ 788194 h 1533525"/>
                    <a:gd name="connsiteX31" fmla="*/ 128587 w 1624012"/>
                    <a:gd name="connsiteY31" fmla="*/ 821531 h 1533525"/>
                    <a:gd name="connsiteX32" fmla="*/ 126206 w 1624012"/>
                    <a:gd name="connsiteY32" fmla="*/ 800100 h 1533525"/>
                    <a:gd name="connsiteX33" fmla="*/ 164306 w 1624012"/>
                    <a:gd name="connsiteY33" fmla="*/ 795338 h 1533525"/>
                    <a:gd name="connsiteX34" fmla="*/ 173831 w 1624012"/>
                    <a:gd name="connsiteY34" fmla="*/ 759619 h 1533525"/>
                    <a:gd name="connsiteX35" fmla="*/ 235743 w 1624012"/>
                    <a:gd name="connsiteY35" fmla="*/ 764381 h 1533525"/>
                    <a:gd name="connsiteX36" fmla="*/ 235743 w 1624012"/>
                    <a:gd name="connsiteY36" fmla="*/ 764381 h 1533525"/>
                    <a:gd name="connsiteX37" fmla="*/ 245268 w 1624012"/>
                    <a:gd name="connsiteY37" fmla="*/ 704850 h 1533525"/>
                    <a:gd name="connsiteX38" fmla="*/ 276225 w 1624012"/>
                    <a:gd name="connsiteY38" fmla="*/ 666750 h 1533525"/>
                    <a:gd name="connsiteX39" fmla="*/ 292893 w 1624012"/>
                    <a:gd name="connsiteY39" fmla="*/ 638175 h 1533525"/>
                    <a:gd name="connsiteX40" fmla="*/ 245268 w 1624012"/>
                    <a:gd name="connsiteY40" fmla="*/ 602456 h 1533525"/>
                    <a:gd name="connsiteX41" fmla="*/ 264318 w 1624012"/>
                    <a:gd name="connsiteY41" fmla="*/ 585788 h 1533525"/>
                    <a:gd name="connsiteX42" fmla="*/ 311943 w 1624012"/>
                    <a:gd name="connsiteY42" fmla="*/ 602456 h 1533525"/>
                    <a:gd name="connsiteX43" fmla="*/ 369093 w 1624012"/>
                    <a:gd name="connsiteY43" fmla="*/ 573881 h 1533525"/>
                    <a:gd name="connsiteX44" fmla="*/ 457200 w 1624012"/>
                    <a:gd name="connsiteY44" fmla="*/ 545306 h 1533525"/>
                    <a:gd name="connsiteX45" fmla="*/ 538162 w 1624012"/>
                    <a:gd name="connsiteY45" fmla="*/ 578644 h 1533525"/>
                    <a:gd name="connsiteX46" fmla="*/ 614362 w 1624012"/>
                    <a:gd name="connsiteY46" fmla="*/ 550069 h 1533525"/>
                    <a:gd name="connsiteX47" fmla="*/ 650081 w 1624012"/>
                    <a:gd name="connsiteY47" fmla="*/ 552450 h 1533525"/>
                    <a:gd name="connsiteX48" fmla="*/ 654843 w 1624012"/>
                    <a:gd name="connsiteY48" fmla="*/ 523875 h 1533525"/>
                    <a:gd name="connsiteX49" fmla="*/ 654843 w 1624012"/>
                    <a:gd name="connsiteY49" fmla="*/ 490538 h 1533525"/>
                    <a:gd name="connsiteX50" fmla="*/ 669131 w 1624012"/>
                    <a:gd name="connsiteY50" fmla="*/ 469106 h 1533525"/>
                    <a:gd name="connsiteX51" fmla="*/ 652462 w 1624012"/>
                    <a:gd name="connsiteY51" fmla="*/ 450056 h 1533525"/>
                    <a:gd name="connsiteX52" fmla="*/ 642937 w 1624012"/>
                    <a:gd name="connsiteY52" fmla="*/ 411956 h 1533525"/>
                    <a:gd name="connsiteX53" fmla="*/ 642937 w 1624012"/>
                    <a:gd name="connsiteY53" fmla="*/ 330994 h 1533525"/>
                    <a:gd name="connsiteX54" fmla="*/ 633412 w 1624012"/>
                    <a:gd name="connsiteY54" fmla="*/ 319088 h 1533525"/>
                    <a:gd name="connsiteX55" fmla="*/ 664368 w 1624012"/>
                    <a:gd name="connsiteY55" fmla="*/ 285750 h 1533525"/>
                    <a:gd name="connsiteX56" fmla="*/ 721518 w 1624012"/>
                    <a:gd name="connsiteY56" fmla="*/ 292894 h 1533525"/>
                    <a:gd name="connsiteX57" fmla="*/ 733425 w 1624012"/>
                    <a:gd name="connsiteY57" fmla="*/ 264319 h 1533525"/>
                    <a:gd name="connsiteX58" fmla="*/ 731043 w 1624012"/>
                    <a:gd name="connsiteY58" fmla="*/ 228600 h 1533525"/>
                    <a:gd name="connsiteX59" fmla="*/ 790575 w 1624012"/>
                    <a:gd name="connsiteY59" fmla="*/ 192881 h 1533525"/>
                    <a:gd name="connsiteX60" fmla="*/ 804862 w 1624012"/>
                    <a:gd name="connsiteY60" fmla="*/ 166688 h 1533525"/>
                    <a:gd name="connsiteX61" fmla="*/ 778668 w 1624012"/>
                    <a:gd name="connsiteY61" fmla="*/ 128588 h 1533525"/>
                    <a:gd name="connsiteX62" fmla="*/ 771525 w 1624012"/>
                    <a:gd name="connsiteY62" fmla="*/ 104775 h 1533525"/>
                    <a:gd name="connsiteX63" fmla="*/ 823912 w 1624012"/>
                    <a:gd name="connsiteY63" fmla="*/ 97631 h 1533525"/>
                    <a:gd name="connsiteX64" fmla="*/ 869156 w 1624012"/>
                    <a:gd name="connsiteY64" fmla="*/ 52388 h 1533525"/>
                    <a:gd name="connsiteX65" fmla="*/ 890587 w 1624012"/>
                    <a:gd name="connsiteY65" fmla="*/ 23813 h 1533525"/>
                    <a:gd name="connsiteX66" fmla="*/ 923925 w 1624012"/>
                    <a:gd name="connsiteY66" fmla="*/ 9525 h 1533525"/>
                    <a:gd name="connsiteX67" fmla="*/ 971550 w 1624012"/>
                    <a:gd name="connsiteY67" fmla="*/ 0 h 1533525"/>
                    <a:gd name="connsiteX68" fmla="*/ 971550 w 1624012"/>
                    <a:gd name="connsiteY68" fmla="*/ 40481 h 1533525"/>
                    <a:gd name="connsiteX69" fmla="*/ 950118 w 1624012"/>
                    <a:gd name="connsiteY69" fmla="*/ 80963 h 1533525"/>
                    <a:gd name="connsiteX70" fmla="*/ 950118 w 1624012"/>
                    <a:gd name="connsiteY70" fmla="*/ 140494 h 1533525"/>
                    <a:gd name="connsiteX71" fmla="*/ 969168 w 1624012"/>
                    <a:gd name="connsiteY71" fmla="*/ 161925 h 1533525"/>
                    <a:gd name="connsiteX72" fmla="*/ 1007268 w 1624012"/>
                    <a:gd name="connsiteY72" fmla="*/ 188119 h 1533525"/>
                    <a:gd name="connsiteX73" fmla="*/ 1019175 w 1624012"/>
                    <a:gd name="connsiteY73" fmla="*/ 216694 h 1533525"/>
                    <a:gd name="connsiteX74" fmla="*/ 1004887 w 1624012"/>
                    <a:gd name="connsiteY74" fmla="*/ 226219 h 1533525"/>
                    <a:gd name="connsiteX75" fmla="*/ 1057275 w 1624012"/>
                    <a:gd name="connsiteY75" fmla="*/ 250031 h 1533525"/>
                    <a:gd name="connsiteX76" fmla="*/ 1073943 w 1624012"/>
                    <a:gd name="connsiteY76" fmla="*/ 228600 h 1533525"/>
                    <a:gd name="connsiteX77" fmla="*/ 1083468 w 1624012"/>
                    <a:gd name="connsiteY77" fmla="*/ 252413 h 1533525"/>
                    <a:gd name="connsiteX78" fmla="*/ 1116806 w 1624012"/>
                    <a:gd name="connsiteY78" fmla="*/ 252413 h 1533525"/>
                    <a:gd name="connsiteX79" fmla="*/ 1123950 w 1624012"/>
                    <a:gd name="connsiteY79" fmla="*/ 257175 h 1533525"/>
                    <a:gd name="connsiteX80" fmla="*/ 1116806 w 1624012"/>
                    <a:gd name="connsiteY80" fmla="*/ 276225 h 1533525"/>
                    <a:gd name="connsiteX81" fmla="*/ 1088231 w 1624012"/>
                    <a:gd name="connsiteY81" fmla="*/ 309563 h 1533525"/>
                    <a:gd name="connsiteX82" fmla="*/ 1123950 w 1624012"/>
                    <a:gd name="connsiteY82" fmla="*/ 333375 h 1533525"/>
                    <a:gd name="connsiteX83" fmla="*/ 1135856 w 1624012"/>
                    <a:gd name="connsiteY83" fmla="*/ 347663 h 1533525"/>
                    <a:gd name="connsiteX84" fmla="*/ 1135856 w 1624012"/>
                    <a:gd name="connsiteY84" fmla="*/ 376238 h 1533525"/>
                    <a:gd name="connsiteX85" fmla="*/ 1119187 w 1624012"/>
                    <a:gd name="connsiteY85" fmla="*/ 411956 h 1533525"/>
                    <a:gd name="connsiteX86" fmla="*/ 1162050 w 1624012"/>
                    <a:gd name="connsiteY86" fmla="*/ 423863 h 1533525"/>
                    <a:gd name="connsiteX87" fmla="*/ 1233487 w 1624012"/>
                    <a:gd name="connsiteY87" fmla="*/ 416719 h 1533525"/>
                    <a:gd name="connsiteX88" fmla="*/ 1223962 w 1624012"/>
                    <a:gd name="connsiteY88" fmla="*/ 385763 h 1533525"/>
                    <a:gd name="connsiteX89" fmla="*/ 1188243 w 1624012"/>
                    <a:gd name="connsiteY89" fmla="*/ 347663 h 1533525"/>
                    <a:gd name="connsiteX90" fmla="*/ 1181100 w 1624012"/>
                    <a:gd name="connsiteY90" fmla="*/ 333375 h 1533525"/>
                    <a:gd name="connsiteX91" fmla="*/ 1207293 w 1624012"/>
                    <a:gd name="connsiteY91" fmla="*/ 326231 h 1533525"/>
                    <a:gd name="connsiteX92" fmla="*/ 1200150 w 1624012"/>
                    <a:gd name="connsiteY92" fmla="*/ 302419 h 1533525"/>
                    <a:gd name="connsiteX93" fmla="*/ 1223962 w 1624012"/>
                    <a:gd name="connsiteY93" fmla="*/ 283369 h 1533525"/>
                    <a:gd name="connsiteX94" fmla="*/ 1250156 w 1624012"/>
                    <a:gd name="connsiteY94" fmla="*/ 242888 h 1533525"/>
                    <a:gd name="connsiteX95" fmla="*/ 1302543 w 1624012"/>
                    <a:gd name="connsiteY95" fmla="*/ 211931 h 1533525"/>
                    <a:gd name="connsiteX96" fmla="*/ 1350168 w 1624012"/>
                    <a:gd name="connsiteY96" fmla="*/ 123825 h 1533525"/>
                    <a:gd name="connsiteX97" fmla="*/ 1343025 w 1624012"/>
                    <a:gd name="connsiteY97" fmla="*/ 61913 h 1533525"/>
                    <a:gd name="connsiteX98" fmla="*/ 1438275 w 1624012"/>
                    <a:gd name="connsiteY98" fmla="*/ 69056 h 1533525"/>
                    <a:gd name="connsiteX99" fmla="*/ 1440656 w 1624012"/>
                    <a:gd name="connsiteY99" fmla="*/ 104775 h 1533525"/>
                    <a:gd name="connsiteX100" fmla="*/ 1490662 w 1624012"/>
                    <a:gd name="connsiteY100" fmla="*/ 142875 h 1533525"/>
                    <a:gd name="connsiteX101" fmla="*/ 1543050 w 1624012"/>
                    <a:gd name="connsiteY101" fmla="*/ 147638 h 1533525"/>
                    <a:gd name="connsiteX102" fmla="*/ 1547812 w 1624012"/>
                    <a:gd name="connsiteY102" fmla="*/ 121444 h 1533525"/>
                    <a:gd name="connsiteX103" fmla="*/ 1574006 w 1624012"/>
                    <a:gd name="connsiteY103" fmla="*/ 121444 h 1533525"/>
                    <a:gd name="connsiteX104" fmla="*/ 1624012 w 1624012"/>
                    <a:gd name="connsiteY104" fmla="*/ 109538 h 1533525"/>
                    <a:gd name="connsiteX105" fmla="*/ 1057275 w 1624012"/>
                    <a:gd name="connsiteY105" fmla="*/ 264319 h 1533525"/>
                    <a:gd name="connsiteX106" fmla="*/ 1062037 w 1624012"/>
                    <a:gd name="connsiteY106" fmla="*/ 304800 h 1533525"/>
                    <a:gd name="connsiteX107" fmla="*/ 995362 w 1624012"/>
                    <a:gd name="connsiteY107" fmla="*/ 352425 h 1533525"/>
                    <a:gd name="connsiteX108" fmla="*/ 973931 w 1624012"/>
                    <a:gd name="connsiteY108" fmla="*/ 383381 h 1533525"/>
                    <a:gd name="connsiteX109" fmla="*/ 1000125 w 1624012"/>
                    <a:gd name="connsiteY109" fmla="*/ 428625 h 1533525"/>
                    <a:gd name="connsiteX110" fmla="*/ 983456 w 1624012"/>
                    <a:gd name="connsiteY110" fmla="*/ 466725 h 1533525"/>
                    <a:gd name="connsiteX111" fmla="*/ 1000125 w 1624012"/>
                    <a:gd name="connsiteY111" fmla="*/ 519113 h 1533525"/>
                    <a:gd name="connsiteX112" fmla="*/ 1033462 w 1624012"/>
                    <a:gd name="connsiteY112" fmla="*/ 519113 h 1533525"/>
                    <a:gd name="connsiteX113" fmla="*/ 1019175 w 1624012"/>
                    <a:gd name="connsiteY113" fmla="*/ 552450 h 1533525"/>
                    <a:gd name="connsiteX114" fmla="*/ 1035843 w 1624012"/>
                    <a:gd name="connsiteY114" fmla="*/ 590550 h 1533525"/>
                    <a:gd name="connsiteX115" fmla="*/ 1035843 w 1624012"/>
                    <a:gd name="connsiteY115" fmla="*/ 607219 h 1533525"/>
                    <a:gd name="connsiteX116" fmla="*/ 1045368 w 1624012"/>
                    <a:gd name="connsiteY116" fmla="*/ 645319 h 1533525"/>
                    <a:gd name="connsiteX117" fmla="*/ 1064418 w 1624012"/>
                    <a:gd name="connsiteY117" fmla="*/ 645319 h 1533525"/>
                    <a:gd name="connsiteX118" fmla="*/ 1078706 w 1624012"/>
                    <a:gd name="connsiteY118" fmla="*/ 666750 h 1533525"/>
                    <a:gd name="connsiteX119" fmla="*/ 1085850 w 1624012"/>
                    <a:gd name="connsiteY119" fmla="*/ 688181 h 1533525"/>
                    <a:gd name="connsiteX120" fmla="*/ 1076325 w 1624012"/>
                    <a:gd name="connsiteY120" fmla="*/ 719138 h 1533525"/>
                    <a:gd name="connsiteX121" fmla="*/ 1021556 w 1624012"/>
                    <a:gd name="connsiteY121" fmla="*/ 714375 h 1533525"/>
                    <a:gd name="connsiteX122" fmla="*/ 1002506 w 1624012"/>
                    <a:gd name="connsiteY122" fmla="*/ 721519 h 1533525"/>
                    <a:gd name="connsiteX123" fmla="*/ 995362 w 1624012"/>
                    <a:gd name="connsiteY123" fmla="*/ 726281 h 1533525"/>
                    <a:gd name="connsiteX124" fmla="*/ 995362 w 1624012"/>
                    <a:gd name="connsiteY124" fmla="*/ 726281 h 1533525"/>
                    <a:gd name="connsiteX125" fmla="*/ 923925 w 1624012"/>
                    <a:gd name="connsiteY125" fmla="*/ 721519 h 1533525"/>
                    <a:gd name="connsiteX126" fmla="*/ 940593 w 1624012"/>
                    <a:gd name="connsiteY126" fmla="*/ 778669 h 1533525"/>
                    <a:gd name="connsiteX127" fmla="*/ 938212 w 1624012"/>
                    <a:gd name="connsiteY127" fmla="*/ 847725 h 1533525"/>
                    <a:gd name="connsiteX128" fmla="*/ 954881 w 1624012"/>
                    <a:gd name="connsiteY128" fmla="*/ 871538 h 1533525"/>
                    <a:gd name="connsiteX129" fmla="*/ 997743 w 1624012"/>
                    <a:gd name="connsiteY129" fmla="*/ 919163 h 1533525"/>
                    <a:gd name="connsiteX130" fmla="*/ 1012031 w 1624012"/>
                    <a:gd name="connsiteY130" fmla="*/ 954881 h 1533525"/>
                    <a:gd name="connsiteX131" fmla="*/ 1031081 w 1624012"/>
                    <a:gd name="connsiteY131" fmla="*/ 954881 h 1533525"/>
                    <a:gd name="connsiteX132" fmla="*/ 1071562 w 1624012"/>
                    <a:gd name="connsiteY132" fmla="*/ 940594 h 1533525"/>
                    <a:gd name="connsiteX133" fmla="*/ 1102518 w 1624012"/>
                    <a:gd name="connsiteY133" fmla="*/ 933450 h 1533525"/>
                    <a:gd name="connsiteX134" fmla="*/ 1159668 w 1624012"/>
                    <a:gd name="connsiteY134" fmla="*/ 997744 h 1533525"/>
                    <a:gd name="connsiteX135" fmla="*/ 1178718 w 1624012"/>
                    <a:gd name="connsiteY135" fmla="*/ 1052513 h 1533525"/>
                    <a:gd name="connsiteX136" fmla="*/ 1190625 w 1624012"/>
                    <a:gd name="connsiteY136" fmla="*/ 1081088 h 1533525"/>
                    <a:gd name="connsiteX137" fmla="*/ 1212056 w 1624012"/>
                    <a:gd name="connsiteY137" fmla="*/ 1109663 h 1533525"/>
                    <a:gd name="connsiteX138" fmla="*/ 1231106 w 1624012"/>
                    <a:gd name="connsiteY138" fmla="*/ 1102519 h 1533525"/>
                    <a:gd name="connsiteX139" fmla="*/ 1231106 w 1624012"/>
                    <a:gd name="connsiteY139" fmla="*/ 1131094 h 1533525"/>
                    <a:gd name="connsiteX140" fmla="*/ 1233487 w 1624012"/>
                    <a:gd name="connsiteY140" fmla="*/ 1145381 h 1533525"/>
                    <a:gd name="connsiteX141" fmla="*/ 1266825 w 1624012"/>
                    <a:gd name="connsiteY141" fmla="*/ 1181100 h 1533525"/>
                    <a:gd name="connsiteX142" fmla="*/ 1233487 w 1624012"/>
                    <a:gd name="connsiteY142" fmla="*/ 1181100 h 1533525"/>
                    <a:gd name="connsiteX143" fmla="*/ 1228725 w 1624012"/>
                    <a:gd name="connsiteY143" fmla="*/ 1223963 h 1533525"/>
                    <a:gd name="connsiteX144" fmla="*/ 1226343 w 1624012"/>
                    <a:gd name="connsiteY144" fmla="*/ 1243013 h 1533525"/>
                    <a:gd name="connsiteX145" fmla="*/ 1216818 w 1624012"/>
                    <a:gd name="connsiteY145" fmla="*/ 1264444 h 1533525"/>
                    <a:gd name="connsiteX146" fmla="*/ 1190625 w 1624012"/>
                    <a:gd name="connsiteY146" fmla="*/ 1238250 h 1533525"/>
                    <a:gd name="connsiteX147" fmla="*/ 1157287 w 1624012"/>
                    <a:gd name="connsiteY147" fmla="*/ 1209675 h 1533525"/>
                    <a:gd name="connsiteX148" fmla="*/ 1131093 w 1624012"/>
                    <a:gd name="connsiteY148" fmla="*/ 1185863 h 1533525"/>
                    <a:gd name="connsiteX149" fmla="*/ 1107281 w 1624012"/>
                    <a:gd name="connsiteY149" fmla="*/ 1219200 h 1533525"/>
                    <a:gd name="connsiteX150" fmla="*/ 1104900 w 1624012"/>
                    <a:gd name="connsiteY150" fmla="*/ 1264444 h 1533525"/>
                    <a:gd name="connsiteX151" fmla="*/ 1062037 w 1624012"/>
                    <a:gd name="connsiteY151" fmla="*/ 1259681 h 1533525"/>
                    <a:gd name="connsiteX152" fmla="*/ 1026318 w 1624012"/>
                    <a:gd name="connsiteY152" fmla="*/ 1288256 h 1533525"/>
                    <a:gd name="connsiteX153" fmla="*/ 1007268 w 1624012"/>
                    <a:gd name="connsiteY153" fmla="*/ 1240631 h 1533525"/>
                    <a:gd name="connsiteX154" fmla="*/ 947737 w 1624012"/>
                    <a:gd name="connsiteY154" fmla="*/ 1231106 h 1533525"/>
                    <a:gd name="connsiteX155" fmla="*/ 921543 w 1624012"/>
                    <a:gd name="connsiteY155" fmla="*/ 1297781 h 1533525"/>
                    <a:gd name="connsiteX156" fmla="*/ 885825 w 1624012"/>
                    <a:gd name="connsiteY156" fmla="*/ 1278731 h 1533525"/>
                    <a:gd name="connsiteX157" fmla="*/ 816768 w 1624012"/>
                    <a:gd name="connsiteY157" fmla="*/ 1295400 h 1533525"/>
                    <a:gd name="connsiteX158" fmla="*/ 757237 w 1624012"/>
                    <a:gd name="connsiteY158" fmla="*/ 1259681 h 1533525"/>
                    <a:gd name="connsiteX159" fmla="*/ 742950 w 1624012"/>
                    <a:gd name="connsiteY159" fmla="*/ 1312069 h 1533525"/>
                    <a:gd name="connsiteX160" fmla="*/ 704850 w 1624012"/>
                    <a:gd name="connsiteY160" fmla="*/ 1345406 h 1533525"/>
                    <a:gd name="connsiteX161" fmla="*/ 692943 w 1624012"/>
                    <a:gd name="connsiteY161" fmla="*/ 1366838 h 1533525"/>
                    <a:gd name="connsiteX162" fmla="*/ 671512 w 1624012"/>
                    <a:gd name="connsiteY162" fmla="*/ 1509713 h 1533525"/>
                    <a:gd name="connsiteX163" fmla="*/ 633412 w 1624012"/>
                    <a:gd name="connsiteY163" fmla="*/ 1490663 h 1533525"/>
                    <a:gd name="connsiteX164" fmla="*/ 614362 w 1624012"/>
                    <a:gd name="connsiteY164" fmla="*/ 1504950 h 1533525"/>
                    <a:gd name="connsiteX165" fmla="*/ 581025 w 1624012"/>
                    <a:gd name="connsiteY165" fmla="*/ 1531144 h 1533525"/>
                    <a:gd name="connsiteX166" fmla="*/ 523875 w 1624012"/>
                    <a:gd name="connsiteY166" fmla="*/ 1502569 h 1533525"/>
                    <a:gd name="connsiteX167" fmla="*/ 514350 w 1624012"/>
                    <a:gd name="connsiteY167" fmla="*/ 1490663 h 1533525"/>
                    <a:gd name="connsiteX168" fmla="*/ 483393 w 1624012"/>
                    <a:gd name="connsiteY168" fmla="*/ 1533525 h 1533525"/>
                    <a:gd name="connsiteX0" fmla="*/ 483393 w 1624012"/>
                    <a:gd name="connsiteY0" fmla="*/ 1533525 h 1533525"/>
                    <a:gd name="connsiteX1" fmla="*/ 459581 w 1624012"/>
                    <a:gd name="connsiteY1" fmla="*/ 1481138 h 1533525"/>
                    <a:gd name="connsiteX2" fmla="*/ 438150 w 1624012"/>
                    <a:gd name="connsiteY2" fmla="*/ 1471613 h 1533525"/>
                    <a:gd name="connsiteX3" fmla="*/ 400050 w 1624012"/>
                    <a:gd name="connsiteY3" fmla="*/ 1485900 h 1533525"/>
                    <a:gd name="connsiteX4" fmla="*/ 338137 w 1624012"/>
                    <a:gd name="connsiteY4" fmla="*/ 1490663 h 1533525"/>
                    <a:gd name="connsiteX5" fmla="*/ 330993 w 1624012"/>
                    <a:gd name="connsiteY5" fmla="*/ 1497806 h 1533525"/>
                    <a:gd name="connsiteX6" fmla="*/ 271462 w 1624012"/>
                    <a:gd name="connsiteY6" fmla="*/ 1471613 h 1533525"/>
                    <a:gd name="connsiteX7" fmla="*/ 219075 w 1624012"/>
                    <a:gd name="connsiteY7" fmla="*/ 1443038 h 1533525"/>
                    <a:gd name="connsiteX8" fmla="*/ 138112 w 1624012"/>
                    <a:gd name="connsiteY8" fmla="*/ 1402556 h 1533525"/>
                    <a:gd name="connsiteX9" fmla="*/ 95250 w 1624012"/>
                    <a:gd name="connsiteY9" fmla="*/ 1316831 h 1533525"/>
                    <a:gd name="connsiteX10" fmla="*/ 80962 w 1624012"/>
                    <a:gd name="connsiteY10" fmla="*/ 1288256 h 1533525"/>
                    <a:gd name="connsiteX11" fmla="*/ 104775 w 1624012"/>
                    <a:gd name="connsiteY11" fmla="*/ 1266825 h 1533525"/>
                    <a:gd name="connsiteX12" fmla="*/ 76200 w 1624012"/>
                    <a:gd name="connsiteY12" fmla="*/ 1212056 h 1533525"/>
                    <a:gd name="connsiteX13" fmla="*/ 109537 w 1624012"/>
                    <a:gd name="connsiteY13" fmla="*/ 1193006 h 1533525"/>
                    <a:gd name="connsiteX14" fmla="*/ 140493 w 1624012"/>
                    <a:gd name="connsiteY14" fmla="*/ 1143000 h 1533525"/>
                    <a:gd name="connsiteX15" fmla="*/ 123825 w 1624012"/>
                    <a:gd name="connsiteY15" fmla="*/ 1107281 h 1533525"/>
                    <a:gd name="connsiteX16" fmla="*/ 178593 w 1624012"/>
                    <a:gd name="connsiteY16" fmla="*/ 1107281 h 1533525"/>
                    <a:gd name="connsiteX17" fmla="*/ 192881 w 1624012"/>
                    <a:gd name="connsiteY17" fmla="*/ 1109663 h 1533525"/>
                    <a:gd name="connsiteX18" fmla="*/ 159543 w 1624012"/>
                    <a:gd name="connsiteY18" fmla="*/ 1064419 h 1533525"/>
                    <a:gd name="connsiteX19" fmla="*/ 169068 w 1624012"/>
                    <a:gd name="connsiteY19" fmla="*/ 1014413 h 1533525"/>
                    <a:gd name="connsiteX20" fmla="*/ 123825 w 1624012"/>
                    <a:gd name="connsiteY20" fmla="*/ 997744 h 1533525"/>
                    <a:gd name="connsiteX21" fmla="*/ 61912 w 1624012"/>
                    <a:gd name="connsiteY21" fmla="*/ 954881 h 1533525"/>
                    <a:gd name="connsiteX22" fmla="*/ 45243 w 1624012"/>
                    <a:gd name="connsiteY22" fmla="*/ 938213 h 1533525"/>
                    <a:gd name="connsiteX23" fmla="*/ 64293 w 1624012"/>
                    <a:gd name="connsiteY23" fmla="*/ 909638 h 1533525"/>
                    <a:gd name="connsiteX24" fmla="*/ 47625 w 1624012"/>
                    <a:gd name="connsiteY24" fmla="*/ 897731 h 1533525"/>
                    <a:gd name="connsiteX25" fmla="*/ 47625 w 1624012"/>
                    <a:gd name="connsiteY25" fmla="*/ 881063 h 1533525"/>
                    <a:gd name="connsiteX26" fmla="*/ 26193 w 1624012"/>
                    <a:gd name="connsiteY26" fmla="*/ 881063 h 1533525"/>
                    <a:gd name="connsiteX27" fmla="*/ 7143 w 1624012"/>
                    <a:gd name="connsiteY27" fmla="*/ 847725 h 1533525"/>
                    <a:gd name="connsiteX28" fmla="*/ 0 w 1624012"/>
                    <a:gd name="connsiteY28" fmla="*/ 816769 h 1533525"/>
                    <a:gd name="connsiteX29" fmla="*/ 54768 w 1624012"/>
                    <a:gd name="connsiteY29" fmla="*/ 800100 h 1533525"/>
                    <a:gd name="connsiteX30" fmla="*/ 76200 w 1624012"/>
                    <a:gd name="connsiteY30" fmla="*/ 788194 h 1533525"/>
                    <a:gd name="connsiteX31" fmla="*/ 128587 w 1624012"/>
                    <a:gd name="connsiteY31" fmla="*/ 821531 h 1533525"/>
                    <a:gd name="connsiteX32" fmla="*/ 126206 w 1624012"/>
                    <a:gd name="connsiteY32" fmla="*/ 800100 h 1533525"/>
                    <a:gd name="connsiteX33" fmla="*/ 164306 w 1624012"/>
                    <a:gd name="connsiteY33" fmla="*/ 795338 h 1533525"/>
                    <a:gd name="connsiteX34" fmla="*/ 173831 w 1624012"/>
                    <a:gd name="connsiteY34" fmla="*/ 759619 h 1533525"/>
                    <a:gd name="connsiteX35" fmla="*/ 235743 w 1624012"/>
                    <a:gd name="connsiteY35" fmla="*/ 764381 h 1533525"/>
                    <a:gd name="connsiteX36" fmla="*/ 235743 w 1624012"/>
                    <a:gd name="connsiteY36" fmla="*/ 764381 h 1533525"/>
                    <a:gd name="connsiteX37" fmla="*/ 245268 w 1624012"/>
                    <a:gd name="connsiteY37" fmla="*/ 704850 h 1533525"/>
                    <a:gd name="connsiteX38" fmla="*/ 276225 w 1624012"/>
                    <a:gd name="connsiteY38" fmla="*/ 666750 h 1533525"/>
                    <a:gd name="connsiteX39" fmla="*/ 292893 w 1624012"/>
                    <a:gd name="connsiteY39" fmla="*/ 638175 h 1533525"/>
                    <a:gd name="connsiteX40" fmla="*/ 245268 w 1624012"/>
                    <a:gd name="connsiteY40" fmla="*/ 602456 h 1533525"/>
                    <a:gd name="connsiteX41" fmla="*/ 264318 w 1624012"/>
                    <a:gd name="connsiteY41" fmla="*/ 585788 h 1533525"/>
                    <a:gd name="connsiteX42" fmla="*/ 311943 w 1624012"/>
                    <a:gd name="connsiteY42" fmla="*/ 602456 h 1533525"/>
                    <a:gd name="connsiteX43" fmla="*/ 369093 w 1624012"/>
                    <a:gd name="connsiteY43" fmla="*/ 573881 h 1533525"/>
                    <a:gd name="connsiteX44" fmla="*/ 457200 w 1624012"/>
                    <a:gd name="connsiteY44" fmla="*/ 545306 h 1533525"/>
                    <a:gd name="connsiteX45" fmla="*/ 538162 w 1624012"/>
                    <a:gd name="connsiteY45" fmla="*/ 578644 h 1533525"/>
                    <a:gd name="connsiteX46" fmla="*/ 614362 w 1624012"/>
                    <a:gd name="connsiteY46" fmla="*/ 550069 h 1533525"/>
                    <a:gd name="connsiteX47" fmla="*/ 650081 w 1624012"/>
                    <a:gd name="connsiteY47" fmla="*/ 552450 h 1533525"/>
                    <a:gd name="connsiteX48" fmla="*/ 654843 w 1624012"/>
                    <a:gd name="connsiteY48" fmla="*/ 523875 h 1533525"/>
                    <a:gd name="connsiteX49" fmla="*/ 654843 w 1624012"/>
                    <a:gd name="connsiteY49" fmla="*/ 490538 h 1533525"/>
                    <a:gd name="connsiteX50" fmla="*/ 669131 w 1624012"/>
                    <a:gd name="connsiteY50" fmla="*/ 469106 h 1533525"/>
                    <a:gd name="connsiteX51" fmla="*/ 652462 w 1624012"/>
                    <a:gd name="connsiteY51" fmla="*/ 450056 h 1533525"/>
                    <a:gd name="connsiteX52" fmla="*/ 642937 w 1624012"/>
                    <a:gd name="connsiteY52" fmla="*/ 411956 h 1533525"/>
                    <a:gd name="connsiteX53" fmla="*/ 642937 w 1624012"/>
                    <a:gd name="connsiteY53" fmla="*/ 330994 h 1533525"/>
                    <a:gd name="connsiteX54" fmla="*/ 633412 w 1624012"/>
                    <a:gd name="connsiteY54" fmla="*/ 319088 h 1533525"/>
                    <a:gd name="connsiteX55" fmla="*/ 664368 w 1624012"/>
                    <a:gd name="connsiteY55" fmla="*/ 285750 h 1533525"/>
                    <a:gd name="connsiteX56" fmla="*/ 721518 w 1624012"/>
                    <a:gd name="connsiteY56" fmla="*/ 292894 h 1533525"/>
                    <a:gd name="connsiteX57" fmla="*/ 733425 w 1624012"/>
                    <a:gd name="connsiteY57" fmla="*/ 264319 h 1533525"/>
                    <a:gd name="connsiteX58" fmla="*/ 731043 w 1624012"/>
                    <a:gd name="connsiteY58" fmla="*/ 228600 h 1533525"/>
                    <a:gd name="connsiteX59" fmla="*/ 790575 w 1624012"/>
                    <a:gd name="connsiteY59" fmla="*/ 192881 h 1533525"/>
                    <a:gd name="connsiteX60" fmla="*/ 804862 w 1624012"/>
                    <a:gd name="connsiteY60" fmla="*/ 166688 h 1533525"/>
                    <a:gd name="connsiteX61" fmla="*/ 778668 w 1624012"/>
                    <a:gd name="connsiteY61" fmla="*/ 128588 h 1533525"/>
                    <a:gd name="connsiteX62" fmla="*/ 771525 w 1624012"/>
                    <a:gd name="connsiteY62" fmla="*/ 104775 h 1533525"/>
                    <a:gd name="connsiteX63" fmla="*/ 823912 w 1624012"/>
                    <a:gd name="connsiteY63" fmla="*/ 97631 h 1533525"/>
                    <a:gd name="connsiteX64" fmla="*/ 869156 w 1624012"/>
                    <a:gd name="connsiteY64" fmla="*/ 52388 h 1533525"/>
                    <a:gd name="connsiteX65" fmla="*/ 890587 w 1624012"/>
                    <a:gd name="connsiteY65" fmla="*/ 23813 h 1533525"/>
                    <a:gd name="connsiteX66" fmla="*/ 923925 w 1624012"/>
                    <a:gd name="connsiteY66" fmla="*/ 9525 h 1533525"/>
                    <a:gd name="connsiteX67" fmla="*/ 971550 w 1624012"/>
                    <a:gd name="connsiteY67" fmla="*/ 0 h 1533525"/>
                    <a:gd name="connsiteX68" fmla="*/ 971550 w 1624012"/>
                    <a:gd name="connsiteY68" fmla="*/ 40481 h 1533525"/>
                    <a:gd name="connsiteX69" fmla="*/ 950118 w 1624012"/>
                    <a:gd name="connsiteY69" fmla="*/ 80963 h 1533525"/>
                    <a:gd name="connsiteX70" fmla="*/ 950118 w 1624012"/>
                    <a:gd name="connsiteY70" fmla="*/ 140494 h 1533525"/>
                    <a:gd name="connsiteX71" fmla="*/ 969168 w 1624012"/>
                    <a:gd name="connsiteY71" fmla="*/ 161925 h 1533525"/>
                    <a:gd name="connsiteX72" fmla="*/ 1007268 w 1624012"/>
                    <a:gd name="connsiteY72" fmla="*/ 188119 h 1533525"/>
                    <a:gd name="connsiteX73" fmla="*/ 1019175 w 1624012"/>
                    <a:gd name="connsiteY73" fmla="*/ 216694 h 1533525"/>
                    <a:gd name="connsiteX74" fmla="*/ 1004887 w 1624012"/>
                    <a:gd name="connsiteY74" fmla="*/ 226219 h 1533525"/>
                    <a:gd name="connsiteX75" fmla="*/ 1057275 w 1624012"/>
                    <a:gd name="connsiteY75" fmla="*/ 250031 h 1533525"/>
                    <a:gd name="connsiteX76" fmla="*/ 1073943 w 1624012"/>
                    <a:gd name="connsiteY76" fmla="*/ 228600 h 1533525"/>
                    <a:gd name="connsiteX77" fmla="*/ 1083468 w 1624012"/>
                    <a:gd name="connsiteY77" fmla="*/ 252413 h 1533525"/>
                    <a:gd name="connsiteX78" fmla="*/ 1116806 w 1624012"/>
                    <a:gd name="connsiteY78" fmla="*/ 252413 h 1533525"/>
                    <a:gd name="connsiteX79" fmla="*/ 1123950 w 1624012"/>
                    <a:gd name="connsiteY79" fmla="*/ 257175 h 1533525"/>
                    <a:gd name="connsiteX80" fmla="*/ 1116806 w 1624012"/>
                    <a:gd name="connsiteY80" fmla="*/ 276225 h 1533525"/>
                    <a:gd name="connsiteX81" fmla="*/ 1088231 w 1624012"/>
                    <a:gd name="connsiteY81" fmla="*/ 309563 h 1533525"/>
                    <a:gd name="connsiteX82" fmla="*/ 1123950 w 1624012"/>
                    <a:gd name="connsiteY82" fmla="*/ 333375 h 1533525"/>
                    <a:gd name="connsiteX83" fmla="*/ 1135856 w 1624012"/>
                    <a:gd name="connsiteY83" fmla="*/ 347663 h 1533525"/>
                    <a:gd name="connsiteX84" fmla="*/ 1135856 w 1624012"/>
                    <a:gd name="connsiteY84" fmla="*/ 376238 h 1533525"/>
                    <a:gd name="connsiteX85" fmla="*/ 1119187 w 1624012"/>
                    <a:gd name="connsiteY85" fmla="*/ 411956 h 1533525"/>
                    <a:gd name="connsiteX86" fmla="*/ 1162050 w 1624012"/>
                    <a:gd name="connsiteY86" fmla="*/ 423863 h 1533525"/>
                    <a:gd name="connsiteX87" fmla="*/ 1233487 w 1624012"/>
                    <a:gd name="connsiteY87" fmla="*/ 416719 h 1533525"/>
                    <a:gd name="connsiteX88" fmla="*/ 1223962 w 1624012"/>
                    <a:gd name="connsiteY88" fmla="*/ 385763 h 1533525"/>
                    <a:gd name="connsiteX89" fmla="*/ 1188243 w 1624012"/>
                    <a:gd name="connsiteY89" fmla="*/ 347663 h 1533525"/>
                    <a:gd name="connsiteX90" fmla="*/ 1181100 w 1624012"/>
                    <a:gd name="connsiteY90" fmla="*/ 333375 h 1533525"/>
                    <a:gd name="connsiteX91" fmla="*/ 1207293 w 1624012"/>
                    <a:gd name="connsiteY91" fmla="*/ 326231 h 1533525"/>
                    <a:gd name="connsiteX92" fmla="*/ 1200150 w 1624012"/>
                    <a:gd name="connsiteY92" fmla="*/ 302419 h 1533525"/>
                    <a:gd name="connsiteX93" fmla="*/ 1223962 w 1624012"/>
                    <a:gd name="connsiteY93" fmla="*/ 283369 h 1533525"/>
                    <a:gd name="connsiteX94" fmla="*/ 1250156 w 1624012"/>
                    <a:gd name="connsiteY94" fmla="*/ 242888 h 1533525"/>
                    <a:gd name="connsiteX95" fmla="*/ 1302543 w 1624012"/>
                    <a:gd name="connsiteY95" fmla="*/ 211931 h 1533525"/>
                    <a:gd name="connsiteX96" fmla="*/ 1350168 w 1624012"/>
                    <a:gd name="connsiteY96" fmla="*/ 123825 h 1533525"/>
                    <a:gd name="connsiteX97" fmla="*/ 1438275 w 1624012"/>
                    <a:gd name="connsiteY97" fmla="*/ 69056 h 1533525"/>
                    <a:gd name="connsiteX98" fmla="*/ 1440656 w 1624012"/>
                    <a:gd name="connsiteY98" fmla="*/ 104775 h 1533525"/>
                    <a:gd name="connsiteX99" fmla="*/ 1490662 w 1624012"/>
                    <a:gd name="connsiteY99" fmla="*/ 142875 h 1533525"/>
                    <a:gd name="connsiteX100" fmla="*/ 1543050 w 1624012"/>
                    <a:gd name="connsiteY100" fmla="*/ 147638 h 1533525"/>
                    <a:gd name="connsiteX101" fmla="*/ 1547812 w 1624012"/>
                    <a:gd name="connsiteY101" fmla="*/ 121444 h 1533525"/>
                    <a:gd name="connsiteX102" fmla="*/ 1574006 w 1624012"/>
                    <a:gd name="connsiteY102" fmla="*/ 121444 h 1533525"/>
                    <a:gd name="connsiteX103" fmla="*/ 1624012 w 1624012"/>
                    <a:gd name="connsiteY103" fmla="*/ 109538 h 1533525"/>
                    <a:gd name="connsiteX104" fmla="*/ 1057275 w 1624012"/>
                    <a:gd name="connsiteY104" fmla="*/ 264319 h 1533525"/>
                    <a:gd name="connsiteX105" fmla="*/ 1062037 w 1624012"/>
                    <a:gd name="connsiteY105" fmla="*/ 304800 h 1533525"/>
                    <a:gd name="connsiteX106" fmla="*/ 995362 w 1624012"/>
                    <a:gd name="connsiteY106" fmla="*/ 352425 h 1533525"/>
                    <a:gd name="connsiteX107" fmla="*/ 973931 w 1624012"/>
                    <a:gd name="connsiteY107" fmla="*/ 383381 h 1533525"/>
                    <a:gd name="connsiteX108" fmla="*/ 1000125 w 1624012"/>
                    <a:gd name="connsiteY108" fmla="*/ 428625 h 1533525"/>
                    <a:gd name="connsiteX109" fmla="*/ 983456 w 1624012"/>
                    <a:gd name="connsiteY109" fmla="*/ 466725 h 1533525"/>
                    <a:gd name="connsiteX110" fmla="*/ 1000125 w 1624012"/>
                    <a:gd name="connsiteY110" fmla="*/ 519113 h 1533525"/>
                    <a:gd name="connsiteX111" fmla="*/ 1033462 w 1624012"/>
                    <a:gd name="connsiteY111" fmla="*/ 519113 h 1533525"/>
                    <a:gd name="connsiteX112" fmla="*/ 1019175 w 1624012"/>
                    <a:gd name="connsiteY112" fmla="*/ 552450 h 1533525"/>
                    <a:gd name="connsiteX113" fmla="*/ 1035843 w 1624012"/>
                    <a:gd name="connsiteY113" fmla="*/ 590550 h 1533525"/>
                    <a:gd name="connsiteX114" fmla="*/ 1035843 w 1624012"/>
                    <a:gd name="connsiteY114" fmla="*/ 607219 h 1533525"/>
                    <a:gd name="connsiteX115" fmla="*/ 1045368 w 1624012"/>
                    <a:gd name="connsiteY115" fmla="*/ 645319 h 1533525"/>
                    <a:gd name="connsiteX116" fmla="*/ 1064418 w 1624012"/>
                    <a:gd name="connsiteY116" fmla="*/ 645319 h 1533525"/>
                    <a:gd name="connsiteX117" fmla="*/ 1078706 w 1624012"/>
                    <a:gd name="connsiteY117" fmla="*/ 666750 h 1533525"/>
                    <a:gd name="connsiteX118" fmla="*/ 1085850 w 1624012"/>
                    <a:gd name="connsiteY118" fmla="*/ 688181 h 1533525"/>
                    <a:gd name="connsiteX119" fmla="*/ 1076325 w 1624012"/>
                    <a:gd name="connsiteY119" fmla="*/ 719138 h 1533525"/>
                    <a:gd name="connsiteX120" fmla="*/ 1021556 w 1624012"/>
                    <a:gd name="connsiteY120" fmla="*/ 714375 h 1533525"/>
                    <a:gd name="connsiteX121" fmla="*/ 1002506 w 1624012"/>
                    <a:gd name="connsiteY121" fmla="*/ 721519 h 1533525"/>
                    <a:gd name="connsiteX122" fmla="*/ 995362 w 1624012"/>
                    <a:gd name="connsiteY122" fmla="*/ 726281 h 1533525"/>
                    <a:gd name="connsiteX123" fmla="*/ 995362 w 1624012"/>
                    <a:gd name="connsiteY123" fmla="*/ 726281 h 1533525"/>
                    <a:gd name="connsiteX124" fmla="*/ 923925 w 1624012"/>
                    <a:gd name="connsiteY124" fmla="*/ 721519 h 1533525"/>
                    <a:gd name="connsiteX125" fmla="*/ 940593 w 1624012"/>
                    <a:gd name="connsiteY125" fmla="*/ 778669 h 1533525"/>
                    <a:gd name="connsiteX126" fmla="*/ 938212 w 1624012"/>
                    <a:gd name="connsiteY126" fmla="*/ 847725 h 1533525"/>
                    <a:gd name="connsiteX127" fmla="*/ 954881 w 1624012"/>
                    <a:gd name="connsiteY127" fmla="*/ 871538 h 1533525"/>
                    <a:gd name="connsiteX128" fmla="*/ 997743 w 1624012"/>
                    <a:gd name="connsiteY128" fmla="*/ 919163 h 1533525"/>
                    <a:gd name="connsiteX129" fmla="*/ 1012031 w 1624012"/>
                    <a:gd name="connsiteY129" fmla="*/ 954881 h 1533525"/>
                    <a:gd name="connsiteX130" fmla="*/ 1031081 w 1624012"/>
                    <a:gd name="connsiteY130" fmla="*/ 954881 h 1533525"/>
                    <a:gd name="connsiteX131" fmla="*/ 1071562 w 1624012"/>
                    <a:gd name="connsiteY131" fmla="*/ 940594 h 1533525"/>
                    <a:gd name="connsiteX132" fmla="*/ 1102518 w 1624012"/>
                    <a:gd name="connsiteY132" fmla="*/ 933450 h 1533525"/>
                    <a:gd name="connsiteX133" fmla="*/ 1159668 w 1624012"/>
                    <a:gd name="connsiteY133" fmla="*/ 997744 h 1533525"/>
                    <a:gd name="connsiteX134" fmla="*/ 1178718 w 1624012"/>
                    <a:gd name="connsiteY134" fmla="*/ 1052513 h 1533525"/>
                    <a:gd name="connsiteX135" fmla="*/ 1190625 w 1624012"/>
                    <a:gd name="connsiteY135" fmla="*/ 1081088 h 1533525"/>
                    <a:gd name="connsiteX136" fmla="*/ 1212056 w 1624012"/>
                    <a:gd name="connsiteY136" fmla="*/ 1109663 h 1533525"/>
                    <a:gd name="connsiteX137" fmla="*/ 1231106 w 1624012"/>
                    <a:gd name="connsiteY137" fmla="*/ 1102519 h 1533525"/>
                    <a:gd name="connsiteX138" fmla="*/ 1231106 w 1624012"/>
                    <a:gd name="connsiteY138" fmla="*/ 1131094 h 1533525"/>
                    <a:gd name="connsiteX139" fmla="*/ 1233487 w 1624012"/>
                    <a:gd name="connsiteY139" fmla="*/ 1145381 h 1533525"/>
                    <a:gd name="connsiteX140" fmla="*/ 1266825 w 1624012"/>
                    <a:gd name="connsiteY140" fmla="*/ 1181100 h 1533525"/>
                    <a:gd name="connsiteX141" fmla="*/ 1233487 w 1624012"/>
                    <a:gd name="connsiteY141" fmla="*/ 1181100 h 1533525"/>
                    <a:gd name="connsiteX142" fmla="*/ 1228725 w 1624012"/>
                    <a:gd name="connsiteY142" fmla="*/ 1223963 h 1533525"/>
                    <a:gd name="connsiteX143" fmla="*/ 1226343 w 1624012"/>
                    <a:gd name="connsiteY143" fmla="*/ 1243013 h 1533525"/>
                    <a:gd name="connsiteX144" fmla="*/ 1216818 w 1624012"/>
                    <a:gd name="connsiteY144" fmla="*/ 1264444 h 1533525"/>
                    <a:gd name="connsiteX145" fmla="*/ 1190625 w 1624012"/>
                    <a:gd name="connsiteY145" fmla="*/ 1238250 h 1533525"/>
                    <a:gd name="connsiteX146" fmla="*/ 1157287 w 1624012"/>
                    <a:gd name="connsiteY146" fmla="*/ 1209675 h 1533525"/>
                    <a:gd name="connsiteX147" fmla="*/ 1131093 w 1624012"/>
                    <a:gd name="connsiteY147" fmla="*/ 1185863 h 1533525"/>
                    <a:gd name="connsiteX148" fmla="*/ 1107281 w 1624012"/>
                    <a:gd name="connsiteY148" fmla="*/ 1219200 h 1533525"/>
                    <a:gd name="connsiteX149" fmla="*/ 1104900 w 1624012"/>
                    <a:gd name="connsiteY149" fmla="*/ 1264444 h 1533525"/>
                    <a:gd name="connsiteX150" fmla="*/ 1062037 w 1624012"/>
                    <a:gd name="connsiteY150" fmla="*/ 1259681 h 1533525"/>
                    <a:gd name="connsiteX151" fmla="*/ 1026318 w 1624012"/>
                    <a:gd name="connsiteY151" fmla="*/ 1288256 h 1533525"/>
                    <a:gd name="connsiteX152" fmla="*/ 1007268 w 1624012"/>
                    <a:gd name="connsiteY152" fmla="*/ 1240631 h 1533525"/>
                    <a:gd name="connsiteX153" fmla="*/ 947737 w 1624012"/>
                    <a:gd name="connsiteY153" fmla="*/ 1231106 h 1533525"/>
                    <a:gd name="connsiteX154" fmla="*/ 921543 w 1624012"/>
                    <a:gd name="connsiteY154" fmla="*/ 1297781 h 1533525"/>
                    <a:gd name="connsiteX155" fmla="*/ 885825 w 1624012"/>
                    <a:gd name="connsiteY155" fmla="*/ 1278731 h 1533525"/>
                    <a:gd name="connsiteX156" fmla="*/ 816768 w 1624012"/>
                    <a:gd name="connsiteY156" fmla="*/ 1295400 h 1533525"/>
                    <a:gd name="connsiteX157" fmla="*/ 757237 w 1624012"/>
                    <a:gd name="connsiteY157" fmla="*/ 1259681 h 1533525"/>
                    <a:gd name="connsiteX158" fmla="*/ 742950 w 1624012"/>
                    <a:gd name="connsiteY158" fmla="*/ 1312069 h 1533525"/>
                    <a:gd name="connsiteX159" fmla="*/ 704850 w 1624012"/>
                    <a:gd name="connsiteY159" fmla="*/ 1345406 h 1533525"/>
                    <a:gd name="connsiteX160" fmla="*/ 692943 w 1624012"/>
                    <a:gd name="connsiteY160" fmla="*/ 1366838 h 1533525"/>
                    <a:gd name="connsiteX161" fmla="*/ 671512 w 1624012"/>
                    <a:gd name="connsiteY161" fmla="*/ 1509713 h 1533525"/>
                    <a:gd name="connsiteX162" fmla="*/ 633412 w 1624012"/>
                    <a:gd name="connsiteY162" fmla="*/ 1490663 h 1533525"/>
                    <a:gd name="connsiteX163" fmla="*/ 614362 w 1624012"/>
                    <a:gd name="connsiteY163" fmla="*/ 1504950 h 1533525"/>
                    <a:gd name="connsiteX164" fmla="*/ 581025 w 1624012"/>
                    <a:gd name="connsiteY164" fmla="*/ 1531144 h 1533525"/>
                    <a:gd name="connsiteX165" fmla="*/ 523875 w 1624012"/>
                    <a:gd name="connsiteY165" fmla="*/ 1502569 h 1533525"/>
                    <a:gd name="connsiteX166" fmla="*/ 514350 w 1624012"/>
                    <a:gd name="connsiteY166" fmla="*/ 1490663 h 1533525"/>
                    <a:gd name="connsiteX167" fmla="*/ 483393 w 1624012"/>
                    <a:gd name="connsiteY167" fmla="*/ 1533525 h 1533525"/>
                    <a:gd name="connsiteX0" fmla="*/ 483393 w 1624012"/>
                    <a:gd name="connsiteY0" fmla="*/ 1533525 h 1533525"/>
                    <a:gd name="connsiteX1" fmla="*/ 459581 w 1624012"/>
                    <a:gd name="connsiteY1" fmla="*/ 1481138 h 1533525"/>
                    <a:gd name="connsiteX2" fmla="*/ 438150 w 1624012"/>
                    <a:gd name="connsiteY2" fmla="*/ 1471613 h 1533525"/>
                    <a:gd name="connsiteX3" fmla="*/ 400050 w 1624012"/>
                    <a:gd name="connsiteY3" fmla="*/ 1485900 h 1533525"/>
                    <a:gd name="connsiteX4" fmla="*/ 338137 w 1624012"/>
                    <a:gd name="connsiteY4" fmla="*/ 1490663 h 1533525"/>
                    <a:gd name="connsiteX5" fmla="*/ 330993 w 1624012"/>
                    <a:gd name="connsiteY5" fmla="*/ 1497806 h 1533525"/>
                    <a:gd name="connsiteX6" fmla="*/ 271462 w 1624012"/>
                    <a:gd name="connsiteY6" fmla="*/ 1471613 h 1533525"/>
                    <a:gd name="connsiteX7" fmla="*/ 219075 w 1624012"/>
                    <a:gd name="connsiteY7" fmla="*/ 1443038 h 1533525"/>
                    <a:gd name="connsiteX8" fmla="*/ 138112 w 1624012"/>
                    <a:gd name="connsiteY8" fmla="*/ 1402556 h 1533525"/>
                    <a:gd name="connsiteX9" fmla="*/ 95250 w 1624012"/>
                    <a:gd name="connsiteY9" fmla="*/ 1316831 h 1533525"/>
                    <a:gd name="connsiteX10" fmla="*/ 80962 w 1624012"/>
                    <a:gd name="connsiteY10" fmla="*/ 1288256 h 1533525"/>
                    <a:gd name="connsiteX11" fmla="*/ 104775 w 1624012"/>
                    <a:gd name="connsiteY11" fmla="*/ 1266825 h 1533525"/>
                    <a:gd name="connsiteX12" fmla="*/ 76200 w 1624012"/>
                    <a:gd name="connsiteY12" fmla="*/ 1212056 h 1533525"/>
                    <a:gd name="connsiteX13" fmla="*/ 109537 w 1624012"/>
                    <a:gd name="connsiteY13" fmla="*/ 1193006 h 1533525"/>
                    <a:gd name="connsiteX14" fmla="*/ 140493 w 1624012"/>
                    <a:gd name="connsiteY14" fmla="*/ 1143000 h 1533525"/>
                    <a:gd name="connsiteX15" fmla="*/ 123825 w 1624012"/>
                    <a:gd name="connsiteY15" fmla="*/ 1107281 h 1533525"/>
                    <a:gd name="connsiteX16" fmla="*/ 178593 w 1624012"/>
                    <a:gd name="connsiteY16" fmla="*/ 1107281 h 1533525"/>
                    <a:gd name="connsiteX17" fmla="*/ 192881 w 1624012"/>
                    <a:gd name="connsiteY17" fmla="*/ 1109663 h 1533525"/>
                    <a:gd name="connsiteX18" fmla="*/ 159543 w 1624012"/>
                    <a:gd name="connsiteY18" fmla="*/ 1064419 h 1533525"/>
                    <a:gd name="connsiteX19" fmla="*/ 169068 w 1624012"/>
                    <a:gd name="connsiteY19" fmla="*/ 1014413 h 1533525"/>
                    <a:gd name="connsiteX20" fmla="*/ 123825 w 1624012"/>
                    <a:gd name="connsiteY20" fmla="*/ 997744 h 1533525"/>
                    <a:gd name="connsiteX21" fmla="*/ 61912 w 1624012"/>
                    <a:gd name="connsiteY21" fmla="*/ 954881 h 1533525"/>
                    <a:gd name="connsiteX22" fmla="*/ 45243 w 1624012"/>
                    <a:gd name="connsiteY22" fmla="*/ 938213 h 1533525"/>
                    <a:gd name="connsiteX23" fmla="*/ 64293 w 1624012"/>
                    <a:gd name="connsiteY23" fmla="*/ 909638 h 1533525"/>
                    <a:gd name="connsiteX24" fmla="*/ 47625 w 1624012"/>
                    <a:gd name="connsiteY24" fmla="*/ 897731 h 1533525"/>
                    <a:gd name="connsiteX25" fmla="*/ 47625 w 1624012"/>
                    <a:gd name="connsiteY25" fmla="*/ 881063 h 1533525"/>
                    <a:gd name="connsiteX26" fmla="*/ 26193 w 1624012"/>
                    <a:gd name="connsiteY26" fmla="*/ 881063 h 1533525"/>
                    <a:gd name="connsiteX27" fmla="*/ 7143 w 1624012"/>
                    <a:gd name="connsiteY27" fmla="*/ 847725 h 1533525"/>
                    <a:gd name="connsiteX28" fmla="*/ 0 w 1624012"/>
                    <a:gd name="connsiteY28" fmla="*/ 816769 h 1533525"/>
                    <a:gd name="connsiteX29" fmla="*/ 54768 w 1624012"/>
                    <a:gd name="connsiteY29" fmla="*/ 800100 h 1533525"/>
                    <a:gd name="connsiteX30" fmla="*/ 76200 w 1624012"/>
                    <a:gd name="connsiteY30" fmla="*/ 788194 h 1533525"/>
                    <a:gd name="connsiteX31" fmla="*/ 128587 w 1624012"/>
                    <a:gd name="connsiteY31" fmla="*/ 821531 h 1533525"/>
                    <a:gd name="connsiteX32" fmla="*/ 126206 w 1624012"/>
                    <a:gd name="connsiteY32" fmla="*/ 800100 h 1533525"/>
                    <a:gd name="connsiteX33" fmla="*/ 164306 w 1624012"/>
                    <a:gd name="connsiteY33" fmla="*/ 795338 h 1533525"/>
                    <a:gd name="connsiteX34" fmla="*/ 173831 w 1624012"/>
                    <a:gd name="connsiteY34" fmla="*/ 759619 h 1533525"/>
                    <a:gd name="connsiteX35" fmla="*/ 235743 w 1624012"/>
                    <a:gd name="connsiteY35" fmla="*/ 764381 h 1533525"/>
                    <a:gd name="connsiteX36" fmla="*/ 235743 w 1624012"/>
                    <a:gd name="connsiteY36" fmla="*/ 764381 h 1533525"/>
                    <a:gd name="connsiteX37" fmla="*/ 245268 w 1624012"/>
                    <a:gd name="connsiteY37" fmla="*/ 704850 h 1533525"/>
                    <a:gd name="connsiteX38" fmla="*/ 276225 w 1624012"/>
                    <a:gd name="connsiteY38" fmla="*/ 666750 h 1533525"/>
                    <a:gd name="connsiteX39" fmla="*/ 292893 w 1624012"/>
                    <a:gd name="connsiteY39" fmla="*/ 638175 h 1533525"/>
                    <a:gd name="connsiteX40" fmla="*/ 245268 w 1624012"/>
                    <a:gd name="connsiteY40" fmla="*/ 602456 h 1533525"/>
                    <a:gd name="connsiteX41" fmla="*/ 264318 w 1624012"/>
                    <a:gd name="connsiteY41" fmla="*/ 585788 h 1533525"/>
                    <a:gd name="connsiteX42" fmla="*/ 311943 w 1624012"/>
                    <a:gd name="connsiteY42" fmla="*/ 602456 h 1533525"/>
                    <a:gd name="connsiteX43" fmla="*/ 369093 w 1624012"/>
                    <a:gd name="connsiteY43" fmla="*/ 573881 h 1533525"/>
                    <a:gd name="connsiteX44" fmla="*/ 457200 w 1624012"/>
                    <a:gd name="connsiteY44" fmla="*/ 545306 h 1533525"/>
                    <a:gd name="connsiteX45" fmla="*/ 538162 w 1624012"/>
                    <a:gd name="connsiteY45" fmla="*/ 578644 h 1533525"/>
                    <a:gd name="connsiteX46" fmla="*/ 614362 w 1624012"/>
                    <a:gd name="connsiteY46" fmla="*/ 550069 h 1533525"/>
                    <a:gd name="connsiteX47" fmla="*/ 650081 w 1624012"/>
                    <a:gd name="connsiteY47" fmla="*/ 552450 h 1533525"/>
                    <a:gd name="connsiteX48" fmla="*/ 654843 w 1624012"/>
                    <a:gd name="connsiteY48" fmla="*/ 523875 h 1533525"/>
                    <a:gd name="connsiteX49" fmla="*/ 654843 w 1624012"/>
                    <a:gd name="connsiteY49" fmla="*/ 490538 h 1533525"/>
                    <a:gd name="connsiteX50" fmla="*/ 669131 w 1624012"/>
                    <a:gd name="connsiteY50" fmla="*/ 469106 h 1533525"/>
                    <a:gd name="connsiteX51" fmla="*/ 652462 w 1624012"/>
                    <a:gd name="connsiteY51" fmla="*/ 450056 h 1533525"/>
                    <a:gd name="connsiteX52" fmla="*/ 642937 w 1624012"/>
                    <a:gd name="connsiteY52" fmla="*/ 411956 h 1533525"/>
                    <a:gd name="connsiteX53" fmla="*/ 642937 w 1624012"/>
                    <a:gd name="connsiteY53" fmla="*/ 330994 h 1533525"/>
                    <a:gd name="connsiteX54" fmla="*/ 633412 w 1624012"/>
                    <a:gd name="connsiteY54" fmla="*/ 319088 h 1533525"/>
                    <a:gd name="connsiteX55" fmla="*/ 664368 w 1624012"/>
                    <a:gd name="connsiteY55" fmla="*/ 285750 h 1533525"/>
                    <a:gd name="connsiteX56" fmla="*/ 721518 w 1624012"/>
                    <a:gd name="connsiteY56" fmla="*/ 292894 h 1533525"/>
                    <a:gd name="connsiteX57" fmla="*/ 733425 w 1624012"/>
                    <a:gd name="connsiteY57" fmla="*/ 264319 h 1533525"/>
                    <a:gd name="connsiteX58" fmla="*/ 731043 w 1624012"/>
                    <a:gd name="connsiteY58" fmla="*/ 228600 h 1533525"/>
                    <a:gd name="connsiteX59" fmla="*/ 790575 w 1624012"/>
                    <a:gd name="connsiteY59" fmla="*/ 192881 h 1533525"/>
                    <a:gd name="connsiteX60" fmla="*/ 804862 w 1624012"/>
                    <a:gd name="connsiteY60" fmla="*/ 166688 h 1533525"/>
                    <a:gd name="connsiteX61" fmla="*/ 778668 w 1624012"/>
                    <a:gd name="connsiteY61" fmla="*/ 128588 h 1533525"/>
                    <a:gd name="connsiteX62" fmla="*/ 771525 w 1624012"/>
                    <a:gd name="connsiteY62" fmla="*/ 104775 h 1533525"/>
                    <a:gd name="connsiteX63" fmla="*/ 823912 w 1624012"/>
                    <a:gd name="connsiteY63" fmla="*/ 97631 h 1533525"/>
                    <a:gd name="connsiteX64" fmla="*/ 869156 w 1624012"/>
                    <a:gd name="connsiteY64" fmla="*/ 52388 h 1533525"/>
                    <a:gd name="connsiteX65" fmla="*/ 890587 w 1624012"/>
                    <a:gd name="connsiteY65" fmla="*/ 23813 h 1533525"/>
                    <a:gd name="connsiteX66" fmla="*/ 923925 w 1624012"/>
                    <a:gd name="connsiteY66" fmla="*/ 9525 h 1533525"/>
                    <a:gd name="connsiteX67" fmla="*/ 971550 w 1624012"/>
                    <a:gd name="connsiteY67" fmla="*/ 0 h 1533525"/>
                    <a:gd name="connsiteX68" fmla="*/ 971550 w 1624012"/>
                    <a:gd name="connsiteY68" fmla="*/ 40481 h 1533525"/>
                    <a:gd name="connsiteX69" fmla="*/ 950118 w 1624012"/>
                    <a:gd name="connsiteY69" fmla="*/ 80963 h 1533525"/>
                    <a:gd name="connsiteX70" fmla="*/ 950118 w 1624012"/>
                    <a:gd name="connsiteY70" fmla="*/ 140494 h 1533525"/>
                    <a:gd name="connsiteX71" fmla="*/ 969168 w 1624012"/>
                    <a:gd name="connsiteY71" fmla="*/ 161925 h 1533525"/>
                    <a:gd name="connsiteX72" fmla="*/ 1007268 w 1624012"/>
                    <a:gd name="connsiteY72" fmla="*/ 188119 h 1533525"/>
                    <a:gd name="connsiteX73" fmla="*/ 1019175 w 1624012"/>
                    <a:gd name="connsiteY73" fmla="*/ 216694 h 1533525"/>
                    <a:gd name="connsiteX74" fmla="*/ 1004887 w 1624012"/>
                    <a:gd name="connsiteY74" fmla="*/ 226219 h 1533525"/>
                    <a:gd name="connsiteX75" fmla="*/ 1057275 w 1624012"/>
                    <a:gd name="connsiteY75" fmla="*/ 250031 h 1533525"/>
                    <a:gd name="connsiteX76" fmla="*/ 1073943 w 1624012"/>
                    <a:gd name="connsiteY76" fmla="*/ 228600 h 1533525"/>
                    <a:gd name="connsiteX77" fmla="*/ 1083468 w 1624012"/>
                    <a:gd name="connsiteY77" fmla="*/ 252413 h 1533525"/>
                    <a:gd name="connsiteX78" fmla="*/ 1116806 w 1624012"/>
                    <a:gd name="connsiteY78" fmla="*/ 252413 h 1533525"/>
                    <a:gd name="connsiteX79" fmla="*/ 1123950 w 1624012"/>
                    <a:gd name="connsiteY79" fmla="*/ 257175 h 1533525"/>
                    <a:gd name="connsiteX80" fmla="*/ 1116806 w 1624012"/>
                    <a:gd name="connsiteY80" fmla="*/ 276225 h 1533525"/>
                    <a:gd name="connsiteX81" fmla="*/ 1088231 w 1624012"/>
                    <a:gd name="connsiteY81" fmla="*/ 309563 h 1533525"/>
                    <a:gd name="connsiteX82" fmla="*/ 1123950 w 1624012"/>
                    <a:gd name="connsiteY82" fmla="*/ 333375 h 1533525"/>
                    <a:gd name="connsiteX83" fmla="*/ 1135856 w 1624012"/>
                    <a:gd name="connsiteY83" fmla="*/ 347663 h 1533525"/>
                    <a:gd name="connsiteX84" fmla="*/ 1135856 w 1624012"/>
                    <a:gd name="connsiteY84" fmla="*/ 376238 h 1533525"/>
                    <a:gd name="connsiteX85" fmla="*/ 1119187 w 1624012"/>
                    <a:gd name="connsiteY85" fmla="*/ 411956 h 1533525"/>
                    <a:gd name="connsiteX86" fmla="*/ 1162050 w 1624012"/>
                    <a:gd name="connsiteY86" fmla="*/ 423863 h 1533525"/>
                    <a:gd name="connsiteX87" fmla="*/ 1233487 w 1624012"/>
                    <a:gd name="connsiteY87" fmla="*/ 416719 h 1533525"/>
                    <a:gd name="connsiteX88" fmla="*/ 1223962 w 1624012"/>
                    <a:gd name="connsiteY88" fmla="*/ 385763 h 1533525"/>
                    <a:gd name="connsiteX89" fmla="*/ 1188243 w 1624012"/>
                    <a:gd name="connsiteY89" fmla="*/ 347663 h 1533525"/>
                    <a:gd name="connsiteX90" fmla="*/ 1181100 w 1624012"/>
                    <a:gd name="connsiteY90" fmla="*/ 333375 h 1533525"/>
                    <a:gd name="connsiteX91" fmla="*/ 1207293 w 1624012"/>
                    <a:gd name="connsiteY91" fmla="*/ 326231 h 1533525"/>
                    <a:gd name="connsiteX92" fmla="*/ 1200150 w 1624012"/>
                    <a:gd name="connsiteY92" fmla="*/ 302419 h 1533525"/>
                    <a:gd name="connsiteX93" fmla="*/ 1223962 w 1624012"/>
                    <a:gd name="connsiteY93" fmla="*/ 283369 h 1533525"/>
                    <a:gd name="connsiteX94" fmla="*/ 1250156 w 1624012"/>
                    <a:gd name="connsiteY94" fmla="*/ 242888 h 1533525"/>
                    <a:gd name="connsiteX95" fmla="*/ 1302543 w 1624012"/>
                    <a:gd name="connsiteY95" fmla="*/ 211931 h 1533525"/>
                    <a:gd name="connsiteX96" fmla="*/ 1350168 w 1624012"/>
                    <a:gd name="connsiteY96" fmla="*/ 123825 h 1533525"/>
                    <a:gd name="connsiteX97" fmla="*/ 1440656 w 1624012"/>
                    <a:gd name="connsiteY97" fmla="*/ 104775 h 1533525"/>
                    <a:gd name="connsiteX98" fmla="*/ 1490662 w 1624012"/>
                    <a:gd name="connsiteY98" fmla="*/ 142875 h 1533525"/>
                    <a:gd name="connsiteX99" fmla="*/ 1543050 w 1624012"/>
                    <a:gd name="connsiteY99" fmla="*/ 147638 h 1533525"/>
                    <a:gd name="connsiteX100" fmla="*/ 1547812 w 1624012"/>
                    <a:gd name="connsiteY100" fmla="*/ 121444 h 1533525"/>
                    <a:gd name="connsiteX101" fmla="*/ 1574006 w 1624012"/>
                    <a:gd name="connsiteY101" fmla="*/ 121444 h 1533525"/>
                    <a:gd name="connsiteX102" fmla="*/ 1624012 w 1624012"/>
                    <a:gd name="connsiteY102" fmla="*/ 109538 h 1533525"/>
                    <a:gd name="connsiteX103" fmla="*/ 1057275 w 1624012"/>
                    <a:gd name="connsiteY103" fmla="*/ 264319 h 1533525"/>
                    <a:gd name="connsiteX104" fmla="*/ 1062037 w 1624012"/>
                    <a:gd name="connsiteY104" fmla="*/ 304800 h 1533525"/>
                    <a:gd name="connsiteX105" fmla="*/ 995362 w 1624012"/>
                    <a:gd name="connsiteY105" fmla="*/ 352425 h 1533525"/>
                    <a:gd name="connsiteX106" fmla="*/ 973931 w 1624012"/>
                    <a:gd name="connsiteY106" fmla="*/ 383381 h 1533525"/>
                    <a:gd name="connsiteX107" fmla="*/ 1000125 w 1624012"/>
                    <a:gd name="connsiteY107" fmla="*/ 428625 h 1533525"/>
                    <a:gd name="connsiteX108" fmla="*/ 983456 w 1624012"/>
                    <a:gd name="connsiteY108" fmla="*/ 466725 h 1533525"/>
                    <a:gd name="connsiteX109" fmla="*/ 1000125 w 1624012"/>
                    <a:gd name="connsiteY109" fmla="*/ 519113 h 1533525"/>
                    <a:gd name="connsiteX110" fmla="*/ 1033462 w 1624012"/>
                    <a:gd name="connsiteY110" fmla="*/ 519113 h 1533525"/>
                    <a:gd name="connsiteX111" fmla="*/ 1019175 w 1624012"/>
                    <a:gd name="connsiteY111" fmla="*/ 552450 h 1533525"/>
                    <a:gd name="connsiteX112" fmla="*/ 1035843 w 1624012"/>
                    <a:gd name="connsiteY112" fmla="*/ 590550 h 1533525"/>
                    <a:gd name="connsiteX113" fmla="*/ 1035843 w 1624012"/>
                    <a:gd name="connsiteY113" fmla="*/ 607219 h 1533525"/>
                    <a:gd name="connsiteX114" fmla="*/ 1045368 w 1624012"/>
                    <a:gd name="connsiteY114" fmla="*/ 645319 h 1533525"/>
                    <a:gd name="connsiteX115" fmla="*/ 1064418 w 1624012"/>
                    <a:gd name="connsiteY115" fmla="*/ 645319 h 1533525"/>
                    <a:gd name="connsiteX116" fmla="*/ 1078706 w 1624012"/>
                    <a:gd name="connsiteY116" fmla="*/ 666750 h 1533525"/>
                    <a:gd name="connsiteX117" fmla="*/ 1085850 w 1624012"/>
                    <a:gd name="connsiteY117" fmla="*/ 688181 h 1533525"/>
                    <a:gd name="connsiteX118" fmla="*/ 1076325 w 1624012"/>
                    <a:gd name="connsiteY118" fmla="*/ 719138 h 1533525"/>
                    <a:gd name="connsiteX119" fmla="*/ 1021556 w 1624012"/>
                    <a:gd name="connsiteY119" fmla="*/ 714375 h 1533525"/>
                    <a:gd name="connsiteX120" fmla="*/ 1002506 w 1624012"/>
                    <a:gd name="connsiteY120" fmla="*/ 721519 h 1533525"/>
                    <a:gd name="connsiteX121" fmla="*/ 995362 w 1624012"/>
                    <a:gd name="connsiteY121" fmla="*/ 726281 h 1533525"/>
                    <a:gd name="connsiteX122" fmla="*/ 995362 w 1624012"/>
                    <a:gd name="connsiteY122" fmla="*/ 726281 h 1533525"/>
                    <a:gd name="connsiteX123" fmla="*/ 923925 w 1624012"/>
                    <a:gd name="connsiteY123" fmla="*/ 721519 h 1533525"/>
                    <a:gd name="connsiteX124" fmla="*/ 940593 w 1624012"/>
                    <a:gd name="connsiteY124" fmla="*/ 778669 h 1533525"/>
                    <a:gd name="connsiteX125" fmla="*/ 938212 w 1624012"/>
                    <a:gd name="connsiteY125" fmla="*/ 847725 h 1533525"/>
                    <a:gd name="connsiteX126" fmla="*/ 954881 w 1624012"/>
                    <a:gd name="connsiteY126" fmla="*/ 871538 h 1533525"/>
                    <a:gd name="connsiteX127" fmla="*/ 997743 w 1624012"/>
                    <a:gd name="connsiteY127" fmla="*/ 919163 h 1533525"/>
                    <a:gd name="connsiteX128" fmla="*/ 1012031 w 1624012"/>
                    <a:gd name="connsiteY128" fmla="*/ 954881 h 1533525"/>
                    <a:gd name="connsiteX129" fmla="*/ 1031081 w 1624012"/>
                    <a:gd name="connsiteY129" fmla="*/ 954881 h 1533525"/>
                    <a:gd name="connsiteX130" fmla="*/ 1071562 w 1624012"/>
                    <a:gd name="connsiteY130" fmla="*/ 940594 h 1533525"/>
                    <a:gd name="connsiteX131" fmla="*/ 1102518 w 1624012"/>
                    <a:gd name="connsiteY131" fmla="*/ 933450 h 1533525"/>
                    <a:gd name="connsiteX132" fmla="*/ 1159668 w 1624012"/>
                    <a:gd name="connsiteY132" fmla="*/ 997744 h 1533525"/>
                    <a:gd name="connsiteX133" fmla="*/ 1178718 w 1624012"/>
                    <a:gd name="connsiteY133" fmla="*/ 1052513 h 1533525"/>
                    <a:gd name="connsiteX134" fmla="*/ 1190625 w 1624012"/>
                    <a:gd name="connsiteY134" fmla="*/ 1081088 h 1533525"/>
                    <a:gd name="connsiteX135" fmla="*/ 1212056 w 1624012"/>
                    <a:gd name="connsiteY135" fmla="*/ 1109663 h 1533525"/>
                    <a:gd name="connsiteX136" fmla="*/ 1231106 w 1624012"/>
                    <a:gd name="connsiteY136" fmla="*/ 1102519 h 1533525"/>
                    <a:gd name="connsiteX137" fmla="*/ 1231106 w 1624012"/>
                    <a:gd name="connsiteY137" fmla="*/ 1131094 h 1533525"/>
                    <a:gd name="connsiteX138" fmla="*/ 1233487 w 1624012"/>
                    <a:gd name="connsiteY138" fmla="*/ 1145381 h 1533525"/>
                    <a:gd name="connsiteX139" fmla="*/ 1266825 w 1624012"/>
                    <a:gd name="connsiteY139" fmla="*/ 1181100 h 1533525"/>
                    <a:gd name="connsiteX140" fmla="*/ 1233487 w 1624012"/>
                    <a:gd name="connsiteY140" fmla="*/ 1181100 h 1533525"/>
                    <a:gd name="connsiteX141" fmla="*/ 1228725 w 1624012"/>
                    <a:gd name="connsiteY141" fmla="*/ 1223963 h 1533525"/>
                    <a:gd name="connsiteX142" fmla="*/ 1226343 w 1624012"/>
                    <a:gd name="connsiteY142" fmla="*/ 1243013 h 1533525"/>
                    <a:gd name="connsiteX143" fmla="*/ 1216818 w 1624012"/>
                    <a:gd name="connsiteY143" fmla="*/ 1264444 h 1533525"/>
                    <a:gd name="connsiteX144" fmla="*/ 1190625 w 1624012"/>
                    <a:gd name="connsiteY144" fmla="*/ 1238250 h 1533525"/>
                    <a:gd name="connsiteX145" fmla="*/ 1157287 w 1624012"/>
                    <a:gd name="connsiteY145" fmla="*/ 1209675 h 1533525"/>
                    <a:gd name="connsiteX146" fmla="*/ 1131093 w 1624012"/>
                    <a:gd name="connsiteY146" fmla="*/ 1185863 h 1533525"/>
                    <a:gd name="connsiteX147" fmla="*/ 1107281 w 1624012"/>
                    <a:gd name="connsiteY147" fmla="*/ 1219200 h 1533525"/>
                    <a:gd name="connsiteX148" fmla="*/ 1104900 w 1624012"/>
                    <a:gd name="connsiteY148" fmla="*/ 1264444 h 1533525"/>
                    <a:gd name="connsiteX149" fmla="*/ 1062037 w 1624012"/>
                    <a:gd name="connsiteY149" fmla="*/ 1259681 h 1533525"/>
                    <a:gd name="connsiteX150" fmla="*/ 1026318 w 1624012"/>
                    <a:gd name="connsiteY150" fmla="*/ 1288256 h 1533525"/>
                    <a:gd name="connsiteX151" fmla="*/ 1007268 w 1624012"/>
                    <a:gd name="connsiteY151" fmla="*/ 1240631 h 1533525"/>
                    <a:gd name="connsiteX152" fmla="*/ 947737 w 1624012"/>
                    <a:gd name="connsiteY152" fmla="*/ 1231106 h 1533525"/>
                    <a:gd name="connsiteX153" fmla="*/ 921543 w 1624012"/>
                    <a:gd name="connsiteY153" fmla="*/ 1297781 h 1533525"/>
                    <a:gd name="connsiteX154" fmla="*/ 885825 w 1624012"/>
                    <a:gd name="connsiteY154" fmla="*/ 1278731 h 1533525"/>
                    <a:gd name="connsiteX155" fmla="*/ 816768 w 1624012"/>
                    <a:gd name="connsiteY155" fmla="*/ 1295400 h 1533525"/>
                    <a:gd name="connsiteX156" fmla="*/ 757237 w 1624012"/>
                    <a:gd name="connsiteY156" fmla="*/ 1259681 h 1533525"/>
                    <a:gd name="connsiteX157" fmla="*/ 742950 w 1624012"/>
                    <a:gd name="connsiteY157" fmla="*/ 1312069 h 1533525"/>
                    <a:gd name="connsiteX158" fmla="*/ 704850 w 1624012"/>
                    <a:gd name="connsiteY158" fmla="*/ 1345406 h 1533525"/>
                    <a:gd name="connsiteX159" fmla="*/ 692943 w 1624012"/>
                    <a:gd name="connsiteY159" fmla="*/ 1366838 h 1533525"/>
                    <a:gd name="connsiteX160" fmla="*/ 671512 w 1624012"/>
                    <a:gd name="connsiteY160" fmla="*/ 1509713 h 1533525"/>
                    <a:gd name="connsiteX161" fmla="*/ 633412 w 1624012"/>
                    <a:gd name="connsiteY161" fmla="*/ 1490663 h 1533525"/>
                    <a:gd name="connsiteX162" fmla="*/ 614362 w 1624012"/>
                    <a:gd name="connsiteY162" fmla="*/ 1504950 h 1533525"/>
                    <a:gd name="connsiteX163" fmla="*/ 581025 w 1624012"/>
                    <a:gd name="connsiteY163" fmla="*/ 1531144 h 1533525"/>
                    <a:gd name="connsiteX164" fmla="*/ 523875 w 1624012"/>
                    <a:gd name="connsiteY164" fmla="*/ 1502569 h 1533525"/>
                    <a:gd name="connsiteX165" fmla="*/ 514350 w 1624012"/>
                    <a:gd name="connsiteY165" fmla="*/ 1490663 h 1533525"/>
                    <a:gd name="connsiteX166" fmla="*/ 483393 w 1624012"/>
                    <a:gd name="connsiteY166" fmla="*/ 1533525 h 1533525"/>
                    <a:gd name="connsiteX0" fmla="*/ 483393 w 1624012"/>
                    <a:gd name="connsiteY0" fmla="*/ 1533525 h 1533525"/>
                    <a:gd name="connsiteX1" fmla="*/ 459581 w 1624012"/>
                    <a:gd name="connsiteY1" fmla="*/ 1481138 h 1533525"/>
                    <a:gd name="connsiteX2" fmla="*/ 438150 w 1624012"/>
                    <a:gd name="connsiteY2" fmla="*/ 1471613 h 1533525"/>
                    <a:gd name="connsiteX3" fmla="*/ 400050 w 1624012"/>
                    <a:gd name="connsiteY3" fmla="*/ 1485900 h 1533525"/>
                    <a:gd name="connsiteX4" fmla="*/ 338137 w 1624012"/>
                    <a:gd name="connsiteY4" fmla="*/ 1490663 h 1533525"/>
                    <a:gd name="connsiteX5" fmla="*/ 330993 w 1624012"/>
                    <a:gd name="connsiteY5" fmla="*/ 1497806 h 1533525"/>
                    <a:gd name="connsiteX6" fmla="*/ 271462 w 1624012"/>
                    <a:gd name="connsiteY6" fmla="*/ 1471613 h 1533525"/>
                    <a:gd name="connsiteX7" fmla="*/ 219075 w 1624012"/>
                    <a:gd name="connsiteY7" fmla="*/ 1443038 h 1533525"/>
                    <a:gd name="connsiteX8" fmla="*/ 138112 w 1624012"/>
                    <a:gd name="connsiteY8" fmla="*/ 1402556 h 1533525"/>
                    <a:gd name="connsiteX9" fmla="*/ 95250 w 1624012"/>
                    <a:gd name="connsiteY9" fmla="*/ 1316831 h 1533525"/>
                    <a:gd name="connsiteX10" fmla="*/ 80962 w 1624012"/>
                    <a:gd name="connsiteY10" fmla="*/ 1288256 h 1533525"/>
                    <a:gd name="connsiteX11" fmla="*/ 104775 w 1624012"/>
                    <a:gd name="connsiteY11" fmla="*/ 1266825 h 1533525"/>
                    <a:gd name="connsiteX12" fmla="*/ 76200 w 1624012"/>
                    <a:gd name="connsiteY12" fmla="*/ 1212056 h 1533525"/>
                    <a:gd name="connsiteX13" fmla="*/ 109537 w 1624012"/>
                    <a:gd name="connsiteY13" fmla="*/ 1193006 h 1533525"/>
                    <a:gd name="connsiteX14" fmla="*/ 140493 w 1624012"/>
                    <a:gd name="connsiteY14" fmla="*/ 1143000 h 1533525"/>
                    <a:gd name="connsiteX15" fmla="*/ 123825 w 1624012"/>
                    <a:gd name="connsiteY15" fmla="*/ 1107281 h 1533525"/>
                    <a:gd name="connsiteX16" fmla="*/ 178593 w 1624012"/>
                    <a:gd name="connsiteY16" fmla="*/ 1107281 h 1533525"/>
                    <a:gd name="connsiteX17" fmla="*/ 192881 w 1624012"/>
                    <a:gd name="connsiteY17" fmla="*/ 1109663 h 1533525"/>
                    <a:gd name="connsiteX18" fmla="*/ 159543 w 1624012"/>
                    <a:gd name="connsiteY18" fmla="*/ 1064419 h 1533525"/>
                    <a:gd name="connsiteX19" fmla="*/ 169068 w 1624012"/>
                    <a:gd name="connsiteY19" fmla="*/ 1014413 h 1533525"/>
                    <a:gd name="connsiteX20" fmla="*/ 123825 w 1624012"/>
                    <a:gd name="connsiteY20" fmla="*/ 997744 h 1533525"/>
                    <a:gd name="connsiteX21" fmla="*/ 61912 w 1624012"/>
                    <a:gd name="connsiteY21" fmla="*/ 954881 h 1533525"/>
                    <a:gd name="connsiteX22" fmla="*/ 45243 w 1624012"/>
                    <a:gd name="connsiteY22" fmla="*/ 938213 h 1533525"/>
                    <a:gd name="connsiteX23" fmla="*/ 64293 w 1624012"/>
                    <a:gd name="connsiteY23" fmla="*/ 909638 h 1533525"/>
                    <a:gd name="connsiteX24" fmla="*/ 47625 w 1624012"/>
                    <a:gd name="connsiteY24" fmla="*/ 897731 h 1533525"/>
                    <a:gd name="connsiteX25" fmla="*/ 47625 w 1624012"/>
                    <a:gd name="connsiteY25" fmla="*/ 881063 h 1533525"/>
                    <a:gd name="connsiteX26" fmla="*/ 26193 w 1624012"/>
                    <a:gd name="connsiteY26" fmla="*/ 881063 h 1533525"/>
                    <a:gd name="connsiteX27" fmla="*/ 7143 w 1624012"/>
                    <a:gd name="connsiteY27" fmla="*/ 847725 h 1533525"/>
                    <a:gd name="connsiteX28" fmla="*/ 0 w 1624012"/>
                    <a:gd name="connsiteY28" fmla="*/ 816769 h 1533525"/>
                    <a:gd name="connsiteX29" fmla="*/ 54768 w 1624012"/>
                    <a:gd name="connsiteY29" fmla="*/ 800100 h 1533525"/>
                    <a:gd name="connsiteX30" fmla="*/ 76200 w 1624012"/>
                    <a:gd name="connsiteY30" fmla="*/ 788194 h 1533525"/>
                    <a:gd name="connsiteX31" fmla="*/ 128587 w 1624012"/>
                    <a:gd name="connsiteY31" fmla="*/ 821531 h 1533525"/>
                    <a:gd name="connsiteX32" fmla="*/ 126206 w 1624012"/>
                    <a:gd name="connsiteY32" fmla="*/ 800100 h 1533525"/>
                    <a:gd name="connsiteX33" fmla="*/ 164306 w 1624012"/>
                    <a:gd name="connsiteY33" fmla="*/ 795338 h 1533525"/>
                    <a:gd name="connsiteX34" fmla="*/ 173831 w 1624012"/>
                    <a:gd name="connsiteY34" fmla="*/ 759619 h 1533525"/>
                    <a:gd name="connsiteX35" fmla="*/ 235743 w 1624012"/>
                    <a:gd name="connsiteY35" fmla="*/ 764381 h 1533525"/>
                    <a:gd name="connsiteX36" fmla="*/ 235743 w 1624012"/>
                    <a:gd name="connsiteY36" fmla="*/ 764381 h 1533525"/>
                    <a:gd name="connsiteX37" fmla="*/ 245268 w 1624012"/>
                    <a:gd name="connsiteY37" fmla="*/ 704850 h 1533525"/>
                    <a:gd name="connsiteX38" fmla="*/ 276225 w 1624012"/>
                    <a:gd name="connsiteY38" fmla="*/ 666750 h 1533525"/>
                    <a:gd name="connsiteX39" fmla="*/ 292893 w 1624012"/>
                    <a:gd name="connsiteY39" fmla="*/ 638175 h 1533525"/>
                    <a:gd name="connsiteX40" fmla="*/ 245268 w 1624012"/>
                    <a:gd name="connsiteY40" fmla="*/ 602456 h 1533525"/>
                    <a:gd name="connsiteX41" fmla="*/ 264318 w 1624012"/>
                    <a:gd name="connsiteY41" fmla="*/ 585788 h 1533525"/>
                    <a:gd name="connsiteX42" fmla="*/ 311943 w 1624012"/>
                    <a:gd name="connsiteY42" fmla="*/ 602456 h 1533525"/>
                    <a:gd name="connsiteX43" fmla="*/ 369093 w 1624012"/>
                    <a:gd name="connsiteY43" fmla="*/ 573881 h 1533525"/>
                    <a:gd name="connsiteX44" fmla="*/ 457200 w 1624012"/>
                    <a:gd name="connsiteY44" fmla="*/ 545306 h 1533525"/>
                    <a:gd name="connsiteX45" fmla="*/ 538162 w 1624012"/>
                    <a:gd name="connsiteY45" fmla="*/ 578644 h 1533525"/>
                    <a:gd name="connsiteX46" fmla="*/ 614362 w 1624012"/>
                    <a:gd name="connsiteY46" fmla="*/ 550069 h 1533525"/>
                    <a:gd name="connsiteX47" fmla="*/ 650081 w 1624012"/>
                    <a:gd name="connsiteY47" fmla="*/ 552450 h 1533525"/>
                    <a:gd name="connsiteX48" fmla="*/ 654843 w 1624012"/>
                    <a:gd name="connsiteY48" fmla="*/ 523875 h 1533525"/>
                    <a:gd name="connsiteX49" fmla="*/ 654843 w 1624012"/>
                    <a:gd name="connsiteY49" fmla="*/ 490538 h 1533525"/>
                    <a:gd name="connsiteX50" fmla="*/ 669131 w 1624012"/>
                    <a:gd name="connsiteY50" fmla="*/ 469106 h 1533525"/>
                    <a:gd name="connsiteX51" fmla="*/ 652462 w 1624012"/>
                    <a:gd name="connsiteY51" fmla="*/ 450056 h 1533525"/>
                    <a:gd name="connsiteX52" fmla="*/ 642937 w 1624012"/>
                    <a:gd name="connsiteY52" fmla="*/ 411956 h 1533525"/>
                    <a:gd name="connsiteX53" fmla="*/ 642937 w 1624012"/>
                    <a:gd name="connsiteY53" fmla="*/ 330994 h 1533525"/>
                    <a:gd name="connsiteX54" fmla="*/ 633412 w 1624012"/>
                    <a:gd name="connsiteY54" fmla="*/ 319088 h 1533525"/>
                    <a:gd name="connsiteX55" fmla="*/ 664368 w 1624012"/>
                    <a:gd name="connsiteY55" fmla="*/ 285750 h 1533525"/>
                    <a:gd name="connsiteX56" fmla="*/ 721518 w 1624012"/>
                    <a:gd name="connsiteY56" fmla="*/ 292894 h 1533525"/>
                    <a:gd name="connsiteX57" fmla="*/ 733425 w 1624012"/>
                    <a:gd name="connsiteY57" fmla="*/ 264319 h 1533525"/>
                    <a:gd name="connsiteX58" fmla="*/ 731043 w 1624012"/>
                    <a:gd name="connsiteY58" fmla="*/ 228600 h 1533525"/>
                    <a:gd name="connsiteX59" fmla="*/ 790575 w 1624012"/>
                    <a:gd name="connsiteY59" fmla="*/ 192881 h 1533525"/>
                    <a:gd name="connsiteX60" fmla="*/ 804862 w 1624012"/>
                    <a:gd name="connsiteY60" fmla="*/ 166688 h 1533525"/>
                    <a:gd name="connsiteX61" fmla="*/ 778668 w 1624012"/>
                    <a:gd name="connsiteY61" fmla="*/ 128588 h 1533525"/>
                    <a:gd name="connsiteX62" fmla="*/ 771525 w 1624012"/>
                    <a:gd name="connsiteY62" fmla="*/ 104775 h 1533525"/>
                    <a:gd name="connsiteX63" fmla="*/ 823912 w 1624012"/>
                    <a:gd name="connsiteY63" fmla="*/ 97631 h 1533525"/>
                    <a:gd name="connsiteX64" fmla="*/ 869156 w 1624012"/>
                    <a:gd name="connsiteY64" fmla="*/ 52388 h 1533525"/>
                    <a:gd name="connsiteX65" fmla="*/ 890587 w 1624012"/>
                    <a:gd name="connsiteY65" fmla="*/ 23813 h 1533525"/>
                    <a:gd name="connsiteX66" fmla="*/ 923925 w 1624012"/>
                    <a:gd name="connsiteY66" fmla="*/ 9525 h 1533525"/>
                    <a:gd name="connsiteX67" fmla="*/ 971550 w 1624012"/>
                    <a:gd name="connsiteY67" fmla="*/ 0 h 1533525"/>
                    <a:gd name="connsiteX68" fmla="*/ 971550 w 1624012"/>
                    <a:gd name="connsiteY68" fmla="*/ 40481 h 1533525"/>
                    <a:gd name="connsiteX69" fmla="*/ 950118 w 1624012"/>
                    <a:gd name="connsiteY69" fmla="*/ 80963 h 1533525"/>
                    <a:gd name="connsiteX70" fmla="*/ 950118 w 1624012"/>
                    <a:gd name="connsiteY70" fmla="*/ 140494 h 1533525"/>
                    <a:gd name="connsiteX71" fmla="*/ 969168 w 1624012"/>
                    <a:gd name="connsiteY71" fmla="*/ 161925 h 1533525"/>
                    <a:gd name="connsiteX72" fmla="*/ 1007268 w 1624012"/>
                    <a:gd name="connsiteY72" fmla="*/ 188119 h 1533525"/>
                    <a:gd name="connsiteX73" fmla="*/ 1019175 w 1624012"/>
                    <a:gd name="connsiteY73" fmla="*/ 216694 h 1533525"/>
                    <a:gd name="connsiteX74" fmla="*/ 1004887 w 1624012"/>
                    <a:gd name="connsiteY74" fmla="*/ 226219 h 1533525"/>
                    <a:gd name="connsiteX75" fmla="*/ 1057275 w 1624012"/>
                    <a:gd name="connsiteY75" fmla="*/ 250031 h 1533525"/>
                    <a:gd name="connsiteX76" fmla="*/ 1073943 w 1624012"/>
                    <a:gd name="connsiteY76" fmla="*/ 228600 h 1533525"/>
                    <a:gd name="connsiteX77" fmla="*/ 1083468 w 1624012"/>
                    <a:gd name="connsiteY77" fmla="*/ 252413 h 1533525"/>
                    <a:gd name="connsiteX78" fmla="*/ 1116806 w 1624012"/>
                    <a:gd name="connsiteY78" fmla="*/ 252413 h 1533525"/>
                    <a:gd name="connsiteX79" fmla="*/ 1123950 w 1624012"/>
                    <a:gd name="connsiteY79" fmla="*/ 257175 h 1533525"/>
                    <a:gd name="connsiteX80" fmla="*/ 1116806 w 1624012"/>
                    <a:gd name="connsiteY80" fmla="*/ 276225 h 1533525"/>
                    <a:gd name="connsiteX81" fmla="*/ 1088231 w 1624012"/>
                    <a:gd name="connsiteY81" fmla="*/ 309563 h 1533525"/>
                    <a:gd name="connsiteX82" fmla="*/ 1123950 w 1624012"/>
                    <a:gd name="connsiteY82" fmla="*/ 333375 h 1533525"/>
                    <a:gd name="connsiteX83" fmla="*/ 1135856 w 1624012"/>
                    <a:gd name="connsiteY83" fmla="*/ 347663 h 1533525"/>
                    <a:gd name="connsiteX84" fmla="*/ 1135856 w 1624012"/>
                    <a:gd name="connsiteY84" fmla="*/ 376238 h 1533525"/>
                    <a:gd name="connsiteX85" fmla="*/ 1119187 w 1624012"/>
                    <a:gd name="connsiteY85" fmla="*/ 411956 h 1533525"/>
                    <a:gd name="connsiteX86" fmla="*/ 1162050 w 1624012"/>
                    <a:gd name="connsiteY86" fmla="*/ 423863 h 1533525"/>
                    <a:gd name="connsiteX87" fmla="*/ 1233487 w 1624012"/>
                    <a:gd name="connsiteY87" fmla="*/ 416719 h 1533525"/>
                    <a:gd name="connsiteX88" fmla="*/ 1223962 w 1624012"/>
                    <a:gd name="connsiteY88" fmla="*/ 385763 h 1533525"/>
                    <a:gd name="connsiteX89" fmla="*/ 1188243 w 1624012"/>
                    <a:gd name="connsiteY89" fmla="*/ 347663 h 1533525"/>
                    <a:gd name="connsiteX90" fmla="*/ 1181100 w 1624012"/>
                    <a:gd name="connsiteY90" fmla="*/ 333375 h 1533525"/>
                    <a:gd name="connsiteX91" fmla="*/ 1207293 w 1624012"/>
                    <a:gd name="connsiteY91" fmla="*/ 326231 h 1533525"/>
                    <a:gd name="connsiteX92" fmla="*/ 1200150 w 1624012"/>
                    <a:gd name="connsiteY92" fmla="*/ 302419 h 1533525"/>
                    <a:gd name="connsiteX93" fmla="*/ 1223962 w 1624012"/>
                    <a:gd name="connsiteY93" fmla="*/ 283369 h 1533525"/>
                    <a:gd name="connsiteX94" fmla="*/ 1250156 w 1624012"/>
                    <a:gd name="connsiteY94" fmla="*/ 242888 h 1533525"/>
                    <a:gd name="connsiteX95" fmla="*/ 1302543 w 1624012"/>
                    <a:gd name="connsiteY95" fmla="*/ 211931 h 1533525"/>
                    <a:gd name="connsiteX96" fmla="*/ 1350168 w 1624012"/>
                    <a:gd name="connsiteY96" fmla="*/ 123825 h 1533525"/>
                    <a:gd name="connsiteX97" fmla="*/ 1490662 w 1624012"/>
                    <a:gd name="connsiteY97" fmla="*/ 142875 h 1533525"/>
                    <a:gd name="connsiteX98" fmla="*/ 1543050 w 1624012"/>
                    <a:gd name="connsiteY98" fmla="*/ 147638 h 1533525"/>
                    <a:gd name="connsiteX99" fmla="*/ 1547812 w 1624012"/>
                    <a:gd name="connsiteY99" fmla="*/ 121444 h 1533525"/>
                    <a:gd name="connsiteX100" fmla="*/ 1574006 w 1624012"/>
                    <a:gd name="connsiteY100" fmla="*/ 121444 h 1533525"/>
                    <a:gd name="connsiteX101" fmla="*/ 1624012 w 1624012"/>
                    <a:gd name="connsiteY101" fmla="*/ 109538 h 1533525"/>
                    <a:gd name="connsiteX102" fmla="*/ 1057275 w 1624012"/>
                    <a:gd name="connsiteY102" fmla="*/ 264319 h 1533525"/>
                    <a:gd name="connsiteX103" fmla="*/ 1062037 w 1624012"/>
                    <a:gd name="connsiteY103" fmla="*/ 304800 h 1533525"/>
                    <a:gd name="connsiteX104" fmla="*/ 995362 w 1624012"/>
                    <a:gd name="connsiteY104" fmla="*/ 352425 h 1533525"/>
                    <a:gd name="connsiteX105" fmla="*/ 973931 w 1624012"/>
                    <a:gd name="connsiteY105" fmla="*/ 383381 h 1533525"/>
                    <a:gd name="connsiteX106" fmla="*/ 1000125 w 1624012"/>
                    <a:gd name="connsiteY106" fmla="*/ 428625 h 1533525"/>
                    <a:gd name="connsiteX107" fmla="*/ 983456 w 1624012"/>
                    <a:gd name="connsiteY107" fmla="*/ 466725 h 1533525"/>
                    <a:gd name="connsiteX108" fmla="*/ 1000125 w 1624012"/>
                    <a:gd name="connsiteY108" fmla="*/ 519113 h 1533525"/>
                    <a:gd name="connsiteX109" fmla="*/ 1033462 w 1624012"/>
                    <a:gd name="connsiteY109" fmla="*/ 519113 h 1533525"/>
                    <a:gd name="connsiteX110" fmla="*/ 1019175 w 1624012"/>
                    <a:gd name="connsiteY110" fmla="*/ 552450 h 1533525"/>
                    <a:gd name="connsiteX111" fmla="*/ 1035843 w 1624012"/>
                    <a:gd name="connsiteY111" fmla="*/ 590550 h 1533525"/>
                    <a:gd name="connsiteX112" fmla="*/ 1035843 w 1624012"/>
                    <a:gd name="connsiteY112" fmla="*/ 607219 h 1533525"/>
                    <a:gd name="connsiteX113" fmla="*/ 1045368 w 1624012"/>
                    <a:gd name="connsiteY113" fmla="*/ 645319 h 1533525"/>
                    <a:gd name="connsiteX114" fmla="*/ 1064418 w 1624012"/>
                    <a:gd name="connsiteY114" fmla="*/ 645319 h 1533525"/>
                    <a:gd name="connsiteX115" fmla="*/ 1078706 w 1624012"/>
                    <a:gd name="connsiteY115" fmla="*/ 666750 h 1533525"/>
                    <a:gd name="connsiteX116" fmla="*/ 1085850 w 1624012"/>
                    <a:gd name="connsiteY116" fmla="*/ 688181 h 1533525"/>
                    <a:gd name="connsiteX117" fmla="*/ 1076325 w 1624012"/>
                    <a:gd name="connsiteY117" fmla="*/ 719138 h 1533525"/>
                    <a:gd name="connsiteX118" fmla="*/ 1021556 w 1624012"/>
                    <a:gd name="connsiteY118" fmla="*/ 714375 h 1533525"/>
                    <a:gd name="connsiteX119" fmla="*/ 1002506 w 1624012"/>
                    <a:gd name="connsiteY119" fmla="*/ 721519 h 1533525"/>
                    <a:gd name="connsiteX120" fmla="*/ 995362 w 1624012"/>
                    <a:gd name="connsiteY120" fmla="*/ 726281 h 1533525"/>
                    <a:gd name="connsiteX121" fmla="*/ 995362 w 1624012"/>
                    <a:gd name="connsiteY121" fmla="*/ 726281 h 1533525"/>
                    <a:gd name="connsiteX122" fmla="*/ 923925 w 1624012"/>
                    <a:gd name="connsiteY122" fmla="*/ 721519 h 1533525"/>
                    <a:gd name="connsiteX123" fmla="*/ 940593 w 1624012"/>
                    <a:gd name="connsiteY123" fmla="*/ 778669 h 1533525"/>
                    <a:gd name="connsiteX124" fmla="*/ 938212 w 1624012"/>
                    <a:gd name="connsiteY124" fmla="*/ 847725 h 1533525"/>
                    <a:gd name="connsiteX125" fmla="*/ 954881 w 1624012"/>
                    <a:gd name="connsiteY125" fmla="*/ 871538 h 1533525"/>
                    <a:gd name="connsiteX126" fmla="*/ 997743 w 1624012"/>
                    <a:gd name="connsiteY126" fmla="*/ 919163 h 1533525"/>
                    <a:gd name="connsiteX127" fmla="*/ 1012031 w 1624012"/>
                    <a:gd name="connsiteY127" fmla="*/ 954881 h 1533525"/>
                    <a:gd name="connsiteX128" fmla="*/ 1031081 w 1624012"/>
                    <a:gd name="connsiteY128" fmla="*/ 954881 h 1533525"/>
                    <a:gd name="connsiteX129" fmla="*/ 1071562 w 1624012"/>
                    <a:gd name="connsiteY129" fmla="*/ 940594 h 1533525"/>
                    <a:gd name="connsiteX130" fmla="*/ 1102518 w 1624012"/>
                    <a:gd name="connsiteY130" fmla="*/ 933450 h 1533525"/>
                    <a:gd name="connsiteX131" fmla="*/ 1159668 w 1624012"/>
                    <a:gd name="connsiteY131" fmla="*/ 997744 h 1533525"/>
                    <a:gd name="connsiteX132" fmla="*/ 1178718 w 1624012"/>
                    <a:gd name="connsiteY132" fmla="*/ 1052513 h 1533525"/>
                    <a:gd name="connsiteX133" fmla="*/ 1190625 w 1624012"/>
                    <a:gd name="connsiteY133" fmla="*/ 1081088 h 1533525"/>
                    <a:gd name="connsiteX134" fmla="*/ 1212056 w 1624012"/>
                    <a:gd name="connsiteY134" fmla="*/ 1109663 h 1533525"/>
                    <a:gd name="connsiteX135" fmla="*/ 1231106 w 1624012"/>
                    <a:gd name="connsiteY135" fmla="*/ 1102519 h 1533525"/>
                    <a:gd name="connsiteX136" fmla="*/ 1231106 w 1624012"/>
                    <a:gd name="connsiteY136" fmla="*/ 1131094 h 1533525"/>
                    <a:gd name="connsiteX137" fmla="*/ 1233487 w 1624012"/>
                    <a:gd name="connsiteY137" fmla="*/ 1145381 h 1533525"/>
                    <a:gd name="connsiteX138" fmla="*/ 1266825 w 1624012"/>
                    <a:gd name="connsiteY138" fmla="*/ 1181100 h 1533525"/>
                    <a:gd name="connsiteX139" fmla="*/ 1233487 w 1624012"/>
                    <a:gd name="connsiteY139" fmla="*/ 1181100 h 1533525"/>
                    <a:gd name="connsiteX140" fmla="*/ 1228725 w 1624012"/>
                    <a:gd name="connsiteY140" fmla="*/ 1223963 h 1533525"/>
                    <a:gd name="connsiteX141" fmla="*/ 1226343 w 1624012"/>
                    <a:gd name="connsiteY141" fmla="*/ 1243013 h 1533525"/>
                    <a:gd name="connsiteX142" fmla="*/ 1216818 w 1624012"/>
                    <a:gd name="connsiteY142" fmla="*/ 1264444 h 1533525"/>
                    <a:gd name="connsiteX143" fmla="*/ 1190625 w 1624012"/>
                    <a:gd name="connsiteY143" fmla="*/ 1238250 h 1533525"/>
                    <a:gd name="connsiteX144" fmla="*/ 1157287 w 1624012"/>
                    <a:gd name="connsiteY144" fmla="*/ 1209675 h 1533525"/>
                    <a:gd name="connsiteX145" fmla="*/ 1131093 w 1624012"/>
                    <a:gd name="connsiteY145" fmla="*/ 1185863 h 1533525"/>
                    <a:gd name="connsiteX146" fmla="*/ 1107281 w 1624012"/>
                    <a:gd name="connsiteY146" fmla="*/ 1219200 h 1533525"/>
                    <a:gd name="connsiteX147" fmla="*/ 1104900 w 1624012"/>
                    <a:gd name="connsiteY147" fmla="*/ 1264444 h 1533525"/>
                    <a:gd name="connsiteX148" fmla="*/ 1062037 w 1624012"/>
                    <a:gd name="connsiteY148" fmla="*/ 1259681 h 1533525"/>
                    <a:gd name="connsiteX149" fmla="*/ 1026318 w 1624012"/>
                    <a:gd name="connsiteY149" fmla="*/ 1288256 h 1533525"/>
                    <a:gd name="connsiteX150" fmla="*/ 1007268 w 1624012"/>
                    <a:gd name="connsiteY150" fmla="*/ 1240631 h 1533525"/>
                    <a:gd name="connsiteX151" fmla="*/ 947737 w 1624012"/>
                    <a:gd name="connsiteY151" fmla="*/ 1231106 h 1533525"/>
                    <a:gd name="connsiteX152" fmla="*/ 921543 w 1624012"/>
                    <a:gd name="connsiteY152" fmla="*/ 1297781 h 1533525"/>
                    <a:gd name="connsiteX153" fmla="*/ 885825 w 1624012"/>
                    <a:gd name="connsiteY153" fmla="*/ 1278731 h 1533525"/>
                    <a:gd name="connsiteX154" fmla="*/ 816768 w 1624012"/>
                    <a:gd name="connsiteY154" fmla="*/ 1295400 h 1533525"/>
                    <a:gd name="connsiteX155" fmla="*/ 757237 w 1624012"/>
                    <a:gd name="connsiteY155" fmla="*/ 1259681 h 1533525"/>
                    <a:gd name="connsiteX156" fmla="*/ 742950 w 1624012"/>
                    <a:gd name="connsiteY156" fmla="*/ 1312069 h 1533525"/>
                    <a:gd name="connsiteX157" fmla="*/ 704850 w 1624012"/>
                    <a:gd name="connsiteY157" fmla="*/ 1345406 h 1533525"/>
                    <a:gd name="connsiteX158" fmla="*/ 692943 w 1624012"/>
                    <a:gd name="connsiteY158" fmla="*/ 1366838 h 1533525"/>
                    <a:gd name="connsiteX159" fmla="*/ 671512 w 1624012"/>
                    <a:gd name="connsiteY159" fmla="*/ 1509713 h 1533525"/>
                    <a:gd name="connsiteX160" fmla="*/ 633412 w 1624012"/>
                    <a:gd name="connsiteY160" fmla="*/ 1490663 h 1533525"/>
                    <a:gd name="connsiteX161" fmla="*/ 614362 w 1624012"/>
                    <a:gd name="connsiteY161" fmla="*/ 1504950 h 1533525"/>
                    <a:gd name="connsiteX162" fmla="*/ 581025 w 1624012"/>
                    <a:gd name="connsiteY162" fmla="*/ 1531144 h 1533525"/>
                    <a:gd name="connsiteX163" fmla="*/ 523875 w 1624012"/>
                    <a:gd name="connsiteY163" fmla="*/ 1502569 h 1533525"/>
                    <a:gd name="connsiteX164" fmla="*/ 514350 w 1624012"/>
                    <a:gd name="connsiteY164" fmla="*/ 1490663 h 1533525"/>
                    <a:gd name="connsiteX165" fmla="*/ 483393 w 1624012"/>
                    <a:gd name="connsiteY165" fmla="*/ 1533525 h 1533525"/>
                    <a:gd name="connsiteX0" fmla="*/ 483393 w 1624012"/>
                    <a:gd name="connsiteY0" fmla="*/ 1533525 h 1533525"/>
                    <a:gd name="connsiteX1" fmla="*/ 459581 w 1624012"/>
                    <a:gd name="connsiteY1" fmla="*/ 1481138 h 1533525"/>
                    <a:gd name="connsiteX2" fmla="*/ 438150 w 1624012"/>
                    <a:gd name="connsiteY2" fmla="*/ 1471613 h 1533525"/>
                    <a:gd name="connsiteX3" fmla="*/ 400050 w 1624012"/>
                    <a:gd name="connsiteY3" fmla="*/ 1485900 h 1533525"/>
                    <a:gd name="connsiteX4" fmla="*/ 338137 w 1624012"/>
                    <a:gd name="connsiteY4" fmla="*/ 1490663 h 1533525"/>
                    <a:gd name="connsiteX5" fmla="*/ 330993 w 1624012"/>
                    <a:gd name="connsiteY5" fmla="*/ 1497806 h 1533525"/>
                    <a:gd name="connsiteX6" fmla="*/ 271462 w 1624012"/>
                    <a:gd name="connsiteY6" fmla="*/ 1471613 h 1533525"/>
                    <a:gd name="connsiteX7" fmla="*/ 219075 w 1624012"/>
                    <a:gd name="connsiteY7" fmla="*/ 1443038 h 1533525"/>
                    <a:gd name="connsiteX8" fmla="*/ 138112 w 1624012"/>
                    <a:gd name="connsiteY8" fmla="*/ 1402556 h 1533525"/>
                    <a:gd name="connsiteX9" fmla="*/ 95250 w 1624012"/>
                    <a:gd name="connsiteY9" fmla="*/ 1316831 h 1533525"/>
                    <a:gd name="connsiteX10" fmla="*/ 80962 w 1624012"/>
                    <a:gd name="connsiteY10" fmla="*/ 1288256 h 1533525"/>
                    <a:gd name="connsiteX11" fmla="*/ 104775 w 1624012"/>
                    <a:gd name="connsiteY11" fmla="*/ 1266825 h 1533525"/>
                    <a:gd name="connsiteX12" fmla="*/ 76200 w 1624012"/>
                    <a:gd name="connsiteY12" fmla="*/ 1212056 h 1533525"/>
                    <a:gd name="connsiteX13" fmla="*/ 109537 w 1624012"/>
                    <a:gd name="connsiteY13" fmla="*/ 1193006 h 1533525"/>
                    <a:gd name="connsiteX14" fmla="*/ 140493 w 1624012"/>
                    <a:gd name="connsiteY14" fmla="*/ 1143000 h 1533525"/>
                    <a:gd name="connsiteX15" fmla="*/ 123825 w 1624012"/>
                    <a:gd name="connsiteY15" fmla="*/ 1107281 h 1533525"/>
                    <a:gd name="connsiteX16" fmla="*/ 178593 w 1624012"/>
                    <a:gd name="connsiteY16" fmla="*/ 1107281 h 1533525"/>
                    <a:gd name="connsiteX17" fmla="*/ 192881 w 1624012"/>
                    <a:gd name="connsiteY17" fmla="*/ 1109663 h 1533525"/>
                    <a:gd name="connsiteX18" fmla="*/ 159543 w 1624012"/>
                    <a:gd name="connsiteY18" fmla="*/ 1064419 h 1533525"/>
                    <a:gd name="connsiteX19" fmla="*/ 169068 w 1624012"/>
                    <a:gd name="connsiteY19" fmla="*/ 1014413 h 1533525"/>
                    <a:gd name="connsiteX20" fmla="*/ 123825 w 1624012"/>
                    <a:gd name="connsiteY20" fmla="*/ 997744 h 1533525"/>
                    <a:gd name="connsiteX21" fmla="*/ 61912 w 1624012"/>
                    <a:gd name="connsiteY21" fmla="*/ 954881 h 1533525"/>
                    <a:gd name="connsiteX22" fmla="*/ 45243 w 1624012"/>
                    <a:gd name="connsiteY22" fmla="*/ 938213 h 1533525"/>
                    <a:gd name="connsiteX23" fmla="*/ 64293 w 1624012"/>
                    <a:gd name="connsiteY23" fmla="*/ 909638 h 1533525"/>
                    <a:gd name="connsiteX24" fmla="*/ 47625 w 1624012"/>
                    <a:gd name="connsiteY24" fmla="*/ 897731 h 1533525"/>
                    <a:gd name="connsiteX25" fmla="*/ 47625 w 1624012"/>
                    <a:gd name="connsiteY25" fmla="*/ 881063 h 1533525"/>
                    <a:gd name="connsiteX26" fmla="*/ 26193 w 1624012"/>
                    <a:gd name="connsiteY26" fmla="*/ 881063 h 1533525"/>
                    <a:gd name="connsiteX27" fmla="*/ 7143 w 1624012"/>
                    <a:gd name="connsiteY27" fmla="*/ 847725 h 1533525"/>
                    <a:gd name="connsiteX28" fmla="*/ 0 w 1624012"/>
                    <a:gd name="connsiteY28" fmla="*/ 816769 h 1533525"/>
                    <a:gd name="connsiteX29" fmla="*/ 54768 w 1624012"/>
                    <a:gd name="connsiteY29" fmla="*/ 800100 h 1533525"/>
                    <a:gd name="connsiteX30" fmla="*/ 76200 w 1624012"/>
                    <a:gd name="connsiteY30" fmla="*/ 788194 h 1533525"/>
                    <a:gd name="connsiteX31" fmla="*/ 128587 w 1624012"/>
                    <a:gd name="connsiteY31" fmla="*/ 821531 h 1533525"/>
                    <a:gd name="connsiteX32" fmla="*/ 126206 w 1624012"/>
                    <a:gd name="connsiteY32" fmla="*/ 800100 h 1533525"/>
                    <a:gd name="connsiteX33" fmla="*/ 164306 w 1624012"/>
                    <a:gd name="connsiteY33" fmla="*/ 795338 h 1533525"/>
                    <a:gd name="connsiteX34" fmla="*/ 173831 w 1624012"/>
                    <a:gd name="connsiteY34" fmla="*/ 759619 h 1533525"/>
                    <a:gd name="connsiteX35" fmla="*/ 235743 w 1624012"/>
                    <a:gd name="connsiteY35" fmla="*/ 764381 h 1533525"/>
                    <a:gd name="connsiteX36" fmla="*/ 235743 w 1624012"/>
                    <a:gd name="connsiteY36" fmla="*/ 764381 h 1533525"/>
                    <a:gd name="connsiteX37" fmla="*/ 245268 w 1624012"/>
                    <a:gd name="connsiteY37" fmla="*/ 704850 h 1533525"/>
                    <a:gd name="connsiteX38" fmla="*/ 276225 w 1624012"/>
                    <a:gd name="connsiteY38" fmla="*/ 666750 h 1533525"/>
                    <a:gd name="connsiteX39" fmla="*/ 292893 w 1624012"/>
                    <a:gd name="connsiteY39" fmla="*/ 638175 h 1533525"/>
                    <a:gd name="connsiteX40" fmla="*/ 245268 w 1624012"/>
                    <a:gd name="connsiteY40" fmla="*/ 602456 h 1533525"/>
                    <a:gd name="connsiteX41" fmla="*/ 264318 w 1624012"/>
                    <a:gd name="connsiteY41" fmla="*/ 585788 h 1533525"/>
                    <a:gd name="connsiteX42" fmla="*/ 311943 w 1624012"/>
                    <a:gd name="connsiteY42" fmla="*/ 602456 h 1533525"/>
                    <a:gd name="connsiteX43" fmla="*/ 369093 w 1624012"/>
                    <a:gd name="connsiteY43" fmla="*/ 573881 h 1533525"/>
                    <a:gd name="connsiteX44" fmla="*/ 457200 w 1624012"/>
                    <a:gd name="connsiteY44" fmla="*/ 545306 h 1533525"/>
                    <a:gd name="connsiteX45" fmla="*/ 538162 w 1624012"/>
                    <a:gd name="connsiteY45" fmla="*/ 578644 h 1533525"/>
                    <a:gd name="connsiteX46" fmla="*/ 614362 w 1624012"/>
                    <a:gd name="connsiteY46" fmla="*/ 550069 h 1533525"/>
                    <a:gd name="connsiteX47" fmla="*/ 650081 w 1624012"/>
                    <a:gd name="connsiteY47" fmla="*/ 552450 h 1533525"/>
                    <a:gd name="connsiteX48" fmla="*/ 654843 w 1624012"/>
                    <a:gd name="connsiteY48" fmla="*/ 523875 h 1533525"/>
                    <a:gd name="connsiteX49" fmla="*/ 654843 w 1624012"/>
                    <a:gd name="connsiteY49" fmla="*/ 490538 h 1533525"/>
                    <a:gd name="connsiteX50" fmla="*/ 669131 w 1624012"/>
                    <a:gd name="connsiteY50" fmla="*/ 469106 h 1533525"/>
                    <a:gd name="connsiteX51" fmla="*/ 652462 w 1624012"/>
                    <a:gd name="connsiteY51" fmla="*/ 450056 h 1533525"/>
                    <a:gd name="connsiteX52" fmla="*/ 642937 w 1624012"/>
                    <a:gd name="connsiteY52" fmla="*/ 411956 h 1533525"/>
                    <a:gd name="connsiteX53" fmla="*/ 642937 w 1624012"/>
                    <a:gd name="connsiteY53" fmla="*/ 330994 h 1533525"/>
                    <a:gd name="connsiteX54" fmla="*/ 633412 w 1624012"/>
                    <a:gd name="connsiteY54" fmla="*/ 319088 h 1533525"/>
                    <a:gd name="connsiteX55" fmla="*/ 664368 w 1624012"/>
                    <a:gd name="connsiteY55" fmla="*/ 285750 h 1533525"/>
                    <a:gd name="connsiteX56" fmla="*/ 721518 w 1624012"/>
                    <a:gd name="connsiteY56" fmla="*/ 292894 h 1533525"/>
                    <a:gd name="connsiteX57" fmla="*/ 733425 w 1624012"/>
                    <a:gd name="connsiteY57" fmla="*/ 264319 h 1533525"/>
                    <a:gd name="connsiteX58" fmla="*/ 731043 w 1624012"/>
                    <a:gd name="connsiteY58" fmla="*/ 228600 h 1533525"/>
                    <a:gd name="connsiteX59" fmla="*/ 790575 w 1624012"/>
                    <a:gd name="connsiteY59" fmla="*/ 192881 h 1533525"/>
                    <a:gd name="connsiteX60" fmla="*/ 804862 w 1624012"/>
                    <a:gd name="connsiteY60" fmla="*/ 166688 h 1533525"/>
                    <a:gd name="connsiteX61" fmla="*/ 778668 w 1624012"/>
                    <a:gd name="connsiteY61" fmla="*/ 128588 h 1533525"/>
                    <a:gd name="connsiteX62" fmla="*/ 771525 w 1624012"/>
                    <a:gd name="connsiteY62" fmla="*/ 104775 h 1533525"/>
                    <a:gd name="connsiteX63" fmla="*/ 823912 w 1624012"/>
                    <a:gd name="connsiteY63" fmla="*/ 97631 h 1533525"/>
                    <a:gd name="connsiteX64" fmla="*/ 869156 w 1624012"/>
                    <a:gd name="connsiteY64" fmla="*/ 52388 h 1533525"/>
                    <a:gd name="connsiteX65" fmla="*/ 890587 w 1624012"/>
                    <a:gd name="connsiteY65" fmla="*/ 23813 h 1533525"/>
                    <a:gd name="connsiteX66" fmla="*/ 923925 w 1624012"/>
                    <a:gd name="connsiteY66" fmla="*/ 9525 h 1533525"/>
                    <a:gd name="connsiteX67" fmla="*/ 971550 w 1624012"/>
                    <a:gd name="connsiteY67" fmla="*/ 0 h 1533525"/>
                    <a:gd name="connsiteX68" fmla="*/ 971550 w 1624012"/>
                    <a:gd name="connsiteY68" fmla="*/ 40481 h 1533525"/>
                    <a:gd name="connsiteX69" fmla="*/ 950118 w 1624012"/>
                    <a:gd name="connsiteY69" fmla="*/ 80963 h 1533525"/>
                    <a:gd name="connsiteX70" fmla="*/ 950118 w 1624012"/>
                    <a:gd name="connsiteY70" fmla="*/ 140494 h 1533525"/>
                    <a:gd name="connsiteX71" fmla="*/ 969168 w 1624012"/>
                    <a:gd name="connsiteY71" fmla="*/ 161925 h 1533525"/>
                    <a:gd name="connsiteX72" fmla="*/ 1007268 w 1624012"/>
                    <a:gd name="connsiteY72" fmla="*/ 188119 h 1533525"/>
                    <a:gd name="connsiteX73" fmla="*/ 1019175 w 1624012"/>
                    <a:gd name="connsiteY73" fmla="*/ 216694 h 1533525"/>
                    <a:gd name="connsiteX74" fmla="*/ 1004887 w 1624012"/>
                    <a:gd name="connsiteY74" fmla="*/ 226219 h 1533525"/>
                    <a:gd name="connsiteX75" fmla="*/ 1057275 w 1624012"/>
                    <a:gd name="connsiteY75" fmla="*/ 250031 h 1533525"/>
                    <a:gd name="connsiteX76" fmla="*/ 1073943 w 1624012"/>
                    <a:gd name="connsiteY76" fmla="*/ 228600 h 1533525"/>
                    <a:gd name="connsiteX77" fmla="*/ 1083468 w 1624012"/>
                    <a:gd name="connsiteY77" fmla="*/ 252413 h 1533525"/>
                    <a:gd name="connsiteX78" fmla="*/ 1116806 w 1624012"/>
                    <a:gd name="connsiteY78" fmla="*/ 252413 h 1533525"/>
                    <a:gd name="connsiteX79" fmla="*/ 1123950 w 1624012"/>
                    <a:gd name="connsiteY79" fmla="*/ 257175 h 1533525"/>
                    <a:gd name="connsiteX80" fmla="*/ 1116806 w 1624012"/>
                    <a:gd name="connsiteY80" fmla="*/ 276225 h 1533525"/>
                    <a:gd name="connsiteX81" fmla="*/ 1088231 w 1624012"/>
                    <a:gd name="connsiteY81" fmla="*/ 309563 h 1533525"/>
                    <a:gd name="connsiteX82" fmla="*/ 1123950 w 1624012"/>
                    <a:gd name="connsiteY82" fmla="*/ 333375 h 1533525"/>
                    <a:gd name="connsiteX83" fmla="*/ 1135856 w 1624012"/>
                    <a:gd name="connsiteY83" fmla="*/ 347663 h 1533525"/>
                    <a:gd name="connsiteX84" fmla="*/ 1135856 w 1624012"/>
                    <a:gd name="connsiteY84" fmla="*/ 376238 h 1533525"/>
                    <a:gd name="connsiteX85" fmla="*/ 1119187 w 1624012"/>
                    <a:gd name="connsiteY85" fmla="*/ 411956 h 1533525"/>
                    <a:gd name="connsiteX86" fmla="*/ 1162050 w 1624012"/>
                    <a:gd name="connsiteY86" fmla="*/ 423863 h 1533525"/>
                    <a:gd name="connsiteX87" fmla="*/ 1233487 w 1624012"/>
                    <a:gd name="connsiteY87" fmla="*/ 416719 h 1533525"/>
                    <a:gd name="connsiteX88" fmla="*/ 1223962 w 1624012"/>
                    <a:gd name="connsiteY88" fmla="*/ 385763 h 1533525"/>
                    <a:gd name="connsiteX89" fmla="*/ 1188243 w 1624012"/>
                    <a:gd name="connsiteY89" fmla="*/ 347663 h 1533525"/>
                    <a:gd name="connsiteX90" fmla="*/ 1181100 w 1624012"/>
                    <a:gd name="connsiteY90" fmla="*/ 333375 h 1533525"/>
                    <a:gd name="connsiteX91" fmla="*/ 1207293 w 1624012"/>
                    <a:gd name="connsiteY91" fmla="*/ 326231 h 1533525"/>
                    <a:gd name="connsiteX92" fmla="*/ 1200150 w 1624012"/>
                    <a:gd name="connsiteY92" fmla="*/ 302419 h 1533525"/>
                    <a:gd name="connsiteX93" fmla="*/ 1223962 w 1624012"/>
                    <a:gd name="connsiteY93" fmla="*/ 283369 h 1533525"/>
                    <a:gd name="connsiteX94" fmla="*/ 1250156 w 1624012"/>
                    <a:gd name="connsiteY94" fmla="*/ 242888 h 1533525"/>
                    <a:gd name="connsiteX95" fmla="*/ 1302543 w 1624012"/>
                    <a:gd name="connsiteY95" fmla="*/ 211931 h 1533525"/>
                    <a:gd name="connsiteX96" fmla="*/ 1350168 w 1624012"/>
                    <a:gd name="connsiteY96" fmla="*/ 123825 h 1533525"/>
                    <a:gd name="connsiteX97" fmla="*/ 1543050 w 1624012"/>
                    <a:gd name="connsiteY97" fmla="*/ 147638 h 1533525"/>
                    <a:gd name="connsiteX98" fmla="*/ 1547812 w 1624012"/>
                    <a:gd name="connsiteY98" fmla="*/ 121444 h 1533525"/>
                    <a:gd name="connsiteX99" fmla="*/ 1574006 w 1624012"/>
                    <a:gd name="connsiteY99" fmla="*/ 121444 h 1533525"/>
                    <a:gd name="connsiteX100" fmla="*/ 1624012 w 1624012"/>
                    <a:gd name="connsiteY100" fmla="*/ 109538 h 1533525"/>
                    <a:gd name="connsiteX101" fmla="*/ 1057275 w 1624012"/>
                    <a:gd name="connsiteY101" fmla="*/ 264319 h 1533525"/>
                    <a:gd name="connsiteX102" fmla="*/ 1062037 w 1624012"/>
                    <a:gd name="connsiteY102" fmla="*/ 304800 h 1533525"/>
                    <a:gd name="connsiteX103" fmla="*/ 995362 w 1624012"/>
                    <a:gd name="connsiteY103" fmla="*/ 352425 h 1533525"/>
                    <a:gd name="connsiteX104" fmla="*/ 973931 w 1624012"/>
                    <a:gd name="connsiteY104" fmla="*/ 383381 h 1533525"/>
                    <a:gd name="connsiteX105" fmla="*/ 1000125 w 1624012"/>
                    <a:gd name="connsiteY105" fmla="*/ 428625 h 1533525"/>
                    <a:gd name="connsiteX106" fmla="*/ 983456 w 1624012"/>
                    <a:gd name="connsiteY106" fmla="*/ 466725 h 1533525"/>
                    <a:gd name="connsiteX107" fmla="*/ 1000125 w 1624012"/>
                    <a:gd name="connsiteY107" fmla="*/ 519113 h 1533525"/>
                    <a:gd name="connsiteX108" fmla="*/ 1033462 w 1624012"/>
                    <a:gd name="connsiteY108" fmla="*/ 519113 h 1533525"/>
                    <a:gd name="connsiteX109" fmla="*/ 1019175 w 1624012"/>
                    <a:gd name="connsiteY109" fmla="*/ 552450 h 1533525"/>
                    <a:gd name="connsiteX110" fmla="*/ 1035843 w 1624012"/>
                    <a:gd name="connsiteY110" fmla="*/ 590550 h 1533525"/>
                    <a:gd name="connsiteX111" fmla="*/ 1035843 w 1624012"/>
                    <a:gd name="connsiteY111" fmla="*/ 607219 h 1533525"/>
                    <a:gd name="connsiteX112" fmla="*/ 1045368 w 1624012"/>
                    <a:gd name="connsiteY112" fmla="*/ 645319 h 1533525"/>
                    <a:gd name="connsiteX113" fmla="*/ 1064418 w 1624012"/>
                    <a:gd name="connsiteY113" fmla="*/ 645319 h 1533525"/>
                    <a:gd name="connsiteX114" fmla="*/ 1078706 w 1624012"/>
                    <a:gd name="connsiteY114" fmla="*/ 666750 h 1533525"/>
                    <a:gd name="connsiteX115" fmla="*/ 1085850 w 1624012"/>
                    <a:gd name="connsiteY115" fmla="*/ 688181 h 1533525"/>
                    <a:gd name="connsiteX116" fmla="*/ 1076325 w 1624012"/>
                    <a:gd name="connsiteY116" fmla="*/ 719138 h 1533525"/>
                    <a:gd name="connsiteX117" fmla="*/ 1021556 w 1624012"/>
                    <a:gd name="connsiteY117" fmla="*/ 714375 h 1533525"/>
                    <a:gd name="connsiteX118" fmla="*/ 1002506 w 1624012"/>
                    <a:gd name="connsiteY118" fmla="*/ 721519 h 1533525"/>
                    <a:gd name="connsiteX119" fmla="*/ 995362 w 1624012"/>
                    <a:gd name="connsiteY119" fmla="*/ 726281 h 1533525"/>
                    <a:gd name="connsiteX120" fmla="*/ 995362 w 1624012"/>
                    <a:gd name="connsiteY120" fmla="*/ 726281 h 1533525"/>
                    <a:gd name="connsiteX121" fmla="*/ 923925 w 1624012"/>
                    <a:gd name="connsiteY121" fmla="*/ 721519 h 1533525"/>
                    <a:gd name="connsiteX122" fmla="*/ 940593 w 1624012"/>
                    <a:gd name="connsiteY122" fmla="*/ 778669 h 1533525"/>
                    <a:gd name="connsiteX123" fmla="*/ 938212 w 1624012"/>
                    <a:gd name="connsiteY123" fmla="*/ 847725 h 1533525"/>
                    <a:gd name="connsiteX124" fmla="*/ 954881 w 1624012"/>
                    <a:gd name="connsiteY124" fmla="*/ 871538 h 1533525"/>
                    <a:gd name="connsiteX125" fmla="*/ 997743 w 1624012"/>
                    <a:gd name="connsiteY125" fmla="*/ 919163 h 1533525"/>
                    <a:gd name="connsiteX126" fmla="*/ 1012031 w 1624012"/>
                    <a:gd name="connsiteY126" fmla="*/ 954881 h 1533525"/>
                    <a:gd name="connsiteX127" fmla="*/ 1031081 w 1624012"/>
                    <a:gd name="connsiteY127" fmla="*/ 954881 h 1533525"/>
                    <a:gd name="connsiteX128" fmla="*/ 1071562 w 1624012"/>
                    <a:gd name="connsiteY128" fmla="*/ 940594 h 1533525"/>
                    <a:gd name="connsiteX129" fmla="*/ 1102518 w 1624012"/>
                    <a:gd name="connsiteY129" fmla="*/ 933450 h 1533525"/>
                    <a:gd name="connsiteX130" fmla="*/ 1159668 w 1624012"/>
                    <a:gd name="connsiteY130" fmla="*/ 997744 h 1533525"/>
                    <a:gd name="connsiteX131" fmla="*/ 1178718 w 1624012"/>
                    <a:gd name="connsiteY131" fmla="*/ 1052513 h 1533525"/>
                    <a:gd name="connsiteX132" fmla="*/ 1190625 w 1624012"/>
                    <a:gd name="connsiteY132" fmla="*/ 1081088 h 1533525"/>
                    <a:gd name="connsiteX133" fmla="*/ 1212056 w 1624012"/>
                    <a:gd name="connsiteY133" fmla="*/ 1109663 h 1533525"/>
                    <a:gd name="connsiteX134" fmla="*/ 1231106 w 1624012"/>
                    <a:gd name="connsiteY134" fmla="*/ 1102519 h 1533525"/>
                    <a:gd name="connsiteX135" fmla="*/ 1231106 w 1624012"/>
                    <a:gd name="connsiteY135" fmla="*/ 1131094 h 1533525"/>
                    <a:gd name="connsiteX136" fmla="*/ 1233487 w 1624012"/>
                    <a:gd name="connsiteY136" fmla="*/ 1145381 h 1533525"/>
                    <a:gd name="connsiteX137" fmla="*/ 1266825 w 1624012"/>
                    <a:gd name="connsiteY137" fmla="*/ 1181100 h 1533525"/>
                    <a:gd name="connsiteX138" fmla="*/ 1233487 w 1624012"/>
                    <a:gd name="connsiteY138" fmla="*/ 1181100 h 1533525"/>
                    <a:gd name="connsiteX139" fmla="*/ 1228725 w 1624012"/>
                    <a:gd name="connsiteY139" fmla="*/ 1223963 h 1533525"/>
                    <a:gd name="connsiteX140" fmla="*/ 1226343 w 1624012"/>
                    <a:gd name="connsiteY140" fmla="*/ 1243013 h 1533525"/>
                    <a:gd name="connsiteX141" fmla="*/ 1216818 w 1624012"/>
                    <a:gd name="connsiteY141" fmla="*/ 1264444 h 1533525"/>
                    <a:gd name="connsiteX142" fmla="*/ 1190625 w 1624012"/>
                    <a:gd name="connsiteY142" fmla="*/ 1238250 h 1533525"/>
                    <a:gd name="connsiteX143" fmla="*/ 1157287 w 1624012"/>
                    <a:gd name="connsiteY143" fmla="*/ 1209675 h 1533525"/>
                    <a:gd name="connsiteX144" fmla="*/ 1131093 w 1624012"/>
                    <a:gd name="connsiteY144" fmla="*/ 1185863 h 1533525"/>
                    <a:gd name="connsiteX145" fmla="*/ 1107281 w 1624012"/>
                    <a:gd name="connsiteY145" fmla="*/ 1219200 h 1533525"/>
                    <a:gd name="connsiteX146" fmla="*/ 1104900 w 1624012"/>
                    <a:gd name="connsiteY146" fmla="*/ 1264444 h 1533525"/>
                    <a:gd name="connsiteX147" fmla="*/ 1062037 w 1624012"/>
                    <a:gd name="connsiteY147" fmla="*/ 1259681 h 1533525"/>
                    <a:gd name="connsiteX148" fmla="*/ 1026318 w 1624012"/>
                    <a:gd name="connsiteY148" fmla="*/ 1288256 h 1533525"/>
                    <a:gd name="connsiteX149" fmla="*/ 1007268 w 1624012"/>
                    <a:gd name="connsiteY149" fmla="*/ 1240631 h 1533525"/>
                    <a:gd name="connsiteX150" fmla="*/ 947737 w 1624012"/>
                    <a:gd name="connsiteY150" fmla="*/ 1231106 h 1533525"/>
                    <a:gd name="connsiteX151" fmla="*/ 921543 w 1624012"/>
                    <a:gd name="connsiteY151" fmla="*/ 1297781 h 1533525"/>
                    <a:gd name="connsiteX152" fmla="*/ 885825 w 1624012"/>
                    <a:gd name="connsiteY152" fmla="*/ 1278731 h 1533525"/>
                    <a:gd name="connsiteX153" fmla="*/ 816768 w 1624012"/>
                    <a:gd name="connsiteY153" fmla="*/ 1295400 h 1533525"/>
                    <a:gd name="connsiteX154" fmla="*/ 757237 w 1624012"/>
                    <a:gd name="connsiteY154" fmla="*/ 1259681 h 1533525"/>
                    <a:gd name="connsiteX155" fmla="*/ 742950 w 1624012"/>
                    <a:gd name="connsiteY155" fmla="*/ 1312069 h 1533525"/>
                    <a:gd name="connsiteX156" fmla="*/ 704850 w 1624012"/>
                    <a:gd name="connsiteY156" fmla="*/ 1345406 h 1533525"/>
                    <a:gd name="connsiteX157" fmla="*/ 692943 w 1624012"/>
                    <a:gd name="connsiteY157" fmla="*/ 1366838 h 1533525"/>
                    <a:gd name="connsiteX158" fmla="*/ 671512 w 1624012"/>
                    <a:gd name="connsiteY158" fmla="*/ 1509713 h 1533525"/>
                    <a:gd name="connsiteX159" fmla="*/ 633412 w 1624012"/>
                    <a:gd name="connsiteY159" fmla="*/ 1490663 h 1533525"/>
                    <a:gd name="connsiteX160" fmla="*/ 614362 w 1624012"/>
                    <a:gd name="connsiteY160" fmla="*/ 1504950 h 1533525"/>
                    <a:gd name="connsiteX161" fmla="*/ 581025 w 1624012"/>
                    <a:gd name="connsiteY161" fmla="*/ 1531144 h 1533525"/>
                    <a:gd name="connsiteX162" fmla="*/ 523875 w 1624012"/>
                    <a:gd name="connsiteY162" fmla="*/ 1502569 h 1533525"/>
                    <a:gd name="connsiteX163" fmla="*/ 514350 w 1624012"/>
                    <a:gd name="connsiteY163" fmla="*/ 1490663 h 1533525"/>
                    <a:gd name="connsiteX164" fmla="*/ 483393 w 1624012"/>
                    <a:gd name="connsiteY164" fmla="*/ 1533525 h 1533525"/>
                    <a:gd name="connsiteX0" fmla="*/ 483393 w 1574006"/>
                    <a:gd name="connsiteY0" fmla="*/ 1533525 h 1533525"/>
                    <a:gd name="connsiteX1" fmla="*/ 459581 w 1574006"/>
                    <a:gd name="connsiteY1" fmla="*/ 1481138 h 1533525"/>
                    <a:gd name="connsiteX2" fmla="*/ 438150 w 1574006"/>
                    <a:gd name="connsiteY2" fmla="*/ 1471613 h 1533525"/>
                    <a:gd name="connsiteX3" fmla="*/ 400050 w 1574006"/>
                    <a:gd name="connsiteY3" fmla="*/ 1485900 h 1533525"/>
                    <a:gd name="connsiteX4" fmla="*/ 338137 w 1574006"/>
                    <a:gd name="connsiteY4" fmla="*/ 1490663 h 1533525"/>
                    <a:gd name="connsiteX5" fmla="*/ 330993 w 1574006"/>
                    <a:gd name="connsiteY5" fmla="*/ 1497806 h 1533525"/>
                    <a:gd name="connsiteX6" fmla="*/ 271462 w 1574006"/>
                    <a:gd name="connsiteY6" fmla="*/ 1471613 h 1533525"/>
                    <a:gd name="connsiteX7" fmla="*/ 219075 w 1574006"/>
                    <a:gd name="connsiteY7" fmla="*/ 1443038 h 1533525"/>
                    <a:gd name="connsiteX8" fmla="*/ 138112 w 1574006"/>
                    <a:gd name="connsiteY8" fmla="*/ 1402556 h 1533525"/>
                    <a:gd name="connsiteX9" fmla="*/ 95250 w 1574006"/>
                    <a:gd name="connsiteY9" fmla="*/ 1316831 h 1533525"/>
                    <a:gd name="connsiteX10" fmla="*/ 80962 w 1574006"/>
                    <a:gd name="connsiteY10" fmla="*/ 1288256 h 1533525"/>
                    <a:gd name="connsiteX11" fmla="*/ 104775 w 1574006"/>
                    <a:gd name="connsiteY11" fmla="*/ 1266825 h 1533525"/>
                    <a:gd name="connsiteX12" fmla="*/ 76200 w 1574006"/>
                    <a:gd name="connsiteY12" fmla="*/ 1212056 h 1533525"/>
                    <a:gd name="connsiteX13" fmla="*/ 109537 w 1574006"/>
                    <a:gd name="connsiteY13" fmla="*/ 1193006 h 1533525"/>
                    <a:gd name="connsiteX14" fmla="*/ 140493 w 1574006"/>
                    <a:gd name="connsiteY14" fmla="*/ 1143000 h 1533525"/>
                    <a:gd name="connsiteX15" fmla="*/ 123825 w 1574006"/>
                    <a:gd name="connsiteY15" fmla="*/ 1107281 h 1533525"/>
                    <a:gd name="connsiteX16" fmla="*/ 178593 w 1574006"/>
                    <a:gd name="connsiteY16" fmla="*/ 1107281 h 1533525"/>
                    <a:gd name="connsiteX17" fmla="*/ 192881 w 1574006"/>
                    <a:gd name="connsiteY17" fmla="*/ 1109663 h 1533525"/>
                    <a:gd name="connsiteX18" fmla="*/ 159543 w 1574006"/>
                    <a:gd name="connsiteY18" fmla="*/ 1064419 h 1533525"/>
                    <a:gd name="connsiteX19" fmla="*/ 169068 w 1574006"/>
                    <a:gd name="connsiteY19" fmla="*/ 1014413 h 1533525"/>
                    <a:gd name="connsiteX20" fmla="*/ 123825 w 1574006"/>
                    <a:gd name="connsiteY20" fmla="*/ 997744 h 1533525"/>
                    <a:gd name="connsiteX21" fmla="*/ 61912 w 1574006"/>
                    <a:gd name="connsiteY21" fmla="*/ 954881 h 1533525"/>
                    <a:gd name="connsiteX22" fmla="*/ 45243 w 1574006"/>
                    <a:gd name="connsiteY22" fmla="*/ 938213 h 1533525"/>
                    <a:gd name="connsiteX23" fmla="*/ 64293 w 1574006"/>
                    <a:gd name="connsiteY23" fmla="*/ 909638 h 1533525"/>
                    <a:gd name="connsiteX24" fmla="*/ 47625 w 1574006"/>
                    <a:gd name="connsiteY24" fmla="*/ 897731 h 1533525"/>
                    <a:gd name="connsiteX25" fmla="*/ 47625 w 1574006"/>
                    <a:gd name="connsiteY25" fmla="*/ 881063 h 1533525"/>
                    <a:gd name="connsiteX26" fmla="*/ 26193 w 1574006"/>
                    <a:gd name="connsiteY26" fmla="*/ 881063 h 1533525"/>
                    <a:gd name="connsiteX27" fmla="*/ 7143 w 1574006"/>
                    <a:gd name="connsiteY27" fmla="*/ 847725 h 1533525"/>
                    <a:gd name="connsiteX28" fmla="*/ 0 w 1574006"/>
                    <a:gd name="connsiteY28" fmla="*/ 816769 h 1533525"/>
                    <a:gd name="connsiteX29" fmla="*/ 54768 w 1574006"/>
                    <a:gd name="connsiteY29" fmla="*/ 800100 h 1533525"/>
                    <a:gd name="connsiteX30" fmla="*/ 76200 w 1574006"/>
                    <a:gd name="connsiteY30" fmla="*/ 788194 h 1533525"/>
                    <a:gd name="connsiteX31" fmla="*/ 128587 w 1574006"/>
                    <a:gd name="connsiteY31" fmla="*/ 821531 h 1533525"/>
                    <a:gd name="connsiteX32" fmla="*/ 126206 w 1574006"/>
                    <a:gd name="connsiteY32" fmla="*/ 800100 h 1533525"/>
                    <a:gd name="connsiteX33" fmla="*/ 164306 w 1574006"/>
                    <a:gd name="connsiteY33" fmla="*/ 795338 h 1533525"/>
                    <a:gd name="connsiteX34" fmla="*/ 173831 w 1574006"/>
                    <a:gd name="connsiteY34" fmla="*/ 759619 h 1533525"/>
                    <a:gd name="connsiteX35" fmla="*/ 235743 w 1574006"/>
                    <a:gd name="connsiteY35" fmla="*/ 764381 h 1533525"/>
                    <a:gd name="connsiteX36" fmla="*/ 235743 w 1574006"/>
                    <a:gd name="connsiteY36" fmla="*/ 764381 h 1533525"/>
                    <a:gd name="connsiteX37" fmla="*/ 245268 w 1574006"/>
                    <a:gd name="connsiteY37" fmla="*/ 704850 h 1533525"/>
                    <a:gd name="connsiteX38" fmla="*/ 276225 w 1574006"/>
                    <a:gd name="connsiteY38" fmla="*/ 666750 h 1533525"/>
                    <a:gd name="connsiteX39" fmla="*/ 292893 w 1574006"/>
                    <a:gd name="connsiteY39" fmla="*/ 638175 h 1533525"/>
                    <a:gd name="connsiteX40" fmla="*/ 245268 w 1574006"/>
                    <a:gd name="connsiteY40" fmla="*/ 602456 h 1533525"/>
                    <a:gd name="connsiteX41" fmla="*/ 264318 w 1574006"/>
                    <a:gd name="connsiteY41" fmla="*/ 585788 h 1533525"/>
                    <a:gd name="connsiteX42" fmla="*/ 311943 w 1574006"/>
                    <a:gd name="connsiteY42" fmla="*/ 602456 h 1533525"/>
                    <a:gd name="connsiteX43" fmla="*/ 369093 w 1574006"/>
                    <a:gd name="connsiteY43" fmla="*/ 573881 h 1533525"/>
                    <a:gd name="connsiteX44" fmla="*/ 457200 w 1574006"/>
                    <a:gd name="connsiteY44" fmla="*/ 545306 h 1533525"/>
                    <a:gd name="connsiteX45" fmla="*/ 538162 w 1574006"/>
                    <a:gd name="connsiteY45" fmla="*/ 578644 h 1533525"/>
                    <a:gd name="connsiteX46" fmla="*/ 614362 w 1574006"/>
                    <a:gd name="connsiteY46" fmla="*/ 550069 h 1533525"/>
                    <a:gd name="connsiteX47" fmla="*/ 650081 w 1574006"/>
                    <a:gd name="connsiteY47" fmla="*/ 552450 h 1533525"/>
                    <a:gd name="connsiteX48" fmla="*/ 654843 w 1574006"/>
                    <a:gd name="connsiteY48" fmla="*/ 523875 h 1533525"/>
                    <a:gd name="connsiteX49" fmla="*/ 654843 w 1574006"/>
                    <a:gd name="connsiteY49" fmla="*/ 490538 h 1533525"/>
                    <a:gd name="connsiteX50" fmla="*/ 669131 w 1574006"/>
                    <a:gd name="connsiteY50" fmla="*/ 469106 h 1533525"/>
                    <a:gd name="connsiteX51" fmla="*/ 652462 w 1574006"/>
                    <a:gd name="connsiteY51" fmla="*/ 450056 h 1533525"/>
                    <a:gd name="connsiteX52" fmla="*/ 642937 w 1574006"/>
                    <a:gd name="connsiteY52" fmla="*/ 411956 h 1533525"/>
                    <a:gd name="connsiteX53" fmla="*/ 642937 w 1574006"/>
                    <a:gd name="connsiteY53" fmla="*/ 330994 h 1533525"/>
                    <a:gd name="connsiteX54" fmla="*/ 633412 w 1574006"/>
                    <a:gd name="connsiteY54" fmla="*/ 319088 h 1533525"/>
                    <a:gd name="connsiteX55" fmla="*/ 664368 w 1574006"/>
                    <a:gd name="connsiteY55" fmla="*/ 285750 h 1533525"/>
                    <a:gd name="connsiteX56" fmla="*/ 721518 w 1574006"/>
                    <a:gd name="connsiteY56" fmla="*/ 292894 h 1533525"/>
                    <a:gd name="connsiteX57" fmla="*/ 733425 w 1574006"/>
                    <a:gd name="connsiteY57" fmla="*/ 264319 h 1533525"/>
                    <a:gd name="connsiteX58" fmla="*/ 731043 w 1574006"/>
                    <a:gd name="connsiteY58" fmla="*/ 228600 h 1533525"/>
                    <a:gd name="connsiteX59" fmla="*/ 790575 w 1574006"/>
                    <a:gd name="connsiteY59" fmla="*/ 192881 h 1533525"/>
                    <a:gd name="connsiteX60" fmla="*/ 804862 w 1574006"/>
                    <a:gd name="connsiteY60" fmla="*/ 166688 h 1533525"/>
                    <a:gd name="connsiteX61" fmla="*/ 778668 w 1574006"/>
                    <a:gd name="connsiteY61" fmla="*/ 128588 h 1533525"/>
                    <a:gd name="connsiteX62" fmla="*/ 771525 w 1574006"/>
                    <a:gd name="connsiteY62" fmla="*/ 104775 h 1533525"/>
                    <a:gd name="connsiteX63" fmla="*/ 823912 w 1574006"/>
                    <a:gd name="connsiteY63" fmla="*/ 97631 h 1533525"/>
                    <a:gd name="connsiteX64" fmla="*/ 869156 w 1574006"/>
                    <a:gd name="connsiteY64" fmla="*/ 52388 h 1533525"/>
                    <a:gd name="connsiteX65" fmla="*/ 890587 w 1574006"/>
                    <a:gd name="connsiteY65" fmla="*/ 23813 h 1533525"/>
                    <a:gd name="connsiteX66" fmla="*/ 923925 w 1574006"/>
                    <a:gd name="connsiteY66" fmla="*/ 9525 h 1533525"/>
                    <a:gd name="connsiteX67" fmla="*/ 971550 w 1574006"/>
                    <a:gd name="connsiteY67" fmla="*/ 0 h 1533525"/>
                    <a:gd name="connsiteX68" fmla="*/ 971550 w 1574006"/>
                    <a:gd name="connsiteY68" fmla="*/ 40481 h 1533525"/>
                    <a:gd name="connsiteX69" fmla="*/ 950118 w 1574006"/>
                    <a:gd name="connsiteY69" fmla="*/ 80963 h 1533525"/>
                    <a:gd name="connsiteX70" fmla="*/ 950118 w 1574006"/>
                    <a:gd name="connsiteY70" fmla="*/ 140494 h 1533525"/>
                    <a:gd name="connsiteX71" fmla="*/ 969168 w 1574006"/>
                    <a:gd name="connsiteY71" fmla="*/ 161925 h 1533525"/>
                    <a:gd name="connsiteX72" fmla="*/ 1007268 w 1574006"/>
                    <a:gd name="connsiteY72" fmla="*/ 188119 h 1533525"/>
                    <a:gd name="connsiteX73" fmla="*/ 1019175 w 1574006"/>
                    <a:gd name="connsiteY73" fmla="*/ 216694 h 1533525"/>
                    <a:gd name="connsiteX74" fmla="*/ 1004887 w 1574006"/>
                    <a:gd name="connsiteY74" fmla="*/ 226219 h 1533525"/>
                    <a:gd name="connsiteX75" fmla="*/ 1057275 w 1574006"/>
                    <a:gd name="connsiteY75" fmla="*/ 250031 h 1533525"/>
                    <a:gd name="connsiteX76" fmla="*/ 1073943 w 1574006"/>
                    <a:gd name="connsiteY76" fmla="*/ 228600 h 1533525"/>
                    <a:gd name="connsiteX77" fmla="*/ 1083468 w 1574006"/>
                    <a:gd name="connsiteY77" fmla="*/ 252413 h 1533525"/>
                    <a:gd name="connsiteX78" fmla="*/ 1116806 w 1574006"/>
                    <a:gd name="connsiteY78" fmla="*/ 252413 h 1533525"/>
                    <a:gd name="connsiteX79" fmla="*/ 1123950 w 1574006"/>
                    <a:gd name="connsiteY79" fmla="*/ 257175 h 1533525"/>
                    <a:gd name="connsiteX80" fmla="*/ 1116806 w 1574006"/>
                    <a:gd name="connsiteY80" fmla="*/ 276225 h 1533525"/>
                    <a:gd name="connsiteX81" fmla="*/ 1088231 w 1574006"/>
                    <a:gd name="connsiteY81" fmla="*/ 309563 h 1533525"/>
                    <a:gd name="connsiteX82" fmla="*/ 1123950 w 1574006"/>
                    <a:gd name="connsiteY82" fmla="*/ 333375 h 1533525"/>
                    <a:gd name="connsiteX83" fmla="*/ 1135856 w 1574006"/>
                    <a:gd name="connsiteY83" fmla="*/ 347663 h 1533525"/>
                    <a:gd name="connsiteX84" fmla="*/ 1135856 w 1574006"/>
                    <a:gd name="connsiteY84" fmla="*/ 376238 h 1533525"/>
                    <a:gd name="connsiteX85" fmla="*/ 1119187 w 1574006"/>
                    <a:gd name="connsiteY85" fmla="*/ 411956 h 1533525"/>
                    <a:gd name="connsiteX86" fmla="*/ 1162050 w 1574006"/>
                    <a:gd name="connsiteY86" fmla="*/ 423863 h 1533525"/>
                    <a:gd name="connsiteX87" fmla="*/ 1233487 w 1574006"/>
                    <a:gd name="connsiteY87" fmla="*/ 416719 h 1533525"/>
                    <a:gd name="connsiteX88" fmla="*/ 1223962 w 1574006"/>
                    <a:gd name="connsiteY88" fmla="*/ 385763 h 1533525"/>
                    <a:gd name="connsiteX89" fmla="*/ 1188243 w 1574006"/>
                    <a:gd name="connsiteY89" fmla="*/ 347663 h 1533525"/>
                    <a:gd name="connsiteX90" fmla="*/ 1181100 w 1574006"/>
                    <a:gd name="connsiteY90" fmla="*/ 333375 h 1533525"/>
                    <a:gd name="connsiteX91" fmla="*/ 1207293 w 1574006"/>
                    <a:gd name="connsiteY91" fmla="*/ 326231 h 1533525"/>
                    <a:gd name="connsiteX92" fmla="*/ 1200150 w 1574006"/>
                    <a:gd name="connsiteY92" fmla="*/ 302419 h 1533525"/>
                    <a:gd name="connsiteX93" fmla="*/ 1223962 w 1574006"/>
                    <a:gd name="connsiteY93" fmla="*/ 283369 h 1533525"/>
                    <a:gd name="connsiteX94" fmla="*/ 1250156 w 1574006"/>
                    <a:gd name="connsiteY94" fmla="*/ 242888 h 1533525"/>
                    <a:gd name="connsiteX95" fmla="*/ 1302543 w 1574006"/>
                    <a:gd name="connsiteY95" fmla="*/ 211931 h 1533525"/>
                    <a:gd name="connsiteX96" fmla="*/ 1350168 w 1574006"/>
                    <a:gd name="connsiteY96" fmla="*/ 123825 h 1533525"/>
                    <a:gd name="connsiteX97" fmla="*/ 1543050 w 1574006"/>
                    <a:gd name="connsiteY97" fmla="*/ 147638 h 1533525"/>
                    <a:gd name="connsiteX98" fmla="*/ 1547812 w 1574006"/>
                    <a:gd name="connsiteY98" fmla="*/ 121444 h 1533525"/>
                    <a:gd name="connsiteX99" fmla="*/ 1574006 w 1574006"/>
                    <a:gd name="connsiteY99" fmla="*/ 121444 h 1533525"/>
                    <a:gd name="connsiteX100" fmla="*/ 1057275 w 1574006"/>
                    <a:gd name="connsiteY100" fmla="*/ 264319 h 1533525"/>
                    <a:gd name="connsiteX101" fmla="*/ 1062037 w 1574006"/>
                    <a:gd name="connsiteY101" fmla="*/ 304800 h 1533525"/>
                    <a:gd name="connsiteX102" fmla="*/ 995362 w 1574006"/>
                    <a:gd name="connsiteY102" fmla="*/ 352425 h 1533525"/>
                    <a:gd name="connsiteX103" fmla="*/ 973931 w 1574006"/>
                    <a:gd name="connsiteY103" fmla="*/ 383381 h 1533525"/>
                    <a:gd name="connsiteX104" fmla="*/ 1000125 w 1574006"/>
                    <a:gd name="connsiteY104" fmla="*/ 428625 h 1533525"/>
                    <a:gd name="connsiteX105" fmla="*/ 983456 w 1574006"/>
                    <a:gd name="connsiteY105" fmla="*/ 466725 h 1533525"/>
                    <a:gd name="connsiteX106" fmla="*/ 1000125 w 1574006"/>
                    <a:gd name="connsiteY106" fmla="*/ 519113 h 1533525"/>
                    <a:gd name="connsiteX107" fmla="*/ 1033462 w 1574006"/>
                    <a:gd name="connsiteY107" fmla="*/ 519113 h 1533525"/>
                    <a:gd name="connsiteX108" fmla="*/ 1019175 w 1574006"/>
                    <a:gd name="connsiteY108" fmla="*/ 552450 h 1533525"/>
                    <a:gd name="connsiteX109" fmla="*/ 1035843 w 1574006"/>
                    <a:gd name="connsiteY109" fmla="*/ 590550 h 1533525"/>
                    <a:gd name="connsiteX110" fmla="*/ 1035843 w 1574006"/>
                    <a:gd name="connsiteY110" fmla="*/ 607219 h 1533525"/>
                    <a:gd name="connsiteX111" fmla="*/ 1045368 w 1574006"/>
                    <a:gd name="connsiteY111" fmla="*/ 645319 h 1533525"/>
                    <a:gd name="connsiteX112" fmla="*/ 1064418 w 1574006"/>
                    <a:gd name="connsiteY112" fmla="*/ 645319 h 1533525"/>
                    <a:gd name="connsiteX113" fmla="*/ 1078706 w 1574006"/>
                    <a:gd name="connsiteY113" fmla="*/ 666750 h 1533525"/>
                    <a:gd name="connsiteX114" fmla="*/ 1085850 w 1574006"/>
                    <a:gd name="connsiteY114" fmla="*/ 688181 h 1533525"/>
                    <a:gd name="connsiteX115" fmla="*/ 1076325 w 1574006"/>
                    <a:gd name="connsiteY115" fmla="*/ 719138 h 1533525"/>
                    <a:gd name="connsiteX116" fmla="*/ 1021556 w 1574006"/>
                    <a:gd name="connsiteY116" fmla="*/ 714375 h 1533525"/>
                    <a:gd name="connsiteX117" fmla="*/ 1002506 w 1574006"/>
                    <a:gd name="connsiteY117" fmla="*/ 721519 h 1533525"/>
                    <a:gd name="connsiteX118" fmla="*/ 995362 w 1574006"/>
                    <a:gd name="connsiteY118" fmla="*/ 726281 h 1533525"/>
                    <a:gd name="connsiteX119" fmla="*/ 995362 w 1574006"/>
                    <a:gd name="connsiteY119" fmla="*/ 726281 h 1533525"/>
                    <a:gd name="connsiteX120" fmla="*/ 923925 w 1574006"/>
                    <a:gd name="connsiteY120" fmla="*/ 721519 h 1533525"/>
                    <a:gd name="connsiteX121" fmla="*/ 940593 w 1574006"/>
                    <a:gd name="connsiteY121" fmla="*/ 778669 h 1533525"/>
                    <a:gd name="connsiteX122" fmla="*/ 938212 w 1574006"/>
                    <a:gd name="connsiteY122" fmla="*/ 847725 h 1533525"/>
                    <a:gd name="connsiteX123" fmla="*/ 954881 w 1574006"/>
                    <a:gd name="connsiteY123" fmla="*/ 871538 h 1533525"/>
                    <a:gd name="connsiteX124" fmla="*/ 997743 w 1574006"/>
                    <a:gd name="connsiteY124" fmla="*/ 919163 h 1533525"/>
                    <a:gd name="connsiteX125" fmla="*/ 1012031 w 1574006"/>
                    <a:gd name="connsiteY125" fmla="*/ 954881 h 1533525"/>
                    <a:gd name="connsiteX126" fmla="*/ 1031081 w 1574006"/>
                    <a:gd name="connsiteY126" fmla="*/ 954881 h 1533525"/>
                    <a:gd name="connsiteX127" fmla="*/ 1071562 w 1574006"/>
                    <a:gd name="connsiteY127" fmla="*/ 940594 h 1533525"/>
                    <a:gd name="connsiteX128" fmla="*/ 1102518 w 1574006"/>
                    <a:gd name="connsiteY128" fmla="*/ 933450 h 1533525"/>
                    <a:gd name="connsiteX129" fmla="*/ 1159668 w 1574006"/>
                    <a:gd name="connsiteY129" fmla="*/ 997744 h 1533525"/>
                    <a:gd name="connsiteX130" fmla="*/ 1178718 w 1574006"/>
                    <a:gd name="connsiteY130" fmla="*/ 1052513 h 1533525"/>
                    <a:gd name="connsiteX131" fmla="*/ 1190625 w 1574006"/>
                    <a:gd name="connsiteY131" fmla="*/ 1081088 h 1533525"/>
                    <a:gd name="connsiteX132" fmla="*/ 1212056 w 1574006"/>
                    <a:gd name="connsiteY132" fmla="*/ 1109663 h 1533525"/>
                    <a:gd name="connsiteX133" fmla="*/ 1231106 w 1574006"/>
                    <a:gd name="connsiteY133" fmla="*/ 1102519 h 1533525"/>
                    <a:gd name="connsiteX134" fmla="*/ 1231106 w 1574006"/>
                    <a:gd name="connsiteY134" fmla="*/ 1131094 h 1533525"/>
                    <a:gd name="connsiteX135" fmla="*/ 1233487 w 1574006"/>
                    <a:gd name="connsiteY135" fmla="*/ 1145381 h 1533525"/>
                    <a:gd name="connsiteX136" fmla="*/ 1266825 w 1574006"/>
                    <a:gd name="connsiteY136" fmla="*/ 1181100 h 1533525"/>
                    <a:gd name="connsiteX137" fmla="*/ 1233487 w 1574006"/>
                    <a:gd name="connsiteY137" fmla="*/ 1181100 h 1533525"/>
                    <a:gd name="connsiteX138" fmla="*/ 1228725 w 1574006"/>
                    <a:gd name="connsiteY138" fmla="*/ 1223963 h 1533525"/>
                    <a:gd name="connsiteX139" fmla="*/ 1226343 w 1574006"/>
                    <a:gd name="connsiteY139" fmla="*/ 1243013 h 1533525"/>
                    <a:gd name="connsiteX140" fmla="*/ 1216818 w 1574006"/>
                    <a:gd name="connsiteY140" fmla="*/ 1264444 h 1533525"/>
                    <a:gd name="connsiteX141" fmla="*/ 1190625 w 1574006"/>
                    <a:gd name="connsiteY141" fmla="*/ 1238250 h 1533525"/>
                    <a:gd name="connsiteX142" fmla="*/ 1157287 w 1574006"/>
                    <a:gd name="connsiteY142" fmla="*/ 1209675 h 1533525"/>
                    <a:gd name="connsiteX143" fmla="*/ 1131093 w 1574006"/>
                    <a:gd name="connsiteY143" fmla="*/ 1185863 h 1533525"/>
                    <a:gd name="connsiteX144" fmla="*/ 1107281 w 1574006"/>
                    <a:gd name="connsiteY144" fmla="*/ 1219200 h 1533525"/>
                    <a:gd name="connsiteX145" fmla="*/ 1104900 w 1574006"/>
                    <a:gd name="connsiteY145" fmla="*/ 1264444 h 1533525"/>
                    <a:gd name="connsiteX146" fmla="*/ 1062037 w 1574006"/>
                    <a:gd name="connsiteY146" fmla="*/ 1259681 h 1533525"/>
                    <a:gd name="connsiteX147" fmla="*/ 1026318 w 1574006"/>
                    <a:gd name="connsiteY147" fmla="*/ 1288256 h 1533525"/>
                    <a:gd name="connsiteX148" fmla="*/ 1007268 w 1574006"/>
                    <a:gd name="connsiteY148" fmla="*/ 1240631 h 1533525"/>
                    <a:gd name="connsiteX149" fmla="*/ 947737 w 1574006"/>
                    <a:gd name="connsiteY149" fmla="*/ 1231106 h 1533525"/>
                    <a:gd name="connsiteX150" fmla="*/ 921543 w 1574006"/>
                    <a:gd name="connsiteY150" fmla="*/ 1297781 h 1533525"/>
                    <a:gd name="connsiteX151" fmla="*/ 885825 w 1574006"/>
                    <a:gd name="connsiteY151" fmla="*/ 1278731 h 1533525"/>
                    <a:gd name="connsiteX152" fmla="*/ 816768 w 1574006"/>
                    <a:gd name="connsiteY152" fmla="*/ 1295400 h 1533525"/>
                    <a:gd name="connsiteX153" fmla="*/ 757237 w 1574006"/>
                    <a:gd name="connsiteY153" fmla="*/ 1259681 h 1533525"/>
                    <a:gd name="connsiteX154" fmla="*/ 742950 w 1574006"/>
                    <a:gd name="connsiteY154" fmla="*/ 1312069 h 1533525"/>
                    <a:gd name="connsiteX155" fmla="*/ 704850 w 1574006"/>
                    <a:gd name="connsiteY155" fmla="*/ 1345406 h 1533525"/>
                    <a:gd name="connsiteX156" fmla="*/ 692943 w 1574006"/>
                    <a:gd name="connsiteY156" fmla="*/ 1366838 h 1533525"/>
                    <a:gd name="connsiteX157" fmla="*/ 671512 w 1574006"/>
                    <a:gd name="connsiteY157" fmla="*/ 1509713 h 1533525"/>
                    <a:gd name="connsiteX158" fmla="*/ 633412 w 1574006"/>
                    <a:gd name="connsiteY158" fmla="*/ 1490663 h 1533525"/>
                    <a:gd name="connsiteX159" fmla="*/ 614362 w 1574006"/>
                    <a:gd name="connsiteY159" fmla="*/ 1504950 h 1533525"/>
                    <a:gd name="connsiteX160" fmla="*/ 581025 w 1574006"/>
                    <a:gd name="connsiteY160" fmla="*/ 1531144 h 1533525"/>
                    <a:gd name="connsiteX161" fmla="*/ 523875 w 1574006"/>
                    <a:gd name="connsiteY161" fmla="*/ 1502569 h 1533525"/>
                    <a:gd name="connsiteX162" fmla="*/ 514350 w 1574006"/>
                    <a:gd name="connsiteY162" fmla="*/ 1490663 h 1533525"/>
                    <a:gd name="connsiteX163" fmla="*/ 483393 w 1574006"/>
                    <a:gd name="connsiteY163" fmla="*/ 1533525 h 1533525"/>
                    <a:gd name="connsiteX0" fmla="*/ 483393 w 1547812"/>
                    <a:gd name="connsiteY0" fmla="*/ 1533525 h 1533525"/>
                    <a:gd name="connsiteX1" fmla="*/ 459581 w 1547812"/>
                    <a:gd name="connsiteY1" fmla="*/ 1481138 h 1533525"/>
                    <a:gd name="connsiteX2" fmla="*/ 438150 w 1547812"/>
                    <a:gd name="connsiteY2" fmla="*/ 1471613 h 1533525"/>
                    <a:gd name="connsiteX3" fmla="*/ 400050 w 1547812"/>
                    <a:gd name="connsiteY3" fmla="*/ 1485900 h 1533525"/>
                    <a:gd name="connsiteX4" fmla="*/ 338137 w 1547812"/>
                    <a:gd name="connsiteY4" fmla="*/ 1490663 h 1533525"/>
                    <a:gd name="connsiteX5" fmla="*/ 330993 w 1547812"/>
                    <a:gd name="connsiteY5" fmla="*/ 1497806 h 1533525"/>
                    <a:gd name="connsiteX6" fmla="*/ 271462 w 1547812"/>
                    <a:gd name="connsiteY6" fmla="*/ 1471613 h 1533525"/>
                    <a:gd name="connsiteX7" fmla="*/ 219075 w 1547812"/>
                    <a:gd name="connsiteY7" fmla="*/ 1443038 h 1533525"/>
                    <a:gd name="connsiteX8" fmla="*/ 138112 w 1547812"/>
                    <a:gd name="connsiteY8" fmla="*/ 1402556 h 1533525"/>
                    <a:gd name="connsiteX9" fmla="*/ 95250 w 1547812"/>
                    <a:gd name="connsiteY9" fmla="*/ 1316831 h 1533525"/>
                    <a:gd name="connsiteX10" fmla="*/ 80962 w 1547812"/>
                    <a:gd name="connsiteY10" fmla="*/ 1288256 h 1533525"/>
                    <a:gd name="connsiteX11" fmla="*/ 104775 w 1547812"/>
                    <a:gd name="connsiteY11" fmla="*/ 1266825 h 1533525"/>
                    <a:gd name="connsiteX12" fmla="*/ 76200 w 1547812"/>
                    <a:gd name="connsiteY12" fmla="*/ 1212056 h 1533525"/>
                    <a:gd name="connsiteX13" fmla="*/ 109537 w 1547812"/>
                    <a:gd name="connsiteY13" fmla="*/ 1193006 h 1533525"/>
                    <a:gd name="connsiteX14" fmla="*/ 140493 w 1547812"/>
                    <a:gd name="connsiteY14" fmla="*/ 1143000 h 1533525"/>
                    <a:gd name="connsiteX15" fmla="*/ 123825 w 1547812"/>
                    <a:gd name="connsiteY15" fmla="*/ 1107281 h 1533525"/>
                    <a:gd name="connsiteX16" fmla="*/ 178593 w 1547812"/>
                    <a:gd name="connsiteY16" fmla="*/ 1107281 h 1533525"/>
                    <a:gd name="connsiteX17" fmla="*/ 192881 w 1547812"/>
                    <a:gd name="connsiteY17" fmla="*/ 1109663 h 1533525"/>
                    <a:gd name="connsiteX18" fmla="*/ 159543 w 1547812"/>
                    <a:gd name="connsiteY18" fmla="*/ 1064419 h 1533525"/>
                    <a:gd name="connsiteX19" fmla="*/ 169068 w 1547812"/>
                    <a:gd name="connsiteY19" fmla="*/ 1014413 h 1533525"/>
                    <a:gd name="connsiteX20" fmla="*/ 123825 w 1547812"/>
                    <a:gd name="connsiteY20" fmla="*/ 997744 h 1533525"/>
                    <a:gd name="connsiteX21" fmla="*/ 61912 w 1547812"/>
                    <a:gd name="connsiteY21" fmla="*/ 954881 h 1533525"/>
                    <a:gd name="connsiteX22" fmla="*/ 45243 w 1547812"/>
                    <a:gd name="connsiteY22" fmla="*/ 938213 h 1533525"/>
                    <a:gd name="connsiteX23" fmla="*/ 64293 w 1547812"/>
                    <a:gd name="connsiteY23" fmla="*/ 909638 h 1533525"/>
                    <a:gd name="connsiteX24" fmla="*/ 47625 w 1547812"/>
                    <a:gd name="connsiteY24" fmla="*/ 897731 h 1533525"/>
                    <a:gd name="connsiteX25" fmla="*/ 47625 w 1547812"/>
                    <a:gd name="connsiteY25" fmla="*/ 881063 h 1533525"/>
                    <a:gd name="connsiteX26" fmla="*/ 26193 w 1547812"/>
                    <a:gd name="connsiteY26" fmla="*/ 881063 h 1533525"/>
                    <a:gd name="connsiteX27" fmla="*/ 7143 w 1547812"/>
                    <a:gd name="connsiteY27" fmla="*/ 847725 h 1533525"/>
                    <a:gd name="connsiteX28" fmla="*/ 0 w 1547812"/>
                    <a:gd name="connsiteY28" fmla="*/ 816769 h 1533525"/>
                    <a:gd name="connsiteX29" fmla="*/ 54768 w 1547812"/>
                    <a:gd name="connsiteY29" fmla="*/ 800100 h 1533525"/>
                    <a:gd name="connsiteX30" fmla="*/ 76200 w 1547812"/>
                    <a:gd name="connsiteY30" fmla="*/ 788194 h 1533525"/>
                    <a:gd name="connsiteX31" fmla="*/ 128587 w 1547812"/>
                    <a:gd name="connsiteY31" fmla="*/ 821531 h 1533525"/>
                    <a:gd name="connsiteX32" fmla="*/ 126206 w 1547812"/>
                    <a:gd name="connsiteY32" fmla="*/ 800100 h 1533525"/>
                    <a:gd name="connsiteX33" fmla="*/ 164306 w 1547812"/>
                    <a:gd name="connsiteY33" fmla="*/ 795338 h 1533525"/>
                    <a:gd name="connsiteX34" fmla="*/ 173831 w 1547812"/>
                    <a:gd name="connsiteY34" fmla="*/ 759619 h 1533525"/>
                    <a:gd name="connsiteX35" fmla="*/ 235743 w 1547812"/>
                    <a:gd name="connsiteY35" fmla="*/ 764381 h 1533525"/>
                    <a:gd name="connsiteX36" fmla="*/ 235743 w 1547812"/>
                    <a:gd name="connsiteY36" fmla="*/ 764381 h 1533525"/>
                    <a:gd name="connsiteX37" fmla="*/ 245268 w 1547812"/>
                    <a:gd name="connsiteY37" fmla="*/ 704850 h 1533525"/>
                    <a:gd name="connsiteX38" fmla="*/ 276225 w 1547812"/>
                    <a:gd name="connsiteY38" fmla="*/ 666750 h 1533525"/>
                    <a:gd name="connsiteX39" fmla="*/ 292893 w 1547812"/>
                    <a:gd name="connsiteY39" fmla="*/ 638175 h 1533525"/>
                    <a:gd name="connsiteX40" fmla="*/ 245268 w 1547812"/>
                    <a:gd name="connsiteY40" fmla="*/ 602456 h 1533525"/>
                    <a:gd name="connsiteX41" fmla="*/ 264318 w 1547812"/>
                    <a:gd name="connsiteY41" fmla="*/ 585788 h 1533525"/>
                    <a:gd name="connsiteX42" fmla="*/ 311943 w 1547812"/>
                    <a:gd name="connsiteY42" fmla="*/ 602456 h 1533525"/>
                    <a:gd name="connsiteX43" fmla="*/ 369093 w 1547812"/>
                    <a:gd name="connsiteY43" fmla="*/ 573881 h 1533525"/>
                    <a:gd name="connsiteX44" fmla="*/ 457200 w 1547812"/>
                    <a:gd name="connsiteY44" fmla="*/ 545306 h 1533525"/>
                    <a:gd name="connsiteX45" fmla="*/ 538162 w 1547812"/>
                    <a:gd name="connsiteY45" fmla="*/ 578644 h 1533525"/>
                    <a:gd name="connsiteX46" fmla="*/ 614362 w 1547812"/>
                    <a:gd name="connsiteY46" fmla="*/ 550069 h 1533525"/>
                    <a:gd name="connsiteX47" fmla="*/ 650081 w 1547812"/>
                    <a:gd name="connsiteY47" fmla="*/ 552450 h 1533525"/>
                    <a:gd name="connsiteX48" fmla="*/ 654843 w 1547812"/>
                    <a:gd name="connsiteY48" fmla="*/ 523875 h 1533525"/>
                    <a:gd name="connsiteX49" fmla="*/ 654843 w 1547812"/>
                    <a:gd name="connsiteY49" fmla="*/ 490538 h 1533525"/>
                    <a:gd name="connsiteX50" fmla="*/ 669131 w 1547812"/>
                    <a:gd name="connsiteY50" fmla="*/ 469106 h 1533525"/>
                    <a:gd name="connsiteX51" fmla="*/ 652462 w 1547812"/>
                    <a:gd name="connsiteY51" fmla="*/ 450056 h 1533525"/>
                    <a:gd name="connsiteX52" fmla="*/ 642937 w 1547812"/>
                    <a:gd name="connsiteY52" fmla="*/ 411956 h 1533525"/>
                    <a:gd name="connsiteX53" fmla="*/ 642937 w 1547812"/>
                    <a:gd name="connsiteY53" fmla="*/ 330994 h 1533525"/>
                    <a:gd name="connsiteX54" fmla="*/ 633412 w 1547812"/>
                    <a:gd name="connsiteY54" fmla="*/ 319088 h 1533525"/>
                    <a:gd name="connsiteX55" fmla="*/ 664368 w 1547812"/>
                    <a:gd name="connsiteY55" fmla="*/ 285750 h 1533525"/>
                    <a:gd name="connsiteX56" fmla="*/ 721518 w 1547812"/>
                    <a:gd name="connsiteY56" fmla="*/ 292894 h 1533525"/>
                    <a:gd name="connsiteX57" fmla="*/ 733425 w 1547812"/>
                    <a:gd name="connsiteY57" fmla="*/ 264319 h 1533525"/>
                    <a:gd name="connsiteX58" fmla="*/ 731043 w 1547812"/>
                    <a:gd name="connsiteY58" fmla="*/ 228600 h 1533525"/>
                    <a:gd name="connsiteX59" fmla="*/ 790575 w 1547812"/>
                    <a:gd name="connsiteY59" fmla="*/ 192881 h 1533525"/>
                    <a:gd name="connsiteX60" fmla="*/ 804862 w 1547812"/>
                    <a:gd name="connsiteY60" fmla="*/ 166688 h 1533525"/>
                    <a:gd name="connsiteX61" fmla="*/ 778668 w 1547812"/>
                    <a:gd name="connsiteY61" fmla="*/ 128588 h 1533525"/>
                    <a:gd name="connsiteX62" fmla="*/ 771525 w 1547812"/>
                    <a:gd name="connsiteY62" fmla="*/ 104775 h 1533525"/>
                    <a:gd name="connsiteX63" fmla="*/ 823912 w 1547812"/>
                    <a:gd name="connsiteY63" fmla="*/ 97631 h 1533525"/>
                    <a:gd name="connsiteX64" fmla="*/ 869156 w 1547812"/>
                    <a:gd name="connsiteY64" fmla="*/ 52388 h 1533525"/>
                    <a:gd name="connsiteX65" fmla="*/ 890587 w 1547812"/>
                    <a:gd name="connsiteY65" fmla="*/ 23813 h 1533525"/>
                    <a:gd name="connsiteX66" fmla="*/ 923925 w 1547812"/>
                    <a:gd name="connsiteY66" fmla="*/ 9525 h 1533525"/>
                    <a:gd name="connsiteX67" fmla="*/ 971550 w 1547812"/>
                    <a:gd name="connsiteY67" fmla="*/ 0 h 1533525"/>
                    <a:gd name="connsiteX68" fmla="*/ 971550 w 1547812"/>
                    <a:gd name="connsiteY68" fmla="*/ 40481 h 1533525"/>
                    <a:gd name="connsiteX69" fmla="*/ 950118 w 1547812"/>
                    <a:gd name="connsiteY69" fmla="*/ 80963 h 1533525"/>
                    <a:gd name="connsiteX70" fmla="*/ 950118 w 1547812"/>
                    <a:gd name="connsiteY70" fmla="*/ 140494 h 1533525"/>
                    <a:gd name="connsiteX71" fmla="*/ 969168 w 1547812"/>
                    <a:gd name="connsiteY71" fmla="*/ 161925 h 1533525"/>
                    <a:gd name="connsiteX72" fmla="*/ 1007268 w 1547812"/>
                    <a:gd name="connsiteY72" fmla="*/ 188119 h 1533525"/>
                    <a:gd name="connsiteX73" fmla="*/ 1019175 w 1547812"/>
                    <a:gd name="connsiteY73" fmla="*/ 216694 h 1533525"/>
                    <a:gd name="connsiteX74" fmla="*/ 1004887 w 1547812"/>
                    <a:gd name="connsiteY74" fmla="*/ 226219 h 1533525"/>
                    <a:gd name="connsiteX75" fmla="*/ 1057275 w 1547812"/>
                    <a:gd name="connsiteY75" fmla="*/ 250031 h 1533525"/>
                    <a:gd name="connsiteX76" fmla="*/ 1073943 w 1547812"/>
                    <a:gd name="connsiteY76" fmla="*/ 228600 h 1533525"/>
                    <a:gd name="connsiteX77" fmla="*/ 1083468 w 1547812"/>
                    <a:gd name="connsiteY77" fmla="*/ 252413 h 1533525"/>
                    <a:gd name="connsiteX78" fmla="*/ 1116806 w 1547812"/>
                    <a:gd name="connsiteY78" fmla="*/ 252413 h 1533525"/>
                    <a:gd name="connsiteX79" fmla="*/ 1123950 w 1547812"/>
                    <a:gd name="connsiteY79" fmla="*/ 257175 h 1533525"/>
                    <a:gd name="connsiteX80" fmla="*/ 1116806 w 1547812"/>
                    <a:gd name="connsiteY80" fmla="*/ 276225 h 1533525"/>
                    <a:gd name="connsiteX81" fmla="*/ 1088231 w 1547812"/>
                    <a:gd name="connsiteY81" fmla="*/ 309563 h 1533525"/>
                    <a:gd name="connsiteX82" fmla="*/ 1123950 w 1547812"/>
                    <a:gd name="connsiteY82" fmla="*/ 333375 h 1533525"/>
                    <a:gd name="connsiteX83" fmla="*/ 1135856 w 1547812"/>
                    <a:gd name="connsiteY83" fmla="*/ 347663 h 1533525"/>
                    <a:gd name="connsiteX84" fmla="*/ 1135856 w 1547812"/>
                    <a:gd name="connsiteY84" fmla="*/ 376238 h 1533525"/>
                    <a:gd name="connsiteX85" fmla="*/ 1119187 w 1547812"/>
                    <a:gd name="connsiteY85" fmla="*/ 411956 h 1533525"/>
                    <a:gd name="connsiteX86" fmla="*/ 1162050 w 1547812"/>
                    <a:gd name="connsiteY86" fmla="*/ 423863 h 1533525"/>
                    <a:gd name="connsiteX87" fmla="*/ 1233487 w 1547812"/>
                    <a:gd name="connsiteY87" fmla="*/ 416719 h 1533525"/>
                    <a:gd name="connsiteX88" fmla="*/ 1223962 w 1547812"/>
                    <a:gd name="connsiteY88" fmla="*/ 385763 h 1533525"/>
                    <a:gd name="connsiteX89" fmla="*/ 1188243 w 1547812"/>
                    <a:gd name="connsiteY89" fmla="*/ 347663 h 1533525"/>
                    <a:gd name="connsiteX90" fmla="*/ 1181100 w 1547812"/>
                    <a:gd name="connsiteY90" fmla="*/ 333375 h 1533525"/>
                    <a:gd name="connsiteX91" fmla="*/ 1207293 w 1547812"/>
                    <a:gd name="connsiteY91" fmla="*/ 326231 h 1533525"/>
                    <a:gd name="connsiteX92" fmla="*/ 1200150 w 1547812"/>
                    <a:gd name="connsiteY92" fmla="*/ 302419 h 1533525"/>
                    <a:gd name="connsiteX93" fmla="*/ 1223962 w 1547812"/>
                    <a:gd name="connsiteY93" fmla="*/ 283369 h 1533525"/>
                    <a:gd name="connsiteX94" fmla="*/ 1250156 w 1547812"/>
                    <a:gd name="connsiteY94" fmla="*/ 242888 h 1533525"/>
                    <a:gd name="connsiteX95" fmla="*/ 1302543 w 1547812"/>
                    <a:gd name="connsiteY95" fmla="*/ 211931 h 1533525"/>
                    <a:gd name="connsiteX96" fmla="*/ 1350168 w 1547812"/>
                    <a:gd name="connsiteY96" fmla="*/ 123825 h 1533525"/>
                    <a:gd name="connsiteX97" fmla="*/ 1543050 w 1547812"/>
                    <a:gd name="connsiteY97" fmla="*/ 147638 h 1533525"/>
                    <a:gd name="connsiteX98" fmla="*/ 1547812 w 1547812"/>
                    <a:gd name="connsiteY98" fmla="*/ 121444 h 1533525"/>
                    <a:gd name="connsiteX99" fmla="*/ 1057275 w 1547812"/>
                    <a:gd name="connsiteY99" fmla="*/ 264319 h 1533525"/>
                    <a:gd name="connsiteX100" fmla="*/ 1062037 w 1547812"/>
                    <a:gd name="connsiteY100" fmla="*/ 304800 h 1533525"/>
                    <a:gd name="connsiteX101" fmla="*/ 995362 w 1547812"/>
                    <a:gd name="connsiteY101" fmla="*/ 352425 h 1533525"/>
                    <a:gd name="connsiteX102" fmla="*/ 973931 w 1547812"/>
                    <a:gd name="connsiteY102" fmla="*/ 383381 h 1533525"/>
                    <a:gd name="connsiteX103" fmla="*/ 1000125 w 1547812"/>
                    <a:gd name="connsiteY103" fmla="*/ 428625 h 1533525"/>
                    <a:gd name="connsiteX104" fmla="*/ 983456 w 1547812"/>
                    <a:gd name="connsiteY104" fmla="*/ 466725 h 1533525"/>
                    <a:gd name="connsiteX105" fmla="*/ 1000125 w 1547812"/>
                    <a:gd name="connsiteY105" fmla="*/ 519113 h 1533525"/>
                    <a:gd name="connsiteX106" fmla="*/ 1033462 w 1547812"/>
                    <a:gd name="connsiteY106" fmla="*/ 519113 h 1533525"/>
                    <a:gd name="connsiteX107" fmla="*/ 1019175 w 1547812"/>
                    <a:gd name="connsiteY107" fmla="*/ 552450 h 1533525"/>
                    <a:gd name="connsiteX108" fmla="*/ 1035843 w 1547812"/>
                    <a:gd name="connsiteY108" fmla="*/ 590550 h 1533525"/>
                    <a:gd name="connsiteX109" fmla="*/ 1035843 w 1547812"/>
                    <a:gd name="connsiteY109" fmla="*/ 607219 h 1533525"/>
                    <a:gd name="connsiteX110" fmla="*/ 1045368 w 1547812"/>
                    <a:gd name="connsiteY110" fmla="*/ 645319 h 1533525"/>
                    <a:gd name="connsiteX111" fmla="*/ 1064418 w 1547812"/>
                    <a:gd name="connsiteY111" fmla="*/ 645319 h 1533525"/>
                    <a:gd name="connsiteX112" fmla="*/ 1078706 w 1547812"/>
                    <a:gd name="connsiteY112" fmla="*/ 666750 h 1533525"/>
                    <a:gd name="connsiteX113" fmla="*/ 1085850 w 1547812"/>
                    <a:gd name="connsiteY113" fmla="*/ 688181 h 1533525"/>
                    <a:gd name="connsiteX114" fmla="*/ 1076325 w 1547812"/>
                    <a:gd name="connsiteY114" fmla="*/ 719138 h 1533525"/>
                    <a:gd name="connsiteX115" fmla="*/ 1021556 w 1547812"/>
                    <a:gd name="connsiteY115" fmla="*/ 714375 h 1533525"/>
                    <a:gd name="connsiteX116" fmla="*/ 1002506 w 1547812"/>
                    <a:gd name="connsiteY116" fmla="*/ 721519 h 1533525"/>
                    <a:gd name="connsiteX117" fmla="*/ 995362 w 1547812"/>
                    <a:gd name="connsiteY117" fmla="*/ 726281 h 1533525"/>
                    <a:gd name="connsiteX118" fmla="*/ 995362 w 1547812"/>
                    <a:gd name="connsiteY118" fmla="*/ 726281 h 1533525"/>
                    <a:gd name="connsiteX119" fmla="*/ 923925 w 1547812"/>
                    <a:gd name="connsiteY119" fmla="*/ 721519 h 1533525"/>
                    <a:gd name="connsiteX120" fmla="*/ 940593 w 1547812"/>
                    <a:gd name="connsiteY120" fmla="*/ 778669 h 1533525"/>
                    <a:gd name="connsiteX121" fmla="*/ 938212 w 1547812"/>
                    <a:gd name="connsiteY121" fmla="*/ 847725 h 1533525"/>
                    <a:gd name="connsiteX122" fmla="*/ 954881 w 1547812"/>
                    <a:gd name="connsiteY122" fmla="*/ 871538 h 1533525"/>
                    <a:gd name="connsiteX123" fmla="*/ 997743 w 1547812"/>
                    <a:gd name="connsiteY123" fmla="*/ 919163 h 1533525"/>
                    <a:gd name="connsiteX124" fmla="*/ 1012031 w 1547812"/>
                    <a:gd name="connsiteY124" fmla="*/ 954881 h 1533525"/>
                    <a:gd name="connsiteX125" fmla="*/ 1031081 w 1547812"/>
                    <a:gd name="connsiteY125" fmla="*/ 954881 h 1533525"/>
                    <a:gd name="connsiteX126" fmla="*/ 1071562 w 1547812"/>
                    <a:gd name="connsiteY126" fmla="*/ 940594 h 1533525"/>
                    <a:gd name="connsiteX127" fmla="*/ 1102518 w 1547812"/>
                    <a:gd name="connsiteY127" fmla="*/ 933450 h 1533525"/>
                    <a:gd name="connsiteX128" fmla="*/ 1159668 w 1547812"/>
                    <a:gd name="connsiteY128" fmla="*/ 997744 h 1533525"/>
                    <a:gd name="connsiteX129" fmla="*/ 1178718 w 1547812"/>
                    <a:gd name="connsiteY129" fmla="*/ 1052513 h 1533525"/>
                    <a:gd name="connsiteX130" fmla="*/ 1190625 w 1547812"/>
                    <a:gd name="connsiteY130" fmla="*/ 1081088 h 1533525"/>
                    <a:gd name="connsiteX131" fmla="*/ 1212056 w 1547812"/>
                    <a:gd name="connsiteY131" fmla="*/ 1109663 h 1533525"/>
                    <a:gd name="connsiteX132" fmla="*/ 1231106 w 1547812"/>
                    <a:gd name="connsiteY132" fmla="*/ 1102519 h 1533525"/>
                    <a:gd name="connsiteX133" fmla="*/ 1231106 w 1547812"/>
                    <a:gd name="connsiteY133" fmla="*/ 1131094 h 1533525"/>
                    <a:gd name="connsiteX134" fmla="*/ 1233487 w 1547812"/>
                    <a:gd name="connsiteY134" fmla="*/ 1145381 h 1533525"/>
                    <a:gd name="connsiteX135" fmla="*/ 1266825 w 1547812"/>
                    <a:gd name="connsiteY135" fmla="*/ 1181100 h 1533525"/>
                    <a:gd name="connsiteX136" fmla="*/ 1233487 w 1547812"/>
                    <a:gd name="connsiteY136" fmla="*/ 1181100 h 1533525"/>
                    <a:gd name="connsiteX137" fmla="*/ 1228725 w 1547812"/>
                    <a:gd name="connsiteY137" fmla="*/ 1223963 h 1533525"/>
                    <a:gd name="connsiteX138" fmla="*/ 1226343 w 1547812"/>
                    <a:gd name="connsiteY138" fmla="*/ 1243013 h 1533525"/>
                    <a:gd name="connsiteX139" fmla="*/ 1216818 w 1547812"/>
                    <a:gd name="connsiteY139" fmla="*/ 1264444 h 1533525"/>
                    <a:gd name="connsiteX140" fmla="*/ 1190625 w 1547812"/>
                    <a:gd name="connsiteY140" fmla="*/ 1238250 h 1533525"/>
                    <a:gd name="connsiteX141" fmla="*/ 1157287 w 1547812"/>
                    <a:gd name="connsiteY141" fmla="*/ 1209675 h 1533525"/>
                    <a:gd name="connsiteX142" fmla="*/ 1131093 w 1547812"/>
                    <a:gd name="connsiteY142" fmla="*/ 1185863 h 1533525"/>
                    <a:gd name="connsiteX143" fmla="*/ 1107281 w 1547812"/>
                    <a:gd name="connsiteY143" fmla="*/ 1219200 h 1533525"/>
                    <a:gd name="connsiteX144" fmla="*/ 1104900 w 1547812"/>
                    <a:gd name="connsiteY144" fmla="*/ 1264444 h 1533525"/>
                    <a:gd name="connsiteX145" fmla="*/ 1062037 w 1547812"/>
                    <a:gd name="connsiteY145" fmla="*/ 1259681 h 1533525"/>
                    <a:gd name="connsiteX146" fmla="*/ 1026318 w 1547812"/>
                    <a:gd name="connsiteY146" fmla="*/ 1288256 h 1533525"/>
                    <a:gd name="connsiteX147" fmla="*/ 1007268 w 1547812"/>
                    <a:gd name="connsiteY147" fmla="*/ 1240631 h 1533525"/>
                    <a:gd name="connsiteX148" fmla="*/ 947737 w 1547812"/>
                    <a:gd name="connsiteY148" fmla="*/ 1231106 h 1533525"/>
                    <a:gd name="connsiteX149" fmla="*/ 921543 w 1547812"/>
                    <a:gd name="connsiteY149" fmla="*/ 1297781 h 1533525"/>
                    <a:gd name="connsiteX150" fmla="*/ 885825 w 1547812"/>
                    <a:gd name="connsiteY150" fmla="*/ 1278731 h 1533525"/>
                    <a:gd name="connsiteX151" fmla="*/ 816768 w 1547812"/>
                    <a:gd name="connsiteY151" fmla="*/ 1295400 h 1533525"/>
                    <a:gd name="connsiteX152" fmla="*/ 757237 w 1547812"/>
                    <a:gd name="connsiteY152" fmla="*/ 1259681 h 1533525"/>
                    <a:gd name="connsiteX153" fmla="*/ 742950 w 1547812"/>
                    <a:gd name="connsiteY153" fmla="*/ 1312069 h 1533525"/>
                    <a:gd name="connsiteX154" fmla="*/ 704850 w 1547812"/>
                    <a:gd name="connsiteY154" fmla="*/ 1345406 h 1533525"/>
                    <a:gd name="connsiteX155" fmla="*/ 692943 w 1547812"/>
                    <a:gd name="connsiteY155" fmla="*/ 1366838 h 1533525"/>
                    <a:gd name="connsiteX156" fmla="*/ 671512 w 1547812"/>
                    <a:gd name="connsiteY156" fmla="*/ 1509713 h 1533525"/>
                    <a:gd name="connsiteX157" fmla="*/ 633412 w 1547812"/>
                    <a:gd name="connsiteY157" fmla="*/ 1490663 h 1533525"/>
                    <a:gd name="connsiteX158" fmla="*/ 614362 w 1547812"/>
                    <a:gd name="connsiteY158" fmla="*/ 1504950 h 1533525"/>
                    <a:gd name="connsiteX159" fmla="*/ 581025 w 1547812"/>
                    <a:gd name="connsiteY159" fmla="*/ 1531144 h 1533525"/>
                    <a:gd name="connsiteX160" fmla="*/ 523875 w 1547812"/>
                    <a:gd name="connsiteY160" fmla="*/ 1502569 h 1533525"/>
                    <a:gd name="connsiteX161" fmla="*/ 514350 w 1547812"/>
                    <a:gd name="connsiteY161" fmla="*/ 1490663 h 1533525"/>
                    <a:gd name="connsiteX162" fmla="*/ 483393 w 1547812"/>
                    <a:gd name="connsiteY162" fmla="*/ 1533525 h 1533525"/>
                    <a:gd name="connsiteX0" fmla="*/ 483393 w 1543050"/>
                    <a:gd name="connsiteY0" fmla="*/ 1533525 h 1533525"/>
                    <a:gd name="connsiteX1" fmla="*/ 459581 w 1543050"/>
                    <a:gd name="connsiteY1" fmla="*/ 1481138 h 1533525"/>
                    <a:gd name="connsiteX2" fmla="*/ 438150 w 1543050"/>
                    <a:gd name="connsiteY2" fmla="*/ 1471613 h 1533525"/>
                    <a:gd name="connsiteX3" fmla="*/ 400050 w 1543050"/>
                    <a:gd name="connsiteY3" fmla="*/ 1485900 h 1533525"/>
                    <a:gd name="connsiteX4" fmla="*/ 338137 w 1543050"/>
                    <a:gd name="connsiteY4" fmla="*/ 1490663 h 1533525"/>
                    <a:gd name="connsiteX5" fmla="*/ 330993 w 1543050"/>
                    <a:gd name="connsiteY5" fmla="*/ 1497806 h 1533525"/>
                    <a:gd name="connsiteX6" fmla="*/ 271462 w 1543050"/>
                    <a:gd name="connsiteY6" fmla="*/ 1471613 h 1533525"/>
                    <a:gd name="connsiteX7" fmla="*/ 219075 w 1543050"/>
                    <a:gd name="connsiteY7" fmla="*/ 1443038 h 1533525"/>
                    <a:gd name="connsiteX8" fmla="*/ 138112 w 1543050"/>
                    <a:gd name="connsiteY8" fmla="*/ 1402556 h 1533525"/>
                    <a:gd name="connsiteX9" fmla="*/ 95250 w 1543050"/>
                    <a:gd name="connsiteY9" fmla="*/ 1316831 h 1533525"/>
                    <a:gd name="connsiteX10" fmla="*/ 80962 w 1543050"/>
                    <a:gd name="connsiteY10" fmla="*/ 1288256 h 1533525"/>
                    <a:gd name="connsiteX11" fmla="*/ 104775 w 1543050"/>
                    <a:gd name="connsiteY11" fmla="*/ 1266825 h 1533525"/>
                    <a:gd name="connsiteX12" fmla="*/ 76200 w 1543050"/>
                    <a:gd name="connsiteY12" fmla="*/ 1212056 h 1533525"/>
                    <a:gd name="connsiteX13" fmla="*/ 109537 w 1543050"/>
                    <a:gd name="connsiteY13" fmla="*/ 1193006 h 1533525"/>
                    <a:gd name="connsiteX14" fmla="*/ 140493 w 1543050"/>
                    <a:gd name="connsiteY14" fmla="*/ 1143000 h 1533525"/>
                    <a:gd name="connsiteX15" fmla="*/ 123825 w 1543050"/>
                    <a:gd name="connsiteY15" fmla="*/ 1107281 h 1533525"/>
                    <a:gd name="connsiteX16" fmla="*/ 178593 w 1543050"/>
                    <a:gd name="connsiteY16" fmla="*/ 1107281 h 1533525"/>
                    <a:gd name="connsiteX17" fmla="*/ 192881 w 1543050"/>
                    <a:gd name="connsiteY17" fmla="*/ 1109663 h 1533525"/>
                    <a:gd name="connsiteX18" fmla="*/ 159543 w 1543050"/>
                    <a:gd name="connsiteY18" fmla="*/ 1064419 h 1533525"/>
                    <a:gd name="connsiteX19" fmla="*/ 169068 w 1543050"/>
                    <a:gd name="connsiteY19" fmla="*/ 1014413 h 1533525"/>
                    <a:gd name="connsiteX20" fmla="*/ 123825 w 1543050"/>
                    <a:gd name="connsiteY20" fmla="*/ 997744 h 1533525"/>
                    <a:gd name="connsiteX21" fmla="*/ 61912 w 1543050"/>
                    <a:gd name="connsiteY21" fmla="*/ 954881 h 1533525"/>
                    <a:gd name="connsiteX22" fmla="*/ 45243 w 1543050"/>
                    <a:gd name="connsiteY22" fmla="*/ 938213 h 1533525"/>
                    <a:gd name="connsiteX23" fmla="*/ 64293 w 1543050"/>
                    <a:gd name="connsiteY23" fmla="*/ 909638 h 1533525"/>
                    <a:gd name="connsiteX24" fmla="*/ 47625 w 1543050"/>
                    <a:gd name="connsiteY24" fmla="*/ 897731 h 1533525"/>
                    <a:gd name="connsiteX25" fmla="*/ 47625 w 1543050"/>
                    <a:gd name="connsiteY25" fmla="*/ 881063 h 1533525"/>
                    <a:gd name="connsiteX26" fmla="*/ 26193 w 1543050"/>
                    <a:gd name="connsiteY26" fmla="*/ 881063 h 1533525"/>
                    <a:gd name="connsiteX27" fmla="*/ 7143 w 1543050"/>
                    <a:gd name="connsiteY27" fmla="*/ 847725 h 1533525"/>
                    <a:gd name="connsiteX28" fmla="*/ 0 w 1543050"/>
                    <a:gd name="connsiteY28" fmla="*/ 816769 h 1533525"/>
                    <a:gd name="connsiteX29" fmla="*/ 54768 w 1543050"/>
                    <a:gd name="connsiteY29" fmla="*/ 800100 h 1533525"/>
                    <a:gd name="connsiteX30" fmla="*/ 76200 w 1543050"/>
                    <a:gd name="connsiteY30" fmla="*/ 788194 h 1533525"/>
                    <a:gd name="connsiteX31" fmla="*/ 128587 w 1543050"/>
                    <a:gd name="connsiteY31" fmla="*/ 821531 h 1533525"/>
                    <a:gd name="connsiteX32" fmla="*/ 126206 w 1543050"/>
                    <a:gd name="connsiteY32" fmla="*/ 800100 h 1533525"/>
                    <a:gd name="connsiteX33" fmla="*/ 164306 w 1543050"/>
                    <a:gd name="connsiteY33" fmla="*/ 795338 h 1533525"/>
                    <a:gd name="connsiteX34" fmla="*/ 173831 w 1543050"/>
                    <a:gd name="connsiteY34" fmla="*/ 759619 h 1533525"/>
                    <a:gd name="connsiteX35" fmla="*/ 235743 w 1543050"/>
                    <a:gd name="connsiteY35" fmla="*/ 764381 h 1533525"/>
                    <a:gd name="connsiteX36" fmla="*/ 235743 w 1543050"/>
                    <a:gd name="connsiteY36" fmla="*/ 764381 h 1533525"/>
                    <a:gd name="connsiteX37" fmla="*/ 245268 w 1543050"/>
                    <a:gd name="connsiteY37" fmla="*/ 704850 h 1533525"/>
                    <a:gd name="connsiteX38" fmla="*/ 276225 w 1543050"/>
                    <a:gd name="connsiteY38" fmla="*/ 666750 h 1533525"/>
                    <a:gd name="connsiteX39" fmla="*/ 292893 w 1543050"/>
                    <a:gd name="connsiteY39" fmla="*/ 638175 h 1533525"/>
                    <a:gd name="connsiteX40" fmla="*/ 245268 w 1543050"/>
                    <a:gd name="connsiteY40" fmla="*/ 602456 h 1533525"/>
                    <a:gd name="connsiteX41" fmla="*/ 264318 w 1543050"/>
                    <a:gd name="connsiteY41" fmla="*/ 585788 h 1533525"/>
                    <a:gd name="connsiteX42" fmla="*/ 311943 w 1543050"/>
                    <a:gd name="connsiteY42" fmla="*/ 602456 h 1533525"/>
                    <a:gd name="connsiteX43" fmla="*/ 369093 w 1543050"/>
                    <a:gd name="connsiteY43" fmla="*/ 573881 h 1533525"/>
                    <a:gd name="connsiteX44" fmla="*/ 457200 w 1543050"/>
                    <a:gd name="connsiteY44" fmla="*/ 545306 h 1533525"/>
                    <a:gd name="connsiteX45" fmla="*/ 538162 w 1543050"/>
                    <a:gd name="connsiteY45" fmla="*/ 578644 h 1533525"/>
                    <a:gd name="connsiteX46" fmla="*/ 614362 w 1543050"/>
                    <a:gd name="connsiteY46" fmla="*/ 550069 h 1533525"/>
                    <a:gd name="connsiteX47" fmla="*/ 650081 w 1543050"/>
                    <a:gd name="connsiteY47" fmla="*/ 552450 h 1533525"/>
                    <a:gd name="connsiteX48" fmla="*/ 654843 w 1543050"/>
                    <a:gd name="connsiteY48" fmla="*/ 523875 h 1533525"/>
                    <a:gd name="connsiteX49" fmla="*/ 654843 w 1543050"/>
                    <a:gd name="connsiteY49" fmla="*/ 490538 h 1533525"/>
                    <a:gd name="connsiteX50" fmla="*/ 669131 w 1543050"/>
                    <a:gd name="connsiteY50" fmla="*/ 469106 h 1533525"/>
                    <a:gd name="connsiteX51" fmla="*/ 652462 w 1543050"/>
                    <a:gd name="connsiteY51" fmla="*/ 450056 h 1533525"/>
                    <a:gd name="connsiteX52" fmla="*/ 642937 w 1543050"/>
                    <a:gd name="connsiteY52" fmla="*/ 411956 h 1533525"/>
                    <a:gd name="connsiteX53" fmla="*/ 642937 w 1543050"/>
                    <a:gd name="connsiteY53" fmla="*/ 330994 h 1533525"/>
                    <a:gd name="connsiteX54" fmla="*/ 633412 w 1543050"/>
                    <a:gd name="connsiteY54" fmla="*/ 319088 h 1533525"/>
                    <a:gd name="connsiteX55" fmla="*/ 664368 w 1543050"/>
                    <a:gd name="connsiteY55" fmla="*/ 285750 h 1533525"/>
                    <a:gd name="connsiteX56" fmla="*/ 721518 w 1543050"/>
                    <a:gd name="connsiteY56" fmla="*/ 292894 h 1533525"/>
                    <a:gd name="connsiteX57" fmla="*/ 733425 w 1543050"/>
                    <a:gd name="connsiteY57" fmla="*/ 264319 h 1533525"/>
                    <a:gd name="connsiteX58" fmla="*/ 731043 w 1543050"/>
                    <a:gd name="connsiteY58" fmla="*/ 228600 h 1533525"/>
                    <a:gd name="connsiteX59" fmla="*/ 790575 w 1543050"/>
                    <a:gd name="connsiteY59" fmla="*/ 192881 h 1533525"/>
                    <a:gd name="connsiteX60" fmla="*/ 804862 w 1543050"/>
                    <a:gd name="connsiteY60" fmla="*/ 166688 h 1533525"/>
                    <a:gd name="connsiteX61" fmla="*/ 778668 w 1543050"/>
                    <a:gd name="connsiteY61" fmla="*/ 128588 h 1533525"/>
                    <a:gd name="connsiteX62" fmla="*/ 771525 w 1543050"/>
                    <a:gd name="connsiteY62" fmla="*/ 104775 h 1533525"/>
                    <a:gd name="connsiteX63" fmla="*/ 823912 w 1543050"/>
                    <a:gd name="connsiteY63" fmla="*/ 97631 h 1533525"/>
                    <a:gd name="connsiteX64" fmla="*/ 869156 w 1543050"/>
                    <a:gd name="connsiteY64" fmla="*/ 52388 h 1533525"/>
                    <a:gd name="connsiteX65" fmla="*/ 890587 w 1543050"/>
                    <a:gd name="connsiteY65" fmla="*/ 23813 h 1533525"/>
                    <a:gd name="connsiteX66" fmla="*/ 923925 w 1543050"/>
                    <a:gd name="connsiteY66" fmla="*/ 9525 h 1533525"/>
                    <a:gd name="connsiteX67" fmla="*/ 971550 w 1543050"/>
                    <a:gd name="connsiteY67" fmla="*/ 0 h 1533525"/>
                    <a:gd name="connsiteX68" fmla="*/ 971550 w 1543050"/>
                    <a:gd name="connsiteY68" fmla="*/ 40481 h 1533525"/>
                    <a:gd name="connsiteX69" fmla="*/ 950118 w 1543050"/>
                    <a:gd name="connsiteY69" fmla="*/ 80963 h 1533525"/>
                    <a:gd name="connsiteX70" fmla="*/ 950118 w 1543050"/>
                    <a:gd name="connsiteY70" fmla="*/ 140494 h 1533525"/>
                    <a:gd name="connsiteX71" fmla="*/ 969168 w 1543050"/>
                    <a:gd name="connsiteY71" fmla="*/ 161925 h 1533525"/>
                    <a:gd name="connsiteX72" fmla="*/ 1007268 w 1543050"/>
                    <a:gd name="connsiteY72" fmla="*/ 188119 h 1533525"/>
                    <a:gd name="connsiteX73" fmla="*/ 1019175 w 1543050"/>
                    <a:gd name="connsiteY73" fmla="*/ 216694 h 1533525"/>
                    <a:gd name="connsiteX74" fmla="*/ 1004887 w 1543050"/>
                    <a:gd name="connsiteY74" fmla="*/ 226219 h 1533525"/>
                    <a:gd name="connsiteX75" fmla="*/ 1057275 w 1543050"/>
                    <a:gd name="connsiteY75" fmla="*/ 250031 h 1533525"/>
                    <a:gd name="connsiteX76" fmla="*/ 1073943 w 1543050"/>
                    <a:gd name="connsiteY76" fmla="*/ 228600 h 1533525"/>
                    <a:gd name="connsiteX77" fmla="*/ 1083468 w 1543050"/>
                    <a:gd name="connsiteY77" fmla="*/ 252413 h 1533525"/>
                    <a:gd name="connsiteX78" fmla="*/ 1116806 w 1543050"/>
                    <a:gd name="connsiteY78" fmla="*/ 252413 h 1533525"/>
                    <a:gd name="connsiteX79" fmla="*/ 1123950 w 1543050"/>
                    <a:gd name="connsiteY79" fmla="*/ 257175 h 1533525"/>
                    <a:gd name="connsiteX80" fmla="*/ 1116806 w 1543050"/>
                    <a:gd name="connsiteY80" fmla="*/ 276225 h 1533525"/>
                    <a:gd name="connsiteX81" fmla="*/ 1088231 w 1543050"/>
                    <a:gd name="connsiteY81" fmla="*/ 309563 h 1533525"/>
                    <a:gd name="connsiteX82" fmla="*/ 1123950 w 1543050"/>
                    <a:gd name="connsiteY82" fmla="*/ 333375 h 1533525"/>
                    <a:gd name="connsiteX83" fmla="*/ 1135856 w 1543050"/>
                    <a:gd name="connsiteY83" fmla="*/ 347663 h 1533525"/>
                    <a:gd name="connsiteX84" fmla="*/ 1135856 w 1543050"/>
                    <a:gd name="connsiteY84" fmla="*/ 376238 h 1533525"/>
                    <a:gd name="connsiteX85" fmla="*/ 1119187 w 1543050"/>
                    <a:gd name="connsiteY85" fmla="*/ 411956 h 1533525"/>
                    <a:gd name="connsiteX86" fmla="*/ 1162050 w 1543050"/>
                    <a:gd name="connsiteY86" fmla="*/ 423863 h 1533525"/>
                    <a:gd name="connsiteX87" fmla="*/ 1233487 w 1543050"/>
                    <a:gd name="connsiteY87" fmla="*/ 416719 h 1533525"/>
                    <a:gd name="connsiteX88" fmla="*/ 1223962 w 1543050"/>
                    <a:gd name="connsiteY88" fmla="*/ 385763 h 1533525"/>
                    <a:gd name="connsiteX89" fmla="*/ 1188243 w 1543050"/>
                    <a:gd name="connsiteY89" fmla="*/ 347663 h 1533525"/>
                    <a:gd name="connsiteX90" fmla="*/ 1181100 w 1543050"/>
                    <a:gd name="connsiteY90" fmla="*/ 333375 h 1533525"/>
                    <a:gd name="connsiteX91" fmla="*/ 1207293 w 1543050"/>
                    <a:gd name="connsiteY91" fmla="*/ 326231 h 1533525"/>
                    <a:gd name="connsiteX92" fmla="*/ 1200150 w 1543050"/>
                    <a:gd name="connsiteY92" fmla="*/ 302419 h 1533525"/>
                    <a:gd name="connsiteX93" fmla="*/ 1223962 w 1543050"/>
                    <a:gd name="connsiteY93" fmla="*/ 283369 h 1533525"/>
                    <a:gd name="connsiteX94" fmla="*/ 1250156 w 1543050"/>
                    <a:gd name="connsiteY94" fmla="*/ 242888 h 1533525"/>
                    <a:gd name="connsiteX95" fmla="*/ 1302543 w 1543050"/>
                    <a:gd name="connsiteY95" fmla="*/ 211931 h 1533525"/>
                    <a:gd name="connsiteX96" fmla="*/ 1350168 w 1543050"/>
                    <a:gd name="connsiteY96" fmla="*/ 123825 h 1533525"/>
                    <a:gd name="connsiteX97" fmla="*/ 1543050 w 1543050"/>
                    <a:gd name="connsiteY97" fmla="*/ 147638 h 1533525"/>
                    <a:gd name="connsiteX98" fmla="*/ 1057275 w 1543050"/>
                    <a:gd name="connsiteY98" fmla="*/ 264319 h 1533525"/>
                    <a:gd name="connsiteX99" fmla="*/ 1062037 w 1543050"/>
                    <a:gd name="connsiteY99" fmla="*/ 304800 h 1533525"/>
                    <a:gd name="connsiteX100" fmla="*/ 995362 w 1543050"/>
                    <a:gd name="connsiteY100" fmla="*/ 352425 h 1533525"/>
                    <a:gd name="connsiteX101" fmla="*/ 973931 w 1543050"/>
                    <a:gd name="connsiteY101" fmla="*/ 383381 h 1533525"/>
                    <a:gd name="connsiteX102" fmla="*/ 1000125 w 1543050"/>
                    <a:gd name="connsiteY102" fmla="*/ 428625 h 1533525"/>
                    <a:gd name="connsiteX103" fmla="*/ 983456 w 1543050"/>
                    <a:gd name="connsiteY103" fmla="*/ 466725 h 1533525"/>
                    <a:gd name="connsiteX104" fmla="*/ 1000125 w 1543050"/>
                    <a:gd name="connsiteY104" fmla="*/ 519113 h 1533525"/>
                    <a:gd name="connsiteX105" fmla="*/ 1033462 w 1543050"/>
                    <a:gd name="connsiteY105" fmla="*/ 519113 h 1533525"/>
                    <a:gd name="connsiteX106" fmla="*/ 1019175 w 1543050"/>
                    <a:gd name="connsiteY106" fmla="*/ 552450 h 1533525"/>
                    <a:gd name="connsiteX107" fmla="*/ 1035843 w 1543050"/>
                    <a:gd name="connsiteY107" fmla="*/ 590550 h 1533525"/>
                    <a:gd name="connsiteX108" fmla="*/ 1035843 w 1543050"/>
                    <a:gd name="connsiteY108" fmla="*/ 607219 h 1533525"/>
                    <a:gd name="connsiteX109" fmla="*/ 1045368 w 1543050"/>
                    <a:gd name="connsiteY109" fmla="*/ 645319 h 1533525"/>
                    <a:gd name="connsiteX110" fmla="*/ 1064418 w 1543050"/>
                    <a:gd name="connsiteY110" fmla="*/ 645319 h 1533525"/>
                    <a:gd name="connsiteX111" fmla="*/ 1078706 w 1543050"/>
                    <a:gd name="connsiteY111" fmla="*/ 666750 h 1533525"/>
                    <a:gd name="connsiteX112" fmla="*/ 1085850 w 1543050"/>
                    <a:gd name="connsiteY112" fmla="*/ 688181 h 1533525"/>
                    <a:gd name="connsiteX113" fmla="*/ 1076325 w 1543050"/>
                    <a:gd name="connsiteY113" fmla="*/ 719138 h 1533525"/>
                    <a:gd name="connsiteX114" fmla="*/ 1021556 w 1543050"/>
                    <a:gd name="connsiteY114" fmla="*/ 714375 h 1533525"/>
                    <a:gd name="connsiteX115" fmla="*/ 1002506 w 1543050"/>
                    <a:gd name="connsiteY115" fmla="*/ 721519 h 1533525"/>
                    <a:gd name="connsiteX116" fmla="*/ 995362 w 1543050"/>
                    <a:gd name="connsiteY116" fmla="*/ 726281 h 1533525"/>
                    <a:gd name="connsiteX117" fmla="*/ 995362 w 1543050"/>
                    <a:gd name="connsiteY117" fmla="*/ 726281 h 1533525"/>
                    <a:gd name="connsiteX118" fmla="*/ 923925 w 1543050"/>
                    <a:gd name="connsiteY118" fmla="*/ 721519 h 1533525"/>
                    <a:gd name="connsiteX119" fmla="*/ 940593 w 1543050"/>
                    <a:gd name="connsiteY119" fmla="*/ 778669 h 1533525"/>
                    <a:gd name="connsiteX120" fmla="*/ 938212 w 1543050"/>
                    <a:gd name="connsiteY120" fmla="*/ 847725 h 1533525"/>
                    <a:gd name="connsiteX121" fmla="*/ 954881 w 1543050"/>
                    <a:gd name="connsiteY121" fmla="*/ 871538 h 1533525"/>
                    <a:gd name="connsiteX122" fmla="*/ 997743 w 1543050"/>
                    <a:gd name="connsiteY122" fmla="*/ 919163 h 1533525"/>
                    <a:gd name="connsiteX123" fmla="*/ 1012031 w 1543050"/>
                    <a:gd name="connsiteY123" fmla="*/ 954881 h 1533525"/>
                    <a:gd name="connsiteX124" fmla="*/ 1031081 w 1543050"/>
                    <a:gd name="connsiteY124" fmla="*/ 954881 h 1533525"/>
                    <a:gd name="connsiteX125" fmla="*/ 1071562 w 1543050"/>
                    <a:gd name="connsiteY125" fmla="*/ 940594 h 1533525"/>
                    <a:gd name="connsiteX126" fmla="*/ 1102518 w 1543050"/>
                    <a:gd name="connsiteY126" fmla="*/ 933450 h 1533525"/>
                    <a:gd name="connsiteX127" fmla="*/ 1159668 w 1543050"/>
                    <a:gd name="connsiteY127" fmla="*/ 997744 h 1533525"/>
                    <a:gd name="connsiteX128" fmla="*/ 1178718 w 1543050"/>
                    <a:gd name="connsiteY128" fmla="*/ 1052513 h 1533525"/>
                    <a:gd name="connsiteX129" fmla="*/ 1190625 w 1543050"/>
                    <a:gd name="connsiteY129" fmla="*/ 1081088 h 1533525"/>
                    <a:gd name="connsiteX130" fmla="*/ 1212056 w 1543050"/>
                    <a:gd name="connsiteY130" fmla="*/ 1109663 h 1533525"/>
                    <a:gd name="connsiteX131" fmla="*/ 1231106 w 1543050"/>
                    <a:gd name="connsiteY131" fmla="*/ 1102519 h 1533525"/>
                    <a:gd name="connsiteX132" fmla="*/ 1231106 w 1543050"/>
                    <a:gd name="connsiteY132" fmla="*/ 1131094 h 1533525"/>
                    <a:gd name="connsiteX133" fmla="*/ 1233487 w 1543050"/>
                    <a:gd name="connsiteY133" fmla="*/ 1145381 h 1533525"/>
                    <a:gd name="connsiteX134" fmla="*/ 1266825 w 1543050"/>
                    <a:gd name="connsiteY134" fmla="*/ 1181100 h 1533525"/>
                    <a:gd name="connsiteX135" fmla="*/ 1233487 w 1543050"/>
                    <a:gd name="connsiteY135" fmla="*/ 1181100 h 1533525"/>
                    <a:gd name="connsiteX136" fmla="*/ 1228725 w 1543050"/>
                    <a:gd name="connsiteY136" fmla="*/ 1223963 h 1533525"/>
                    <a:gd name="connsiteX137" fmla="*/ 1226343 w 1543050"/>
                    <a:gd name="connsiteY137" fmla="*/ 1243013 h 1533525"/>
                    <a:gd name="connsiteX138" fmla="*/ 1216818 w 1543050"/>
                    <a:gd name="connsiteY138" fmla="*/ 1264444 h 1533525"/>
                    <a:gd name="connsiteX139" fmla="*/ 1190625 w 1543050"/>
                    <a:gd name="connsiteY139" fmla="*/ 1238250 h 1533525"/>
                    <a:gd name="connsiteX140" fmla="*/ 1157287 w 1543050"/>
                    <a:gd name="connsiteY140" fmla="*/ 1209675 h 1533525"/>
                    <a:gd name="connsiteX141" fmla="*/ 1131093 w 1543050"/>
                    <a:gd name="connsiteY141" fmla="*/ 1185863 h 1533525"/>
                    <a:gd name="connsiteX142" fmla="*/ 1107281 w 1543050"/>
                    <a:gd name="connsiteY142" fmla="*/ 1219200 h 1533525"/>
                    <a:gd name="connsiteX143" fmla="*/ 1104900 w 1543050"/>
                    <a:gd name="connsiteY143" fmla="*/ 1264444 h 1533525"/>
                    <a:gd name="connsiteX144" fmla="*/ 1062037 w 1543050"/>
                    <a:gd name="connsiteY144" fmla="*/ 1259681 h 1533525"/>
                    <a:gd name="connsiteX145" fmla="*/ 1026318 w 1543050"/>
                    <a:gd name="connsiteY145" fmla="*/ 1288256 h 1533525"/>
                    <a:gd name="connsiteX146" fmla="*/ 1007268 w 1543050"/>
                    <a:gd name="connsiteY146" fmla="*/ 1240631 h 1533525"/>
                    <a:gd name="connsiteX147" fmla="*/ 947737 w 1543050"/>
                    <a:gd name="connsiteY147" fmla="*/ 1231106 h 1533525"/>
                    <a:gd name="connsiteX148" fmla="*/ 921543 w 1543050"/>
                    <a:gd name="connsiteY148" fmla="*/ 1297781 h 1533525"/>
                    <a:gd name="connsiteX149" fmla="*/ 885825 w 1543050"/>
                    <a:gd name="connsiteY149" fmla="*/ 1278731 h 1533525"/>
                    <a:gd name="connsiteX150" fmla="*/ 816768 w 1543050"/>
                    <a:gd name="connsiteY150" fmla="*/ 1295400 h 1533525"/>
                    <a:gd name="connsiteX151" fmla="*/ 757237 w 1543050"/>
                    <a:gd name="connsiteY151" fmla="*/ 1259681 h 1533525"/>
                    <a:gd name="connsiteX152" fmla="*/ 742950 w 1543050"/>
                    <a:gd name="connsiteY152" fmla="*/ 1312069 h 1533525"/>
                    <a:gd name="connsiteX153" fmla="*/ 704850 w 1543050"/>
                    <a:gd name="connsiteY153" fmla="*/ 1345406 h 1533525"/>
                    <a:gd name="connsiteX154" fmla="*/ 692943 w 1543050"/>
                    <a:gd name="connsiteY154" fmla="*/ 1366838 h 1533525"/>
                    <a:gd name="connsiteX155" fmla="*/ 671512 w 1543050"/>
                    <a:gd name="connsiteY155" fmla="*/ 1509713 h 1533525"/>
                    <a:gd name="connsiteX156" fmla="*/ 633412 w 1543050"/>
                    <a:gd name="connsiteY156" fmla="*/ 1490663 h 1533525"/>
                    <a:gd name="connsiteX157" fmla="*/ 614362 w 1543050"/>
                    <a:gd name="connsiteY157" fmla="*/ 1504950 h 1533525"/>
                    <a:gd name="connsiteX158" fmla="*/ 581025 w 1543050"/>
                    <a:gd name="connsiteY158" fmla="*/ 1531144 h 1533525"/>
                    <a:gd name="connsiteX159" fmla="*/ 523875 w 1543050"/>
                    <a:gd name="connsiteY159" fmla="*/ 1502569 h 1533525"/>
                    <a:gd name="connsiteX160" fmla="*/ 514350 w 1543050"/>
                    <a:gd name="connsiteY160" fmla="*/ 1490663 h 1533525"/>
                    <a:gd name="connsiteX161" fmla="*/ 483393 w 1543050"/>
                    <a:gd name="connsiteY161" fmla="*/ 1533525 h 1533525"/>
                    <a:gd name="connsiteX0" fmla="*/ 483393 w 1350168"/>
                    <a:gd name="connsiteY0" fmla="*/ 1533525 h 1533525"/>
                    <a:gd name="connsiteX1" fmla="*/ 459581 w 1350168"/>
                    <a:gd name="connsiteY1" fmla="*/ 1481138 h 1533525"/>
                    <a:gd name="connsiteX2" fmla="*/ 438150 w 1350168"/>
                    <a:gd name="connsiteY2" fmla="*/ 1471613 h 1533525"/>
                    <a:gd name="connsiteX3" fmla="*/ 400050 w 1350168"/>
                    <a:gd name="connsiteY3" fmla="*/ 1485900 h 1533525"/>
                    <a:gd name="connsiteX4" fmla="*/ 338137 w 1350168"/>
                    <a:gd name="connsiteY4" fmla="*/ 1490663 h 1533525"/>
                    <a:gd name="connsiteX5" fmla="*/ 330993 w 1350168"/>
                    <a:gd name="connsiteY5" fmla="*/ 1497806 h 1533525"/>
                    <a:gd name="connsiteX6" fmla="*/ 271462 w 1350168"/>
                    <a:gd name="connsiteY6" fmla="*/ 1471613 h 1533525"/>
                    <a:gd name="connsiteX7" fmla="*/ 219075 w 1350168"/>
                    <a:gd name="connsiteY7" fmla="*/ 1443038 h 1533525"/>
                    <a:gd name="connsiteX8" fmla="*/ 138112 w 1350168"/>
                    <a:gd name="connsiteY8" fmla="*/ 1402556 h 1533525"/>
                    <a:gd name="connsiteX9" fmla="*/ 95250 w 1350168"/>
                    <a:gd name="connsiteY9" fmla="*/ 1316831 h 1533525"/>
                    <a:gd name="connsiteX10" fmla="*/ 80962 w 1350168"/>
                    <a:gd name="connsiteY10" fmla="*/ 1288256 h 1533525"/>
                    <a:gd name="connsiteX11" fmla="*/ 104775 w 1350168"/>
                    <a:gd name="connsiteY11" fmla="*/ 1266825 h 1533525"/>
                    <a:gd name="connsiteX12" fmla="*/ 76200 w 1350168"/>
                    <a:gd name="connsiteY12" fmla="*/ 1212056 h 1533525"/>
                    <a:gd name="connsiteX13" fmla="*/ 109537 w 1350168"/>
                    <a:gd name="connsiteY13" fmla="*/ 1193006 h 1533525"/>
                    <a:gd name="connsiteX14" fmla="*/ 140493 w 1350168"/>
                    <a:gd name="connsiteY14" fmla="*/ 1143000 h 1533525"/>
                    <a:gd name="connsiteX15" fmla="*/ 123825 w 1350168"/>
                    <a:gd name="connsiteY15" fmla="*/ 1107281 h 1533525"/>
                    <a:gd name="connsiteX16" fmla="*/ 178593 w 1350168"/>
                    <a:gd name="connsiteY16" fmla="*/ 1107281 h 1533525"/>
                    <a:gd name="connsiteX17" fmla="*/ 192881 w 1350168"/>
                    <a:gd name="connsiteY17" fmla="*/ 1109663 h 1533525"/>
                    <a:gd name="connsiteX18" fmla="*/ 159543 w 1350168"/>
                    <a:gd name="connsiteY18" fmla="*/ 1064419 h 1533525"/>
                    <a:gd name="connsiteX19" fmla="*/ 169068 w 1350168"/>
                    <a:gd name="connsiteY19" fmla="*/ 1014413 h 1533525"/>
                    <a:gd name="connsiteX20" fmla="*/ 123825 w 1350168"/>
                    <a:gd name="connsiteY20" fmla="*/ 997744 h 1533525"/>
                    <a:gd name="connsiteX21" fmla="*/ 61912 w 1350168"/>
                    <a:gd name="connsiteY21" fmla="*/ 954881 h 1533525"/>
                    <a:gd name="connsiteX22" fmla="*/ 45243 w 1350168"/>
                    <a:gd name="connsiteY22" fmla="*/ 938213 h 1533525"/>
                    <a:gd name="connsiteX23" fmla="*/ 64293 w 1350168"/>
                    <a:gd name="connsiteY23" fmla="*/ 909638 h 1533525"/>
                    <a:gd name="connsiteX24" fmla="*/ 47625 w 1350168"/>
                    <a:gd name="connsiteY24" fmla="*/ 897731 h 1533525"/>
                    <a:gd name="connsiteX25" fmla="*/ 47625 w 1350168"/>
                    <a:gd name="connsiteY25" fmla="*/ 881063 h 1533525"/>
                    <a:gd name="connsiteX26" fmla="*/ 26193 w 1350168"/>
                    <a:gd name="connsiteY26" fmla="*/ 881063 h 1533525"/>
                    <a:gd name="connsiteX27" fmla="*/ 7143 w 1350168"/>
                    <a:gd name="connsiteY27" fmla="*/ 847725 h 1533525"/>
                    <a:gd name="connsiteX28" fmla="*/ 0 w 1350168"/>
                    <a:gd name="connsiteY28" fmla="*/ 816769 h 1533525"/>
                    <a:gd name="connsiteX29" fmla="*/ 54768 w 1350168"/>
                    <a:gd name="connsiteY29" fmla="*/ 800100 h 1533525"/>
                    <a:gd name="connsiteX30" fmla="*/ 76200 w 1350168"/>
                    <a:gd name="connsiteY30" fmla="*/ 788194 h 1533525"/>
                    <a:gd name="connsiteX31" fmla="*/ 128587 w 1350168"/>
                    <a:gd name="connsiteY31" fmla="*/ 821531 h 1533525"/>
                    <a:gd name="connsiteX32" fmla="*/ 126206 w 1350168"/>
                    <a:gd name="connsiteY32" fmla="*/ 800100 h 1533525"/>
                    <a:gd name="connsiteX33" fmla="*/ 164306 w 1350168"/>
                    <a:gd name="connsiteY33" fmla="*/ 795338 h 1533525"/>
                    <a:gd name="connsiteX34" fmla="*/ 173831 w 1350168"/>
                    <a:gd name="connsiteY34" fmla="*/ 759619 h 1533525"/>
                    <a:gd name="connsiteX35" fmla="*/ 235743 w 1350168"/>
                    <a:gd name="connsiteY35" fmla="*/ 764381 h 1533525"/>
                    <a:gd name="connsiteX36" fmla="*/ 235743 w 1350168"/>
                    <a:gd name="connsiteY36" fmla="*/ 764381 h 1533525"/>
                    <a:gd name="connsiteX37" fmla="*/ 245268 w 1350168"/>
                    <a:gd name="connsiteY37" fmla="*/ 704850 h 1533525"/>
                    <a:gd name="connsiteX38" fmla="*/ 276225 w 1350168"/>
                    <a:gd name="connsiteY38" fmla="*/ 666750 h 1533525"/>
                    <a:gd name="connsiteX39" fmla="*/ 292893 w 1350168"/>
                    <a:gd name="connsiteY39" fmla="*/ 638175 h 1533525"/>
                    <a:gd name="connsiteX40" fmla="*/ 245268 w 1350168"/>
                    <a:gd name="connsiteY40" fmla="*/ 602456 h 1533525"/>
                    <a:gd name="connsiteX41" fmla="*/ 264318 w 1350168"/>
                    <a:gd name="connsiteY41" fmla="*/ 585788 h 1533525"/>
                    <a:gd name="connsiteX42" fmla="*/ 311943 w 1350168"/>
                    <a:gd name="connsiteY42" fmla="*/ 602456 h 1533525"/>
                    <a:gd name="connsiteX43" fmla="*/ 369093 w 1350168"/>
                    <a:gd name="connsiteY43" fmla="*/ 573881 h 1533525"/>
                    <a:gd name="connsiteX44" fmla="*/ 457200 w 1350168"/>
                    <a:gd name="connsiteY44" fmla="*/ 545306 h 1533525"/>
                    <a:gd name="connsiteX45" fmla="*/ 538162 w 1350168"/>
                    <a:gd name="connsiteY45" fmla="*/ 578644 h 1533525"/>
                    <a:gd name="connsiteX46" fmla="*/ 614362 w 1350168"/>
                    <a:gd name="connsiteY46" fmla="*/ 550069 h 1533525"/>
                    <a:gd name="connsiteX47" fmla="*/ 650081 w 1350168"/>
                    <a:gd name="connsiteY47" fmla="*/ 552450 h 1533525"/>
                    <a:gd name="connsiteX48" fmla="*/ 654843 w 1350168"/>
                    <a:gd name="connsiteY48" fmla="*/ 523875 h 1533525"/>
                    <a:gd name="connsiteX49" fmla="*/ 654843 w 1350168"/>
                    <a:gd name="connsiteY49" fmla="*/ 490538 h 1533525"/>
                    <a:gd name="connsiteX50" fmla="*/ 669131 w 1350168"/>
                    <a:gd name="connsiteY50" fmla="*/ 469106 h 1533525"/>
                    <a:gd name="connsiteX51" fmla="*/ 652462 w 1350168"/>
                    <a:gd name="connsiteY51" fmla="*/ 450056 h 1533525"/>
                    <a:gd name="connsiteX52" fmla="*/ 642937 w 1350168"/>
                    <a:gd name="connsiteY52" fmla="*/ 411956 h 1533525"/>
                    <a:gd name="connsiteX53" fmla="*/ 642937 w 1350168"/>
                    <a:gd name="connsiteY53" fmla="*/ 330994 h 1533525"/>
                    <a:gd name="connsiteX54" fmla="*/ 633412 w 1350168"/>
                    <a:gd name="connsiteY54" fmla="*/ 319088 h 1533525"/>
                    <a:gd name="connsiteX55" fmla="*/ 664368 w 1350168"/>
                    <a:gd name="connsiteY55" fmla="*/ 285750 h 1533525"/>
                    <a:gd name="connsiteX56" fmla="*/ 721518 w 1350168"/>
                    <a:gd name="connsiteY56" fmla="*/ 292894 h 1533525"/>
                    <a:gd name="connsiteX57" fmla="*/ 733425 w 1350168"/>
                    <a:gd name="connsiteY57" fmla="*/ 264319 h 1533525"/>
                    <a:gd name="connsiteX58" fmla="*/ 731043 w 1350168"/>
                    <a:gd name="connsiteY58" fmla="*/ 228600 h 1533525"/>
                    <a:gd name="connsiteX59" fmla="*/ 790575 w 1350168"/>
                    <a:gd name="connsiteY59" fmla="*/ 192881 h 1533525"/>
                    <a:gd name="connsiteX60" fmla="*/ 804862 w 1350168"/>
                    <a:gd name="connsiteY60" fmla="*/ 166688 h 1533525"/>
                    <a:gd name="connsiteX61" fmla="*/ 778668 w 1350168"/>
                    <a:gd name="connsiteY61" fmla="*/ 128588 h 1533525"/>
                    <a:gd name="connsiteX62" fmla="*/ 771525 w 1350168"/>
                    <a:gd name="connsiteY62" fmla="*/ 104775 h 1533525"/>
                    <a:gd name="connsiteX63" fmla="*/ 823912 w 1350168"/>
                    <a:gd name="connsiteY63" fmla="*/ 97631 h 1533525"/>
                    <a:gd name="connsiteX64" fmla="*/ 869156 w 1350168"/>
                    <a:gd name="connsiteY64" fmla="*/ 52388 h 1533525"/>
                    <a:gd name="connsiteX65" fmla="*/ 890587 w 1350168"/>
                    <a:gd name="connsiteY65" fmla="*/ 23813 h 1533525"/>
                    <a:gd name="connsiteX66" fmla="*/ 923925 w 1350168"/>
                    <a:gd name="connsiteY66" fmla="*/ 9525 h 1533525"/>
                    <a:gd name="connsiteX67" fmla="*/ 971550 w 1350168"/>
                    <a:gd name="connsiteY67" fmla="*/ 0 h 1533525"/>
                    <a:gd name="connsiteX68" fmla="*/ 971550 w 1350168"/>
                    <a:gd name="connsiteY68" fmla="*/ 40481 h 1533525"/>
                    <a:gd name="connsiteX69" fmla="*/ 950118 w 1350168"/>
                    <a:gd name="connsiteY69" fmla="*/ 80963 h 1533525"/>
                    <a:gd name="connsiteX70" fmla="*/ 950118 w 1350168"/>
                    <a:gd name="connsiteY70" fmla="*/ 140494 h 1533525"/>
                    <a:gd name="connsiteX71" fmla="*/ 969168 w 1350168"/>
                    <a:gd name="connsiteY71" fmla="*/ 161925 h 1533525"/>
                    <a:gd name="connsiteX72" fmla="*/ 1007268 w 1350168"/>
                    <a:gd name="connsiteY72" fmla="*/ 188119 h 1533525"/>
                    <a:gd name="connsiteX73" fmla="*/ 1019175 w 1350168"/>
                    <a:gd name="connsiteY73" fmla="*/ 216694 h 1533525"/>
                    <a:gd name="connsiteX74" fmla="*/ 1004887 w 1350168"/>
                    <a:gd name="connsiteY74" fmla="*/ 226219 h 1533525"/>
                    <a:gd name="connsiteX75" fmla="*/ 1057275 w 1350168"/>
                    <a:gd name="connsiteY75" fmla="*/ 250031 h 1533525"/>
                    <a:gd name="connsiteX76" fmla="*/ 1073943 w 1350168"/>
                    <a:gd name="connsiteY76" fmla="*/ 228600 h 1533525"/>
                    <a:gd name="connsiteX77" fmla="*/ 1083468 w 1350168"/>
                    <a:gd name="connsiteY77" fmla="*/ 252413 h 1533525"/>
                    <a:gd name="connsiteX78" fmla="*/ 1116806 w 1350168"/>
                    <a:gd name="connsiteY78" fmla="*/ 252413 h 1533525"/>
                    <a:gd name="connsiteX79" fmla="*/ 1123950 w 1350168"/>
                    <a:gd name="connsiteY79" fmla="*/ 257175 h 1533525"/>
                    <a:gd name="connsiteX80" fmla="*/ 1116806 w 1350168"/>
                    <a:gd name="connsiteY80" fmla="*/ 276225 h 1533525"/>
                    <a:gd name="connsiteX81" fmla="*/ 1088231 w 1350168"/>
                    <a:gd name="connsiteY81" fmla="*/ 309563 h 1533525"/>
                    <a:gd name="connsiteX82" fmla="*/ 1123950 w 1350168"/>
                    <a:gd name="connsiteY82" fmla="*/ 333375 h 1533525"/>
                    <a:gd name="connsiteX83" fmla="*/ 1135856 w 1350168"/>
                    <a:gd name="connsiteY83" fmla="*/ 347663 h 1533525"/>
                    <a:gd name="connsiteX84" fmla="*/ 1135856 w 1350168"/>
                    <a:gd name="connsiteY84" fmla="*/ 376238 h 1533525"/>
                    <a:gd name="connsiteX85" fmla="*/ 1119187 w 1350168"/>
                    <a:gd name="connsiteY85" fmla="*/ 411956 h 1533525"/>
                    <a:gd name="connsiteX86" fmla="*/ 1162050 w 1350168"/>
                    <a:gd name="connsiteY86" fmla="*/ 423863 h 1533525"/>
                    <a:gd name="connsiteX87" fmla="*/ 1233487 w 1350168"/>
                    <a:gd name="connsiteY87" fmla="*/ 416719 h 1533525"/>
                    <a:gd name="connsiteX88" fmla="*/ 1223962 w 1350168"/>
                    <a:gd name="connsiteY88" fmla="*/ 385763 h 1533525"/>
                    <a:gd name="connsiteX89" fmla="*/ 1188243 w 1350168"/>
                    <a:gd name="connsiteY89" fmla="*/ 347663 h 1533525"/>
                    <a:gd name="connsiteX90" fmla="*/ 1181100 w 1350168"/>
                    <a:gd name="connsiteY90" fmla="*/ 333375 h 1533525"/>
                    <a:gd name="connsiteX91" fmla="*/ 1207293 w 1350168"/>
                    <a:gd name="connsiteY91" fmla="*/ 326231 h 1533525"/>
                    <a:gd name="connsiteX92" fmla="*/ 1200150 w 1350168"/>
                    <a:gd name="connsiteY92" fmla="*/ 302419 h 1533525"/>
                    <a:gd name="connsiteX93" fmla="*/ 1223962 w 1350168"/>
                    <a:gd name="connsiteY93" fmla="*/ 283369 h 1533525"/>
                    <a:gd name="connsiteX94" fmla="*/ 1250156 w 1350168"/>
                    <a:gd name="connsiteY94" fmla="*/ 242888 h 1533525"/>
                    <a:gd name="connsiteX95" fmla="*/ 1302543 w 1350168"/>
                    <a:gd name="connsiteY95" fmla="*/ 211931 h 1533525"/>
                    <a:gd name="connsiteX96" fmla="*/ 1350168 w 1350168"/>
                    <a:gd name="connsiteY96" fmla="*/ 123825 h 1533525"/>
                    <a:gd name="connsiteX97" fmla="*/ 1057275 w 1350168"/>
                    <a:gd name="connsiteY97" fmla="*/ 264319 h 1533525"/>
                    <a:gd name="connsiteX98" fmla="*/ 1062037 w 1350168"/>
                    <a:gd name="connsiteY98" fmla="*/ 304800 h 1533525"/>
                    <a:gd name="connsiteX99" fmla="*/ 995362 w 1350168"/>
                    <a:gd name="connsiteY99" fmla="*/ 352425 h 1533525"/>
                    <a:gd name="connsiteX100" fmla="*/ 973931 w 1350168"/>
                    <a:gd name="connsiteY100" fmla="*/ 383381 h 1533525"/>
                    <a:gd name="connsiteX101" fmla="*/ 1000125 w 1350168"/>
                    <a:gd name="connsiteY101" fmla="*/ 428625 h 1533525"/>
                    <a:gd name="connsiteX102" fmla="*/ 983456 w 1350168"/>
                    <a:gd name="connsiteY102" fmla="*/ 466725 h 1533525"/>
                    <a:gd name="connsiteX103" fmla="*/ 1000125 w 1350168"/>
                    <a:gd name="connsiteY103" fmla="*/ 519113 h 1533525"/>
                    <a:gd name="connsiteX104" fmla="*/ 1033462 w 1350168"/>
                    <a:gd name="connsiteY104" fmla="*/ 519113 h 1533525"/>
                    <a:gd name="connsiteX105" fmla="*/ 1019175 w 1350168"/>
                    <a:gd name="connsiteY105" fmla="*/ 552450 h 1533525"/>
                    <a:gd name="connsiteX106" fmla="*/ 1035843 w 1350168"/>
                    <a:gd name="connsiteY106" fmla="*/ 590550 h 1533525"/>
                    <a:gd name="connsiteX107" fmla="*/ 1035843 w 1350168"/>
                    <a:gd name="connsiteY107" fmla="*/ 607219 h 1533525"/>
                    <a:gd name="connsiteX108" fmla="*/ 1045368 w 1350168"/>
                    <a:gd name="connsiteY108" fmla="*/ 645319 h 1533525"/>
                    <a:gd name="connsiteX109" fmla="*/ 1064418 w 1350168"/>
                    <a:gd name="connsiteY109" fmla="*/ 645319 h 1533525"/>
                    <a:gd name="connsiteX110" fmla="*/ 1078706 w 1350168"/>
                    <a:gd name="connsiteY110" fmla="*/ 666750 h 1533525"/>
                    <a:gd name="connsiteX111" fmla="*/ 1085850 w 1350168"/>
                    <a:gd name="connsiteY111" fmla="*/ 688181 h 1533525"/>
                    <a:gd name="connsiteX112" fmla="*/ 1076325 w 1350168"/>
                    <a:gd name="connsiteY112" fmla="*/ 719138 h 1533525"/>
                    <a:gd name="connsiteX113" fmla="*/ 1021556 w 1350168"/>
                    <a:gd name="connsiteY113" fmla="*/ 714375 h 1533525"/>
                    <a:gd name="connsiteX114" fmla="*/ 1002506 w 1350168"/>
                    <a:gd name="connsiteY114" fmla="*/ 721519 h 1533525"/>
                    <a:gd name="connsiteX115" fmla="*/ 995362 w 1350168"/>
                    <a:gd name="connsiteY115" fmla="*/ 726281 h 1533525"/>
                    <a:gd name="connsiteX116" fmla="*/ 995362 w 1350168"/>
                    <a:gd name="connsiteY116" fmla="*/ 726281 h 1533525"/>
                    <a:gd name="connsiteX117" fmla="*/ 923925 w 1350168"/>
                    <a:gd name="connsiteY117" fmla="*/ 721519 h 1533525"/>
                    <a:gd name="connsiteX118" fmla="*/ 940593 w 1350168"/>
                    <a:gd name="connsiteY118" fmla="*/ 778669 h 1533525"/>
                    <a:gd name="connsiteX119" fmla="*/ 938212 w 1350168"/>
                    <a:gd name="connsiteY119" fmla="*/ 847725 h 1533525"/>
                    <a:gd name="connsiteX120" fmla="*/ 954881 w 1350168"/>
                    <a:gd name="connsiteY120" fmla="*/ 871538 h 1533525"/>
                    <a:gd name="connsiteX121" fmla="*/ 997743 w 1350168"/>
                    <a:gd name="connsiteY121" fmla="*/ 919163 h 1533525"/>
                    <a:gd name="connsiteX122" fmla="*/ 1012031 w 1350168"/>
                    <a:gd name="connsiteY122" fmla="*/ 954881 h 1533525"/>
                    <a:gd name="connsiteX123" fmla="*/ 1031081 w 1350168"/>
                    <a:gd name="connsiteY123" fmla="*/ 954881 h 1533525"/>
                    <a:gd name="connsiteX124" fmla="*/ 1071562 w 1350168"/>
                    <a:gd name="connsiteY124" fmla="*/ 940594 h 1533525"/>
                    <a:gd name="connsiteX125" fmla="*/ 1102518 w 1350168"/>
                    <a:gd name="connsiteY125" fmla="*/ 933450 h 1533525"/>
                    <a:gd name="connsiteX126" fmla="*/ 1159668 w 1350168"/>
                    <a:gd name="connsiteY126" fmla="*/ 997744 h 1533525"/>
                    <a:gd name="connsiteX127" fmla="*/ 1178718 w 1350168"/>
                    <a:gd name="connsiteY127" fmla="*/ 1052513 h 1533525"/>
                    <a:gd name="connsiteX128" fmla="*/ 1190625 w 1350168"/>
                    <a:gd name="connsiteY128" fmla="*/ 1081088 h 1533525"/>
                    <a:gd name="connsiteX129" fmla="*/ 1212056 w 1350168"/>
                    <a:gd name="connsiteY129" fmla="*/ 1109663 h 1533525"/>
                    <a:gd name="connsiteX130" fmla="*/ 1231106 w 1350168"/>
                    <a:gd name="connsiteY130" fmla="*/ 1102519 h 1533525"/>
                    <a:gd name="connsiteX131" fmla="*/ 1231106 w 1350168"/>
                    <a:gd name="connsiteY131" fmla="*/ 1131094 h 1533525"/>
                    <a:gd name="connsiteX132" fmla="*/ 1233487 w 1350168"/>
                    <a:gd name="connsiteY132" fmla="*/ 1145381 h 1533525"/>
                    <a:gd name="connsiteX133" fmla="*/ 1266825 w 1350168"/>
                    <a:gd name="connsiteY133" fmla="*/ 1181100 h 1533525"/>
                    <a:gd name="connsiteX134" fmla="*/ 1233487 w 1350168"/>
                    <a:gd name="connsiteY134" fmla="*/ 1181100 h 1533525"/>
                    <a:gd name="connsiteX135" fmla="*/ 1228725 w 1350168"/>
                    <a:gd name="connsiteY135" fmla="*/ 1223963 h 1533525"/>
                    <a:gd name="connsiteX136" fmla="*/ 1226343 w 1350168"/>
                    <a:gd name="connsiteY136" fmla="*/ 1243013 h 1533525"/>
                    <a:gd name="connsiteX137" fmla="*/ 1216818 w 1350168"/>
                    <a:gd name="connsiteY137" fmla="*/ 1264444 h 1533525"/>
                    <a:gd name="connsiteX138" fmla="*/ 1190625 w 1350168"/>
                    <a:gd name="connsiteY138" fmla="*/ 1238250 h 1533525"/>
                    <a:gd name="connsiteX139" fmla="*/ 1157287 w 1350168"/>
                    <a:gd name="connsiteY139" fmla="*/ 1209675 h 1533525"/>
                    <a:gd name="connsiteX140" fmla="*/ 1131093 w 1350168"/>
                    <a:gd name="connsiteY140" fmla="*/ 1185863 h 1533525"/>
                    <a:gd name="connsiteX141" fmla="*/ 1107281 w 1350168"/>
                    <a:gd name="connsiteY141" fmla="*/ 1219200 h 1533525"/>
                    <a:gd name="connsiteX142" fmla="*/ 1104900 w 1350168"/>
                    <a:gd name="connsiteY142" fmla="*/ 1264444 h 1533525"/>
                    <a:gd name="connsiteX143" fmla="*/ 1062037 w 1350168"/>
                    <a:gd name="connsiteY143" fmla="*/ 1259681 h 1533525"/>
                    <a:gd name="connsiteX144" fmla="*/ 1026318 w 1350168"/>
                    <a:gd name="connsiteY144" fmla="*/ 1288256 h 1533525"/>
                    <a:gd name="connsiteX145" fmla="*/ 1007268 w 1350168"/>
                    <a:gd name="connsiteY145" fmla="*/ 1240631 h 1533525"/>
                    <a:gd name="connsiteX146" fmla="*/ 947737 w 1350168"/>
                    <a:gd name="connsiteY146" fmla="*/ 1231106 h 1533525"/>
                    <a:gd name="connsiteX147" fmla="*/ 921543 w 1350168"/>
                    <a:gd name="connsiteY147" fmla="*/ 1297781 h 1533525"/>
                    <a:gd name="connsiteX148" fmla="*/ 885825 w 1350168"/>
                    <a:gd name="connsiteY148" fmla="*/ 1278731 h 1533525"/>
                    <a:gd name="connsiteX149" fmla="*/ 816768 w 1350168"/>
                    <a:gd name="connsiteY149" fmla="*/ 1295400 h 1533525"/>
                    <a:gd name="connsiteX150" fmla="*/ 757237 w 1350168"/>
                    <a:gd name="connsiteY150" fmla="*/ 1259681 h 1533525"/>
                    <a:gd name="connsiteX151" fmla="*/ 742950 w 1350168"/>
                    <a:gd name="connsiteY151" fmla="*/ 1312069 h 1533525"/>
                    <a:gd name="connsiteX152" fmla="*/ 704850 w 1350168"/>
                    <a:gd name="connsiteY152" fmla="*/ 1345406 h 1533525"/>
                    <a:gd name="connsiteX153" fmla="*/ 692943 w 1350168"/>
                    <a:gd name="connsiteY153" fmla="*/ 1366838 h 1533525"/>
                    <a:gd name="connsiteX154" fmla="*/ 671512 w 1350168"/>
                    <a:gd name="connsiteY154" fmla="*/ 1509713 h 1533525"/>
                    <a:gd name="connsiteX155" fmla="*/ 633412 w 1350168"/>
                    <a:gd name="connsiteY155" fmla="*/ 1490663 h 1533525"/>
                    <a:gd name="connsiteX156" fmla="*/ 614362 w 1350168"/>
                    <a:gd name="connsiteY156" fmla="*/ 1504950 h 1533525"/>
                    <a:gd name="connsiteX157" fmla="*/ 581025 w 1350168"/>
                    <a:gd name="connsiteY157" fmla="*/ 1531144 h 1533525"/>
                    <a:gd name="connsiteX158" fmla="*/ 523875 w 1350168"/>
                    <a:gd name="connsiteY158" fmla="*/ 1502569 h 1533525"/>
                    <a:gd name="connsiteX159" fmla="*/ 514350 w 1350168"/>
                    <a:gd name="connsiteY159" fmla="*/ 1490663 h 1533525"/>
                    <a:gd name="connsiteX160" fmla="*/ 483393 w 1350168"/>
                    <a:gd name="connsiteY160" fmla="*/ 1533525 h 1533525"/>
                    <a:gd name="connsiteX0" fmla="*/ 483393 w 1302543"/>
                    <a:gd name="connsiteY0" fmla="*/ 1533525 h 1533525"/>
                    <a:gd name="connsiteX1" fmla="*/ 459581 w 1302543"/>
                    <a:gd name="connsiteY1" fmla="*/ 1481138 h 1533525"/>
                    <a:gd name="connsiteX2" fmla="*/ 438150 w 1302543"/>
                    <a:gd name="connsiteY2" fmla="*/ 1471613 h 1533525"/>
                    <a:gd name="connsiteX3" fmla="*/ 400050 w 1302543"/>
                    <a:gd name="connsiteY3" fmla="*/ 1485900 h 1533525"/>
                    <a:gd name="connsiteX4" fmla="*/ 338137 w 1302543"/>
                    <a:gd name="connsiteY4" fmla="*/ 1490663 h 1533525"/>
                    <a:gd name="connsiteX5" fmla="*/ 330993 w 1302543"/>
                    <a:gd name="connsiteY5" fmla="*/ 1497806 h 1533525"/>
                    <a:gd name="connsiteX6" fmla="*/ 271462 w 1302543"/>
                    <a:gd name="connsiteY6" fmla="*/ 1471613 h 1533525"/>
                    <a:gd name="connsiteX7" fmla="*/ 219075 w 1302543"/>
                    <a:gd name="connsiteY7" fmla="*/ 1443038 h 1533525"/>
                    <a:gd name="connsiteX8" fmla="*/ 138112 w 1302543"/>
                    <a:gd name="connsiteY8" fmla="*/ 1402556 h 1533525"/>
                    <a:gd name="connsiteX9" fmla="*/ 95250 w 1302543"/>
                    <a:gd name="connsiteY9" fmla="*/ 1316831 h 1533525"/>
                    <a:gd name="connsiteX10" fmla="*/ 80962 w 1302543"/>
                    <a:gd name="connsiteY10" fmla="*/ 1288256 h 1533525"/>
                    <a:gd name="connsiteX11" fmla="*/ 104775 w 1302543"/>
                    <a:gd name="connsiteY11" fmla="*/ 1266825 h 1533525"/>
                    <a:gd name="connsiteX12" fmla="*/ 76200 w 1302543"/>
                    <a:gd name="connsiteY12" fmla="*/ 1212056 h 1533525"/>
                    <a:gd name="connsiteX13" fmla="*/ 109537 w 1302543"/>
                    <a:gd name="connsiteY13" fmla="*/ 1193006 h 1533525"/>
                    <a:gd name="connsiteX14" fmla="*/ 140493 w 1302543"/>
                    <a:gd name="connsiteY14" fmla="*/ 1143000 h 1533525"/>
                    <a:gd name="connsiteX15" fmla="*/ 123825 w 1302543"/>
                    <a:gd name="connsiteY15" fmla="*/ 1107281 h 1533525"/>
                    <a:gd name="connsiteX16" fmla="*/ 178593 w 1302543"/>
                    <a:gd name="connsiteY16" fmla="*/ 1107281 h 1533525"/>
                    <a:gd name="connsiteX17" fmla="*/ 192881 w 1302543"/>
                    <a:gd name="connsiteY17" fmla="*/ 1109663 h 1533525"/>
                    <a:gd name="connsiteX18" fmla="*/ 159543 w 1302543"/>
                    <a:gd name="connsiteY18" fmla="*/ 1064419 h 1533525"/>
                    <a:gd name="connsiteX19" fmla="*/ 169068 w 1302543"/>
                    <a:gd name="connsiteY19" fmla="*/ 1014413 h 1533525"/>
                    <a:gd name="connsiteX20" fmla="*/ 123825 w 1302543"/>
                    <a:gd name="connsiteY20" fmla="*/ 997744 h 1533525"/>
                    <a:gd name="connsiteX21" fmla="*/ 61912 w 1302543"/>
                    <a:gd name="connsiteY21" fmla="*/ 954881 h 1533525"/>
                    <a:gd name="connsiteX22" fmla="*/ 45243 w 1302543"/>
                    <a:gd name="connsiteY22" fmla="*/ 938213 h 1533525"/>
                    <a:gd name="connsiteX23" fmla="*/ 64293 w 1302543"/>
                    <a:gd name="connsiteY23" fmla="*/ 909638 h 1533525"/>
                    <a:gd name="connsiteX24" fmla="*/ 47625 w 1302543"/>
                    <a:gd name="connsiteY24" fmla="*/ 897731 h 1533525"/>
                    <a:gd name="connsiteX25" fmla="*/ 47625 w 1302543"/>
                    <a:gd name="connsiteY25" fmla="*/ 881063 h 1533525"/>
                    <a:gd name="connsiteX26" fmla="*/ 26193 w 1302543"/>
                    <a:gd name="connsiteY26" fmla="*/ 881063 h 1533525"/>
                    <a:gd name="connsiteX27" fmla="*/ 7143 w 1302543"/>
                    <a:gd name="connsiteY27" fmla="*/ 847725 h 1533525"/>
                    <a:gd name="connsiteX28" fmla="*/ 0 w 1302543"/>
                    <a:gd name="connsiteY28" fmla="*/ 816769 h 1533525"/>
                    <a:gd name="connsiteX29" fmla="*/ 54768 w 1302543"/>
                    <a:gd name="connsiteY29" fmla="*/ 800100 h 1533525"/>
                    <a:gd name="connsiteX30" fmla="*/ 76200 w 1302543"/>
                    <a:gd name="connsiteY30" fmla="*/ 788194 h 1533525"/>
                    <a:gd name="connsiteX31" fmla="*/ 128587 w 1302543"/>
                    <a:gd name="connsiteY31" fmla="*/ 821531 h 1533525"/>
                    <a:gd name="connsiteX32" fmla="*/ 126206 w 1302543"/>
                    <a:gd name="connsiteY32" fmla="*/ 800100 h 1533525"/>
                    <a:gd name="connsiteX33" fmla="*/ 164306 w 1302543"/>
                    <a:gd name="connsiteY33" fmla="*/ 795338 h 1533525"/>
                    <a:gd name="connsiteX34" fmla="*/ 173831 w 1302543"/>
                    <a:gd name="connsiteY34" fmla="*/ 759619 h 1533525"/>
                    <a:gd name="connsiteX35" fmla="*/ 235743 w 1302543"/>
                    <a:gd name="connsiteY35" fmla="*/ 764381 h 1533525"/>
                    <a:gd name="connsiteX36" fmla="*/ 235743 w 1302543"/>
                    <a:gd name="connsiteY36" fmla="*/ 764381 h 1533525"/>
                    <a:gd name="connsiteX37" fmla="*/ 245268 w 1302543"/>
                    <a:gd name="connsiteY37" fmla="*/ 704850 h 1533525"/>
                    <a:gd name="connsiteX38" fmla="*/ 276225 w 1302543"/>
                    <a:gd name="connsiteY38" fmla="*/ 666750 h 1533525"/>
                    <a:gd name="connsiteX39" fmla="*/ 292893 w 1302543"/>
                    <a:gd name="connsiteY39" fmla="*/ 638175 h 1533525"/>
                    <a:gd name="connsiteX40" fmla="*/ 245268 w 1302543"/>
                    <a:gd name="connsiteY40" fmla="*/ 602456 h 1533525"/>
                    <a:gd name="connsiteX41" fmla="*/ 264318 w 1302543"/>
                    <a:gd name="connsiteY41" fmla="*/ 585788 h 1533525"/>
                    <a:gd name="connsiteX42" fmla="*/ 311943 w 1302543"/>
                    <a:gd name="connsiteY42" fmla="*/ 602456 h 1533525"/>
                    <a:gd name="connsiteX43" fmla="*/ 369093 w 1302543"/>
                    <a:gd name="connsiteY43" fmla="*/ 573881 h 1533525"/>
                    <a:gd name="connsiteX44" fmla="*/ 457200 w 1302543"/>
                    <a:gd name="connsiteY44" fmla="*/ 545306 h 1533525"/>
                    <a:gd name="connsiteX45" fmla="*/ 538162 w 1302543"/>
                    <a:gd name="connsiteY45" fmla="*/ 578644 h 1533525"/>
                    <a:gd name="connsiteX46" fmla="*/ 614362 w 1302543"/>
                    <a:gd name="connsiteY46" fmla="*/ 550069 h 1533525"/>
                    <a:gd name="connsiteX47" fmla="*/ 650081 w 1302543"/>
                    <a:gd name="connsiteY47" fmla="*/ 552450 h 1533525"/>
                    <a:gd name="connsiteX48" fmla="*/ 654843 w 1302543"/>
                    <a:gd name="connsiteY48" fmla="*/ 523875 h 1533525"/>
                    <a:gd name="connsiteX49" fmla="*/ 654843 w 1302543"/>
                    <a:gd name="connsiteY49" fmla="*/ 490538 h 1533525"/>
                    <a:gd name="connsiteX50" fmla="*/ 669131 w 1302543"/>
                    <a:gd name="connsiteY50" fmla="*/ 469106 h 1533525"/>
                    <a:gd name="connsiteX51" fmla="*/ 652462 w 1302543"/>
                    <a:gd name="connsiteY51" fmla="*/ 450056 h 1533525"/>
                    <a:gd name="connsiteX52" fmla="*/ 642937 w 1302543"/>
                    <a:gd name="connsiteY52" fmla="*/ 411956 h 1533525"/>
                    <a:gd name="connsiteX53" fmla="*/ 642937 w 1302543"/>
                    <a:gd name="connsiteY53" fmla="*/ 330994 h 1533525"/>
                    <a:gd name="connsiteX54" fmla="*/ 633412 w 1302543"/>
                    <a:gd name="connsiteY54" fmla="*/ 319088 h 1533525"/>
                    <a:gd name="connsiteX55" fmla="*/ 664368 w 1302543"/>
                    <a:gd name="connsiteY55" fmla="*/ 285750 h 1533525"/>
                    <a:gd name="connsiteX56" fmla="*/ 721518 w 1302543"/>
                    <a:gd name="connsiteY56" fmla="*/ 292894 h 1533525"/>
                    <a:gd name="connsiteX57" fmla="*/ 733425 w 1302543"/>
                    <a:gd name="connsiteY57" fmla="*/ 264319 h 1533525"/>
                    <a:gd name="connsiteX58" fmla="*/ 731043 w 1302543"/>
                    <a:gd name="connsiteY58" fmla="*/ 228600 h 1533525"/>
                    <a:gd name="connsiteX59" fmla="*/ 790575 w 1302543"/>
                    <a:gd name="connsiteY59" fmla="*/ 192881 h 1533525"/>
                    <a:gd name="connsiteX60" fmla="*/ 804862 w 1302543"/>
                    <a:gd name="connsiteY60" fmla="*/ 166688 h 1533525"/>
                    <a:gd name="connsiteX61" fmla="*/ 778668 w 1302543"/>
                    <a:gd name="connsiteY61" fmla="*/ 128588 h 1533525"/>
                    <a:gd name="connsiteX62" fmla="*/ 771525 w 1302543"/>
                    <a:gd name="connsiteY62" fmla="*/ 104775 h 1533525"/>
                    <a:gd name="connsiteX63" fmla="*/ 823912 w 1302543"/>
                    <a:gd name="connsiteY63" fmla="*/ 97631 h 1533525"/>
                    <a:gd name="connsiteX64" fmla="*/ 869156 w 1302543"/>
                    <a:gd name="connsiteY64" fmla="*/ 52388 h 1533525"/>
                    <a:gd name="connsiteX65" fmla="*/ 890587 w 1302543"/>
                    <a:gd name="connsiteY65" fmla="*/ 23813 h 1533525"/>
                    <a:gd name="connsiteX66" fmla="*/ 923925 w 1302543"/>
                    <a:gd name="connsiteY66" fmla="*/ 9525 h 1533525"/>
                    <a:gd name="connsiteX67" fmla="*/ 971550 w 1302543"/>
                    <a:gd name="connsiteY67" fmla="*/ 0 h 1533525"/>
                    <a:gd name="connsiteX68" fmla="*/ 971550 w 1302543"/>
                    <a:gd name="connsiteY68" fmla="*/ 40481 h 1533525"/>
                    <a:gd name="connsiteX69" fmla="*/ 950118 w 1302543"/>
                    <a:gd name="connsiteY69" fmla="*/ 80963 h 1533525"/>
                    <a:gd name="connsiteX70" fmla="*/ 950118 w 1302543"/>
                    <a:gd name="connsiteY70" fmla="*/ 140494 h 1533525"/>
                    <a:gd name="connsiteX71" fmla="*/ 969168 w 1302543"/>
                    <a:gd name="connsiteY71" fmla="*/ 161925 h 1533525"/>
                    <a:gd name="connsiteX72" fmla="*/ 1007268 w 1302543"/>
                    <a:gd name="connsiteY72" fmla="*/ 188119 h 1533525"/>
                    <a:gd name="connsiteX73" fmla="*/ 1019175 w 1302543"/>
                    <a:gd name="connsiteY73" fmla="*/ 216694 h 1533525"/>
                    <a:gd name="connsiteX74" fmla="*/ 1004887 w 1302543"/>
                    <a:gd name="connsiteY74" fmla="*/ 226219 h 1533525"/>
                    <a:gd name="connsiteX75" fmla="*/ 1057275 w 1302543"/>
                    <a:gd name="connsiteY75" fmla="*/ 250031 h 1533525"/>
                    <a:gd name="connsiteX76" fmla="*/ 1073943 w 1302543"/>
                    <a:gd name="connsiteY76" fmla="*/ 228600 h 1533525"/>
                    <a:gd name="connsiteX77" fmla="*/ 1083468 w 1302543"/>
                    <a:gd name="connsiteY77" fmla="*/ 252413 h 1533525"/>
                    <a:gd name="connsiteX78" fmla="*/ 1116806 w 1302543"/>
                    <a:gd name="connsiteY78" fmla="*/ 252413 h 1533525"/>
                    <a:gd name="connsiteX79" fmla="*/ 1123950 w 1302543"/>
                    <a:gd name="connsiteY79" fmla="*/ 257175 h 1533525"/>
                    <a:gd name="connsiteX80" fmla="*/ 1116806 w 1302543"/>
                    <a:gd name="connsiteY80" fmla="*/ 276225 h 1533525"/>
                    <a:gd name="connsiteX81" fmla="*/ 1088231 w 1302543"/>
                    <a:gd name="connsiteY81" fmla="*/ 309563 h 1533525"/>
                    <a:gd name="connsiteX82" fmla="*/ 1123950 w 1302543"/>
                    <a:gd name="connsiteY82" fmla="*/ 333375 h 1533525"/>
                    <a:gd name="connsiteX83" fmla="*/ 1135856 w 1302543"/>
                    <a:gd name="connsiteY83" fmla="*/ 347663 h 1533525"/>
                    <a:gd name="connsiteX84" fmla="*/ 1135856 w 1302543"/>
                    <a:gd name="connsiteY84" fmla="*/ 376238 h 1533525"/>
                    <a:gd name="connsiteX85" fmla="*/ 1119187 w 1302543"/>
                    <a:gd name="connsiteY85" fmla="*/ 411956 h 1533525"/>
                    <a:gd name="connsiteX86" fmla="*/ 1162050 w 1302543"/>
                    <a:gd name="connsiteY86" fmla="*/ 423863 h 1533525"/>
                    <a:gd name="connsiteX87" fmla="*/ 1233487 w 1302543"/>
                    <a:gd name="connsiteY87" fmla="*/ 416719 h 1533525"/>
                    <a:gd name="connsiteX88" fmla="*/ 1223962 w 1302543"/>
                    <a:gd name="connsiteY88" fmla="*/ 385763 h 1533525"/>
                    <a:gd name="connsiteX89" fmla="*/ 1188243 w 1302543"/>
                    <a:gd name="connsiteY89" fmla="*/ 347663 h 1533525"/>
                    <a:gd name="connsiteX90" fmla="*/ 1181100 w 1302543"/>
                    <a:gd name="connsiteY90" fmla="*/ 333375 h 1533525"/>
                    <a:gd name="connsiteX91" fmla="*/ 1207293 w 1302543"/>
                    <a:gd name="connsiteY91" fmla="*/ 326231 h 1533525"/>
                    <a:gd name="connsiteX92" fmla="*/ 1200150 w 1302543"/>
                    <a:gd name="connsiteY92" fmla="*/ 302419 h 1533525"/>
                    <a:gd name="connsiteX93" fmla="*/ 1223962 w 1302543"/>
                    <a:gd name="connsiteY93" fmla="*/ 283369 h 1533525"/>
                    <a:gd name="connsiteX94" fmla="*/ 1250156 w 1302543"/>
                    <a:gd name="connsiteY94" fmla="*/ 242888 h 1533525"/>
                    <a:gd name="connsiteX95" fmla="*/ 1302543 w 1302543"/>
                    <a:gd name="connsiteY95" fmla="*/ 211931 h 1533525"/>
                    <a:gd name="connsiteX96" fmla="*/ 1057275 w 1302543"/>
                    <a:gd name="connsiteY96" fmla="*/ 264319 h 1533525"/>
                    <a:gd name="connsiteX97" fmla="*/ 1062037 w 1302543"/>
                    <a:gd name="connsiteY97" fmla="*/ 304800 h 1533525"/>
                    <a:gd name="connsiteX98" fmla="*/ 995362 w 1302543"/>
                    <a:gd name="connsiteY98" fmla="*/ 352425 h 1533525"/>
                    <a:gd name="connsiteX99" fmla="*/ 973931 w 1302543"/>
                    <a:gd name="connsiteY99" fmla="*/ 383381 h 1533525"/>
                    <a:gd name="connsiteX100" fmla="*/ 1000125 w 1302543"/>
                    <a:gd name="connsiteY100" fmla="*/ 428625 h 1533525"/>
                    <a:gd name="connsiteX101" fmla="*/ 983456 w 1302543"/>
                    <a:gd name="connsiteY101" fmla="*/ 466725 h 1533525"/>
                    <a:gd name="connsiteX102" fmla="*/ 1000125 w 1302543"/>
                    <a:gd name="connsiteY102" fmla="*/ 519113 h 1533525"/>
                    <a:gd name="connsiteX103" fmla="*/ 1033462 w 1302543"/>
                    <a:gd name="connsiteY103" fmla="*/ 519113 h 1533525"/>
                    <a:gd name="connsiteX104" fmla="*/ 1019175 w 1302543"/>
                    <a:gd name="connsiteY104" fmla="*/ 552450 h 1533525"/>
                    <a:gd name="connsiteX105" fmla="*/ 1035843 w 1302543"/>
                    <a:gd name="connsiteY105" fmla="*/ 590550 h 1533525"/>
                    <a:gd name="connsiteX106" fmla="*/ 1035843 w 1302543"/>
                    <a:gd name="connsiteY106" fmla="*/ 607219 h 1533525"/>
                    <a:gd name="connsiteX107" fmla="*/ 1045368 w 1302543"/>
                    <a:gd name="connsiteY107" fmla="*/ 645319 h 1533525"/>
                    <a:gd name="connsiteX108" fmla="*/ 1064418 w 1302543"/>
                    <a:gd name="connsiteY108" fmla="*/ 645319 h 1533525"/>
                    <a:gd name="connsiteX109" fmla="*/ 1078706 w 1302543"/>
                    <a:gd name="connsiteY109" fmla="*/ 666750 h 1533525"/>
                    <a:gd name="connsiteX110" fmla="*/ 1085850 w 1302543"/>
                    <a:gd name="connsiteY110" fmla="*/ 688181 h 1533525"/>
                    <a:gd name="connsiteX111" fmla="*/ 1076325 w 1302543"/>
                    <a:gd name="connsiteY111" fmla="*/ 719138 h 1533525"/>
                    <a:gd name="connsiteX112" fmla="*/ 1021556 w 1302543"/>
                    <a:gd name="connsiteY112" fmla="*/ 714375 h 1533525"/>
                    <a:gd name="connsiteX113" fmla="*/ 1002506 w 1302543"/>
                    <a:gd name="connsiteY113" fmla="*/ 721519 h 1533525"/>
                    <a:gd name="connsiteX114" fmla="*/ 995362 w 1302543"/>
                    <a:gd name="connsiteY114" fmla="*/ 726281 h 1533525"/>
                    <a:gd name="connsiteX115" fmla="*/ 995362 w 1302543"/>
                    <a:gd name="connsiteY115" fmla="*/ 726281 h 1533525"/>
                    <a:gd name="connsiteX116" fmla="*/ 923925 w 1302543"/>
                    <a:gd name="connsiteY116" fmla="*/ 721519 h 1533525"/>
                    <a:gd name="connsiteX117" fmla="*/ 940593 w 1302543"/>
                    <a:gd name="connsiteY117" fmla="*/ 778669 h 1533525"/>
                    <a:gd name="connsiteX118" fmla="*/ 938212 w 1302543"/>
                    <a:gd name="connsiteY118" fmla="*/ 847725 h 1533525"/>
                    <a:gd name="connsiteX119" fmla="*/ 954881 w 1302543"/>
                    <a:gd name="connsiteY119" fmla="*/ 871538 h 1533525"/>
                    <a:gd name="connsiteX120" fmla="*/ 997743 w 1302543"/>
                    <a:gd name="connsiteY120" fmla="*/ 919163 h 1533525"/>
                    <a:gd name="connsiteX121" fmla="*/ 1012031 w 1302543"/>
                    <a:gd name="connsiteY121" fmla="*/ 954881 h 1533525"/>
                    <a:gd name="connsiteX122" fmla="*/ 1031081 w 1302543"/>
                    <a:gd name="connsiteY122" fmla="*/ 954881 h 1533525"/>
                    <a:gd name="connsiteX123" fmla="*/ 1071562 w 1302543"/>
                    <a:gd name="connsiteY123" fmla="*/ 940594 h 1533525"/>
                    <a:gd name="connsiteX124" fmla="*/ 1102518 w 1302543"/>
                    <a:gd name="connsiteY124" fmla="*/ 933450 h 1533525"/>
                    <a:gd name="connsiteX125" fmla="*/ 1159668 w 1302543"/>
                    <a:gd name="connsiteY125" fmla="*/ 997744 h 1533525"/>
                    <a:gd name="connsiteX126" fmla="*/ 1178718 w 1302543"/>
                    <a:gd name="connsiteY126" fmla="*/ 1052513 h 1533525"/>
                    <a:gd name="connsiteX127" fmla="*/ 1190625 w 1302543"/>
                    <a:gd name="connsiteY127" fmla="*/ 1081088 h 1533525"/>
                    <a:gd name="connsiteX128" fmla="*/ 1212056 w 1302543"/>
                    <a:gd name="connsiteY128" fmla="*/ 1109663 h 1533525"/>
                    <a:gd name="connsiteX129" fmla="*/ 1231106 w 1302543"/>
                    <a:gd name="connsiteY129" fmla="*/ 1102519 h 1533525"/>
                    <a:gd name="connsiteX130" fmla="*/ 1231106 w 1302543"/>
                    <a:gd name="connsiteY130" fmla="*/ 1131094 h 1533525"/>
                    <a:gd name="connsiteX131" fmla="*/ 1233487 w 1302543"/>
                    <a:gd name="connsiteY131" fmla="*/ 1145381 h 1533525"/>
                    <a:gd name="connsiteX132" fmla="*/ 1266825 w 1302543"/>
                    <a:gd name="connsiteY132" fmla="*/ 1181100 h 1533525"/>
                    <a:gd name="connsiteX133" fmla="*/ 1233487 w 1302543"/>
                    <a:gd name="connsiteY133" fmla="*/ 1181100 h 1533525"/>
                    <a:gd name="connsiteX134" fmla="*/ 1228725 w 1302543"/>
                    <a:gd name="connsiteY134" fmla="*/ 1223963 h 1533525"/>
                    <a:gd name="connsiteX135" fmla="*/ 1226343 w 1302543"/>
                    <a:gd name="connsiteY135" fmla="*/ 1243013 h 1533525"/>
                    <a:gd name="connsiteX136" fmla="*/ 1216818 w 1302543"/>
                    <a:gd name="connsiteY136" fmla="*/ 1264444 h 1533525"/>
                    <a:gd name="connsiteX137" fmla="*/ 1190625 w 1302543"/>
                    <a:gd name="connsiteY137" fmla="*/ 1238250 h 1533525"/>
                    <a:gd name="connsiteX138" fmla="*/ 1157287 w 1302543"/>
                    <a:gd name="connsiteY138" fmla="*/ 1209675 h 1533525"/>
                    <a:gd name="connsiteX139" fmla="*/ 1131093 w 1302543"/>
                    <a:gd name="connsiteY139" fmla="*/ 1185863 h 1533525"/>
                    <a:gd name="connsiteX140" fmla="*/ 1107281 w 1302543"/>
                    <a:gd name="connsiteY140" fmla="*/ 1219200 h 1533525"/>
                    <a:gd name="connsiteX141" fmla="*/ 1104900 w 1302543"/>
                    <a:gd name="connsiteY141" fmla="*/ 1264444 h 1533525"/>
                    <a:gd name="connsiteX142" fmla="*/ 1062037 w 1302543"/>
                    <a:gd name="connsiteY142" fmla="*/ 1259681 h 1533525"/>
                    <a:gd name="connsiteX143" fmla="*/ 1026318 w 1302543"/>
                    <a:gd name="connsiteY143" fmla="*/ 1288256 h 1533525"/>
                    <a:gd name="connsiteX144" fmla="*/ 1007268 w 1302543"/>
                    <a:gd name="connsiteY144" fmla="*/ 1240631 h 1533525"/>
                    <a:gd name="connsiteX145" fmla="*/ 947737 w 1302543"/>
                    <a:gd name="connsiteY145" fmla="*/ 1231106 h 1533525"/>
                    <a:gd name="connsiteX146" fmla="*/ 921543 w 1302543"/>
                    <a:gd name="connsiteY146" fmla="*/ 1297781 h 1533525"/>
                    <a:gd name="connsiteX147" fmla="*/ 885825 w 1302543"/>
                    <a:gd name="connsiteY147" fmla="*/ 1278731 h 1533525"/>
                    <a:gd name="connsiteX148" fmla="*/ 816768 w 1302543"/>
                    <a:gd name="connsiteY148" fmla="*/ 1295400 h 1533525"/>
                    <a:gd name="connsiteX149" fmla="*/ 757237 w 1302543"/>
                    <a:gd name="connsiteY149" fmla="*/ 1259681 h 1533525"/>
                    <a:gd name="connsiteX150" fmla="*/ 742950 w 1302543"/>
                    <a:gd name="connsiteY150" fmla="*/ 1312069 h 1533525"/>
                    <a:gd name="connsiteX151" fmla="*/ 704850 w 1302543"/>
                    <a:gd name="connsiteY151" fmla="*/ 1345406 h 1533525"/>
                    <a:gd name="connsiteX152" fmla="*/ 692943 w 1302543"/>
                    <a:gd name="connsiteY152" fmla="*/ 1366838 h 1533525"/>
                    <a:gd name="connsiteX153" fmla="*/ 671512 w 1302543"/>
                    <a:gd name="connsiteY153" fmla="*/ 1509713 h 1533525"/>
                    <a:gd name="connsiteX154" fmla="*/ 633412 w 1302543"/>
                    <a:gd name="connsiteY154" fmla="*/ 1490663 h 1533525"/>
                    <a:gd name="connsiteX155" fmla="*/ 614362 w 1302543"/>
                    <a:gd name="connsiteY155" fmla="*/ 1504950 h 1533525"/>
                    <a:gd name="connsiteX156" fmla="*/ 581025 w 1302543"/>
                    <a:gd name="connsiteY156" fmla="*/ 1531144 h 1533525"/>
                    <a:gd name="connsiteX157" fmla="*/ 523875 w 1302543"/>
                    <a:gd name="connsiteY157" fmla="*/ 1502569 h 1533525"/>
                    <a:gd name="connsiteX158" fmla="*/ 514350 w 1302543"/>
                    <a:gd name="connsiteY158" fmla="*/ 1490663 h 1533525"/>
                    <a:gd name="connsiteX159" fmla="*/ 483393 w 1302543"/>
                    <a:gd name="connsiteY159" fmla="*/ 1533525 h 1533525"/>
                    <a:gd name="connsiteX0" fmla="*/ 1057275 w 1393983"/>
                    <a:gd name="connsiteY0" fmla="*/ 264319 h 1533525"/>
                    <a:gd name="connsiteX1" fmla="*/ 1062037 w 1393983"/>
                    <a:gd name="connsiteY1" fmla="*/ 304800 h 1533525"/>
                    <a:gd name="connsiteX2" fmla="*/ 995362 w 1393983"/>
                    <a:gd name="connsiteY2" fmla="*/ 352425 h 1533525"/>
                    <a:gd name="connsiteX3" fmla="*/ 973931 w 1393983"/>
                    <a:gd name="connsiteY3" fmla="*/ 383381 h 1533525"/>
                    <a:gd name="connsiteX4" fmla="*/ 1000125 w 1393983"/>
                    <a:gd name="connsiteY4" fmla="*/ 428625 h 1533525"/>
                    <a:gd name="connsiteX5" fmla="*/ 983456 w 1393983"/>
                    <a:gd name="connsiteY5" fmla="*/ 466725 h 1533525"/>
                    <a:gd name="connsiteX6" fmla="*/ 1000125 w 1393983"/>
                    <a:gd name="connsiteY6" fmla="*/ 519113 h 1533525"/>
                    <a:gd name="connsiteX7" fmla="*/ 1033462 w 1393983"/>
                    <a:gd name="connsiteY7" fmla="*/ 519113 h 1533525"/>
                    <a:gd name="connsiteX8" fmla="*/ 1019175 w 1393983"/>
                    <a:gd name="connsiteY8" fmla="*/ 552450 h 1533525"/>
                    <a:gd name="connsiteX9" fmla="*/ 1035843 w 1393983"/>
                    <a:gd name="connsiteY9" fmla="*/ 590550 h 1533525"/>
                    <a:gd name="connsiteX10" fmla="*/ 1035843 w 1393983"/>
                    <a:gd name="connsiteY10" fmla="*/ 607219 h 1533525"/>
                    <a:gd name="connsiteX11" fmla="*/ 1045368 w 1393983"/>
                    <a:gd name="connsiteY11" fmla="*/ 645319 h 1533525"/>
                    <a:gd name="connsiteX12" fmla="*/ 1064418 w 1393983"/>
                    <a:gd name="connsiteY12" fmla="*/ 645319 h 1533525"/>
                    <a:gd name="connsiteX13" fmla="*/ 1078706 w 1393983"/>
                    <a:gd name="connsiteY13" fmla="*/ 666750 h 1533525"/>
                    <a:gd name="connsiteX14" fmla="*/ 1085850 w 1393983"/>
                    <a:gd name="connsiteY14" fmla="*/ 688181 h 1533525"/>
                    <a:gd name="connsiteX15" fmla="*/ 1076325 w 1393983"/>
                    <a:gd name="connsiteY15" fmla="*/ 719138 h 1533525"/>
                    <a:gd name="connsiteX16" fmla="*/ 1021556 w 1393983"/>
                    <a:gd name="connsiteY16" fmla="*/ 714375 h 1533525"/>
                    <a:gd name="connsiteX17" fmla="*/ 1002506 w 1393983"/>
                    <a:gd name="connsiteY17" fmla="*/ 721519 h 1533525"/>
                    <a:gd name="connsiteX18" fmla="*/ 995362 w 1393983"/>
                    <a:gd name="connsiteY18" fmla="*/ 726281 h 1533525"/>
                    <a:gd name="connsiteX19" fmla="*/ 995362 w 1393983"/>
                    <a:gd name="connsiteY19" fmla="*/ 726281 h 1533525"/>
                    <a:gd name="connsiteX20" fmla="*/ 923925 w 1393983"/>
                    <a:gd name="connsiteY20" fmla="*/ 721519 h 1533525"/>
                    <a:gd name="connsiteX21" fmla="*/ 940593 w 1393983"/>
                    <a:gd name="connsiteY21" fmla="*/ 778669 h 1533525"/>
                    <a:gd name="connsiteX22" fmla="*/ 938212 w 1393983"/>
                    <a:gd name="connsiteY22" fmla="*/ 847725 h 1533525"/>
                    <a:gd name="connsiteX23" fmla="*/ 954881 w 1393983"/>
                    <a:gd name="connsiteY23" fmla="*/ 871538 h 1533525"/>
                    <a:gd name="connsiteX24" fmla="*/ 997743 w 1393983"/>
                    <a:gd name="connsiteY24" fmla="*/ 919163 h 1533525"/>
                    <a:gd name="connsiteX25" fmla="*/ 1012031 w 1393983"/>
                    <a:gd name="connsiteY25" fmla="*/ 954881 h 1533525"/>
                    <a:gd name="connsiteX26" fmla="*/ 1031081 w 1393983"/>
                    <a:gd name="connsiteY26" fmla="*/ 954881 h 1533525"/>
                    <a:gd name="connsiteX27" fmla="*/ 1071562 w 1393983"/>
                    <a:gd name="connsiteY27" fmla="*/ 940594 h 1533525"/>
                    <a:gd name="connsiteX28" fmla="*/ 1102518 w 1393983"/>
                    <a:gd name="connsiteY28" fmla="*/ 933450 h 1533525"/>
                    <a:gd name="connsiteX29" fmla="*/ 1159668 w 1393983"/>
                    <a:gd name="connsiteY29" fmla="*/ 997744 h 1533525"/>
                    <a:gd name="connsiteX30" fmla="*/ 1178718 w 1393983"/>
                    <a:gd name="connsiteY30" fmla="*/ 1052513 h 1533525"/>
                    <a:gd name="connsiteX31" fmla="*/ 1190625 w 1393983"/>
                    <a:gd name="connsiteY31" fmla="*/ 1081088 h 1533525"/>
                    <a:gd name="connsiteX32" fmla="*/ 1212056 w 1393983"/>
                    <a:gd name="connsiteY32" fmla="*/ 1109663 h 1533525"/>
                    <a:gd name="connsiteX33" fmla="*/ 1231106 w 1393983"/>
                    <a:gd name="connsiteY33" fmla="*/ 1102519 h 1533525"/>
                    <a:gd name="connsiteX34" fmla="*/ 1231106 w 1393983"/>
                    <a:gd name="connsiteY34" fmla="*/ 1131094 h 1533525"/>
                    <a:gd name="connsiteX35" fmla="*/ 1233487 w 1393983"/>
                    <a:gd name="connsiteY35" fmla="*/ 1145381 h 1533525"/>
                    <a:gd name="connsiteX36" fmla="*/ 1266825 w 1393983"/>
                    <a:gd name="connsiteY36" fmla="*/ 1181100 h 1533525"/>
                    <a:gd name="connsiteX37" fmla="*/ 1233487 w 1393983"/>
                    <a:gd name="connsiteY37" fmla="*/ 1181100 h 1533525"/>
                    <a:gd name="connsiteX38" fmla="*/ 1228725 w 1393983"/>
                    <a:gd name="connsiteY38" fmla="*/ 1223963 h 1533525"/>
                    <a:gd name="connsiteX39" fmla="*/ 1226343 w 1393983"/>
                    <a:gd name="connsiteY39" fmla="*/ 1243013 h 1533525"/>
                    <a:gd name="connsiteX40" fmla="*/ 1216818 w 1393983"/>
                    <a:gd name="connsiteY40" fmla="*/ 1264444 h 1533525"/>
                    <a:gd name="connsiteX41" fmla="*/ 1190625 w 1393983"/>
                    <a:gd name="connsiteY41" fmla="*/ 1238250 h 1533525"/>
                    <a:gd name="connsiteX42" fmla="*/ 1157287 w 1393983"/>
                    <a:gd name="connsiteY42" fmla="*/ 1209675 h 1533525"/>
                    <a:gd name="connsiteX43" fmla="*/ 1131093 w 1393983"/>
                    <a:gd name="connsiteY43" fmla="*/ 1185863 h 1533525"/>
                    <a:gd name="connsiteX44" fmla="*/ 1107281 w 1393983"/>
                    <a:gd name="connsiteY44" fmla="*/ 1219200 h 1533525"/>
                    <a:gd name="connsiteX45" fmla="*/ 1104900 w 1393983"/>
                    <a:gd name="connsiteY45" fmla="*/ 1264444 h 1533525"/>
                    <a:gd name="connsiteX46" fmla="*/ 1062037 w 1393983"/>
                    <a:gd name="connsiteY46" fmla="*/ 1259681 h 1533525"/>
                    <a:gd name="connsiteX47" fmla="*/ 1026318 w 1393983"/>
                    <a:gd name="connsiteY47" fmla="*/ 1288256 h 1533525"/>
                    <a:gd name="connsiteX48" fmla="*/ 1007268 w 1393983"/>
                    <a:gd name="connsiteY48" fmla="*/ 1240631 h 1533525"/>
                    <a:gd name="connsiteX49" fmla="*/ 947737 w 1393983"/>
                    <a:gd name="connsiteY49" fmla="*/ 1231106 h 1533525"/>
                    <a:gd name="connsiteX50" fmla="*/ 921543 w 1393983"/>
                    <a:gd name="connsiteY50" fmla="*/ 1297781 h 1533525"/>
                    <a:gd name="connsiteX51" fmla="*/ 885825 w 1393983"/>
                    <a:gd name="connsiteY51" fmla="*/ 1278731 h 1533525"/>
                    <a:gd name="connsiteX52" fmla="*/ 816768 w 1393983"/>
                    <a:gd name="connsiteY52" fmla="*/ 1295400 h 1533525"/>
                    <a:gd name="connsiteX53" fmla="*/ 757237 w 1393983"/>
                    <a:gd name="connsiteY53" fmla="*/ 1259681 h 1533525"/>
                    <a:gd name="connsiteX54" fmla="*/ 742950 w 1393983"/>
                    <a:gd name="connsiteY54" fmla="*/ 1312069 h 1533525"/>
                    <a:gd name="connsiteX55" fmla="*/ 704850 w 1393983"/>
                    <a:gd name="connsiteY55" fmla="*/ 1345406 h 1533525"/>
                    <a:gd name="connsiteX56" fmla="*/ 692943 w 1393983"/>
                    <a:gd name="connsiteY56" fmla="*/ 1366838 h 1533525"/>
                    <a:gd name="connsiteX57" fmla="*/ 671512 w 1393983"/>
                    <a:gd name="connsiteY57" fmla="*/ 1509713 h 1533525"/>
                    <a:gd name="connsiteX58" fmla="*/ 633412 w 1393983"/>
                    <a:gd name="connsiteY58" fmla="*/ 1490663 h 1533525"/>
                    <a:gd name="connsiteX59" fmla="*/ 614362 w 1393983"/>
                    <a:gd name="connsiteY59" fmla="*/ 1504950 h 1533525"/>
                    <a:gd name="connsiteX60" fmla="*/ 581025 w 1393983"/>
                    <a:gd name="connsiteY60" fmla="*/ 1531144 h 1533525"/>
                    <a:gd name="connsiteX61" fmla="*/ 523875 w 1393983"/>
                    <a:gd name="connsiteY61" fmla="*/ 1502569 h 1533525"/>
                    <a:gd name="connsiteX62" fmla="*/ 514350 w 1393983"/>
                    <a:gd name="connsiteY62" fmla="*/ 1490663 h 1533525"/>
                    <a:gd name="connsiteX63" fmla="*/ 483393 w 1393983"/>
                    <a:gd name="connsiteY63" fmla="*/ 1533525 h 1533525"/>
                    <a:gd name="connsiteX64" fmla="*/ 459581 w 1393983"/>
                    <a:gd name="connsiteY64" fmla="*/ 1481138 h 1533525"/>
                    <a:gd name="connsiteX65" fmla="*/ 438150 w 1393983"/>
                    <a:gd name="connsiteY65" fmla="*/ 1471613 h 1533525"/>
                    <a:gd name="connsiteX66" fmla="*/ 400050 w 1393983"/>
                    <a:gd name="connsiteY66" fmla="*/ 1485900 h 1533525"/>
                    <a:gd name="connsiteX67" fmla="*/ 338137 w 1393983"/>
                    <a:gd name="connsiteY67" fmla="*/ 1490663 h 1533525"/>
                    <a:gd name="connsiteX68" fmla="*/ 330993 w 1393983"/>
                    <a:gd name="connsiteY68" fmla="*/ 1497806 h 1533525"/>
                    <a:gd name="connsiteX69" fmla="*/ 271462 w 1393983"/>
                    <a:gd name="connsiteY69" fmla="*/ 1471613 h 1533525"/>
                    <a:gd name="connsiteX70" fmla="*/ 219075 w 1393983"/>
                    <a:gd name="connsiteY70" fmla="*/ 1443038 h 1533525"/>
                    <a:gd name="connsiteX71" fmla="*/ 138112 w 1393983"/>
                    <a:gd name="connsiteY71" fmla="*/ 1402556 h 1533525"/>
                    <a:gd name="connsiteX72" fmla="*/ 95250 w 1393983"/>
                    <a:gd name="connsiteY72" fmla="*/ 1316831 h 1533525"/>
                    <a:gd name="connsiteX73" fmla="*/ 80962 w 1393983"/>
                    <a:gd name="connsiteY73" fmla="*/ 1288256 h 1533525"/>
                    <a:gd name="connsiteX74" fmla="*/ 104775 w 1393983"/>
                    <a:gd name="connsiteY74" fmla="*/ 1266825 h 1533525"/>
                    <a:gd name="connsiteX75" fmla="*/ 76200 w 1393983"/>
                    <a:gd name="connsiteY75" fmla="*/ 1212056 h 1533525"/>
                    <a:gd name="connsiteX76" fmla="*/ 109537 w 1393983"/>
                    <a:gd name="connsiteY76" fmla="*/ 1193006 h 1533525"/>
                    <a:gd name="connsiteX77" fmla="*/ 140493 w 1393983"/>
                    <a:gd name="connsiteY77" fmla="*/ 1143000 h 1533525"/>
                    <a:gd name="connsiteX78" fmla="*/ 123825 w 1393983"/>
                    <a:gd name="connsiteY78" fmla="*/ 1107281 h 1533525"/>
                    <a:gd name="connsiteX79" fmla="*/ 178593 w 1393983"/>
                    <a:gd name="connsiteY79" fmla="*/ 1107281 h 1533525"/>
                    <a:gd name="connsiteX80" fmla="*/ 192881 w 1393983"/>
                    <a:gd name="connsiteY80" fmla="*/ 1109663 h 1533525"/>
                    <a:gd name="connsiteX81" fmla="*/ 159543 w 1393983"/>
                    <a:gd name="connsiteY81" fmla="*/ 1064419 h 1533525"/>
                    <a:gd name="connsiteX82" fmla="*/ 169068 w 1393983"/>
                    <a:gd name="connsiteY82" fmla="*/ 1014413 h 1533525"/>
                    <a:gd name="connsiteX83" fmla="*/ 123825 w 1393983"/>
                    <a:gd name="connsiteY83" fmla="*/ 997744 h 1533525"/>
                    <a:gd name="connsiteX84" fmla="*/ 61912 w 1393983"/>
                    <a:gd name="connsiteY84" fmla="*/ 954881 h 1533525"/>
                    <a:gd name="connsiteX85" fmla="*/ 45243 w 1393983"/>
                    <a:gd name="connsiteY85" fmla="*/ 938213 h 1533525"/>
                    <a:gd name="connsiteX86" fmla="*/ 64293 w 1393983"/>
                    <a:gd name="connsiteY86" fmla="*/ 909638 h 1533525"/>
                    <a:gd name="connsiteX87" fmla="*/ 47625 w 1393983"/>
                    <a:gd name="connsiteY87" fmla="*/ 897731 h 1533525"/>
                    <a:gd name="connsiteX88" fmla="*/ 47625 w 1393983"/>
                    <a:gd name="connsiteY88" fmla="*/ 881063 h 1533525"/>
                    <a:gd name="connsiteX89" fmla="*/ 26193 w 1393983"/>
                    <a:gd name="connsiteY89" fmla="*/ 881063 h 1533525"/>
                    <a:gd name="connsiteX90" fmla="*/ 7143 w 1393983"/>
                    <a:gd name="connsiteY90" fmla="*/ 847725 h 1533525"/>
                    <a:gd name="connsiteX91" fmla="*/ 0 w 1393983"/>
                    <a:gd name="connsiteY91" fmla="*/ 816769 h 1533525"/>
                    <a:gd name="connsiteX92" fmla="*/ 54768 w 1393983"/>
                    <a:gd name="connsiteY92" fmla="*/ 800100 h 1533525"/>
                    <a:gd name="connsiteX93" fmla="*/ 76200 w 1393983"/>
                    <a:gd name="connsiteY93" fmla="*/ 788194 h 1533525"/>
                    <a:gd name="connsiteX94" fmla="*/ 128587 w 1393983"/>
                    <a:gd name="connsiteY94" fmla="*/ 821531 h 1533525"/>
                    <a:gd name="connsiteX95" fmla="*/ 126206 w 1393983"/>
                    <a:gd name="connsiteY95" fmla="*/ 800100 h 1533525"/>
                    <a:gd name="connsiteX96" fmla="*/ 164306 w 1393983"/>
                    <a:gd name="connsiteY96" fmla="*/ 795338 h 1533525"/>
                    <a:gd name="connsiteX97" fmla="*/ 173831 w 1393983"/>
                    <a:gd name="connsiteY97" fmla="*/ 759619 h 1533525"/>
                    <a:gd name="connsiteX98" fmla="*/ 235743 w 1393983"/>
                    <a:gd name="connsiteY98" fmla="*/ 764381 h 1533525"/>
                    <a:gd name="connsiteX99" fmla="*/ 235743 w 1393983"/>
                    <a:gd name="connsiteY99" fmla="*/ 764381 h 1533525"/>
                    <a:gd name="connsiteX100" fmla="*/ 245268 w 1393983"/>
                    <a:gd name="connsiteY100" fmla="*/ 704850 h 1533525"/>
                    <a:gd name="connsiteX101" fmla="*/ 276225 w 1393983"/>
                    <a:gd name="connsiteY101" fmla="*/ 666750 h 1533525"/>
                    <a:gd name="connsiteX102" fmla="*/ 292893 w 1393983"/>
                    <a:gd name="connsiteY102" fmla="*/ 638175 h 1533525"/>
                    <a:gd name="connsiteX103" fmla="*/ 245268 w 1393983"/>
                    <a:gd name="connsiteY103" fmla="*/ 602456 h 1533525"/>
                    <a:gd name="connsiteX104" fmla="*/ 264318 w 1393983"/>
                    <a:gd name="connsiteY104" fmla="*/ 585788 h 1533525"/>
                    <a:gd name="connsiteX105" fmla="*/ 311943 w 1393983"/>
                    <a:gd name="connsiteY105" fmla="*/ 602456 h 1533525"/>
                    <a:gd name="connsiteX106" fmla="*/ 369093 w 1393983"/>
                    <a:gd name="connsiteY106" fmla="*/ 573881 h 1533525"/>
                    <a:gd name="connsiteX107" fmla="*/ 457200 w 1393983"/>
                    <a:gd name="connsiteY107" fmla="*/ 545306 h 1533525"/>
                    <a:gd name="connsiteX108" fmla="*/ 538162 w 1393983"/>
                    <a:gd name="connsiteY108" fmla="*/ 578644 h 1533525"/>
                    <a:gd name="connsiteX109" fmla="*/ 614362 w 1393983"/>
                    <a:gd name="connsiteY109" fmla="*/ 550069 h 1533525"/>
                    <a:gd name="connsiteX110" fmla="*/ 650081 w 1393983"/>
                    <a:gd name="connsiteY110" fmla="*/ 552450 h 1533525"/>
                    <a:gd name="connsiteX111" fmla="*/ 654843 w 1393983"/>
                    <a:gd name="connsiteY111" fmla="*/ 523875 h 1533525"/>
                    <a:gd name="connsiteX112" fmla="*/ 654843 w 1393983"/>
                    <a:gd name="connsiteY112" fmla="*/ 490538 h 1533525"/>
                    <a:gd name="connsiteX113" fmla="*/ 669131 w 1393983"/>
                    <a:gd name="connsiteY113" fmla="*/ 469106 h 1533525"/>
                    <a:gd name="connsiteX114" fmla="*/ 652462 w 1393983"/>
                    <a:gd name="connsiteY114" fmla="*/ 450056 h 1533525"/>
                    <a:gd name="connsiteX115" fmla="*/ 642937 w 1393983"/>
                    <a:gd name="connsiteY115" fmla="*/ 411956 h 1533525"/>
                    <a:gd name="connsiteX116" fmla="*/ 642937 w 1393983"/>
                    <a:gd name="connsiteY116" fmla="*/ 330994 h 1533525"/>
                    <a:gd name="connsiteX117" fmla="*/ 633412 w 1393983"/>
                    <a:gd name="connsiteY117" fmla="*/ 319088 h 1533525"/>
                    <a:gd name="connsiteX118" fmla="*/ 664368 w 1393983"/>
                    <a:gd name="connsiteY118" fmla="*/ 285750 h 1533525"/>
                    <a:gd name="connsiteX119" fmla="*/ 721518 w 1393983"/>
                    <a:gd name="connsiteY119" fmla="*/ 292894 h 1533525"/>
                    <a:gd name="connsiteX120" fmla="*/ 733425 w 1393983"/>
                    <a:gd name="connsiteY120" fmla="*/ 264319 h 1533525"/>
                    <a:gd name="connsiteX121" fmla="*/ 731043 w 1393983"/>
                    <a:gd name="connsiteY121" fmla="*/ 228600 h 1533525"/>
                    <a:gd name="connsiteX122" fmla="*/ 790575 w 1393983"/>
                    <a:gd name="connsiteY122" fmla="*/ 192881 h 1533525"/>
                    <a:gd name="connsiteX123" fmla="*/ 804862 w 1393983"/>
                    <a:gd name="connsiteY123" fmla="*/ 166688 h 1533525"/>
                    <a:gd name="connsiteX124" fmla="*/ 778668 w 1393983"/>
                    <a:gd name="connsiteY124" fmla="*/ 128588 h 1533525"/>
                    <a:gd name="connsiteX125" fmla="*/ 771525 w 1393983"/>
                    <a:gd name="connsiteY125" fmla="*/ 104775 h 1533525"/>
                    <a:gd name="connsiteX126" fmla="*/ 823912 w 1393983"/>
                    <a:gd name="connsiteY126" fmla="*/ 97631 h 1533525"/>
                    <a:gd name="connsiteX127" fmla="*/ 869156 w 1393983"/>
                    <a:gd name="connsiteY127" fmla="*/ 52388 h 1533525"/>
                    <a:gd name="connsiteX128" fmla="*/ 890587 w 1393983"/>
                    <a:gd name="connsiteY128" fmla="*/ 23813 h 1533525"/>
                    <a:gd name="connsiteX129" fmla="*/ 923925 w 1393983"/>
                    <a:gd name="connsiteY129" fmla="*/ 9525 h 1533525"/>
                    <a:gd name="connsiteX130" fmla="*/ 971550 w 1393983"/>
                    <a:gd name="connsiteY130" fmla="*/ 0 h 1533525"/>
                    <a:gd name="connsiteX131" fmla="*/ 971550 w 1393983"/>
                    <a:gd name="connsiteY131" fmla="*/ 40481 h 1533525"/>
                    <a:gd name="connsiteX132" fmla="*/ 950118 w 1393983"/>
                    <a:gd name="connsiteY132" fmla="*/ 80963 h 1533525"/>
                    <a:gd name="connsiteX133" fmla="*/ 950118 w 1393983"/>
                    <a:gd name="connsiteY133" fmla="*/ 140494 h 1533525"/>
                    <a:gd name="connsiteX134" fmla="*/ 969168 w 1393983"/>
                    <a:gd name="connsiteY134" fmla="*/ 161925 h 1533525"/>
                    <a:gd name="connsiteX135" fmla="*/ 1007268 w 1393983"/>
                    <a:gd name="connsiteY135" fmla="*/ 188119 h 1533525"/>
                    <a:gd name="connsiteX136" fmla="*/ 1019175 w 1393983"/>
                    <a:gd name="connsiteY136" fmla="*/ 216694 h 1533525"/>
                    <a:gd name="connsiteX137" fmla="*/ 1004887 w 1393983"/>
                    <a:gd name="connsiteY137" fmla="*/ 226219 h 1533525"/>
                    <a:gd name="connsiteX138" fmla="*/ 1057275 w 1393983"/>
                    <a:gd name="connsiteY138" fmla="*/ 250031 h 1533525"/>
                    <a:gd name="connsiteX139" fmla="*/ 1073943 w 1393983"/>
                    <a:gd name="connsiteY139" fmla="*/ 228600 h 1533525"/>
                    <a:gd name="connsiteX140" fmla="*/ 1083468 w 1393983"/>
                    <a:gd name="connsiteY140" fmla="*/ 252413 h 1533525"/>
                    <a:gd name="connsiteX141" fmla="*/ 1116806 w 1393983"/>
                    <a:gd name="connsiteY141" fmla="*/ 252413 h 1533525"/>
                    <a:gd name="connsiteX142" fmla="*/ 1123950 w 1393983"/>
                    <a:gd name="connsiteY142" fmla="*/ 257175 h 1533525"/>
                    <a:gd name="connsiteX143" fmla="*/ 1116806 w 1393983"/>
                    <a:gd name="connsiteY143" fmla="*/ 276225 h 1533525"/>
                    <a:gd name="connsiteX144" fmla="*/ 1088231 w 1393983"/>
                    <a:gd name="connsiteY144" fmla="*/ 309563 h 1533525"/>
                    <a:gd name="connsiteX145" fmla="*/ 1123950 w 1393983"/>
                    <a:gd name="connsiteY145" fmla="*/ 333375 h 1533525"/>
                    <a:gd name="connsiteX146" fmla="*/ 1135856 w 1393983"/>
                    <a:gd name="connsiteY146" fmla="*/ 347663 h 1533525"/>
                    <a:gd name="connsiteX147" fmla="*/ 1135856 w 1393983"/>
                    <a:gd name="connsiteY147" fmla="*/ 376238 h 1533525"/>
                    <a:gd name="connsiteX148" fmla="*/ 1119187 w 1393983"/>
                    <a:gd name="connsiteY148" fmla="*/ 411956 h 1533525"/>
                    <a:gd name="connsiteX149" fmla="*/ 1162050 w 1393983"/>
                    <a:gd name="connsiteY149" fmla="*/ 423863 h 1533525"/>
                    <a:gd name="connsiteX150" fmla="*/ 1233487 w 1393983"/>
                    <a:gd name="connsiteY150" fmla="*/ 416719 h 1533525"/>
                    <a:gd name="connsiteX151" fmla="*/ 1223962 w 1393983"/>
                    <a:gd name="connsiteY151" fmla="*/ 385763 h 1533525"/>
                    <a:gd name="connsiteX152" fmla="*/ 1188243 w 1393983"/>
                    <a:gd name="connsiteY152" fmla="*/ 347663 h 1533525"/>
                    <a:gd name="connsiteX153" fmla="*/ 1181100 w 1393983"/>
                    <a:gd name="connsiteY153" fmla="*/ 333375 h 1533525"/>
                    <a:gd name="connsiteX154" fmla="*/ 1207293 w 1393983"/>
                    <a:gd name="connsiteY154" fmla="*/ 326231 h 1533525"/>
                    <a:gd name="connsiteX155" fmla="*/ 1200150 w 1393983"/>
                    <a:gd name="connsiteY155" fmla="*/ 302419 h 1533525"/>
                    <a:gd name="connsiteX156" fmla="*/ 1223962 w 1393983"/>
                    <a:gd name="connsiteY156" fmla="*/ 283369 h 1533525"/>
                    <a:gd name="connsiteX157" fmla="*/ 1250156 w 1393983"/>
                    <a:gd name="connsiteY157" fmla="*/ 242888 h 1533525"/>
                    <a:gd name="connsiteX158" fmla="*/ 1393983 w 1393983"/>
                    <a:gd name="connsiteY158" fmla="*/ 303371 h 1533525"/>
                    <a:gd name="connsiteX0" fmla="*/ 1057275 w 1393983"/>
                    <a:gd name="connsiteY0" fmla="*/ 264319 h 1533525"/>
                    <a:gd name="connsiteX1" fmla="*/ 1062037 w 1393983"/>
                    <a:gd name="connsiteY1" fmla="*/ 304800 h 1533525"/>
                    <a:gd name="connsiteX2" fmla="*/ 995362 w 1393983"/>
                    <a:gd name="connsiteY2" fmla="*/ 352425 h 1533525"/>
                    <a:gd name="connsiteX3" fmla="*/ 973931 w 1393983"/>
                    <a:gd name="connsiteY3" fmla="*/ 383381 h 1533525"/>
                    <a:gd name="connsiteX4" fmla="*/ 1000125 w 1393983"/>
                    <a:gd name="connsiteY4" fmla="*/ 428625 h 1533525"/>
                    <a:gd name="connsiteX5" fmla="*/ 983456 w 1393983"/>
                    <a:gd name="connsiteY5" fmla="*/ 466725 h 1533525"/>
                    <a:gd name="connsiteX6" fmla="*/ 1000125 w 1393983"/>
                    <a:gd name="connsiteY6" fmla="*/ 519113 h 1533525"/>
                    <a:gd name="connsiteX7" fmla="*/ 1033462 w 1393983"/>
                    <a:gd name="connsiteY7" fmla="*/ 519113 h 1533525"/>
                    <a:gd name="connsiteX8" fmla="*/ 1019175 w 1393983"/>
                    <a:gd name="connsiteY8" fmla="*/ 552450 h 1533525"/>
                    <a:gd name="connsiteX9" fmla="*/ 1035843 w 1393983"/>
                    <a:gd name="connsiteY9" fmla="*/ 590550 h 1533525"/>
                    <a:gd name="connsiteX10" fmla="*/ 1035843 w 1393983"/>
                    <a:gd name="connsiteY10" fmla="*/ 607219 h 1533525"/>
                    <a:gd name="connsiteX11" fmla="*/ 1045368 w 1393983"/>
                    <a:gd name="connsiteY11" fmla="*/ 645319 h 1533525"/>
                    <a:gd name="connsiteX12" fmla="*/ 1064418 w 1393983"/>
                    <a:gd name="connsiteY12" fmla="*/ 645319 h 1533525"/>
                    <a:gd name="connsiteX13" fmla="*/ 1078706 w 1393983"/>
                    <a:gd name="connsiteY13" fmla="*/ 666750 h 1533525"/>
                    <a:gd name="connsiteX14" fmla="*/ 1085850 w 1393983"/>
                    <a:gd name="connsiteY14" fmla="*/ 688181 h 1533525"/>
                    <a:gd name="connsiteX15" fmla="*/ 1076325 w 1393983"/>
                    <a:gd name="connsiteY15" fmla="*/ 719138 h 1533525"/>
                    <a:gd name="connsiteX16" fmla="*/ 1021556 w 1393983"/>
                    <a:gd name="connsiteY16" fmla="*/ 714375 h 1533525"/>
                    <a:gd name="connsiteX17" fmla="*/ 1002506 w 1393983"/>
                    <a:gd name="connsiteY17" fmla="*/ 721519 h 1533525"/>
                    <a:gd name="connsiteX18" fmla="*/ 995362 w 1393983"/>
                    <a:gd name="connsiteY18" fmla="*/ 726281 h 1533525"/>
                    <a:gd name="connsiteX19" fmla="*/ 995362 w 1393983"/>
                    <a:gd name="connsiteY19" fmla="*/ 726281 h 1533525"/>
                    <a:gd name="connsiteX20" fmla="*/ 923925 w 1393983"/>
                    <a:gd name="connsiteY20" fmla="*/ 721519 h 1533525"/>
                    <a:gd name="connsiteX21" fmla="*/ 940593 w 1393983"/>
                    <a:gd name="connsiteY21" fmla="*/ 778669 h 1533525"/>
                    <a:gd name="connsiteX22" fmla="*/ 938212 w 1393983"/>
                    <a:gd name="connsiteY22" fmla="*/ 847725 h 1533525"/>
                    <a:gd name="connsiteX23" fmla="*/ 954881 w 1393983"/>
                    <a:gd name="connsiteY23" fmla="*/ 871538 h 1533525"/>
                    <a:gd name="connsiteX24" fmla="*/ 997743 w 1393983"/>
                    <a:gd name="connsiteY24" fmla="*/ 919163 h 1533525"/>
                    <a:gd name="connsiteX25" fmla="*/ 1012031 w 1393983"/>
                    <a:gd name="connsiteY25" fmla="*/ 954881 h 1533525"/>
                    <a:gd name="connsiteX26" fmla="*/ 1031081 w 1393983"/>
                    <a:gd name="connsiteY26" fmla="*/ 954881 h 1533525"/>
                    <a:gd name="connsiteX27" fmla="*/ 1071562 w 1393983"/>
                    <a:gd name="connsiteY27" fmla="*/ 940594 h 1533525"/>
                    <a:gd name="connsiteX28" fmla="*/ 1102518 w 1393983"/>
                    <a:gd name="connsiteY28" fmla="*/ 933450 h 1533525"/>
                    <a:gd name="connsiteX29" fmla="*/ 1159668 w 1393983"/>
                    <a:gd name="connsiteY29" fmla="*/ 997744 h 1533525"/>
                    <a:gd name="connsiteX30" fmla="*/ 1178718 w 1393983"/>
                    <a:gd name="connsiteY30" fmla="*/ 1052513 h 1533525"/>
                    <a:gd name="connsiteX31" fmla="*/ 1190625 w 1393983"/>
                    <a:gd name="connsiteY31" fmla="*/ 1081088 h 1533525"/>
                    <a:gd name="connsiteX32" fmla="*/ 1212056 w 1393983"/>
                    <a:gd name="connsiteY32" fmla="*/ 1109663 h 1533525"/>
                    <a:gd name="connsiteX33" fmla="*/ 1231106 w 1393983"/>
                    <a:gd name="connsiteY33" fmla="*/ 1102519 h 1533525"/>
                    <a:gd name="connsiteX34" fmla="*/ 1231106 w 1393983"/>
                    <a:gd name="connsiteY34" fmla="*/ 1131094 h 1533525"/>
                    <a:gd name="connsiteX35" fmla="*/ 1233487 w 1393983"/>
                    <a:gd name="connsiteY35" fmla="*/ 1145381 h 1533525"/>
                    <a:gd name="connsiteX36" fmla="*/ 1266825 w 1393983"/>
                    <a:gd name="connsiteY36" fmla="*/ 1181100 h 1533525"/>
                    <a:gd name="connsiteX37" fmla="*/ 1233487 w 1393983"/>
                    <a:gd name="connsiteY37" fmla="*/ 1181100 h 1533525"/>
                    <a:gd name="connsiteX38" fmla="*/ 1228725 w 1393983"/>
                    <a:gd name="connsiteY38" fmla="*/ 1223963 h 1533525"/>
                    <a:gd name="connsiteX39" fmla="*/ 1226343 w 1393983"/>
                    <a:gd name="connsiteY39" fmla="*/ 1243013 h 1533525"/>
                    <a:gd name="connsiteX40" fmla="*/ 1216818 w 1393983"/>
                    <a:gd name="connsiteY40" fmla="*/ 1264444 h 1533525"/>
                    <a:gd name="connsiteX41" fmla="*/ 1190625 w 1393983"/>
                    <a:gd name="connsiteY41" fmla="*/ 1238250 h 1533525"/>
                    <a:gd name="connsiteX42" fmla="*/ 1157287 w 1393983"/>
                    <a:gd name="connsiteY42" fmla="*/ 1209675 h 1533525"/>
                    <a:gd name="connsiteX43" fmla="*/ 1131093 w 1393983"/>
                    <a:gd name="connsiteY43" fmla="*/ 1185863 h 1533525"/>
                    <a:gd name="connsiteX44" fmla="*/ 1107281 w 1393983"/>
                    <a:gd name="connsiteY44" fmla="*/ 1219200 h 1533525"/>
                    <a:gd name="connsiteX45" fmla="*/ 1104900 w 1393983"/>
                    <a:gd name="connsiteY45" fmla="*/ 1264444 h 1533525"/>
                    <a:gd name="connsiteX46" fmla="*/ 1062037 w 1393983"/>
                    <a:gd name="connsiteY46" fmla="*/ 1259681 h 1533525"/>
                    <a:gd name="connsiteX47" fmla="*/ 1026318 w 1393983"/>
                    <a:gd name="connsiteY47" fmla="*/ 1288256 h 1533525"/>
                    <a:gd name="connsiteX48" fmla="*/ 1007268 w 1393983"/>
                    <a:gd name="connsiteY48" fmla="*/ 1240631 h 1533525"/>
                    <a:gd name="connsiteX49" fmla="*/ 947737 w 1393983"/>
                    <a:gd name="connsiteY49" fmla="*/ 1231106 h 1533525"/>
                    <a:gd name="connsiteX50" fmla="*/ 921543 w 1393983"/>
                    <a:gd name="connsiteY50" fmla="*/ 1297781 h 1533525"/>
                    <a:gd name="connsiteX51" fmla="*/ 885825 w 1393983"/>
                    <a:gd name="connsiteY51" fmla="*/ 1278731 h 1533525"/>
                    <a:gd name="connsiteX52" fmla="*/ 816768 w 1393983"/>
                    <a:gd name="connsiteY52" fmla="*/ 1295400 h 1533525"/>
                    <a:gd name="connsiteX53" fmla="*/ 757237 w 1393983"/>
                    <a:gd name="connsiteY53" fmla="*/ 1259681 h 1533525"/>
                    <a:gd name="connsiteX54" fmla="*/ 742950 w 1393983"/>
                    <a:gd name="connsiteY54" fmla="*/ 1312069 h 1533525"/>
                    <a:gd name="connsiteX55" fmla="*/ 704850 w 1393983"/>
                    <a:gd name="connsiteY55" fmla="*/ 1345406 h 1533525"/>
                    <a:gd name="connsiteX56" fmla="*/ 692943 w 1393983"/>
                    <a:gd name="connsiteY56" fmla="*/ 1366838 h 1533525"/>
                    <a:gd name="connsiteX57" fmla="*/ 671512 w 1393983"/>
                    <a:gd name="connsiteY57" fmla="*/ 1509713 h 1533525"/>
                    <a:gd name="connsiteX58" fmla="*/ 633412 w 1393983"/>
                    <a:gd name="connsiteY58" fmla="*/ 1490663 h 1533525"/>
                    <a:gd name="connsiteX59" fmla="*/ 614362 w 1393983"/>
                    <a:gd name="connsiteY59" fmla="*/ 1504950 h 1533525"/>
                    <a:gd name="connsiteX60" fmla="*/ 581025 w 1393983"/>
                    <a:gd name="connsiteY60" fmla="*/ 1531144 h 1533525"/>
                    <a:gd name="connsiteX61" fmla="*/ 523875 w 1393983"/>
                    <a:gd name="connsiteY61" fmla="*/ 1502569 h 1533525"/>
                    <a:gd name="connsiteX62" fmla="*/ 514350 w 1393983"/>
                    <a:gd name="connsiteY62" fmla="*/ 1490663 h 1533525"/>
                    <a:gd name="connsiteX63" fmla="*/ 483393 w 1393983"/>
                    <a:gd name="connsiteY63" fmla="*/ 1533525 h 1533525"/>
                    <a:gd name="connsiteX64" fmla="*/ 459581 w 1393983"/>
                    <a:gd name="connsiteY64" fmla="*/ 1481138 h 1533525"/>
                    <a:gd name="connsiteX65" fmla="*/ 438150 w 1393983"/>
                    <a:gd name="connsiteY65" fmla="*/ 1471613 h 1533525"/>
                    <a:gd name="connsiteX66" fmla="*/ 400050 w 1393983"/>
                    <a:gd name="connsiteY66" fmla="*/ 1485900 h 1533525"/>
                    <a:gd name="connsiteX67" fmla="*/ 338137 w 1393983"/>
                    <a:gd name="connsiteY67" fmla="*/ 1490663 h 1533525"/>
                    <a:gd name="connsiteX68" fmla="*/ 330993 w 1393983"/>
                    <a:gd name="connsiteY68" fmla="*/ 1497806 h 1533525"/>
                    <a:gd name="connsiteX69" fmla="*/ 271462 w 1393983"/>
                    <a:gd name="connsiteY69" fmla="*/ 1471613 h 1533525"/>
                    <a:gd name="connsiteX70" fmla="*/ 219075 w 1393983"/>
                    <a:gd name="connsiteY70" fmla="*/ 1443038 h 1533525"/>
                    <a:gd name="connsiteX71" fmla="*/ 138112 w 1393983"/>
                    <a:gd name="connsiteY71" fmla="*/ 1402556 h 1533525"/>
                    <a:gd name="connsiteX72" fmla="*/ 95250 w 1393983"/>
                    <a:gd name="connsiteY72" fmla="*/ 1316831 h 1533525"/>
                    <a:gd name="connsiteX73" fmla="*/ 80962 w 1393983"/>
                    <a:gd name="connsiteY73" fmla="*/ 1288256 h 1533525"/>
                    <a:gd name="connsiteX74" fmla="*/ 104775 w 1393983"/>
                    <a:gd name="connsiteY74" fmla="*/ 1266825 h 1533525"/>
                    <a:gd name="connsiteX75" fmla="*/ 76200 w 1393983"/>
                    <a:gd name="connsiteY75" fmla="*/ 1212056 h 1533525"/>
                    <a:gd name="connsiteX76" fmla="*/ 109537 w 1393983"/>
                    <a:gd name="connsiteY76" fmla="*/ 1193006 h 1533525"/>
                    <a:gd name="connsiteX77" fmla="*/ 140493 w 1393983"/>
                    <a:gd name="connsiteY77" fmla="*/ 1143000 h 1533525"/>
                    <a:gd name="connsiteX78" fmla="*/ 123825 w 1393983"/>
                    <a:gd name="connsiteY78" fmla="*/ 1107281 h 1533525"/>
                    <a:gd name="connsiteX79" fmla="*/ 178593 w 1393983"/>
                    <a:gd name="connsiteY79" fmla="*/ 1107281 h 1533525"/>
                    <a:gd name="connsiteX80" fmla="*/ 192881 w 1393983"/>
                    <a:gd name="connsiteY80" fmla="*/ 1109663 h 1533525"/>
                    <a:gd name="connsiteX81" fmla="*/ 159543 w 1393983"/>
                    <a:gd name="connsiteY81" fmla="*/ 1064419 h 1533525"/>
                    <a:gd name="connsiteX82" fmla="*/ 169068 w 1393983"/>
                    <a:gd name="connsiteY82" fmla="*/ 1014413 h 1533525"/>
                    <a:gd name="connsiteX83" fmla="*/ 123825 w 1393983"/>
                    <a:gd name="connsiteY83" fmla="*/ 997744 h 1533525"/>
                    <a:gd name="connsiteX84" fmla="*/ 61912 w 1393983"/>
                    <a:gd name="connsiteY84" fmla="*/ 954881 h 1533525"/>
                    <a:gd name="connsiteX85" fmla="*/ 45243 w 1393983"/>
                    <a:gd name="connsiteY85" fmla="*/ 938213 h 1533525"/>
                    <a:gd name="connsiteX86" fmla="*/ 64293 w 1393983"/>
                    <a:gd name="connsiteY86" fmla="*/ 909638 h 1533525"/>
                    <a:gd name="connsiteX87" fmla="*/ 47625 w 1393983"/>
                    <a:gd name="connsiteY87" fmla="*/ 897731 h 1533525"/>
                    <a:gd name="connsiteX88" fmla="*/ 47625 w 1393983"/>
                    <a:gd name="connsiteY88" fmla="*/ 881063 h 1533525"/>
                    <a:gd name="connsiteX89" fmla="*/ 26193 w 1393983"/>
                    <a:gd name="connsiteY89" fmla="*/ 881063 h 1533525"/>
                    <a:gd name="connsiteX90" fmla="*/ 7143 w 1393983"/>
                    <a:gd name="connsiteY90" fmla="*/ 847725 h 1533525"/>
                    <a:gd name="connsiteX91" fmla="*/ 0 w 1393983"/>
                    <a:gd name="connsiteY91" fmla="*/ 816769 h 1533525"/>
                    <a:gd name="connsiteX92" fmla="*/ 54768 w 1393983"/>
                    <a:gd name="connsiteY92" fmla="*/ 800100 h 1533525"/>
                    <a:gd name="connsiteX93" fmla="*/ 76200 w 1393983"/>
                    <a:gd name="connsiteY93" fmla="*/ 788194 h 1533525"/>
                    <a:gd name="connsiteX94" fmla="*/ 128587 w 1393983"/>
                    <a:gd name="connsiteY94" fmla="*/ 821531 h 1533525"/>
                    <a:gd name="connsiteX95" fmla="*/ 126206 w 1393983"/>
                    <a:gd name="connsiteY95" fmla="*/ 800100 h 1533525"/>
                    <a:gd name="connsiteX96" fmla="*/ 164306 w 1393983"/>
                    <a:gd name="connsiteY96" fmla="*/ 795338 h 1533525"/>
                    <a:gd name="connsiteX97" fmla="*/ 173831 w 1393983"/>
                    <a:gd name="connsiteY97" fmla="*/ 759619 h 1533525"/>
                    <a:gd name="connsiteX98" fmla="*/ 235743 w 1393983"/>
                    <a:gd name="connsiteY98" fmla="*/ 764381 h 1533525"/>
                    <a:gd name="connsiteX99" fmla="*/ 235743 w 1393983"/>
                    <a:gd name="connsiteY99" fmla="*/ 764381 h 1533525"/>
                    <a:gd name="connsiteX100" fmla="*/ 245268 w 1393983"/>
                    <a:gd name="connsiteY100" fmla="*/ 704850 h 1533525"/>
                    <a:gd name="connsiteX101" fmla="*/ 276225 w 1393983"/>
                    <a:gd name="connsiteY101" fmla="*/ 666750 h 1533525"/>
                    <a:gd name="connsiteX102" fmla="*/ 292893 w 1393983"/>
                    <a:gd name="connsiteY102" fmla="*/ 638175 h 1533525"/>
                    <a:gd name="connsiteX103" fmla="*/ 245268 w 1393983"/>
                    <a:gd name="connsiteY103" fmla="*/ 602456 h 1533525"/>
                    <a:gd name="connsiteX104" fmla="*/ 264318 w 1393983"/>
                    <a:gd name="connsiteY104" fmla="*/ 585788 h 1533525"/>
                    <a:gd name="connsiteX105" fmla="*/ 311943 w 1393983"/>
                    <a:gd name="connsiteY105" fmla="*/ 602456 h 1533525"/>
                    <a:gd name="connsiteX106" fmla="*/ 369093 w 1393983"/>
                    <a:gd name="connsiteY106" fmla="*/ 573881 h 1533525"/>
                    <a:gd name="connsiteX107" fmla="*/ 457200 w 1393983"/>
                    <a:gd name="connsiteY107" fmla="*/ 545306 h 1533525"/>
                    <a:gd name="connsiteX108" fmla="*/ 538162 w 1393983"/>
                    <a:gd name="connsiteY108" fmla="*/ 578644 h 1533525"/>
                    <a:gd name="connsiteX109" fmla="*/ 614362 w 1393983"/>
                    <a:gd name="connsiteY109" fmla="*/ 550069 h 1533525"/>
                    <a:gd name="connsiteX110" fmla="*/ 650081 w 1393983"/>
                    <a:gd name="connsiteY110" fmla="*/ 552450 h 1533525"/>
                    <a:gd name="connsiteX111" fmla="*/ 654843 w 1393983"/>
                    <a:gd name="connsiteY111" fmla="*/ 523875 h 1533525"/>
                    <a:gd name="connsiteX112" fmla="*/ 654843 w 1393983"/>
                    <a:gd name="connsiteY112" fmla="*/ 490538 h 1533525"/>
                    <a:gd name="connsiteX113" fmla="*/ 669131 w 1393983"/>
                    <a:gd name="connsiteY113" fmla="*/ 469106 h 1533525"/>
                    <a:gd name="connsiteX114" fmla="*/ 652462 w 1393983"/>
                    <a:gd name="connsiteY114" fmla="*/ 450056 h 1533525"/>
                    <a:gd name="connsiteX115" fmla="*/ 642937 w 1393983"/>
                    <a:gd name="connsiteY115" fmla="*/ 411956 h 1533525"/>
                    <a:gd name="connsiteX116" fmla="*/ 642937 w 1393983"/>
                    <a:gd name="connsiteY116" fmla="*/ 330994 h 1533525"/>
                    <a:gd name="connsiteX117" fmla="*/ 633412 w 1393983"/>
                    <a:gd name="connsiteY117" fmla="*/ 319088 h 1533525"/>
                    <a:gd name="connsiteX118" fmla="*/ 664368 w 1393983"/>
                    <a:gd name="connsiteY118" fmla="*/ 285750 h 1533525"/>
                    <a:gd name="connsiteX119" fmla="*/ 721518 w 1393983"/>
                    <a:gd name="connsiteY119" fmla="*/ 292894 h 1533525"/>
                    <a:gd name="connsiteX120" fmla="*/ 733425 w 1393983"/>
                    <a:gd name="connsiteY120" fmla="*/ 264319 h 1533525"/>
                    <a:gd name="connsiteX121" fmla="*/ 731043 w 1393983"/>
                    <a:gd name="connsiteY121" fmla="*/ 228600 h 1533525"/>
                    <a:gd name="connsiteX122" fmla="*/ 790575 w 1393983"/>
                    <a:gd name="connsiteY122" fmla="*/ 192881 h 1533525"/>
                    <a:gd name="connsiteX123" fmla="*/ 804862 w 1393983"/>
                    <a:gd name="connsiteY123" fmla="*/ 166688 h 1533525"/>
                    <a:gd name="connsiteX124" fmla="*/ 778668 w 1393983"/>
                    <a:gd name="connsiteY124" fmla="*/ 128588 h 1533525"/>
                    <a:gd name="connsiteX125" fmla="*/ 771525 w 1393983"/>
                    <a:gd name="connsiteY125" fmla="*/ 104775 h 1533525"/>
                    <a:gd name="connsiteX126" fmla="*/ 823912 w 1393983"/>
                    <a:gd name="connsiteY126" fmla="*/ 97631 h 1533525"/>
                    <a:gd name="connsiteX127" fmla="*/ 869156 w 1393983"/>
                    <a:gd name="connsiteY127" fmla="*/ 52388 h 1533525"/>
                    <a:gd name="connsiteX128" fmla="*/ 890587 w 1393983"/>
                    <a:gd name="connsiteY128" fmla="*/ 23813 h 1533525"/>
                    <a:gd name="connsiteX129" fmla="*/ 923925 w 1393983"/>
                    <a:gd name="connsiteY129" fmla="*/ 9525 h 1533525"/>
                    <a:gd name="connsiteX130" fmla="*/ 971550 w 1393983"/>
                    <a:gd name="connsiteY130" fmla="*/ 0 h 1533525"/>
                    <a:gd name="connsiteX131" fmla="*/ 971550 w 1393983"/>
                    <a:gd name="connsiteY131" fmla="*/ 40481 h 1533525"/>
                    <a:gd name="connsiteX132" fmla="*/ 950118 w 1393983"/>
                    <a:gd name="connsiteY132" fmla="*/ 80963 h 1533525"/>
                    <a:gd name="connsiteX133" fmla="*/ 950118 w 1393983"/>
                    <a:gd name="connsiteY133" fmla="*/ 140494 h 1533525"/>
                    <a:gd name="connsiteX134" fmla="*/ 969168 w 1393983"/>
                    <a:gd name="connsiteY134" fmla="*/ 161925 h 1533525"/>
                    <a:gd name="connsiteX135" fmla="*/ 1007268 w 1393983"/>
                    <a:gd name="connsiteY135" fmla="*/ 188119 h 1533525"/>
                    <a:gd name="connsiteX136" fmla="*/ 1019175 w 1393983"/>
                    <a:gd name="connsiteY136" fmla="*/ 216694 h 1533525"/>
                    <a:gd name="connsiteX137" fmla="*/ 1004887 w 1393983"/>
                    <a:gd name="connsiteY137" fmla="*/ 226219 h 1533525"/>
                    <a:gd name="connsiteX138" fmla="*/ 1057275 w 1393983"/>
                    <a:gd name="connsiteY138" fmla="*/ 250031 h 1533525"/>
                    <a:gd name="connsiteX139" fmla="*/ 1073943 w 1393983"/>
                    <a:gd name="connsiteY139" fmla="*/ 228600 h 1533525"/>
                    <a:gd name="connsiteX140" fmla="*/ 1083468 w 1393983"/>
                    <a:gd name="connsiteY140" fmla="*/ 252413 h 1533525"/>
                    <a:gd name="connsiteX141" fmla="*/ 1116806 w 1393983"/>
                    <a:gd name="connsiteY141" fmla="*/ 252413 h 1533525"/>
                    <a:gd name="connsiteX142" fmla="*/ 1123950 w 1393983"/>
                    <a:gd name="connsiteY142" fmla="*/ 257175 h 1533525"/>
                    <a:gd name="connsiteX143" fmla="*/ 1116806 w 1393983"/>
                    <a:gd name="connsiteY143" fmla="*/ 276225 h 1533525"/>
                    <a:gd name="connsiteX144" fmla="*/ 1088231 w 1393983"/>
                    <a:gd name="connsiteY144" fmla="*/ 309563 h 1533525"/>
                    <a:gd name="connsiteX145" fmla="*/ 1123950 w 1393983"/>
                    <a:gd name="connsiteY145" fmla="*/ 333375 h 1533525"/>
                    <a:gd name="connsiteX146" fmla="*/ 1135856 w 1393983"/>
                    <a:gd name="connsiteY146" fmla="*/ 347663 h 1533525"/>
                    <a:gd name="connsiteX147" fmla="*/ 1135856 w 1393983"/>
                    <a:gd name="connsiteY147" fmla="*/ 376238 h 1533525"/>
                    <a:gd name="connsiteX148" fmla="*/ 1119187 w 1393983"/>
                    <a:gd name="connsiteY148" fmla="*/ 411956 h 1533525"/>
                    <a:gd name="connsiteX149" fmla="*/ 1162050 w 1393983"/>
                    <a:gd name="connsiteY149" fmla="*/ 423863 h 1533525"/>
                    <a:gd name="connsiteX150" fmla="*/ 1233487 w 1393983"/>
                    <a:gd name="connsiteY150" fmla="*/ 416719 h 1533525"/>
                    <a:gd name="connsiteX151" fmla="*/ 1223962 w 1393983"/>
                    <a:gd name="connsiteY151" fmla="*/ 385763 h 1533525"/>
                    <a:gd name="connsiteX152" fmla="*/ 1188243 w 1393983"/>
                    <a:gd name="connsiteY152" fmla="*/ 347663 h 1533525"/>
                    <a:gd name="connsiteX153" fmla="*/ 1181100 w 1393983"/>
                    <a:gd name="connsiteY153" fmla="*/ 333375 h 1533525"/>
                    <a:gd name="connsiteX154" fmla="*/ 1207293 w 1393983"/>
                    <a:gd name="connsiteY154" fmla="*/ 326231 h 1533525"/>
                    <a:gd name="connsiteX155" fmla="*/ 1200150 w 1393983"/>
                    <a:gd name="connsiteY155" fmla="*/ 302419 h 1533525"/>
                    <a:gd name="connsiteX156" fmla="*/ 1223962 w 1393983"/>
                    <a:gd name="connsiteY156" fmla="*/ 283369 h 1533525"/>
                    <a:gd name="connsiteX157" fmla="*/ 1393983 w 1393983"/>
                    <a:gd name="connsiteY157" fmla="*/ 303371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148" fmla="*/ 1119187 w 1266825"/>
                    <a:gd name="connsiteY148" fmla="*/ 411956 h 1533525"/>
                    <a:gd name="connsiteX149" fmla="*/ 1162050 w 1266825"/>
                    <a:gd name="connsiteY149" fmla="*/ 423863 h 1533525"/>
                    <a:gd name="connsiteX150" fmla="*/ 1233487 w 1266825"/>
                    <a:gd name="connsiteY150" fmla="*/ 416719 h 1533525"/>
                    <a:gd name="connsiteX151" fmla="*/ 1223962 w 1266825"/>
                    <a:gd name="connsiteY151" fmla="*/ 385763 h 1533525"/>
                    <a:gd name="connsiteX152" fmla="*/ 1188243 w 1266825"/>
                    <a:gd name="connsiteY152" fmla="*/ 347663 h 1533525"/>
                    <a:gd name="connsiteX153" fmla="*/ 1181100 w 1266825"/>
                    <a:gd name="connsiteY153" fmla="*/ 333375 h 1533525"/>
                    <a:gd name="connsiteX154" fmla="*/ 1207293 w 1266825"/>
                    <a:gd name="connsiteY154" fmla="*/ 326231 h 1533525"/>
                    <a:gd name="connsiteX155" fmla="*/ 1200150 w 1266825"/>
                    <a:gd name="connsiteY155" fmla="*/ 302419 h 1533525"/>
                    <a:gd name="connsiteX156" fmla="*/ 1223962 w 1266825"/>
                    <a:gd name="connsiteY156" fmla="*/ 283369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148" fmla="*/ 1119187 w 1266825"/>
                    <a:gd name="connsiteY148" fmla="*/ 411956 h 1533525"/>
                    <a:gd name="connsiteX149" fmla="*/ 1162050 w 1266825"/>
                    <a:gd name="connsiteY149" fmla="*/ 423863 h 1533525"/>
                    <a:gd name="connsiteX150" fmla="*/ 1233487 w 1266825"/>
                    <a:gd name="connsiteY150" fmla="*/ 416719 h 1533525"/>
                    <a:gd name="connsiteX151" fmla="*/ 1223962 w 1266825"/>
                    <a:gd name="connsiteY151" fmla="*/ 385763 h 1533525"/>
                    <a:gd name="connsiteX152" fmla="*/ 1188243 w 1266825"/>
                    <a:gd name="connsiteY152" fmla="*/ 347663 h 1533525"/>
                    <a:gd name="connsiteX153" fmla="*/ 1181100 w 1266825"/>
                    <a:gd name="connsiteY153" fmla="*/ 333375 h 1533525"/>
                    <a:gd name="connsiteX154" fmla="*/ 1207293 w 1266825"/>
                    <a:gd name="connsiteY154" fmla="*/ 326231 h 1533525"/>
                    <a:gd name="connsiteX155" fmla="*/ 1200150 w 1266825"/>
                    <a:gd name="connsiteY155" fmla="*/ 302419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148" fmla="*/ 1119187 w 1266825"/>
                    <a:gd name="connsiteY148" fmla="*/ 411956 h 1533525"/>
                    <a:gd name="connsiteX149" fmla="*/ 1162050 w 1266825"/>
                    <a:gd name="connsiteY149" fmla="*/ 423863 h 1533525"/>
                    <a:gd name="connsiteX150" fmla="*/ 1233487 w 1266825"/>
                    <a:gd name="connsiteY150" fmla="*/ 416719 h 1533525"/>
                    <a:gd name="connsiteX151" fmla="*/ 1223962 w 1266825"/>
                    <a:gd name="connsiteY151" fmla="*/ 385763 h 1533525"/>
                    <a:gd name="connsiteX152" fmla="*/ 1188243 w 1266825"/>
                    <a:gd name="connsiteY152" fmla="*/ 347663 h 1533525"/>
                    <a:gd name="connsiteX153" fmla="*/ 1181100 w 1266825"/>
                    <a:gd name="connsiteY153" fmla="*/ 333375 h 1533525"/>
                    <a:gd name="connsiteX154" fmla="*/ 1207293 w 1266825"/>
                    <a:gd name="connsiteY154" fmla="*/ 326231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148" fmla="*/ 1119187 w 1266825"/>
                    <a:gd name="connsiteY148" fmla="*/ 411956 h 1533525"/>
                    <a:gd name="connsiteX149" fmla="*/ 1162050 w 1266825"/>
                    <a:gd name="connsiteY149" fmla="*/ 423863 h 1533525"/>
                    <a:gd name="connsiteX150" fmla="*/ 1233487 w 1266825"/>
                    <a:gd name="connsiteY150" fmla="*/ 416719 h 1533525"/>
                    <a:gd name="connsiteX151" fmla="*/ 1223962 w 1266825"/>
                    <a:gd name="connsiteY151" fmla="*/ 385763 h 1533525"/>
                    <a:gd name="connsiteX152" fmla="*/ 1188243 w 1266825"/>
                    <a:gd name="connsiteY152" fmla="*/ 347663 h 1533525"/>
                    <a:gd name="connsiteX153" fmla="*/ 1181100 w 1266825"/>
                    <a:gd name="connsiteY153" fmla="*/ 333375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148" fmla="*/ 1119187 w 1266825"/>
                    <a:gd name="connsiteY148" fmla="*/ 411956 h 1533525"/>
                    <a:gd name="connsiteX149" fmla="*/ 1162050 w 1266825"/>
                    <a:gd name="connsiteY149" fmla="*/ 423863 h 1533525"/>
                    <a:gd name="connsiteX150" fmla="*/ 1233487 w 1266825"/>
                    <a:gd name="connsiteY150" fmla="*/ 416719 h 1533525"/>
                    <a:gd name="connsiteX151" fmla="*/ 1223962 w 1266825"/>
                    <a:gd name="connsiteY151" fmla="*/ 385763 h 1533525"/>
                    <a:gd name="connsiteX152" fmla="*/ 1188243 w 1266825"/>
                    <a:gd name="connsiteY152" fmla="*/ 347663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148" fmla="*/ 1119187 w 1266825"/>
                    <a:gd name="connsiteY148" fmla="*/ 411956 h 1533525"/>
                    <a:gd name="connsiteX149" fmla="*/ 1162050 w 1266825"/>
                    <a:gd name="connsiteY149" fmla="*/ 423863 h 1533525"/>
                    <a:gd name="connsiteX150" fmla="*/ 1233487 w 1266825"/>
                    <a:gd name="connsiteY150" fmla="*/ 416719 h 1533525"/>
                    <a:gd name="connsiteX151" fmla="*/ 1223962 w 1266825"/>
                    <a:gd name="connsiteY151" fmla="*/ 385763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148" fmla="*/ 1119187 w 1266825"/>
                    <a:gd name="connsiteY148" fmla="*/ 411956 h 1533525"/>
                    <a:gd name="connsiteX149" fmla="*/ 1162050 w 1266825"/>
                    <a:gd name="connsiteY149" fmla="*/ 423863 h 1533525"/>
                    <a:gd name="connsiteX150" fmla="*/ 1233487 w 1266825"/>
                    <a:gd name="connsiteY150" fmla="*/ 416719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148" fmla="*/ 1119187 w 1266825"/>
                    <a:gd name="connsiteY148" fmla="*/ 411956 h 1533525"/>
                    <a:gd name="connsiteX149" fmla="*/ 1162050 w 1266825"/>
                    <a:gd name="connsiteY149" fmla="*/ 423863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148" fmla="*/ 1119187 w 1266825"/>
                    <a:gd name="connsiteY148" fmla="*/ 411956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147" fmla="*/ 1135856 w 1266825"/>
                    <a:gd name="connsiteY147" fmla="*/ 376238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146" fmla="*/ 1135856 w 1266825"/>
                    <a:gd name="connsiteY146" fmla="*/ 347663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145" fmla="*/ 1123950 w 1266825"/>
                    <a:gd name="connsiteY145" fmla="*/ 333375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144" fmla="*/ 1088231 w 1266825"/>
                    <a:gd name="connsiteY144" fmla="*/ 309563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143" fmla="*/ 1116806 w 1266825"/>
                    <a:gd name="connsiteY143" fmla="*/ 276225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142" fmla="*/ 1123950 w 1266825"/>
                    <a:gd name="connsiteY142" fmla="*/ 257175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141" fmla="*/ 1116806 w 1266825"/>
                    <a:gd name="connsiteY141" fmla="*/ 252413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140" fmla="*/ 1083468 w 1266825"/>
                    <a:gd name="connsiteY140" fmla="*/ 252413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  <a:gd name="connsiteX139" fmla="*/ 1073943 w 1266825"/>
                    <a:gd name="connsiteY139" fmla="*/ 228600 h 1533525"/>
                    <a:gd name="connsiteX0" fmla="*/ 1057275 w 1266825"/>
                    <a:gd name="connsiteY0" fmla="*/ 264319 h 1533525"/>
                    <a:gd name="connsiteX1" fmla="*/ 1062037 w 1266825"/>
                    <a:gd name="connsiteY1" fmla="*/ 304800 h 1533525"/>
                    <a:gd name="connsiteX2" fmla="*/ 995362 w 1266825"/>
                    <a:gd name="connsiteY2" fmla="*/ 352425 h 1533525"/>
                    <a:gd name="connsiteX3" fmla="*/ 973931 w 1266825"/>
                    <a:gd name="connsiteY3" fmla="*/ 383381 h 1533525"/>
                    <a:gd name="connsiteX4" fmla="*/ 1000125 w 1266825"/>
                    <a:gd name="connsiteY4" fmla="*/ 428625 h 1533525"/>
                    <a:gd name="connsiteX5" fmla="*/ 983456 w 1266825"/>
                    <a:gd name="connsiteY5" fmla="*/ 466725 h 1533525"/>
                    <a:gd name="connsiteX6" fmla="*/ 1000125 w 1266825"/>
                    <a:gd name="connsiteY6" fmla="*/ 519113 h 1533525"/>
                    <a:gd name="connsiteX7" fmla="*/ 1033462 w 1266825"/>
                    <a:gd name="connsiteY7" fmla="*/ 519113 h 1533525"/>
                    <a:gd name="connsiteX8" fmla="*/ 1019175 w 1266825"/>
                    <a:gd name="connsiteY8" fmla="*/ 552450 h 1533525"/>
                    <a:gd name="connsiteX9" fmla="*/ 1035843 w 1266825"/>
                    <a:gd name="connsiteY9" fmla="*/ 590550 h 1533525"/>
                    <a:gd name="connsiteX10" fmla="*/ 1035843 w 1266825"/>
                    <a:gd name="connsiteY10" fmla="*/ 607219 h 1533525"/>
                    <a:gd name="connsiteX11" fmla="*/ 1045368 w 1266825"/>
                    <a:gd name="connsiteY11" fmla="*/ 645319 h 1533525"/>
                    <a:gd name="connsiteX12" fmla="*/ 1064418 w 1266825"/>
                    <a:gd name="connsiteY12" fmla="*/ 645319 h 1533525"/>
                    <a:gd name="connsiteX13" fmla="*/ 1078706 w 1266825"/>
                    <a:gd name="connsiteY13" fmla="*/ 666750 h 1533525"/>
                    <a:gd name="connsiteX14" fmla="*/ 1085850 w 1266825"/>
                    <a:gd name="connsiteY14" fmla="*/ 688181 h 1533525"/>
                    <a:gd name="connsiteX15" fmla="*/ 1076325 w 1266825"/>
                    <a:gd name="connsiteY15" fmla="*/ 719138 h 1533525"/>
                    <a:gd name="connsiteX16" fmla="*/ 1021556 w 1266825"/>
                    <a:gd name="connsiteY16" fmla="*/ 714375 h 1533525"/>
                    <a:gd name="connsiteX17" fmla="*/ 1002506 w 1266825"/>
                    <a:gd name="connsiteY17" fmla="*/ 721519 h 1533525"/>
                    <a:gd name="connsiteX18" fmla="*/ 995362 w 1266825"/>
                    <a:gd name="connsiteY18" fmla="*/ 726281 h 1533525"/>
                    <a:gd name="connsiteX19" fmla="*/ 995362 w 1266825"/>
                    <a:gd name="connsiteY19" fmla="*/ 726281 h 1533525"/>
                    <a:gd name="connsiteX20" fmla="*/ 923925 w 1266825"/>
                    <a:gd name="connsiteY20" fmla="*/ 721519 h 1533525"/>
                    <a:gd name="connsiteX21" fmla="*/ 940593 w 1266825"/>
                    <a:gd name="connsiteY21" fmla="*/ 778669 h 1533525"/>
                    <a:gd name="connsiteX22" fmla="*/ 938212 w 1266825"/>
                    <a:gd name="connsiteY22" fmla="*/ 847725 h 1533525"/>
                    <a:gd name="connsiteX23" fmla="*/ 954881 w 1266825"/>
                    <a:gd name="connsiteY23" fmla="*/ 871538 h 1533525"/>
                    <a:gd name="connsiteX24" fmla="*/ 997743 w 1266825"/>
                    <a:gd name="connsiteY24" fmla="*/ 919163 h 1533525"/>
                    <a:gd name="connsiteX25" fmla="*/ 1012031 w 1266825"/>
                    <a:gd name="connsiteY25" fmla="*/ 954881 h 1533525"/>
                    <a:gd name="connsiteX26" fmla="*/ 1031081 w 1266825"/>
                    <a:gd name="connsiteY26" fmla="*/ 954881 h 1533525"/>
                    <a:gd name="connsiteX27" fmla="*/ 1071562 w 1266825"/>
                    <a:gd name="connsiteY27" fmla="*/ 940594 h 1533525"/>
                    <a:gd name="connsiteX28" fmla="*/ 1102518 w 1266825"/>
                    <a:gd name="connsiteY28" fmla="*/ 933450 h 1533525"/>
                    <a:gd name="connsiteX29" fmla="*/ 1159668 w 1266825"/>
                    <a:gd name="connsiteY29" fmla="*/ 997744 h 1533525"/>
                    <a:gd name="connsiteX30" fmla="*/ 1178718 w 1266825"/>
                    <a:gd name="connsiteY30" fmla="*/ 1052513 h 1533525"/>
                    <a:gd name="connsiteX31" fmla="*/ 1190625 w 1266825"/>
                    <a:gd name="connsiteY31" fmla="*/ 1081088 h 1533525"/>
                    <a:gd name="connsiteX32" fmla="*/ 1212056 w 1266825"/>
                    <a:gd name="connsiteY32" fmla="*/ 1109663 h 1533525"/>
                    <a:gd name="connsiteX33" fmla="*/ 1231106 w 1266825"/>
                    <a:gd name="connsiteY33" fmla="*/ 1102519 h 1533525"/>
                    <a:gd name="connsiteX34" fmla="*/ 1231106 w 1266825"/>
                    <a:gd name="connsiteY34" fmla="*/ 1131094 h 1533525"/>
                    <a:gd name="connsiteX35" fmla="*/ 1233487 w 1266825"/>
                    <a:gd name="connsiteY35" fmla="*/ 1145381 h 1533525"/>
                    <a:gd name="connsiteX36" fmla="*/ 1266825 w 1266825"/>
                    <a:gd name="connsiteY36" fmla="*/ 1181100 h 1533525"/>
                    <a:gd name="connsiteX37" fmla="*/ 1233487 w 1266825"/>
                    <a:gd name="connsiteY37" fmla="*/ 1181100 h 1533525"/>
                    <a:gd name="connsiteX38" fmla="*/ 1228725 w 1266825"/>
                    <a:gd name="connsiteY38" fmla="*/ 1223963 h 1533525"/>
                    <a:gd name="connsiteX39" fmla="*/ 1226343 w 1266825"/>
                    <a:gd name="connsiteY39" fmla="*/ 1243013 h 1533525"/>
                    <a:gd name="connsiteX40" fmla="*/ 1216818 w 1266825"/>
                    <a:gd name="connsiteY40" fmla="*/ 1264444 h 1533525"/>
                    <a:gd name="connsiteX41" fmla="*/ 1190625 w 1266825"/>
                    <a:gd name="connsiteY41" fmla="*/ 1238250 h 1533525"/>
                    <a:gd name="connsiteX42" fmla="*/ 1157287 w 1266825"/>
                    <a:gd name="connsiteY42" fmla="*/ 1209675 h 1533525"/>
                    <a:gd name="connsiteX43" fmla="*/ 1131093 w 1266825"/>
                    <a:gd name="connsiteY43" fmla="*/ 1185863 h 1533525"/>
                    <a:gd name="connsiteX44" fmla="*/ 1107281 w 1266825"/>
                    <a:gd name="connsiteY44" fmla="*/ 1219200 h 1533525"/>
                    <a:gd name="connsiteX45" fmla="*/ 1104900 w 1266825"/>
                    <a:gd name="connsiteY45" fmla="*/ 1264444 h 1533525"/>
                    <a:gd name="connsiteX46" fmla="*/ 1062037 w 1266825"/>
                    <a:gd name="connsiteY46" fmla="*/ 1259681 h 1533525"/>
                    <a:gd name="connsiteX47" fmla="*/ 1026318 w 1266825"/>
                    <a:gd name="connsiteY47" fmla="*/ 1288256 h 1533525"/>
                    <a:gd name="connsiteX48" fmla="*/ 1007268 w 1266825"/>
                    <a:gd name="connsiteY48" fmla="*/ 1240631 h 1533525"/>
                    <a:gd name="connsiteX49" fmla="*/ 947737 w 1266825"/>
                    <a:gd name="connsiteY49" fmla="*/ 1231106 h 1533525"/>
                    <a:gd name="connsiteX50" fmla="*/ 921543 w 1266825"/>
                    <a:gd name="connsiteY50" fmla="*/ 1297781 h 1533525"/>
                    <a:gd name="connsiteX51" fmla="*/ 885825 w 1266825"/>
                    <a:gd name="connsiteY51" fmla="*/ 1278731 h 1533525"/>
                    <a:gd name="connsiteX52" fmla="*/ 816768 w 1266825"/>
                    <a:gd name="connsiteY52" fmla="*/ 1295400 h 1533525"/>
                    <a:gd name="connsiteX53" fmla="*/ 757237 w 1266825"/>
                    <a:gd name="connsiteY53" fmla="*/ 1259681 h 1533525"/>
                    <a:gd name="connsiteX54" fmla="*/ 742950 w 1266825"/>
                    <a:gd name="connsiteY54" fmla="*/ 1312069 h 1533525"/>
                    <a:gd name="connsiteX55" fmla="*/ 704850 w 1266825"/>
                    <a:gd name="connsiteY55" fmla="*/ 1345406 h 1533525"/>
                    <a:gd name="connsiteX56" fmla="*/ 692943 w 1266825"/>
                    <a:gd name="connsiteY56" fmla="*/ 1366838 h 1533525"/>
                    <a:gd name="connsiteX57" fmla="*/ 671512 w 1266825"/>
                    <a:gd name="connsiteY57" fmla="*/ 1509713 h 1533525"/>
                    <a:gd name="connsiteX58" fmla="*/ 633412 w 1266825"/>
                    <a:gd name="connsiteY58" fmla="*/ 1490663 h 1533525"/>
                    <a:gd name="connsiteX59" fmla="*/ 614362 w 1266825"/>
                    <a:gd name="connsiteY59" fmla="*/ 1504950 h 1533525"/>
                    <a:gd name="connsiteX60" fmla="*/ 581025 w 1266825"/>
                    <a:gd name="connsiteY60" fmla="*/ 1531144 h 1533525"/>
                    <a:gd name="connsiteX61" fmla="*/ 523875 w 1266825"/>
                    <a:gd name="connsiteY61" fmla="*/ 1502569 h 1533525"/>
                    <a:gd name="connsiteX62" fmla="*/ 514350 w 1266825"/>
                    <a:gd name="connsiteY62" fmla="*/ 1490663 h 1533525"/>
                    <a:gd name="connsiteX63" fmla="*/ 483393 w 1266825"/>
                    <a:gd name="connsiteY63" fmla="*/ 1533525 h 1533525"/>
                    <a:gd name="connsiteX64" fmla="*/ 459581 w 1266825"/>
                    <a:gd name="connsiteY64" fmla="*/ 1481138 h 1533525"/>
                    <a:gd name="connsiteX65" fmla="*/ 438150 w 1266825"/>
                    <a:gd name="connsiteY65" fmla="*/ 1471613 h 1533525"/>
                    <a:gd name="connsiteX66" fmla="*/ 400050 w 1266825"/>
                    <a:gd name="connsiteY66" fmla="*/ 1485900 h 1533525"/>
                    <a:gd name="connsiteX67" fmla="*/ 338137 w 1266825"/>
                    <a:gd name="connsiteY67" fmla="*/ 1490663 h 1533525"/>
                    <a:gd name="connsiteX68" fmla="*/ 330993 w 1266825"/>
                    <a:gd name="connsiteY68" fmla="*/ 1497806 h 1533525"/>
                    <a:gd name="connsiteX69" fmla="*/ 271462 w 1266825"/>
                    <a:gd name="connsiteY69" fmla="*/ 1471613 h 1533525"/>
                    <a:gd name="connsiteX70" fmla="*/ 219075 w 1266825"/>
                    <a:gd name="connsiteY70" fmla="*/ 1443038 h 1533525"/>
                    <a:gd name="connsiteX71" fmla="*/ 138112 w 1266825"/>
                    <a:gd name="connsiteY71" fmla="*/ 1402556 h 1533525"/>
                    <a:gd name="connsiteX72" fmla="*/ 95250 w 1266825"/>
                    <a:gd name="connsiteY72" fmla="*/ 1316831 h 1533525"/>
                    <a:gd name="connsiteX73" fmla="*/ 80962 w 1266825"/>
                    <a:gd name="connsiteY73" fmla="*/ 1288256 h 1533525"/>
                    <a:gd name="connsiteX74" fmla="*/ 104775 w 1266825"/>
                    <a:gd name="connsiteY74" fmla="*/ 1266825 h 1533525"/>
                    <a:gd name="connsiteX75" fmla="*/ 76200 w 1266825"/>
                    <a:gd name="connsiteY75" fmla="*/ 1212056 h 1533525"/>
                    <a:gd name="connsiteX76" fmla="*/ 109537 w 1266825"/>
                    <a:gd name="connsiteY76" fmla="*/ 1193006 h 1533525"/>
                    <a:gd name="connsiteX77" fmla="*/ 140493 w 1266825"/>
                    <a:gd name="connsiteY77" fmla="*/ 1143000 h 1533525"/>
                    <a:gd name="connsiteX78" fmla="*/ 123825 w 1266825"/>
                    <a:gd name="connsiteY78" fmla="*/ 1107281 h 1533525"/>
                    <a:gd name="connsiteX79" fmla="*/ 178593 w 1266825"/>
                    <a:gd name="connsiteY79" fmla="*/ 1107281 h 1533525"/>
                    <a:gd name="connsiteX80" fmla="*/ 192881 w 1266825"/>
                    <a:gd name="connsiteY80" fmla="*/ 1109663 h 1533525"/>
                    <a:gd name="connsiteX81" fmla="*/ 159543 w 1266825"/>
                    <a:gd name="connsiteY81" fmla="*/ 1064419 h 1533525"/>
                    <a:gd name="connsiteX82" fmla="*/ 169068 w 1266825"/>
                    <a:gd name="connsiteY82" fmla="*/ 1014413 h 1533525"/>
                    <a:gd name="connsiteX83" fmla="*/ 123825 w 1266825"/>
                    <a:gd name="connsiteY83" fmla="*/ 997744 h 1533525"/>
                    <a:gd name="connsiteX84" fmla="*/ 61912 w 1266825"/>
                    <a:gd name="connsiteY84" fmla="*/ 954881 h 1533525"/>
                    <a:gd name="connsiteX85" fmla="*/ 45243 w 1266825"/>
                    <a:gd name="connsiteY85" fmla="*/ 938213 h 1533525"/>
                    <a:gd name="connsiteX86" fmla="*/ 64293 w 1266825"/>
                    <a:gd name="connsiteY86" fmla="*/ 909638 h 1533525"/>
                    <a:gd name="connsiteX87" fmla="*/ 47625 w 1266825"/>
                    <a:gd name="connsiteY87" fmla="*/ 897731 h 1533525"/>
                    <a:gd name="connsiteX88" fmla="*/ 47625 w 1266825"/>
                    <a:gd name="connsiteY88" fmla="*/ 881063 h 1533525"/>
                    <a:gd name="connsiteX89" fmla="*/ 26193 w 1266825"/>
                    <a:gd name="connsiteY89" fmla="*/ 881063 h 1533525"/>
                    <a:gd name="connsiteX90" fmla="*/ 7143 w 1266825"/>
                    <a:gd name="connsiteY90" fmla="*/ 847725 h 1533525"/>
                    <a:gd name="connsiteX91" fmla="*/ 0 w 1266825"/>
                    <a:gd name="connsiteY91" fmla="*/ 816769 h 1533525"/>
                    <a:gd name="connsiteX92" fmla="*/ 54768 w 1266825"/>
                    <a:gd name="connsiteY92" fmla="*/ 800100 h 1533525"/>
                    <a:gd name="connsiteX93" fmla="*/ 76200 w 1266825"/>
                    <a:gd name="connsiteY93" fmla="*/ 788194 h 1533525"/>
                    <a:gd name="connsiteX94" fmla="*/ 128587 w 1266825"/>
                    <a:gd name="connsiteY94" fmla="*/ 821531 h 1533525"/>
                    <a:gd name="connsiteX95" fmla="*/ 126206 w 1266825"/>
                    <a:gd name="connsiteY95" fmla="*/ 800100 h 1533525"/>
                    <a:gd name="connsiteX96" fmla="*/ 164306 w 1266825"/>
                    <a:gd name="connsiteY96" fmla="*/ 795338 h 1533525"/>
                    <a:gd name="connsiteX97" fmla="*/ 173831 w 1266825"/>
                    <a:gd name="connsiteY97" fmla="*/ 759619 h 1533525"/>
                    <a:gd name="connsiteX98" fmla="*/ 235743 w 1266825"/>
                    <a:gd name="connsiteY98" fmla="*/ 764381 h 1533525"/>
                    <a:gd name="connsiteX99" fmla="*/ 235743 w 1266825"/>
                    <a:gd name="connsiteY99" fmla="*/ 764381 h 1533525"/>
                    <a:gd name="connsiteX100" fmla="*/ 245268 w 1266825"/>
                    <a:gd name="connsiteY100" fmla="*/ 704850 h 1533525"/>
                    <a:gd name="connsiteX101" fmla="*/ 276225 w 1266825"/>
                    <a:gd name="connsiteY101" fmla="*/ 666750 h 1533525"/>
                    <a:gd name="connsiteX102" fmla="*/ 292893 w 1266825"/>
                    <a:gd name="connsiteY102" fmla="*/ 638175 h 1533525"/>
                    <a:gd name="connsiteX103" fmla="*/ 245268 w 1266825"/>
                    <a:gd name="connsiteY103" fmla="*/ 602456 h 1533525"/>
                    <a:gd name="connsiteX104" fmla="*/ 264318 w 1266825"/>
                    <a:gd name="connsiteY104" fmla="*/ 585788 h 1533525"/>
                    <a:gd name="connsiteX105" fmla="*/ 311943 w 1266825"/>
                    <a:gd name="connsiteY105" fmla="*/ 602456 h 1533525"/>
                    <a:gd name="connsiteX106" fmla="*/ 369093 w 1266825"/>
                    <a:gd name="connsiteY106" fmla="*/ 573881 h 1533525"/>
                    <a:gd name="connsiteX107" fmla="*/ 457200 w 1266825"/>
                    <a:gd name="connsiteY107" fmla="*/ 545306 h 1533525"/>
                    <a:gd name="connsiteX108" fmla="*/ 538162 w 1266825"/>
                    <a:gd name="connsiteY108" fmla="*/ 578644 h 1533525"/>
                    <a:gd name="connsiteX109" fmla="*/ 614362 w 1266825"/>
                    <a:gd name="connsiteY109" fmla="*/ 550069 h 1533525"/>
                    <a:gd name="connsiteX110" fmla="*/ 650081 w 1266825"/>
                    <a:gd name="connsiteY110" fmla="*/ 552450 h 1533525"/>
                    <a:gd name="connsiteX111" fmla="*/ 654843 w 1266825"/>
                    <a:gd name="connsiteY111" fmla="*/ 523875 h 1533525"/>
                    <a:gd name="connsiteX112" fmla="*/ 654843 w 1266825"/>
                    <a:gd name="connsiteY112" fmla="*/ 490538 h 1533525"/>
                    <a:gd name="connsiteX113" fmla="*/ 669131 w 1266825"/>
                    <a:gd name="connsiteY113" fmla="*/ 469106 h 1533525"/>
                    <a:gd name="connsiteX114" fmla="*/ 652462 w 1266825"/>
                    <a:gd name="connsiteY114" fmla="*/ 450056 h 1533525"/>
                    <a:gd name="connsiteX115" fmla="*/ 642937 w 1266825"/>
                    <a:gd name="connsiteY115" fmla="*/ 411956 h 1533525"/>
                    <a:gd name="connsiteX116" fmla="*/ 642937 w 1266825"/>
                    <a:gd name="connsiteY116" fmla="*/ 330994 h 1533525"/>
                    <a:gd name="connsiteX117" fmla="*/ 633412 w 1266825"/>
                    <a:gd name="connsiteY117" fmla="*/ 319088 h 1533525"/>
                    <a:gd name="connsiteX118" fmla="*/ 664368 w 1266825"/>
                    <a:gd name="connsiteY118" fmla="*/ 285750 h 1533525"/>
                    <a:gd name="connsiteX119" fmla="*/ 721518 w 1266825"/>
                    <a:gd name="connsiteY119" fmla="*/ 292894 h 1533525"/>
                    <a:gd name="connsiteX120" fmla="*/ 733425 w 1266825"/>
                    <a:gd name="connsiteY120" fmla="*/ 264319 h 1533525"/>
                    <a:gd name="connsiteX121" fmla="*/ 731043 w 1266825"/>
                    <a:gd name="connsiteY121" fmla="*/ 228600 h 1533525"/>
                    <a:gd name="connsiteX122" fmla="*/ 790575 w 1266825"/>
                    <a:gd name="connsiteY122" fmla="*/ 192881 h 1533525"/>
                    <a:gd name="connsiteX123" fmla="*/ 804862 w 1266825"/>
                    <a:gd name="connsiteY123" fmla="*/ 166688 h 1533525"/>
                    <a:gd name="connsiteX124" fmla="*/ 778668 w 1266825"/>
                    <a:gd name="connsiteY124" fmla="*/ 128588 h 1533525"/>
                    <a:gd name="connsiteX125" fmla="*/ 771525 w 1266825"/>
                    <a:gd name="connsiteY125" fmla="*/ 104775 h 1533525"/>
                    <a:gd name="connsiteX126" fmla="*/ 823912 w 1266825"/>
                    <a:gd name="connsiteY126" fmla="*/ 97631 h 1533525"/>
                    <a:gd name="connsiteX127" fmla="*/ 869156 w 1266825"/>
                    <a:gd name="connsiteY127" fmla="*/ 52388 h 1533525"/>
                    <a:gd name="connsiteX128" fmla="*/ 890587 w 1266825"/>
                    <a:gd name="connsiteY128" fmla="*/ 23813 h 1533525"/>
                    <a:gd name="connsiteX129" fmla="*/ 923925 w 1266825"/>
                    <a:gd name="connsiteY129" fmla="*/ 9525 h 1533525"/>
                    <a:gd name="connsiteX130" fmla="*/ 971550 w 1266825"/>
                    <a:gd name="connsiteY130" fmla="*/ 0 h 1533525"/>
                    <a:gd name="connsiteX131" fmla="*/ 971550 w 1266825"/>
                    <a:gd name="connsiteY131" fmla="*/ 40481 h 1533525"/>
                    <a:gd name="connsiteX132" fmla="*/ 950118 w 1266825"/>
                    <a:gd name="connsiteY132" fmla="*/ 80963 h 1533525"/>
                    <a:gd name="connsiteX133" fmla="*/ 950118 w 1266825"/>
                    <a:gd name="connsiteY133" fmla="*/ 140494 h 1533525"/>
                    <a:gd name="connsiteX134" fmla="*/ 969168 w 1266825"/>
                    <a:gd name="connsiteY134" fmla="*/ 161925 h 1533525"/>
                    <a:gd name="connsiteX135" fmla="*/ 1007268 w 1266825"/>
                    <a:gd name="connsiteY135" fmla="*/ 188119 h 1533525"/>
                    <a:gd name="connsiteX136" fmla="*/ 1019175 w 1266825"/>
                    <a:gd name="connsiteY136" fmla="*/ 216694 h 1533525"/>
                    <a:gd name="connsiteX137" fmla="*/ 1004887 w 1266825"/>
                    <a:gd name="connsiteY137" fmla="*/ 226219 h 1533525"/>
                    <a:gd name="connsiteX138" fmla="*/ 1057275 w 1266825"/>
                    <a:gd name="connsiteY138" fmla="*/ 250031 h 1533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</a:cxnLst>
                  <a:rect l="l" t="t" r="r" b="b"/>
                  <a:pathLst>
                    <a:path w="1266825" h="1533525">
                      <a:moveTo>
                        <a:pt x="1057275" y="264319"/>
                      </a:moveTo>
                      <a:lnTo>
                        <a:pt x="1062037" y="304800"/>
                      </a:lnTo>
                      <a:lnTo>
                        <a:pt x="995362" y="352425"/>
                      </a:lnTo>
                      <a:lnTo>
                        <a:pt x="973931" y="383381"/>
                      </a:lnTo>
                      <a:lnTo>
                        <a:pt x="1000125" y="428625"/>
                      </a:lnTo>
                      <a:lnTo>
                        <a:pt x="983456" y="466725"/>
                      </a:lnTo>
                      <a:lnTo>
                        <a:pt x="1000125" y="519113"/>
                      </a:lnTo>
                      <a:lnTo>
                        <a:pt x="1033462" y="519113"/>
                      </a:lnTo>
                      <a:lnTo>
                        <a:pt x="1019175" y="552450"/>
                      </a:lnTo>
                      <a:lnTo>
                        <a:pt x="1035843" y="590550"/>
                      </a:lnTo>
                      <a:lnTo>
                        <a:pt x="1035843" y="607219"/>
                      </a:lnTo>
                      <a:lnTo>
                        <a:pt x="1045368" y="645319"/>
                      </a:lnTo>
                      <a:lnTo>
                        <a:pt x="1064418" y="645319"/>
                      </a:lnTo>
                      <a:lnTo>
                        <a:pt x="1078706" y="666750"/>
                      </a:lnTo>
                      <a:lnTo>
                        <a:pt x="1085850" y="688181"/>
                      </a:lnTo>
                      <a:lnTo>
                        <a:pt x="1076325" y="719138"/>
                      </a:lnTo>
                      <a:lnTo>
                        <a:pt x="1021556" y="714375"/>
                      </a:lnTo>
                      <a:cubicBezTo>
                        <a:pt x="1015206" y="716756"/>
                        <a:pt x="1008680" y="718713"/>
                        <a:pt x="1002506" y="721519"/>
                      </a:cubicBezTo>
                      <a:cubicBezTo>
                        <a:pt x="999901" y="722703"/>
                        <a:pt x="995362" y="726281"/>
                        <a:pt x="995362" y="726281"/>
                      </a:cubicBezTo>
                      <a:lnTo>
                        <a:pt x="995362" y="726281"/>
                      </a:lnTo>
                      <a:lnTo>
                        <a:pt x="923925" y="721519"/>
                      </a:lnTo>
                      <a:lnTo>
                        <a:pt x="940593" y="778669"/>
                      </a:lnTo>
                      <a:cubicBezTo>
                        <a:pt x="939799" y="801688"/>
                        <a:pt x="939006" y="824706"/>
                        <a:pt x="938212" y="847725"/>
                      </a:cubicBezTo>
                      <a:lnTo>
                        <a:pt x="954881" y="871538"/>
                      </a:lnTo>
                      <a:lnTo>
                        <a:pt x="997743" y="919163"/>
                      </a:lnTo>
                      <a:lnTo>
                        <a:pt x="1012031" y="954881"/>
                      </a:lnTo>
                      <a:lnTo>
                        <a:pt x="1031081" y="954881"/>
                      </a:lnTo>
                      <a:lnTo>
                        <a:pt x="1071562" y="940594"/>
                      </a:lnTo>
                      <a:lnTo>
                        <a:pt x="1102518" y="933450"/>
                      </a:lnTo>
                      <a:lnTo>
                        <a:pt x="1159668" y="997744"/>
                      </a:lnTo>
                      <a:lnTo>
                        <a:pt x="1178718" y="1052513"/>
                      </a:lnTo>
                      <a:lnTo>
                        <a:pt x="1190625" y="1081088"/>
                      </a:lnTo>
                      <a:lnTo>
                        <a:pt x="1212056" y="1109663"/>
                      </a:lnTo>
                      <a:lnTo>
                        <a:pt x="1231106" y="1102519"/>
                      </a:lnTo>
                      <a:lnTo>
                        <a:pt x="1231106" y="1131094"/>
                      </a:lnTo>
                      <a:lnTo>
                        <a:pt x="1233487" y="1145381"/>
                      </a:lnTo>
                      <a:lnTo>
                        <a:pt x="1266825" y="1181100"/>
                      </a:lnTo>
                      <a:lnTo>
                        <a:pt x="1233487" y="1181100"/>
                      </a:lnTo>
                      <a:lnTo>
                        <a:pt x="1228725" y="1223963"/>
                      </a:lnTo>
                      <a:lnTo>
                        <a:pt x="1226343" y="1243013"/>
                      </a:lnTo>
                      <a:lnTo>
                        <a:pt x="1216818" y="1264444"/>
                      </a:lnTo>
                      <a:lnTo>
                        <a:pt x="1190625" y="1238250"/>
                      </a:lnTo>
                      <a:lnTo>
                        <a:pt x="1157287" y="1209675"/>
                      </a:lnTo>
                      <a:lnTo>
                        <a:pt x="1131093" y="1185863"/>
                      </a:lnTo>
                      <a:lnTo>
                        <a:pt x="1107281" y="1219200"/>
                      </a:lnTo>
                      <a:lnTo>
                        <a:pt x="1104900" y="1264444"/>
                      </a:lnTo>
                      <a:lnTo>
                        <a:pt x="1062037" y="1259681"/>
                      </a:lnTo>
                      <a:lnTo>
                        <a:pt x="1026318" y="1288256"/>
                      </a:lnTo>
                      <a:lnTo>
                        <a:pt x="1007268" y="1240631"/>
                      </a:lnTo>
                      <a:lnTo>
                        <a:pt x="947737" y="1231106"/>
                      </a:lnTo>
                      <a:lnTo>
                        <a:pt x="921543" y="1297781"/>
                      </a:lnTo>
                      <a:lnTo>
                        <a:pt x="885825" y="1278731"/>
                      </a:lnTo>
                      <a:lnTo>
                        <a:pt x="816768" y="1295400"/>
                      </a:lnTo>
                      <a:lnTo>
                        <a:pt x="757237" y="1259681"/>
                      </a:lnTo>
                      <a:lnTo>
                        <a:pt x="742950" y="1312069"/>
                      </a:lnTo>
                      <a:lnTo>
                        <a:pt x="704850" y="1345406"/>
                      </a:lnTo>
                      <a:lnTo>
                        <a:pt x="692943" y="1366838"/>
                      </a:lnTo>
                      <a:lnTo>
                        <a:pt x="671512" y="1509713"/>
                      </a:lnTo>
                      <a:lnTo>
                        <a:pt x="633412" y="1490663"/>
                      </a:lnTo>
                      <a:lnTo>
                        <a:pt x="614362" y="1504950"/>
                      </a:lnTo>
                      <a:lnTo>
                        <a:pt x="581025" y="1531144"/>
                      </a:lnTo>
                      <a:lnTo>
                        <a:pt x="523875" y="1502569"/>
                      </a:lnTo>
                      <a:lnTo>
                        <a:pt x="514350" y="1490663"/>
                      </a:lnTo>
                      <a:lnTo>
                        <a:pt x="483393" y="1533525"/>
                      </a:lnTo>
                      <a:lnTo>
                        <a:pt x="459581" y="1481138"/>
                      </a:lnTo>
                      <a:lnTo>
                        <a:pt x="438150" y="1471613"/>
                      </a:lnTo>
                      <a:lnTo>
                        <a:pt x="400050" y="1485900"/>
                      </a:lnTo>
                      <a:lnTo>
                        <a:pt x="338137" y="1490663"/>
                      </a:lnTo>
                      <a:lnTo>
                        <a:pt x="330993" y="1497806"/>
                      </a:lnTo>
                      <a:lnTo>
                        <a:pt x="271462" y="1471613"/>
                      </a:lnTo>
                      <a:lnTo>
                        <a:pt x="219075" y="1443038"/>
                      </a:lnTo>
                      <a:lnTo>
                        <a:pt x="138112" y="1402556"/>
                      </a:lnTo>
                      <a:lnTo>
                        <a:pt x="95250" y="1316831"/>
                      </a:lnTo>
                      <a:lnTo>
                        <a:pt x="80962" y="1288256"/>
                      </a:lnTo>
                      <a:lnTo>
                        <a:pt x="104775" y="1266825"/>
                      </a:lnTo>
                      <a:lnTo>
                        <a:pt x="76200" y="1212056"/>
                      </a:lnTo>
                      <a:lnTo>
                        <a:pt x="109537" y="1193006"/>
                      </a:lnTo>
                      <a:lnTo>
                        <a:pt x="140493" y="1143000"/>
                      </a:lnTo>
                      <a:lnTo>
                        <a:pt x="123825" y="1107281"/>
                      </a:lnTo>
                      <a:lnTo>
                        <a:pt x="178593" y="1107281"/>
                      </a:lnTo>
                      <a:lnTo>
                        <a:pt x="192881" y="1109663"/>
                      </a:lnTo>
                      <a:lnTo>
                        <a:pt x="159543" y="1064419"/>
                      </a:lnTo>
                      <a:lnTo>
                        <a:pt x="169068" y="1014413"/>
                      </a:lnTo>
                      <a:lnTo>
                        <a:pt x="123825" y="997744"/>
                      </a:lnTo>
                      <a:lnTo>
                        <a:pt x="61912" y="954881"/>
                      </a:lnTo>
                      <a:lnTo>
                        <a:pt x="45243" y="938213"/>
                      </a:lnTo>
                      <a:lnTo>
                        <a:pt x="64293" y="909638"/>
                      </a:lnTo>
                      <a:lnTo>
                        <a:pt x="47625" y="897731"/>
                      </a:lnTo>
                      <a:lnTo>
                        <a:pt x="47625" y="881063"/>
                      </a:lnTo>
                      <a:lnTo>
                        <a:pt x="26193" y="881063"/>
                      </a:lnTo>
                      <a:lnTo>
                        <a:pt x="7143" y="847725"/>
                      </a:lnTo>
                      <a:lnTo>
                        <a:pt x="0" y="816769"/>
                      </a:lnTo>
                      <a:lnTo>
                        <a:pt x="54768" y="800100"/>
                      </a:lnTo>
                      <a:lnTo>
                        <a:pt x="76200" y="788194"/>
                      </a:lnTo>
                      <a:lnTo>
                        <a:pt x="128587" y="821531"/>
                      </a:lnTo>
                      <a:lnTo>
                        <a:pt x="126206" y="800100"/>
                      </a:lnTo>
                      <a:lnTo>
                        <a:pt x="164306" y="795338"/>
                      </a:lnTo>
                      <a:lnTo>
                        <a:pt x="173831" y="759619"/>
                      </a:lnTo>
                      <a:lnTo>
                        <a:pt x="235743" y="764381"/>
                      </a:lnTo>
                      <a:lnTo>
                        <a:pt x="235743" y="764381"/>
                      </a:lnTo>
                      <a:lnTo>
                        <a:pt x="245268" y="704850"/>
                      </a:lnTo>
                      <a:lnTo>
                        <a:pt x="276225" y="666750"/>
                      </a:lnTo>
                      <a:lnTo>
                        <a:pt x="292893" y="638175"/>
                      </a:lnTo>
                      <a:lnTo>
                        <a:pt x="245268" y="602456"/>
                      </a:lnTo>
                      <a:lnTo>
                        <a:pt x="264318" y="585788"/>
                      </a:lnTo>
                      <a:lnTo>
                        <a:pt x="311943" y="602456"/>
                      </a:lnTo>
                      <a:lnTo>
                        <a:pt x="369093" y="573881"/>
                      </a:lnTo>
                      <a:lnTo>
                        <a:pt x="457200" y="545306"/>
                      </a:lnTo>
                      <a:lnTo>
                        <a:pt x="538162" y="578644"/>
                      </a:lnTo>
                      <a:lnTo>
                        <a:pt x="614362" y="550069"/>
                      </a:lnTo>
                      <a:lnTo>
                        <a:pt x="650081" y="552450"/>
                      </a:lnTo>
                      <a:lnTo>
                        <a:pt x="654843" y="523875"/>
                      </a:lnTo>
                      <a:lnTo>
                        <a:pt x="654843" y="490538"/>
                      </a:lnTo>
                      <a:lnTo>
                        <a:pt x="669131" y="469106"/>
                      </a:lnTo>
                      <a:lnTo>
                        <a:pt x="652462" y="450056"/>
                      </a:lnTo>
                      <a:lnTo>
                        <a:pt x="642937" y="411956"/>
                      </a:lnTo>
                      <a:lnTo>
                        <a:pt x="642937" y="330994"/>
                      </a:lnTo>
                      <a:lnTo>
                        <a:pt x="633412" y="319088"/>
                      </a:lnTo>
                      <a:lnTo>
                        <a:pt x="664368" y="285750"/>
                      </a:lnTo>
                      <a:lnTo>
                        <a:pt x="721518" y="292894"/>
                      </a:lnTo>
                      <a:lnTo>
                        <a:pt x="733425" y="264319"/>
                      </a:lnTo>
                      <a:lnTo>
                        <a:pt x="731043" y="228600"/>
                      </a:lnTo>
                      <a:lnTo>
                        <a:pt x="790575" y="192881"/>
                      </a:lnTo>
                      <a:lnTo>
                        <a:pt x="804862" y="166688"/>
                      </a:lnTo>
                      <a:lnTo>
                        <a:pt x="778668" y="128588"/>
                      </a:lnTo>
                      <a:lnTo>
                        <a:pt x="771525" y="104775"/>
                      </a:lnTo>
                      <a:lnTo>
                        <a:pt x="823912" y="97631"/>
                      </a:lnTo>
                      <a:lnTo>
                        <a:pt x="869156" y="52388"/>
                      </a:lnTo>
                      <a:lnTo>
                        <a:pt x="890587" y="23813"/>
                      </a:lnTo>
                      <a:lnTo>
                        <a:pt x="923925" y="9525"/>
                      </a:lnTo>
                      <a:lnTo>
                        <a:pt x="971550" y="0"/>
                      </a:lnTo>
                      <a:lnTo>
                        <a:pt x="971550" y="40481"/>
                      </a:lnTo>
                      <a:lnTo>
                        <a:pt x="950118" y="80963"/>
                      </a:lnTo>
                      <a:lnTo>
                        <a:pt x="950118" y="140494"/>
                      </a:lnTo>
                      <a:lnTo>
                        <a:pt x="969168" y="161925"/>
                      </a:lnTo>
                      <a:lnTo>
                        <a:pt x="1007268" y="188119"/>
                      </a:lnTo>
                      <a:lnTo>
                        <a:pt x="1019175" y="216694"/>
                      </a:lnTo>
                      <a:lnTo>
                        <a:pt x="1004887" y="226219"/>
                      </a:lnTo>
                      <a:lnTo>
                        <a:pt x="1057275" y="250031"/>
                      </a:lnTo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igura a mano libera 634">
                  <a:extLst>
                    <a:ext uri="{FF2B5EF4-FFF2-40B4-BE49-F238E27FC236}">
                      <a16:creationId xmlns:a16="http://schemas.microsoft.com/office/drawing/2014/main" id="{933912B7-FA98-44D5-AC57-676EFBC89ADC}"/>
                    </a:ext>
                  </a:extLst>
                </p:cNvPr>
                <p:cNvSpPr/>
                <p:nvPr/>
              </p:nvSpPr>
              <p:spPr bwMode="auto">
                <a:xfrm>
                  <a:off x="3315820" y="1836585"/>
                  <a:ext cx="495291" cy="432050"/>
                </a:xfrm>
                <a:custGeom>
                  <a:avLst/>
                  <a:gdLst>
                    <a:gd name="connsiteX0" fmla="*/ 28575 w 990600"/>
                    <a:gd name="connsiteY0" fmla="*/ 326231 h 895350"/>
                    <a:gd name="connsiteX1" fmla="*/ 23812 w 990600"/>
                    <a:gd name="connsiteY1" fmla="*/ 264319 h 895350"/>
                    <a:gd name="connsiteX2" fmla="*/ 0 w 990600"/>
                    <a:gd name="connsiteY2" fmla="*/ 264319 h 895350"/>
                    <a:gd name="connsiteX3" fmla="*/ 0 w 990600"/>
                    <a:gd name="connsiteY3" fmla="*/ 230981 h 895350"/>
                    <a:gd name="connsiteX4" fmla="*/ 30956 w 990600"/>
                    <a:gd name="connsiteY4" fmla="*/ 180975 h 895350"/>
                    <a:gd name="connsiteX5" fmla="*/ 26194 w 990600"/>
                    <a:gd name="connsiteY5" fmla="*/ 145256 h 895350"/>
                    <a:gd name="connsiteX6" fmla="*/ 85725 w 990600"/>
                    <a:gd name="connsiteY6" fmla="*/ 123825 h 895350"/>
                    <a:gd name="connsiteX7" fmla="*/ 133350 w 990600"/>
                    <a:gd name="connsiteY7" fmla="*/ 119063 h 895350"/>
                    <a:gd name="connsiteX8" fmla="*/ 176212 w 990600"/>
                    <a:gd name="connsiteY8" fmla="*/ 157163 h 895350"/>
                    <a:gd name="connsiteX9" fmla="*/ 207169 w 990600"/>
                    <a:gd name="connsiteY9" fmla="*/ 192881 h 895350"/>
                    <a:gd name="connsiteX10" fmla="*/ 238125 w 990600"/>
                    <a:gd name="connsiteY10" fmla="*/ 192881 h 895350"/>
                    <a:gd name="connsiteX11" fmla="*/ 264319 w 990600"/>
                    <a:gd name="connsiteY11" fmla="*/ 173831 h 895350"/>
                    <a:gd name="connsiteX12" fmla="*/ 285750 w 990600"/>
                    <a:gd name="connsiteY12" fmla="*/ 197644 h 895350"/>
                    <a:gd name="connsiteX13" fmla="*/ 316706 w 990600"/>
                    <a:gd name="connsiteY13" fmla="*/ 154781 h 895350"/>
                    <a:gd name="connsiteX14" fmla="*/ 345281 w 990600"/>
                    <a:gd name="connsiteY14" fmla="*/ 109538 h 895350"/>
                    <a:gd name="connsiteX15" fmla="*/ 354806 w 990600"/>
                    <a:gd name="connsiteY15" fmla="*/ 88106 h 895350"/>
                    <a:gd name="connsiteX16" fmla="*/ 416719 w 990600"/>
                    <a:gd name="connsiteY16" fmla="*/ 54769 h 895350"/>
                    <a:gd name="connsiteX17" fmla="*/ 461962 w 990600"/>
                    <a:gd name="connsiteY17" fmla="*/ 54769 h 895350"/>
                    <a:gd name="connsiteX18" fmla="*/ 564356 w 990600"/>
                    <a:gd name="connsiteY18" fmla="*/ 61913 h 895350"/>
                    <a:gd name="connsiteX19" fmla="*/ 590550 w 990600"/>
                    <a:gd name="connsiteY19" fmla="*/ 33338 h 895350"/>
                    <a:gd name="connsiteX20" fmla="*/ 642937 w 990600"/>
                    <a:gd name="connsiteY20" fmla="*/ 69056 h 895350"/>
                    <a:gd name="connsiteX21" fmla="*/ 683419 w 990600"/>
                    <a:gd name="connsiteY21" fmla="*/ 61913 h 895350"/>
                    <a:gd name="connsiteX22" fmla="*/ 719137 w 990600"/>
                    <a:gd name="connsiteY22" fmla="*/ 40481 h 895350"/>
                    <a:gd name="connsiteX23" fmla="*/ 754856 w 990600"/>
                    <a:gd name="connsiteY23" fmla="*/ 21431 h 895350"/>
                    <a:gd name="connsiteX24" fmla="*/ 854869 w 990600"/>
                    <a:gd name="connsiteY24" fmla="*/ 11906 h 895350"/>
                    <a:gd name="connsiteX25" fmla="*/ 892969 w 990600"/>
                    <a:gd name="connsiteY25" fmla="*/ 0 h 895350"/>
                    <a:gd name="connsiteX26" fmla="*/ 873919 w 990600"/>
                    <a:gd name="connsiteY26" fmla="*/ 28575 h 895350"/>
                    <a:gd name="connsiteX27" fmla="*/ 835819 w 990600"/>
                    <a:gd name="connsiteY27" fmla="*/ 47625 h 895350"/>
                    <a:gd name="connsiteX28" fmla="*/ 850106 w 990600"/>
                    <a:gd name="connsiteY28" fmla="*/ 97631 h 895350"/>
                    <a:gd name="connsiteX29" fmla="*/ 852487 w 990600"/>
                    <a:gd name="connsiteY29" fmla="*/ 121444 h 895350"/>
                    <a:gd name="connsiteX30" fmla="*/ 897731 w 990600"/>
                    <a:gd name="connsiteY30" fmla="*/ 145256 h 895350"/>
                    <a:gd name="connsiteX31" fmla="*/ 916781 w 990600"/>
                    <a:gd name="connsiteY31" fmla="*/ 166688 h 895350"/>
                    <a:gd name="connsiteX32" fmla="*/ 916781 w 990600"/>
                    <a:gd name="connsiteY32" fmla="*/ 202406 h 895350"/>
                    <a:gd name="connsiteX33" fmla="*/ 966787 w 990600"/>
                    <a:gd name="connsiteY33" fmla="*/ 230981 h 895350"/>
                    <a:gd name="connsiteX34" fmla="*/ 990600 w 990600"/>
                    <a:gd name="connsiteY34" fmla="*/ 273844 h 895350"/>
                    <a:gd name="connsiteX35" fmla="*/ 966787 w 990600"/>
                    <a:gd name="connsiteY35" fmla="*/ 295275 h 895350"/>
                    <a:gd name="connsiteX36" fmla="*/ 890587 w 990600"/>
                    <a:gd name="connsiteY36" fmla="*/ 311944 h 895350"/>
                    <a:gd name="connsiteX37" fmla="*/ 819150 w 990600"/>
                    <a:gd name="connsiteY37" fmla="*/ 316706 h 895350"/>
                    <a:gd name="connsiteX38" fmla="*/ 816769 w 990600"/>
                    <a:gd name="connsiteY38" fmla="*/ 283369 h 895350"/>
                    <a:gd name="connsiteX39" fmla="*/ 773906 w 990600"/>
                    <a:gd name="connsiteY39" fmla="*/ 326231 h 895350"/>
                    <a:gd name="connsiteX40" fmla="*/ 773906 w 990600"/>
                    <a:gd name="connsiteY40" fmla="*/ 342900 h 895350"/>
                    <a:gd name="connsiteX41" fmla="*/ 714375 w 990600"/>
                    <a:gd name="connsiteY41" fmla="*/ 366713 h 895350"/>
                    <a:gd name="connsiteX42" fmla="*/ 664369 w 990600"/>
                    <a:gd name="connsiteY42" fmla="*/ 390525 h 895350"/>
                    <a:gd name="connsiteX43" fmla="*/ 692944 w 990600"/>
                    <a:gd name="connsiteY43" fmla="*/ 407194 h 895350"/>
                    <a:gd name="connsiteX44" fmla="*/ 695325 w 990600"/>
                    <a:gd name="connsiteY44" fmla="*/ 442913 h 895350"/>
                    <a:gd name="connsiteX45" fmla="*/ 652462 w 990600"/>
                    <a:gd name="connsiteY45" fmla="*/ 490538 h 895350"/>
                    <a:gd name="connsiteX46" fmla="*/ 676275 w 990600"/>
                    <a:gd name="connsiteY46" fmla="*/ 528638 h 895350"/>
                    <a:gd name="connsiteX47" fmla="*/ 721519 w 990600"/>
                    <a:gd name="connsiteY47" fmla="*/ 550069 h 895350"/>
                    <a:gd name="connsiteX48" fmla="*/ 726281 w 990600"/>
                    <a:gd name="connsiteY48" fmla="*/ 595313 h 895350"/>
                    <a:gd name="connsiteX49" fmla="*/ 697706 w 990600"/>
                    <a:gd name="connsiteY49" fmla="*/ 626269 h 895350"/>
                    <a:gd name="connsiteX50" fmla="*/ 642937 w 990600"/>
                    <a:gd name="connsiteY50" fmla="*/ 635794 h 895350"/>
                    <a:gd name="connsiteX51" fmla="*/ 616744 w 990600"/>
                    <a:gd name="connsiteY51" fmla="*/ 642938 h 895350"/>
                    <a:gd name="connsiteX52" fmla="*/ 623887 w 990600"/>
                    <a:gd name="connsiteY52" fmla="*/ 673894 h 895350"/>
                    <a:gd name="connsiteX53" fmla="*/ 597694 w 990600"/>
                    <a:gd name="connsiteY53" fmla="*/ 714375 h 895350"/>
                    <a:gd name="connsiteX54" fmla="*/ 573881 w 990600"/>
                    <a:gd name="connsiteY54" fmla="*/ 728663 h 895350"/>
                    <a:gd name="connsiteX55" fmla="*/ 557212 w 990600"/>
                    <a:gd name="connsiteY55" fmla="*/ 740569 h 895350"/>
                    <a:gd name="connsiteX56" fmla="*/ 550069 w 990600"/>
                    <a:gd name="connsiteY56" fmla="*/ 697706 h 895350"/>
                    <a:gd name="connsiteX57" fmla="*/ 507206 w 990600"/>
                    <a:gd name="connsiteY57" fmla="*/ 688181 h 895350"/>
                    <a:gd name="connsiteX58" fmla="*/ 504825 w 990600"/>
                    <a:gd name="connsiteY58" fmla="*/ 709613 h 895350"/>
                    <a:gd name="connsiteX59" fmla="*/ 464344 w 990600"/>
                    <a:gd name="connsiteY59" fmla="*/ 711994 h 895350"/>
                    <a:gd name="connsiteX60" fmla="*/ 452437 w 990600"/>
                    <a:gd name="connsiteY60" fmla="*/ 695325 h 895350"/>
                    <a:gd name="connsiteX61" fmla="*/ 447675 w 990600"/>
                    <a:gd name="connsiteY61" fmla="*/ 740569 h 895350"/>
                    <a:gd name="connsiteX62" fmla="*/ 426244 w 990600"/>
                    <a:gd name="connsiteY62" fmla="*/ 764381 h 895350"/>
                    <a:gd name="connsiteX63" fmla="*/ 404812 w 990600"/>
                    <a:gd name="connsiteY63" fmla="*/ 745331 h 895350"/>
                    <a:gd name="connsiteX64" fmla="*/ 371475 w 990600"/>
                    <a:gd name="connsiteY64" fmla="*/ 785813 h 895350"/>
                    <a:gd name="connsiteX65" fmla="*/ 371475 w 990600"/>
                    <a:gd name="connsiteY65" fmla="*/ 850106 h 895350"/>
                    <a:gd name="connsiteX66" fmla="*/ 347662 w 990600"/>
                    <a:gd name="connsiteY66" fmla="*/ 871538 h 895350"/>
                    <a:gd name="connsiteX67" fmla="*/ 323850 w 990600"/>
                    <a:gd name="connsiteY67" fmla="*/ 895350 h 895350"/>
                    <a:gd name="connsiteX68" fmla="*/ 278606 w 990600"/>
                    <a:gd name="connsiteY68" fmla="*/ 883444 h 895350"/>
                    <a:gd name="connsiteX69" fmla="*/ 235744 w 990600"/>
                    <a:gd name="connsiteY69" fmla="*/ 892969 h 895350"/>
                    <a:gd name="connsiteX70" fmla="*/ 183356 w 990600"/>
                    <a:gd name="connsiteY70" fmla="*/ 871538 h 895350"/>
                    <a:gd name="connsiteX71" fmla="*/ 183356 w 990600"/>
                    <a:gd name="connsiteY71" fmla="*/ 842963 h 895350"/>
                    <a:gd name="connsiteX72" fmla="*/ 202406 w 990600"/>
                    <a:gd name="connsiteY72" fmla="*/ 826294 h 895350"/>
                    <a:gd name="connsiteX73" fmla="*/ 221456 w 990600"/>
                    <a:gd name="connsiteY73" fmla="*/ 804863 h 895350"/>
                    <a:gd name="connsiteX74" fmla="*/ 114300 w 990600"/>
                    <a:gd name="connsiteY74" fmla="*/ 792956 h 895350"/>
                    <a:gd name="connsiteX75" fmla="*/ 64294 w 990600"/>
                    <a:gd name="connsiteY75" fmla="*/ 812006 h 895350"/>
                    <a:gd name="connsiteX76" fmla="*/ 33337 w 990600"/>
                    <a:gd name="connsiteY76" fmla="*/ 764381 h 895350"/>
                    <a:gd name="connsiteX77" fmla="*/ 26194 w 990600"/>
                    <a:gd name="connsiteY77" fmla="*/ 726281 h 895350"/>
                    <a:gd name="connsiteX78" fmla="*/ 7144 w 990600"/>
                    <a:gd name="connsiteY78" fmla="*/ 692944 h 895350"/>
                    <a:gd name="connsiteX79" fmla="*/ 16669 w 990600"/>
                    <a:gd name="connsiteY79" fmla="*/ 635794 h 895350"/>
                    <a:gd name="connsiteX80" fmla="*/ 66675 w 990600"/>
                    <a:gd name="connsiteY80" fmla="*/ 569119 h 895350"/>
                    <a:gd name="connsiteX81" fmla="*/ 71437 w 990600"/>
                    <a:gd name="connsiteY81" fmla="*/ 504825 h 895350"/>
                    <a:gd name="connsiteX82" fmla="*/ 64294 w 990600"/>
                    <a:gd name="connsiteY82" fmla="*/ 473869 h 895350"/>
                    <a:gd name="connsiteX83" fmla="*/ 50006 w 990600"/>
                    <a:gd name="connsiteY83" fmla="*/ 459581 h 895350"/>
                    <a:gd name="connsiteX84" fmla="*/ 85725 w 990600"/>
                    <a:gd name="connsiteY84" fmla="*/ 428625 h 895350"/>
                    <a:gd name="connsiteX85" fmla="*/ 100012 w 990600"/>
                    <a:gd name="connsiteY85" fmla="*/ 378619 h 895350"/>
                    <a:gd name="connsiteX86" fmla="*/ 85725 w 990600"/>
                    <a:gd name="connsiteY86" fmla="*/ 369094 h 895350"/>
                    <a:gd name="connsiteX87" fmla="*/ 64294 w 990600"/>
                    <a:gd name="connsiteY87" fmla="*/ 364331 h 895350"/>
                    <a:gd name="connsiteX88" fmla="*/ 28575 w 990600"/>
                    <a:gd name="connsiteY88" fmla="*/ 326231 h 895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</a:cxnLst>
                  <a:rect l="l" t="t" r="r" b="b"/>
                  <a:pathLst>
                    <a:path w="990600" h="895350">
                      <a:moveTo>
                        <a:pt x="28575" y="326231"/>
                      </a:moveTo>
                      <a:lnTo>
                        <a:pt x="23812" y="264319"/>
                      </a:lnTo>
                      <a:lnTo>
                        <a:pt x="0" y="264319"/>
                      </a:lnTo>
                      <a:lnTo>
                        <a:pt x="0" y="230981"/>
                      </a:lnTo>
                      <a:lnTo>
                        <a:pt x="30956" y="180975"/>
                      </a:lnTo>
                      <a:lnTo>
                        <a:pt x="26194" y="145256"/>
                      </a:lnTo>
                      <a:lnTo>
                        <a:pt x="85725" y="123825"/>
                      </a:lnTo>
                      <a:lnTo>
                        <a:pt x="133350" y="119063"/>
                      </a:lnTo>
                      <a:lnTo>
                        <a:pt x="176212" y="157163"/>
                      </a:lnTo>
                      <a:lnTo>
                        <a:pt x="207169" y="192881"/>
                      </a:lnTo>
                      <a:lnTo>
                        <a:pt x="238125" y="192881"/>
                      </a:lnTo>
                      <a:lnTo>
                        <a:pt x="264319" y="173831"/>
                      </a:lnTo>
                      <a:lnTo>
                        <a:pt x="285750" y="197644"/>
                      </a:lnTo>
                      <a:lnTo>
                        <a:pt x="316706" y="154781"/>
                      </a:lnTo>
                      <a:lnTo>
                        <a:pt x="345281" y="109538"/>
                      </a:lnTo>
                      <a:lnTo>
                        <a:pt x="354806" y="88106"/>
                      </a:lnTo>
                      <a:lnTo>
                        <a:pt x="416719" y="54769"/>
                      </a:lnTo>
                      <a:lnTo>
                        <a:pt x="461962" y="54769"/>
                      </a:lnTo>
                      <a:lnTo>
                        <a:pt x="564356" y="61913"/>
                      </a:lnTo>
                      <a:lnTo>
                        <a:pt x="590550" y="33338"/>
                      </a:lnTo>
                      <a:lnTo>
                        <a:pt x="642937" y="69056"/>
                      </a:lnTo>
                      <a:lnTo>
                        <a:pt x="683419" y="61913"/>
                      </a:lnTo>
                      <a:lnTo>
                        <a:pt x="719137" y="40481"/>
                      </a:lnTo>
                      <a:lnTo>
                        <a:pt x="754856" y="21431"/>
                      </a:lnTo>
                      <a:lnTo>
                        <a:pt x="854869" y="11906"/>
                      </a:lnTo>
                      <a:lnTo>
                        <a:pt x="892969" y="0"/>
                      </a:lnTo>
                      <a:lnTo>
                        <a:pt x="873919" y="28575"/>
                      </a:lnTo>
                      <a:lnTo>
                        <a:pt x="835819" y="47625"/>
                      </a:lnTo>
                      <a:lnTo>
                        <a:pt x="850106" y="97631"/>
                      </a:lnTo>
                      <a:lnTo>
                        <a:pt x="852487" y="121444"/>
                      </a:lnTo>
                      <a:lnTo>
                        <a:pt x="897731" y="145256"/>
                      </a:lnTo>
                      <a:lnTo>
                        <a:pt x="916781" y="166688"/>
                      </a:lnTo>
                      <a:lnTo>
                        <a:pt x="916781" y="202406"/>
                      </a:lnTo>
                      <a:lnTo>
                        <a:pt x="966787" y="230981"/>
                      </a:lnTo>
                      <a:lnTo>
                        <a:pt x="990600" y="273844"/>
                      </a:lnTo>
                      <a:lnTo>
                        <a:pt x="966787" y="295275"/>
                      </a:lnTo>
                      <a:lnTo>
                        <a:pt x="890587" y="311944"/>
                      </a:lnTo>
                      <a:lnTo>
                        <a:pt x="819150" y="316706"/>
                      </a:lnTo>
                      <a:lnTo>
                        <a:pt x="816769" y="283369"/>
                      </a:lnTo>
                      <a:lnTo>
                        <a:pt x="773906" y="326231"/>
                      </a:lnTo>
                      <a:lnTo>
                        <a:pt x="773906" y="342900"/>
                      </a:lnTo>
                      <a:lnTo>
                        <a:pt x="714375" y="366713"/>
                      </a:lnTo>
                      <a:lnTo>
                        <a:pt x="664369" y="390525"/>
                      </a:lnTo>
                      <a:lnTo>
                        <a:pt x="692944" y="407194"/>
                      </a:lnTo>
                      <a:lnTo>
                        <a:pt x="695325" y="442913"/>
                      </a:lnTo>
                      <a:lnTo>
                        <a:pt x="652462" y="490538"/>
                      </a:lnTo>
                      <a:lnTo>
                        <a:pt x="676275" y="528638"/>
                      </a:lnTo>
                      <a:lnTo>
                        <a:pt x="721519" y="550069"/>
                      </a:lnTo>
                      <a:lnTo>
                        <a:pt x="726281" y="595313"/>
                      </a:lnTo>
                      <a:lnTo>
                        <a:pt x="697706" y="626269"/>
                      </a:lnTo>
                      <a:lnTo>
                        <a:pt x="642937" y="635794"/>
                      </a:lnTo>
                      <a:lnTo>
                        <a:pt x="616744" y="642938"/>
                      </a:lnTo>
                      <a:lnTo>
                        <a:pt x="623887" y="673894"/>
                      </a:lnTo>
                      <a:lnTo>
                        <a:pt x="597694" y="714375"/>
                      </a:lnTo>
                      <a:cubicBezTo>
                        <a:pt x="576636" y="724904"/>
                        <a:pt x="583664" y="718880"/>
                        <a:pt x="573881" y="728663"/>
                      </a:cubicBezTo>
                      <a:lnTo>
                        <a:pt x="557212" y="740569"/>
                      </a:lnTo>
                      <a:lnTo>
                        <a:pt x="550069" y="697706"/>
                      </a:lnTo>
                      <a:lnTo>
                        <a:pt x="507206" y="688181"/>
                      </a:lnTo>
                      <a:lnTo>
                        <a:pt x="504825" y="709613"/>
                      </a:lnTo>
                      <a:lnTo>
                        <a:pt x="464344" y="711994"/>
                      </a:lnTo>
                      <a:lnTo>
                        <a:pt x="452437" y="695325"/>
                      </a:lnTo>
                      <a:lnTo>
                        <a:pt x="447675" y="740569"/>
                      </a:lnTo>
                      <a:lnTo>
                        <a:pt x="426244" y="764381"/>
                      </a:lnTo>
                      <a:lnTo>
                        <a:pt x="404812" y="745331"/>
                      </a:lnTo>
                      <a:lnTo>
                        <a:pt x="371475" y="785813"/>
                      </a:lnTo>
                      <a:lnTo>
                        <a:pt x="371475" y="850106"/>
                      </a:lnTo>
                      <a:cubicBezTo>
                        <a:pt x="351170" y="870411"/>
                        <a:pt x="360457" y="865139"/>
                        <a:pt x="347662" y="871538"/>
                      </a:cubicBezTo>
                      <a:lnTo>
                        <a:pt x="323850" y="895350"/>
                      </a:lnTo>
                      <a:lnTo>
                        <a:pt x="278606" y="883444"/>
                      </a:lnTo>
                      <a:lnTo>
                        <a:pt x="235744" y="892969"/>
                      </a:lnTo>
                      <a:lnTo>
                        <a:pt x="183356" y="871538"/>
                      </a:lnTo>
                      <a:lnTo>
                        <a:pt x="183356" y="842963"/>
                      </a:lnTo>
                      <a:lnTo>
                        <a:pt x="202406" y="826294"/>
                      </a:lnTo>
                      <a:lnTo>
                        <a:pt x="221456" y="804863"/>
                      </a:lnTo>
                      <a:lnTo>
                        <a:pt x="114300" y="792956"/>
                      </a:lnTo>
                      <a:lnTo>
                        <a:pt x="64294" y="812006"/>
                      </a:lnTo>
                      <a:lnTo>
                        <a:pt x="33337" y="764381"/>
                      </a:lnTo>
                      <a:lnTo>
                        <a:pt x="26194" y="726281"/>
                      </a:lnTo>
                      <a:lnTo>
                        <a:pt x="7144" y="692944"/>
                      </a:lnTo>
                      <a:lnTo>
                        <a:pt x="16669" y="635794"/>
                      </a:lnTo>
                      <a:lnTo>
                        <a:pt x="66675" y="569119"/>
                      </a:lnTo>
                      <a:lnTo>
                        <a:pt x="71437" y="504825"/>
                      </a:lnTo>
                      <a:lnTo>
                        <a:pt x="64294" y="473869"/>
                      </a:lnTo>
                      <a:lnTo>
                        <a:pt x="50006" y="459581"/>
                      </a:lnTo>
                      <a:lnTo>
                        <a:pt x="85725" y="428625"/>
                      </a:lnTo>
                      <a:lnTo>
                        <a:pt x="100012" y="378619"/>
                      </a:lnTo>
                      <a:lnTo>
                        <a:pt x="85725" y="369094"/>
                      </a:lnTo>
                      <a:lnTo>
                        <a:pt x="64294" y="364331"/>
                      </a:lnTo>
                      <a:lnTo>
                        <a:pt x="28575" y="32623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igura a mano libera 635">
                  <a:extLst>
                    <a:ext uri="{FF2B5EF4-FFF2-40B4-BE49-F238E27FC236}">
                      <a16:creationId xmlns:a16="http://schemas.microsoft.com/office/drawing/2014/main" id="{629B127E-627E-40A9-9BE3-24C9E3003025}"/>
                    </a:ext>
                  </a:extLst>
                </p:cNvPr>
                <p:cNvSpPr/>
                <p:nvPr/>
              </p:nvSpPr>
              <p:spPr bwMode="auto">
                <a:xfrm>
                  <a:off x="3771378" y="1978493"/>
                  <a:ext cx="382556" cy="344375"/>
                </a:xfrm>
                <a:custGeom>
                  <a:avLst/>
                  <a:gdLst>
                    <a:gd name="connsiteX0" fmla="*/ 216693 w 764381"/>
                    <a:gd name="connsiteY0" fmla="*/ 0 h 714375"/>
                    <a:gd name="connsiteX1" fmla="*/ 180975 w 764381"/>
                    <a:gd name="connsiteY1" fmla="*/ 80963 h 714375"/>
                    <a:gd name="connsiteX2" fmla="*/ 164306 w 764381"/>
                    <a:gd name="connsiteY2" fmla="*/ 114300 h 714375"/>
                    <a:gd name="connsiteX3" fmla="*/ 123825 w 764381"/>
                    <a:gd name="connsiteY3" fmla="*/ 109538 h 714375"/>
                    <a:gd name="connsiteX4" fmla="*/ 102393 w 764381"/>
                    <a:gd name="connsiteY4" fmla="*/ 147638 h 714375"/>
                    <a:gd name="connsiteX5" fmla="*/ 73818 w 764381"/>
                    <a:gd name="connsiteY5" fmla="*/ 202406 h 714375"/>
                    <a:gd name="connsiteX6" fmla="*/ 38100 w 764381"/>
                    <a:gd name="connsiteY6" fmla="*/ 211931 h 714375"/>
                    <a:gd name="connsiteX7" fmla="*/ 7143 w 764381"/>
                    <a:gd name="connsiteY7" fmla="*/ 209550 h 714375"/>
                    <a:gd name="connsiteX8" fmla="*/ 26193 w 764381"/>
                    <a:gd name="connsiteY8" fmla="*/ 235744 h 714375"/>
                    <a:gd name="connsiteX9" fmla="*/ 0 w 764381"/>
                    <a:gd name="connsiteY9" fmla="*/ 254794 h 714375"/>
                    <a:gd name="connsiteX10" fmla="*/ 21431 w 764381"/>
                    <a:gd name="connsiteY10" fmla="*/ 266700 h 714375"/>
                    <a:gd name="connsiteX11" fmla="*/ 59531 w 764381"/>
                    <a:gd name="connsiteY11" fmla="*/ 280988 h 714375"/>
                    <a:gd name="connsiteX12" fmla="*/ 78581 w 764381"/>
                    <a:gd name="connsiteY12" fmla="*/ 311944 h 714375"/>
                    <a:gd name="connsiteX13" fmla="*/ 88106 w 764381"/>
                    <a:gd name="connsiteY13" fmla="*/ 354806 h 714375"/>
                    <a:gd name="connsiteX14" fmla="*/ 35718 w 764381"/>
                    <a:gd name="connsiteY14" fmla="*/ 395288 h 714375"/>
                    <a:gd name="connsiteX15" fmla="*/ 85725 w 764381"/>
                    <a:gd name="connsiteY15" fmla="*/ 464344 h 714375"/>
                    <a:gd name="connsiteX16" fmla="*/ 92868 w 764381"/>
                    <a:gd name="connsiteY16" fmla="*/ 519113 h 714375"/>
                    <a:gd name="connsiteX17" fmla="*/ 130968 w 764381"/>
                    <a:gd name="connsiteY17" fmla="*/ 535781 h 714375"/>
                    <a:gd name="connsiteX18" fmla="*/ 138112 w 764381"/>
                    <a:gd name="connsiteY18" fmla="*/ 557213 h 714375"/>
                    <a:gd name="connsiteX19" fmla="*/ 183356 w 764381"/>
                    <a:gd name="connsiteY19" fmla="*/ 535781 h 714375"/>
                    <a:gd name="connsiteX20" fmla="*/ 214312 w 764381"/>
                    <a:gd name="connsiteY20" fmla="*/ 511969 h 714375"/>
                    <a:gd name="connsiteX21" fmla="*/ 261937 w 764381"/>
                    <a:gd name="connsiteY21" fmla="*/ 533400 h 714375"/>
                    <a:gd name="connsiteX22" fmla="*/ 297656 w 764381"/>
                    <a:gd name="connsiteY22" fmla="*/ 521494 h 714375"/>
                    <a:gd name="connsiteX23" fmla="*/ 311943 w 764381"/>
                    <a:gd name="connsiteY23" fmla="*/ 547688 h 714375"/>
                    <a:gd name="connsiteX24" fmla="*/ 333375 w 764381"/>
                    <a:gd name="connsiteY24" fmla="*/ 585788 h 714375"/>
                    <a:gd name="connsiteX25" fmla="*/ 335756 w 764381"/>
                    <a:gd name="connsiteY25" fmla="*/ 616744 h 714375"/>
                    <a:gd name="connsiteX26" fmla="*/ 345281 w 764381"/>
                    <a:gd name="connsiteY26" fmla="*/ 654844 h 714375"/>
                    <a:gd name="connsiteX27" fmla="*/ 345281 w 764381"/>
                    <a:gd name="connsiteY27" fmla="*/ 611981 h 714375"/>
                    <a:gd name="connsiteX28" fmla="*/ 385762 w 764381"/>
                    <a:gd name="connsiteY28" fmla="*/ 595313 h 714375"/>
                    <a:gd name="connsiteX29" fmla="*/ 395287 w 764381"/>
                    <a:gd name="connsiteY29" fmla="*/ 569119 h 714375"/>
                    <a:gd name="connsiteX30" fmla="*/ 435768 w 764381"/>
                    <a:gd name="connsiteY30" fmla="*/ 588169 h 714375"/>
                    <a:gd name="connsiteX31" fmla="*/ 502443 w 764381"/>
                    <a:gd name="connsiteY31" fmla="*/ 607219 h 714375"/>
                    <a:gd name="connsiteX32" fmla="*/ 509587 w 764381"/>
                    <a:gd name="connsiteY32" fmla="*/ 642938 h 714375"/>
                    <a:gd name="connsiteX33" fmla="*/ 542925 w 764381"/>
                    <a:gd name="connsiteY33" fmla="*/ 623888 h 714375"/>
                    <a:gd name="connsiteX34" fmla="*/ 585787 w 764381"/>
                    <a:gd name="connsiteY34" fmla="*/ 607219 h 714375"/>
                    <a:gd name="connsiteX35" fmla="*/ 592931 w 764381"/>
                    <a:gd name="connsiteY35" fmla="*/ 557213 h 714375"/>
                    <a:gd name="connsiteX36" fmla="*/ 628650 w 764381"/>
                    <a:gd name="connsiteY36" fmla="*/ 600075 h 714375"/>
                    <a:gd name="connsiteX37" fmla="*/ 635793 w 764381"/>
                    <a:gd name="connsiteY37" fmla="*/ 619125 h 714375"/>
                    <a:gd name="connsiteX38" fmla="*/ 659606 w 764381"/>
                    <a:gd name="connsiteY38" fmla="*/ 642938 h 714375"/>
                    <a:gd name="connsiteX39" fmla="*/ 664368 w 764381"/>
                    <a:gd name="connsiteY39" fmla="*/ 666750 h 714375"/>
                    <a:gd name="connsiteX40" fmla="*/ 669131 w 764381"/>
                    <a:gd name="connsiteY40" fmla="*/ 676275 h 714375"/>
                    <a:gd name="connsiteX41" fmla="*/ 678656 w 764381"/>
                    <a:gd name="connsiteY41" fmla="*/ 692944 h 714375"/>
                    <a:gd name="connsiteX42" fmla="*/ 731043 w 764381"/>
                    <a:gd name="connsiteY42" fmla="*/ 714375 h 714375"/>
                    <a:gd name="connsiteX43" fmla="*/ 764381 w 764381"/>
                    <a:gd name="connsiteY43" fmla="*/ 678656 h 714375"/>
                    <a:gd name="connsiteX44" fmla="*/ 709612 w 764381"/>
                    <a:gd name="connsiteY44" fmla="*/ 614363 h 714375"/>
                    <a:gd name="connsiteX45" fmla="*/ 688181 w 764381"/>
                    <a:gd name="connsiteY45" fmla="*/ 583406 h 714375"/>
                    <a:gd name="connsiteX46" fmla="*/ 635793 w 764381"/>
                    <a:gd name="connsiteY46" fmla="*/ 561975 h 714375"/>
                    <a:gd name="connsiteX47" fmla="*/ 602456 w 764381"/>
                    <a:gd name="connsiteY47" fmla="*/ 561975 h 714375"/>
                    <a:gd name="connsiteX48" fmla="*/ 595312 w 764381"/>
                    <a:gd name="connsiteY48" fmla="*/ 509588 h 714375"/>
                    <a:gd name="connsiteX49" fmla="*/ 631031 w 764381"/>
                    <a:gd name="connsiteY49" fmla="*/ 485775 h 714375"/>
                    <a:gd name="connsiteX50" fmla="*/ 628650 w 764381"/>
                    <a:gd name="connsiteY50" fmla="*/ 438150 h 714375"/>
                    <a:gd name="connsiteX51" fmla="*/ 628650 w 764381"/>
                    <a:gd name="connsiteY51" fmla="*/ 433388 h 714375"/>
                    <a:gd name="connsiteX52" fmla="*/ 581025 w 764381"/>
                    <a:gd name="connsiteY52" fmla="*/ 450056 h 714375"/>
                    <a:gd name="connsiteX53" fmla="*/ 559593 w 764381"/>
                    <a:gd name="connsiteY53" fmla="*/ 431006 h 714375"/>
                    <a:gd name="connsiteX54" fmla="*/ 573881 w 764381"/>
                    <a:gd name="connsiteY54" fmla="*/ 402431 h 714375"/>
                    <a:gd name="connsiteX55" fmla="*/ 564356 w 764381"/>
                    <a:gd name="connsiteY55" fmla="*/ 378619 h 714375"/>
                    <a:gd name="connsiteX56" fmla="*/ 654843 w 764381"/>
                    <a:gd name="connsiteY56" fmla="*/ 323850 h 714375"/>
                    <a:gd name="connsiteX57" fmla="*/ 642937 w 764381"/>
                    <a:gd name="connsiteY57" fmla="*/ 307181 h 714375"/>
                    <a:gd name="connsiteX58" fmla="*/ 592931 w 764381"/>
                    <a:gd name="connsiteY58" fmla="*/ 307181 h 714375"/>
                    <a:gd name="connsiteX59" fmla="*/ 578643 w 764381"/>
                    <a:gd name="connsiteY59" fmla="*/ 280988 h 714375"/>
                    <a:gd name="connsiteX60" fmla="*/ 540543 w 764381"/>
                    <a:gd name="connsiteY60" fmla="*/ 292894 h 714375"/>
                    <a:gd name="connsiteX61" fmla="*/ 528637 w 764381"/>
                    <a:gd name="connsiteY61" fmla="*/ 278606 h 714375"/>
                    <a:gd name="connsiteX62" fmla="*/ 509587 w 764381"/>
                    <a:gd name="connsiteY62" fmla="*/ 247650 h 714375"/>
                    <a:gd name="connsiteX63" fmla="*/ 545306 w 764381"/>
                    <a:gd name="connsiteY63" fmla="*/ 209550 h 714375"/>
                    <a:gd name="connsiteX64" fmla="*/ 547687 w 764381"/>
                    <a:gd name="connsiteY64" fmla="*/ 185738 h 714375"/>
                    <a:gd name="connsiteX65" fmla="*/ 621506 w 764381"/>
                    <a:gd name="connsiteY65" fmla="*/ 157163 h 714375"/>
                    <a:gd name="connsiteX66" fmla="*/ 638175 w 764381"/>
                    <a:gd name="connsiteY66" fmla="*/ 142875 h 714375"/>
                    <a:gd name="connsiteX67" fmla="*/ 657225 w 764381"/>
                    <a:gd name="connsiteY67" fmla="*/ 135731 h 714375"/>
                    <a:gd name="connsiteX68" fmla="*/ 669131 w 764381"/>
                    <a:gd name="connsiteY68" fmla="*/ 90488 h 714375"/>
                    <a:gd name="connsiteX69" fmla="*/ 569118 w 764381"/>
                    <a:gd name="connsiteY69" fmla="*/ 76200 h 714375"/>
                    <a:gd name="connsiteX70" fmla="*/ 502443 w 764381"/>
                    <a:gd name="connsiteY70" fmla="*/ 54769 h 714375"/>
                    <a:gd name="connsiteX71" fmla="*/ 478631 w 764381"/>
                    <a:gd name="connsiteY71" fmla="*/ 69056 h 714375"/>
                    <a:gd name="connsiteX72" fmla="*/ 450056 w 764381"/>
                    <a:gd name="connsiteY72" fmla="*/ 78581 h 714375"/>
                    <a:gd name="connsiteX73" fmla="*/ 400050 w 764381"/>
                    <a:gd name="connsiteY73" fmla="*/ 35719 h 714375"/>
                    <a:gd name="connsiteX74" fmla="*/ 354806 w 764381"/>
                    <a:gd name="connsiteY74" fmla="*/ 40481 h 714375"/>
                    <a:gd name="connsiteX75" fmla="*/ 290512 w 764381"/>
                    <a:gd name="connsiteY75" fmla="*/ 28575 h 714375"/>
                    <a:gd name="connsiteX76" fmla="*/ 269081 w 764381"/>
                    <a:gd name="connsiteY76" fmla="*/ 38100 h 714375"/>
                    <a:gd name="connsiteX77" fmla="*/ 216693 w 764381"/>
                    <a:gd name="connsiteY77" fmla="*/ 0 h 714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764381" h="714375">
                      <a:moveTo>
                        <a:pt x="216693" y="0"/>
                      </a:moveTo>
                      <a:lnTo>
                        <a:pt x="180975" y="80963"/>
                      </a:lnTo>
                      <a:lnTo>
                        <a:pt x="164306" y="114300"/>
                      </a:lnTo>
                      <a:lnTo>
                        <a:pt x="123825" y="109538"/>
                      </a:lnTo>
                      <a:lnTo>
                        <a:pt x="102393" y="147638"/>
                      </a:lnTo>
                      <a:lnTo>
                        <a:pt x="73818" y="202406"/>
                      </a:lnTo>
                      <a:lnTo>
                        <a:pt x="38100" y="211931"/>
                      </a:lnTo>
                      <a:lnTo>
                        <a:pt x="7143" y="209550"/>
                      </a:lnTo>
                      <a:lnTo>
                        <a:pt x="26193" y="235744"/>
                      </a:lnTo>
                      <a:lnTo>
                        <a:pt x="0" y="254794"/>
                      </a:lnTo>
                      <a:lnTo>
                        <a:pt x="21431" y="266700"/>
                      </a:lnTo>
                      <a:lnTo>
                        <a:pt x="59531" y="280988"/>
                      </a:lnTo>
                      <a:lnTo>
                        <a:pt x="78581" y="311944"/>
                      </a:lnTo>
                      <a:lnTo>
                        <a:pt x="88106" y="354806"/>
                      </a:lnTo>
                      <a:lnTo>
                        <a:pt x="35718" y="395288"/>
                      </a:lnTo>
                      <a:lnTo>
                        <a:pt x="85725" y="464344"/>
                      </a:lnTo>
                      <a:lnTo>
                        <a:pt x="92868" y="519113"/>
                      </a:lnTo>
                      <a:lnTo>
                        <a:pt x="130968" y="535781"/>
                      </a:lnTo>
                      <a:lnTo>
                        <a:pt x="138112" y="557213"/>
                      </a:lnTo>
                      <a:lnTo>
                        <a:pt x="183356" y="535781"/>
                      </a:lnTo>
                      <a:lnTo>
                        <a:pt x="214312" y="511969"/>
                      </a:lnTo>
                      <a:lnTo>
                        <a:pt x="261937" y="533400"/>
                      </a:lnTo>
                      <a:lnTo>
                        <a:pt x="297656" y="521494"/>
                      </a:lnTo>
                      <a:lnTo>
                        <a:pt x="311943" y="547688"/>
                      </a:lnTo>
                      <a:lnTo>
                        <a:pt x="333375" y="585788"/>
                      </a:lnTo>
                      <a:lnTo>
                        <a:pt x="335756" y="616744"/>
                      </a:lnTo>
                      <a:lnTo>
                        <a:pt x="345281" y="654844"/>
                      </a:lnTo>
                      <a:lnTo>
                        <a:pt x="345281" y="611981"/>
                      </a:lnTo>
                      <a:lnTo>
                        <a:pt x="385762" y="595313"/>
                      </a:lnTo>
                      <a:lnTo>
                        <a:pt x="395287" y="569119"/>
                      </a:lnTo>
                      <a:lnTo>
                        <a:pt x="435768" y="588169"/>
                      </a:lnTo>
                      <a:lnTo>
                        <a:pt x="502443" y="607219"/>
                      </a:lnTo>
                      <a:lnTo>
                        <a:pt x="509587" y="642938"/>
                      </a:lnTo>
                      <a:lnTo>
                        <a:pt x="542925" y="623888"/>
                      </a:lnTo>
                      <a:lnTo>
                        <a:pt x="585787" y="607219"/>
                      </a:lnTo>
                      <a:lnTo>
                        <a:pt x="592931" y="557213"/>
                      </a:lnTo>
                      <a:lnTo>
                        <a:pt x="628650" y="600075"/>
                      </a:lnTo>
                      <a:lnTo>
                        <a:pt x="635793" y="619125"/>
                      </a:lnTo>
                      <a:lnTo>
                        <a:pt x="659606" y="642938"/>
                      </a:lnTo>
                      <a:cubicBezTo>
                        <a:pt x="661193" y="650875"/>
                        <a:pt x="662144" y="658967"/>
                        <a:pt x="664368" y="666750"/>
                      </a:cubicBezTo>
                      <a:cubicBezTo>
                        <a:pt x="665343" y="670163"/>
                        <a:pt x="669131" y="676275"/>
                        <a:pt x="669131" y="676275"/>
                      </a:cubicBezTo>
                      <a:lnTo>
                        <a:pt x="678656" y="692944"/>
                      </a:lnTo>
                      <a:lnTo>
                        <a:pt x="731043" y="714375"/>
                      </a:lnTo>
                      <a:lnTo>
                        <a:pt x="764381" y="678656"/>
                      </a:lnTo>
                      <a:lnTo>
                        <a:pt x="709612" y="614363"/>
                      </a:lnTo>
                      <a:lnTo>
                        <a:pt x="688181" y="583406"/>
                      </a:lnTo>
                      <a:lnTo>
                        <a:pt x="635793" y="561975"/>
                      </a:lnTo>
                      <a:lnTo>
                        <a:pt x="602456" y="561975"/>
                      </a:lnTo>
                      <a:lnTo>
                        <a:pt x="595312" y="509588"/>
                      </a:lnTo>
                      <a:lnTo>
                        <a:pt x="631031" y="485775"/>
                      </a:lnTo>
                      <a:lnTo>
                        <a:pt x="628650" y="438150"/>
                      </a:lnTo>
                      <a:lnTo>
                        <a:pt x="628650" y="433388"/>
                      </a:lnTo>
                      <a:lnTo>
                        <a:pt x="581025" y="450056"/>
                      </a:lnTo>
                      <a:lnTo>
                        <a:pt x="559593" y="431006"/>
                      </a:lnTo>
                      <a:lnTo>
                        <a:pt x="573881" y="402431"/>
                      </a:lnTo>
                      <a:lnTo>
                        <a:pt x="564356" y="378619"/>
                      </a:lnTo>
                      <a:lnTo>
                        <a:pt x="654843" y="323850"/>
                      </a:lnTo>
                      <a:lnTo>
                        <a:pt x="642937" y="307181"/>
                      </a:lnTo>
                      <a:lnTo>
                        <a:pt x="592931" y="307181"/>
                      </a:lnTo>
                      <a:lnTo>
                        <a:pt x="578643" y="280988"/>
                      </a:lnTo>
                      <a:lnTo>
                        <a:pt x="540543" y="292894"/>
                      </a:lnTo>
                      <a:lnTo>
                        <a:pt x="528637" y="278606"/>
                      </a:lnTo>
                      <a:lnTo>
                        <a:pt x="509587" y="247650"/>
                      </a:lnTo>
                      <a:lnTo>
                        <a:pt x="545306" y="209550"/>
                      </a:lnTo>
                      <a:lnTo>
                        <a:pt x="547687" y="185738"/>
                      </a:lnTo>
                      <a:lnTo>
                        <a:pt x="621506" y="157163"/>
                      </a:lnTo>
                      <a:lnTo>
                        <a:pt x="638175" y="142875"/>
                      </a:lnTo>
                      <a:lnTo>
                        <a:pt x="657225" y="135731"/>
                      </a:lnTo>
                      <a:lnTo>
                        <a:pt x="669131" y="90488"/>
                      </a:lnTo>
                      <a:lnTo>
                        <a:pt x="569118" y="76200"/>
                      </a:lnTo>
                      <a:lnTo>
                        <a:pt x="502443" y="54769"/>
                      </a:lnTo>
                      <a:lnTo>
                        <a:pt x="478631" y="69056"/>
                      </a:lnTo>
                      <a:lnTo>
                        <a:pt x="450056" y="78581"/>
                      </a:lnTo>
                      <a:lnTo>
                        <a:pt x="400050" y="35719"/>
                      </a:lnTo>
                      <a:lnTo>
                        <a:pt x="354806" y="40481"/>
                      </a:lnTo>
                      <a:lnTo>
                        <a:pt x="290512" y="28575"/>
                      </a:lnTo>
                      <a:lnTo>
                        <a:pt x="269081" y="38100"/>
                      </a:lnTo>
                      <a:lnTo>
                        <a:pt x="216693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Figura a mano libera 636">
                  <a:extLst>
                    <a:ext uri="{FF2B5EF4-FFF2-40B4-BE49-F238E27FC236}">
                      <a16:creationId xmlns:a16="http://schemas.microsoft.com/office/drawing/2014/main" id="{066C6260-705C-4C10-903F-D6EF937FEDCE}"/>
                    </a:ext>
                  </a:extLst>
                </p:cNvPr>
                <p:cNvSpPr/>
                <p:nvPr/>
              </p:nvSpPr>
              <p:spPr bwMode="auto">
                <a:xfrm>
                  <a:off x="3353706" y="1968549"/>
                  <a:ext cx="589544" cy="598362"/>
                </a:xfrm>
                <a:custGeom>
                  <a:avLst/>
                  <a:gdLst>
                    <a:gd name="connsiteX0" fmla="*/ 812006 w 1176338"/>
                    <a:gd name="connsiteY0" fmla="*/ 1188244 h 1240631"/>
                    <a:gd name="connsiteX1" fmla="*/ 850106 w 1176338"/>
                    <a:gd name="connsiteY1" fmla="*/ 1240631 h 1240631"/>
                    <a:gd name="connsiteX2" fmla="*/ 900113 w 1176338"/>
                    <a:gd name="connsiteY2" fmla="*/ 1188244 h 1240631"/>
                    <a:gd name="connsiteX3" fmla="*/ 921544 w 1176338"/>
                    <a:gd name="connsiteY3" fmla="*/ 1112044 h 1240631"/>
                    <a:gd name="connsiteX4" fmla="*/ 885825 w 1176338"/>
                    <a:gd name="connsiteY4" fmla="*/ 1100137 h 1240631"/>
                    <a:gd name="connsiteX5" fmla="*/ 845344 w 1176338"/>
                    <a:gd name="connsiteY5" fmla="*/ 1064419 h 1240631"/>
                    <a:gd name="connsiteX6" fmla="*/ 833438 w 1176338"/>
                    <a:gd name="connsiteY6" fmla="*/ 1028700 h 1240631"/>
                    <a:gd name="connsiteX7" fmla="*/ 819150 w 1176338"/>
                    <a:gd name="connsiteY7" fmla="*/ 995362 h 1240631"/>
                    <a:gd name="connsiteX8" fmla="*/ 816769 w 1176338"/>
                    <a:gd name="connsiteY8" fmla="*/ 947737 h 1240631"/>
                    <a:gd name="connsiteX9" fmla="*/ 804863 w 1176338"/>
                    <a:gd name="connsiteY9" fmla="*/ 933450 h 1240631"/>
                    <a:gd name="connsiteX10" fmla="*/ 783431 w 1176338"/>
                    <a:gd name="connsiteY10" fmla="*/ 971550 h 1240631"/>
                    <a:gd name="connsiteX11" fmla="*/ 762000 w 1176338"/>
                    <a:gd name="connsiteY11" fmla="*/ 933450 h 1240631"/>
                    <a:gd name="connsiteX12" fmla="*/ 771525 w 1176338"/>
                    <a:gd name="connsiteY12" fmla="*/ 888206 h 1240631"/>
                    <a:gd name="connsiteX13" fmla="*/ 804863 w 1176338"/>
                    <a:gd name="connsiteY13" fmla="*/ 852487 h 1240631"/>
                    <a:gd name="connsiteX14" fmla="*/ 797719 w 1176338"/>
                    <a:gd name="connsiteY14" fmla="*/ 835819 h 1240631"/>
                    <a:gd name="connsiteX15" fmla="*/ 828675 w 1176338"/>
                    <a:gd name="connsiteY15" fmla="*/ 776287 h 1240631"/>
                    <a:gd name="connsiteX16" fmla="*/ 852488 w 1176338"/>
                    <a:gd name="connsiteY16" fmla="*/ 771525 h 1240631"/>
                    <a:gd name="connsiteX17" fmla="*/ 902494 w 1176338"/>
                    <a:gd name="connsiteY17" fmla="*/ 776287 h 1240631"/>
                    <a:gd name="connsiteX18" fmla="*/ 892969 w 1176338"/>
                    <a:gd name="connsiteY18" fmla="*/ 802481 h 1240631"/>
                    <a:gd name="connsiteX19" fmla="*/ 959644 w 1176338"/>
                    <a:gd name="connsiteY19" fmla="*/ 785812 h 1240631"/>
                    <a:gd name="connsiteX20" fmla="*/ 1076325 w 1176338"/>
                    <a:gd name="connsiteY20" fmla="*/ 740569 h 1240631"/>
                    <a:gd name="connsiteX21" fmla="*/ 1107281 w 1176338"/>
                    <a:gd name="connsiteY21" fmla="*/ 695325 h 1240631"/>
                    <a:gd name="connsiteX22" fmla="*/ 1176338 w 1176338"/>
                    <a:gd name="connsiteY22" fmla="*/ 695325 h 1240631"/>
                    <a:gd name="connsiteX23" fmla="*/ 1171575 w 1176338"/>
                    <a:gd name="connsiteY23" fmla="*/ 671512 h 1240631"/>
                    <a:gd name="connsiteX24" fmla="*/ 1173956 w 1176338"/>
                    <a:gd name="connsiteY24" fmla="*/ 600075 h 1240631"/>
                    <a:gd name="connsiteX25" fmla="*/ 1138238 w 1176338"/>
                    <a:gd name="connsiteY25" fmla="*/ 547687 h 1240631"/>
                    <a:gd name="connsiteX26" fmla="*/ 1100138 w 1176338"/>
                    <a:gd name="connsiteY26" fmla="*/ 557212 h 1240631"/>
                    <a:gd name="connsiteX27" fmla="*/ 1050131 w 1176338"/>
                    <a:gd name="connsiteY27" fmla="*/ 533400 h 1240631"/>
                    <a:gd name="connsiteX28" fmla="*/ 978694 w 1176338"/>
                    <a:gd name="connsiteY28" fmla="*/ 576262 h 1240631"/>
                    <a:gd name="connsiteX29" fmla="*/ 964406 w 1176338"/>
                    <a:gd name="connsiteY29" fmla="*/ 557212 h 1240631"/>
                    <a:gd name="connsiteX30" fmla="*/ 923925 w 1176338"/>
                    <a:gd name="connsiteY30" fmla="*/ 542925 h 1240631"/>
                    <a:gd name="connsiteX31" fmla="*/ 923925 w 1176338"/>
                    <a:gd name="connsiteY31" fmla="*/ 492919 h 1240631"/>
                    <a:gd name="connsiteX32" fmla="*/ 866775 w 1176338"/>
                    <a:gd name="connsiteY32" fmla="*/ 419100 h 1240631"/>
                    <a:gd name="connsiteX33" fmla="*/ 935831 w 1176338"/>
                    <a:gd name="connsiteY33" fmla="*/ 373856 h 1240631"/>
                    <a:gd name="connsiteX34" fmla="*/ 907256 w 1176338"/>
                    <a:gd name="connsiteY34" fmla="*/ 314325 h 1240631"/>
                    <a:gd name="connsiteX35" fmla="*/ 878681 w 1176338"/>
                    <a:gd name="connsiteY35" fmla="*/ 297656 h 1240631"/>
                    <a:gd name="connsiteX36" fmla="*/ 831056 w 1176338"/>
                    <a:gd name="connsiteY36" fmla="*/ 283369 h 1240631"/>
                    <a:gd name="connsiteX37" fmla="*/ 852488 w 1176338"/>
                    <a:gd name="connsiteY37" fmla="*/ 264319 h 1240631"/>
                    <a:gd name="connsiteX38" fmla="*/ 838200 w 1176338"/>
                    <a:gd name="connsiteY38" fmla="*/ 228600 h 1240631"/>
                    <a:gd name="connsiteX39" fmla="*/ 919163 w 1176338"/>
                    <a:gd name="connsiteY39" fmla="*/ 230981 h 1240631"/>
                    <a:gd name="connsiteX40" fmla="*/ 957263 w 1176338"/>
                    <a:gd name="connsiteY40" fmla="*/ 128587 h 1240631"/>
                    <a:gd name="connsiteX41" fmla="*/ 1007269 w 1176338"/>
                    <a:gd name="connsiteY41" fmla="*/ 133350 h 1240631"/>
                    <a:gd name="connsiteX42" fmla="*/ 1059656 w 1176338"/>
                    <a:gd name="connsiteY42" fmla="*/ 26194 h 1240631"/>
                    <a:gd name="connsiteX43" fmla="*/ 1023938 w 1176338"/>
                    <a:gd name="connsiteY43" fmla="*/ 19050 h 1240631"/>
                    <a:gd name="connsiteX44" fmla="*/ 1002506 w 1176338"/>
                    <a:gd name="connsiteY44" fmla="*/ 0 h 1240631"/>
                    <a:gd name="connsiteX45" fmla="*/ 983456 w 1176338"/>
                    <a:gd name="connsiteY45" fmla="*/ 11906 h 1240631"/>
                    <a:gd name="connsiteX46" fmla="*/ 952500 w 1176338"/>
                    <a:gd name="connsiteY46" fmla="*/ 16669 h 1240631"/>
                    <a:gd name="connsiteX47" fmla="*/ 928688 w 1176338"/>
                    <a:gd name="connsiteY47" fmla="*/ 4762 h 1240631"/>
                    <a:gd name="connsiteX48" fmla="*/ 902494 w 1176338"/>
                    <a:gd name="connsiteY48" fmla="*/ 2381 h 1240631"/>
                    <a:gd name="connsiteX49" fmla="*/ 885825 w 1176338"/>
                    <a:gd name="connsiteY49" fmla="*/ 28575 h 1240631"/>
                    <a:gd name="connsiteX50" fmla="*/ 740569 w 1176338"/>
                    <a:gd name="connsiteY50" fmla="*/ 45244 h 1240631"/>
                    <a:gd name="connsiteX51" fmla="*/ 740569 w 1176338"/>
                    <a:gd name="connsiteY51" fmla="*/ 11906 h 1240631"/>
                    <a:gd name="connsiteX52" fmla="*/ 704850 w 1176338"/>
                    <a:gd name="connsiteY52" fmla="*/ 52387 h 1240631"/>
                    <a:gd name="connsiteX53" fmla="*/ 704850 w 1176338"/>
                    <a:gd name="connsiteY53" fmla="*/ 71437 h 1240631"/>
                    <a:gd name="connsiteX54" fmla="*/ 583406 w 1176338"/>
                    <a:gd name="connsiteY54" fmla="*/ 111919 h 1240631"/>
                    <a:gd name="connsiteX55" fmla="*/ 614363 w 1176338"/>
                    <a:gd name="connsiteY55" fmla="*/ 140494 h 1240631"/>
                    <a:gd name="connsiteX56" fmla="*/ 616744 w 1176338"/>
                    <a:gd name="connsiteY56" fmla="*/ 178594 h 1240631"/>
                    <a:gd name="connsiteX57" fmla="*/ 573881 w 1176338"/>
                    <a:gd name="connsiteY57" fmla="*/ 211931 h 1240631"/>
                    <a:gd name="connsiteX58" fmla="*/ 600075 w 1176338"/>
                    <a:gd name="connsiteY58" fmla="*/ 259556 h 1240631"/>
                    <a:gd name="connsiteX59" fmla="*/ 647700 w 1176338"/>
                    <a:gd name="connsiteY59" fmla="*/ 276225 h 1240631"/>
                    <a:gd name="connsiteX60" fmla="*/ 645319 w 1176338"/>
                    <a:gd name="connsiteY60" fmla="*/ 323850 h 1240631"/>
                    <a:gd name="connsiteX61" fmla="*/ 619125 w 1176338"/>
                    <a:gd name="connsiteY61" fmla="*/ 357187 h 1240631"/>
                    <a:gd name="connsiteX62" fmla="*/ 542925 w 1176338"/>
                    <a:gd name="connsiteY62" fmla="*/ 366712 h 1240631"/>
                    <a:gd name="connsiteX63" fmla="*/ 545306 w 1176338"/>
                    <a:gd name="connsiteY63" fmla="*/ 400050 h 1240631"/>
                    <a:gd name="connsiteX64" fmla="*/ 528638 w 1176338"/>
                    <a:gd name="connsiteY64" fmla="*/ 440531 h 1240631"/>
                    <a:gd name="connsiteX65" fmla="*/ 476250 w 1176338"/>
                    <a:gd name="connsiteY65" fmla="*/ 457200 h 1240631"/>
                    <a:gd name="connsiteX66" fmla="*/ 471488 w 1176338"/>
                    <a:gd name="connsiteY66" fmla="*/ 414337 h 1240631"/>
                    <a:gd name="connsiteX67" fmla="*/ 440531 w 1176338"/>
                    <a:gd name="connsiteY67" fmla="*/ 411956 h 1240631"/>
                    <a:gd name="connsiteX68" fmla="*/ 426244 w 1176338"/>
                    <a:gd name="connsiteY68" fmla="*/ 440531 h 1240631"/>
                    <a:gd name="connsiteX69" fmla="*/ 383381 w 1176338"/>
                    <a:gd name="connsiteY69" fmla="*/ 438150 h 1240631"/>
                    <a:gd name="connsiteX70" fmla="*/ 381000 w 1176338"/>
                    <a:gd name="connsiteY70" fmla="*/ 416719 h 1240631"/>
                    <a:gd name="connsiteX71" fmla="*/ 373856 w 1176338"/>
                    <a:gd name="connsiteY71" fmla="*/ 459581 h 1240631"/>
                    <a:gd name="connsiteX72" fmla="*/ 369094 w 1176338"/>
                    <a:gd name="connsiteY72" fmla="*/ 481012 h 1240631"/>
                    <a:gd name="connsiteX73" fmla="*/ 342900 w 1176338"/>
                    <a:gd name="connsiteY73" fmla="*/ 490537 h 1240631"/>
                    <a:gd name="connsiteX74" fmla="*/ 340519 w 1176338"/>
                    <a:gd name="connsiteY74" fmla="*/ 471487 h 1240631"/>
                    <a:gd name="connsiteX75" fmla="*/ 288131 w 1176338"/>
                    <a:gd name="connsiteY75" fmla="*/ 509587 h 1240631"/>
                    <a:gd name="connsiteX76" fmla="*/ 295275 w 1176338"/>
                    <a:gd name="connsiteY76" fmla="*/ 576262 h 1240631"/>
                    <a:gd name="connsiteX77" fmla="*/ 252413 w 1176338"/>
                    <a:gd name="connsiteY77" fmla="*/ 614362 h 1240631"/>
                    <a:gd name="connsiteX78" fmla="*/ 192881 w 1176338"/>
                    <a:gd name="connsiteY78" fmla="*/ 604837 h 1240631"/>
                    <a:gd name="connsiteX79" fmla="*/ 152400 w 1176338"/>
                    <a:gd name="connsiteY79" fmla="*/ 611981 h 1240631"/>
                    <a:gd name="connsiteX80" fmla="*/ 114300 w 1176338"/>
                    <a:gd name="connsiteY80" fmla="*/ 611981 h 1240631"/>
                    <a:gd name="connsiteX81" fmla="*/ 109538 w 1176338"/>
                    <a:gd name="connsiteY81" fmla="*/ 590550 h 1240631"/>
                    <a:gd name="connsiteX82" fmla="*/ 116681 w 1176338"/>
                    <a:gd name="connsiteY82" fmla="*/ 559594 h 1240631"/>
                    <a:gd name="connsiteX83" fmla="*/ 121444 w 1176338"/>
                    <a:gd name="connsiteY83" fmla="*/ 540544 h 1240631"/>
                    <a:gd name="connsiteX84" fmla="*/ 0 w 1176338"/>
                    <a:gd name="connsiteY84" fmla="*/ 671512 h 1240631"/>
                    <a:gd name="connsiteX85" fmla="*/ 11906 w 1176338"/>
                    <a:gd name="connsiteY85" fmla="*/ 781050 h 1240631"/>
                    <a:gd name="connsiteX86" fmla="*/ 45244 w 1176338"/>
                    <a:gd name="connsiteY86" fmla="*/ 781050 h 1240631"/>
                    <a:gd name="connsiteX87" fmla="*/ 28575 w 1176338"/>
                    <a:gd name="connsiteY87" fmla="*/ 838200 h 1240631"/>
                    <a:gd name="connsiteX88" fmla="*/ 16669 w 1176338"/>
                    <a:gd name="connsiteY88" fmla="*/ 876300 h 1240631"/>
                    <a:gd name="connsiteX89" fmla="*/ 40481 w 1176338"/>
                    <a:gd name="connsiteY89" fmla="*/ 876300 h 1240631"/>
                    <a:gd name="connsiteX90" fmla="*/ 42863 w 1176338"/>
                    <a:gd name="connsiteY90" fmla="*/ 845344 h 1240631"/>
                    <a:gd name="connsiteX91" fmla="*/ 164306 w 1176338"/>
                    <a:gd name="connsiteY91" fmla="*/ 962025 h 1240631"/>
                    <a:gd name="connsiteX92" fmla="*/ 180975 w 1176338"/>
                    <a:gd name="connsiteY92" fmla="*/ 964406 h 1240631"/>
                    <a:gd name="connsiteX93" fmla="*/ 188119 w 1176338"/>
                    <a:gd name="connsiteY93" fmla="*/ 992981 h 1240631"/>
                    <a:gd name="connsiteX94" fmla="*/ 197644 w 1176338"/>
                    <a:gd name="connsiteY94" fmla="*/ 1019175 h 1240631"/>
                    <a:gd name="connsiteX95" fmla="*/ 271463 w 1176338"/>
                    <a:gd name="connsiteY95" fmla="*/ 1000125 h 1240631"/>
                    <a:gd name="connsiteX96" fmla="*/ 269081 w 1176338"/>
                    <a:gd name="connsiteY96" fmla="*/ 1047750 h 1240631"/>
                    <a:gd name="connsiteX97" fmla="*/ 354806 w 1176338"/>
                    <a:gd name="connsiteY97" fmla="*/ 1092994 h 1240631"/>
                    <a:gd name="connsiteX98" fmla="*/ 409575 w 1176338"/>
                    <a:gd name="connsiteY98" fmla="*/ 1119187 h 1240631"/>
                    <a:gd name="connsiteX99" fmla="*/ 447675 w 1176338"/>
                    <a:gd name="connsiteY99" fmla="*/ 1143000 h 1240631"/>
                    <a:gd name="connsiteX100" fmla="*/ 452438 w 1176338"/>
                    <a:gd name="connsiteY100" fmla="*/ 1166812 h 1240631"/>
                    <a:gd name="connsiteX101" fmla="*/ 504825 w 1176338"/>
                    <a:gd name="connsiteY101" fmla="*/ 1123950 h 1240631"/>
                    <a:gd name="connsiteX102" fmla="*/ 588169 w 1176338"/>
                    <a:gd name="connsiteY102" fmla="*/ 1100137 h 1240631"/>
                    <a:gd name="connsiteX103" fmla="*/ 678656 w 1176338"/>
                    <a:gd name="connsiteY103" fmla="*/ 1107281 h 1240631"/>
                    <a:gd name="connsiteX104" fmla="*/ 728663 w 1176338"/>
                    <a:gd name="connsiteY104" fmla="*/ 1131094 h 1240631"/>
                    <a:gd name="connsiteX105" fmla="*/ 747713 w 1176338"/>
                    <a:gd name="connsiteY105" fmla="*/ 1152525 h 1240631"/>
                    <a:gd name="connsiteX106" fmla="*/ 785813 w 1176338"/>
                    <a:gd name="connsiteY106" fmla="*/ 1128712 h 1240631"/>
                    <a:gd name="connsiteX107" fmla="*/ 812006 w 1176338"/>
                    <a:gd name="connsiteY107" fmla="*/ 1188244 h 1240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</a:cxnLst>
                  <a:rect l="l" t="t" r="r" b="b"/>
                  <a:pathLst>
                    <a:path w="1176338" h="1240631">
                      <a:moveTo>
                        <a:pt x="812006" y="1188244"/>
                      </a:moveTo>
                      <a:lnTo>
                        <a:pt x="850106" y="1240631"/>
                      </a:lnTo>
                      <a:lnTo>
                        <a:pt x="900113" y="1188244"/>
                      </a:lnTo>
                      <a:lnTo>
                        <a:pt x="921544" y="1112044"/>
                      </a:lnTo>
                      <a:lnTo>
                        <a:pt x="885825" y="1100137"/>
                      </a:lnTo>
                      <a:lnTo>
                        <a:pt x="845344" y="1064419"/>
                      </a:lnTo>
                      <a:lnTo>
                        <a:pt x="833438" y="1028700"/>
                      </a:lnTo>
                      <a:lnTo>
                        <a:pt x="819150" y="995362"/>
                      </a:lnTo>
                      <a:lnTo>
                        <a:pt x="816769" y="947737"/>
                      </a:lnTo>
                      <a:lnTo>
                        <a:pt x="804863" y="933450"/>
                      </a:lnTo>
                      <a:lnTo>
                        <a:pt x="783431" y="971550"/>
                      </a:lnTo>
                      <a:lnTo>
                        <a:pt x="762000" y="933450"/>
                      </a:lnTo>
                      <a:lnTo>
                        <a:pt x="771525" y="888206"/>
                      </a:lnTo>
                      <a:lnTo>
                        <a:pt x="804863" y="852487"/>
                      </a:lnTo>
                      <a:lnTo>
                        <a:pt x="797719" y="835819"/>
                      </a:lnTo>
                      <a:lnTo>
                        <a:pt x="828675" y="776287"/>
                      </a:lnTo>
                      <a:lnTo>
                        <a:pt x="852488" y="771525"/>
                      </a:lnTo>
                      <a:lnTo>
                        <a:pt x="902494" y="776287"/>
                      </a:lnTo>
                      <a:lnTo>
                        <a:pt x="892969" y="802481"/>
                      </a:lnTo>
                      <a:lnTo>
                        <a:pt x="959644" y="785812"/>
                      </a:lnTo>
                      <a:lnTo>
                        <a:pt x="1076325" y="740569"/>
                      </a:lnTo>
                      <a:lnTo>
                        <a:pt x="1107281" y="695325"/>
                      </a:lnTo>
                      <a:lnTo>
                        <a:pt x="1176338" y="695325"/>
                      </a:lnTo>
                      <a:lnTo>
                        <a:pt x="1171575" y="671512"/>
                      </a:lnTo>
                      <a:cubicBezTo>
                        <a:pt x="1172369" y="647700"/>
                        <a:pt x="1173162" y="623887"/>
                        <a:pt x="1173956" y="600075"/>
                      </a:cubicBezTo>
                      <a:lnTo>
                        <a:pt x="1138238" y="547687"/>
                      </a:lnTo>
                      <a:lnTo>
                        <a:pt x="1100138" y="557212"/>
                      </a:lnTo>
                      <a:lnTo>
                        <a:pt x="1050131" y="533400"/>
                      </a:lnTo>
                      <a:lnTo>
                        <a:pt x="978694" y="576262"/>
                      </a:lnTo>
                      <a:lnTo>
                        <a:pt x="964406" y="557212"/>
                      </a:lnTo>
                      <a:lnTo>
                        <a:pt x="923925" y="542925"/>
                      </a:lnTo>
                      <a:lnTo>
                        <a:pt x="923925" y="492919"/>
                      </a:lnTo>
                      <a:lnTo>
                        <a:pt x="866775" y="419100"/>
                      </a:lnTo>
                      <a:lnTo>
                        <a:pt x="935831" y="373856"/>
                      </a:lnTo>
                      <a:lnTo>
                        <a:pt x="907256" y="314325"/>
                      </a:lnTo>
                      <a:lnTo>
                        <a:pt x="878681" y="297656"/>
                      </a:lnTo>
                      <a:lnTo>
                        <a:pt x="831056" y="283369"/>
                      </a:lnTo>
                      <a:lnTo>
                        <a:pt x="852488" y="264319"/>
                      </a:lnTo>
                      <a:lnTo>
                        <a:pt x="838200" y="228600"/>
                      </a:lnTo>
                      <a:lnTo>
                        <a:pt x="919163" y="230981"/>
                      </a:lnTo>
                      <a:lnTo>
                        <a:pt x="957263" y="128587"/>
                      </a:lnTo>
                      <a:lnTo>
                        <a:pt x="1007269" y="133350"/>
                      </a:lnTo>
                      <a:lnTo>
                        <a:pt x="1059656" y="26194"/>
                      </a:lnTo>
                      <a:lnTo>
                        <a:pt x="1023938" y="19050"/>
                      </a:lnTo>
                      <a:lnTo>
                        <a:pt x="1002506" y="0"/>
                      </a:lnTo>
                      <a:lnTo>
                        <a:pt x="983456" y="11906"/>
                      </a:lnTo>
                      <a:lnTo>
                        <a:pt x="952500" y="16669"/>
                      </a:lnTo>
                      <a:lnTo>
                        <a:pt x="928688" y="4762"/>
                      </a:lnTo>
                      <a:lnTo>
                        <a:pt x="902494" y="2381"/>
                      </a:lnTo>
                      <a:lnTo>
                        <a:pt x="885825" y="28575"/>
                      </a:lnTo>
                      <a:lnTo>
                        <a:pt x="740569" y="45244"/>
                      </a:lnTo>
                      <a:lnTo>
                        <a:pt x="740569" y="11906"/>
                      </a:lnTo>
                      <a:lnTo>
                        <a:pt x="704850" y="52387"/>
                      </a:lnTo>
                      <a:lnTo>
                        <a:pt x="704850" y="71437"/>
                      </a:lnTo>
                      <a:lnTo>
                        <a:pt x="583406" y="111919"/>
                      </a:lnTo>
                      <a:lnTo>
                        <a:pt x="614363" y="140494"/>
                      </a:lnTo>
                      <a:lnTo>
                        <a:pt x="616744" y="178594"/>
                      </a:lnTo>
                      <a:lnTo>
                        <a:pt x="573881" y="211931"/>
                      </a:lnTo>
                      <a:lnTo>
                        <a:pt x="600075" y="259556"/>
                      </a:lnTo>
                      <a:lnTo>
                        <a:pt x="647700" y="276225"/>
                      </a:lnTo>
                      <a:lnTo>
                        <a:pt x="645319" y="323850"/>
                      </a:lnTo>
                      <a:lnTo>
                        <a:pt x="619125" y="357187"/>
                      </a:lnTo>
                      <a:lnTo>
                        <a:pt x="542925" y="366712"/>
                      </a:lnTo>
                      <a:lnTo>
                        <a:pt x="545306" y="400050"/>
                      </a:lnTo>
                      <a:lnTo>
                        <a:pt x="528638" y="440531"/>
                      </a:lnTo>
                      <a:lnTo>
                        <a:pt x="476250" y="457200"/>
                      </a:lnTo>
                      <a:lnTo>
                        <a:pt x="471488" y="414337"/>
                      </a:lnTo>
                      <a:lnTo>
                        <a:pt x="440531" y="411956"/>
                      </a:lnTo>
                      <a:lnTo>
                        <a:pt x="426244" y="440531"/>
                      </a:lnTo>
                      <a:lnTo>
                        <a:pt x="383381" y="438150"/>
                      </a:lnTo>
                      <a:lnTo>
                        <a:pt x="381000" y="416719"/>
                      </a:lnTo>
                      <a:lnTo>
                        <a:pt x="373856" y="459581"/>
                      </a:lnTo>
                      <a:lnTo>
                        <a:pt x="369094" y="481012"/>
                      </a:lnTo>
                      <a:lnTo>
                        <a:pt x="342900" y="490537"/>
                      </a:lnTo>
                      <a:lnTo>
                        <a:pt x="340519" y="471487"/>
                      </a:lnTo>
                      <a:lnTo>
                        <a:pt x="288131" y="509587"/>
                      </a:lnTo>
                      <a:lnTo>
                        <a:pt x="295275" y="576262"/>
                      </a:lnTo>
                      <a:lnTo>
                        <a:pt x="252413" y="614362"/>
                      </a:lnTo>
                      <a:lnTo>
                        <a:pt x="192881" y="604837"/>
                      </a:lnTo>
                      <a:lnTo>
                        <a:pt x="152400" y="611981"/>
                      </a:lnTo>
                      <a:lnTo>
                        <a:pt x="114300" y="611981"/>
                      </a:lnTo>
                      <a:lnTo>
                        <a:pt x="109538" y="590550"/>
                      </a:lnTo>
                      <a:lnTo>
                        <a:pt x="116681" y="559594"/>
                      </a:lnTo>
                      <a:lnTo>
                        <a:pt x="121444" y="540544"/>
                      </a:lnTo>
                      <a:lnTo>
                        <a:pt x="0" y="671512"/>
                      </a:lnTo>
                      <a:lnTo>
                        <a:pt x="11906" y="781050"/>
                      </a:lnTo>
                      <a:lnTo>
                        <a:pt x="45244" y="781050"/>
                      </a:lnTo>
                      <a:lnTo>
                        <a:pt x="28575" y="838200"/>
                      </a:lnTo>
                      <a:lnTo>
                        <a:pt x="16669" y="876300"/>
                      </a:lnTo>
                      <a:lnTo>
                        <a:pt x="40481" y="876300"/>
                      </a:lnTo>
                      <a:lnTo>
                        <a:pt x="42863" y="845344"/>
                      </a:lnTo>
                      <a:lnTo>
                        <a:pt x="164306" y="962025"/>
                      </a:lnTo>
                      <a:lnTo>
                        <a:pt x="180975" y="964406"/>
                      </a:lnTo>
                      <a:lnTo>
                        <a:pt x="188119" y="992981"/>
                      </a:lnTo>
                      <a:lnTo>
                        <a:pt x="197644" y="1019175"/>
                      </a:lnTo>
                      <a:lnTo>
                        <a:pt x="271463" y="1000125"/>
                      </a:lnTo>
                      <a:lnTo>
                        <a:pt x="269081" y="1047750"/>
                      </a:lnTo>
                      <a:lnTo>
                        <a:pt x="354806" y="1092994"/>
                      </a:lnTo>
                      <a:lnTo>
                        <a:pt x="409575" y="1119187"/>
                      </a:lnTo>
                      <a:lnTo>
                        <a:pt x="447675" y="1143000"/>
                      </a:lnTo>
                      <a:lnTo>
                        <a:pt x="452438" y="1166812"/>
                      </a:lnTo>
                      <a:lnTo>
                        <a:pt x="504825" y="1123950"/>
                      </a:lnTo>
                      <a:lnTo>
                        <a:pt x="588169" y="1100137"/>
                      </a:lnTo>
                      <a:lnTo>
                        <a:pt x="678656" y="1107281"/>
                      </a:lnTo>
                      <a:lnTo>
                        <a:pt x="728663" y="1131094"/>
                      </a:lnTo>
                      <a:lnTo>
                        <a:pt x="747713" y="1152525"/>
                      </a:lnTo>
                      <a:lnTo>
                        <a:pt x="785813" y="1128712"/>
                      </a:lnTo>
                      <a:lnTo>
                        <a:pt x="812006" y="118824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Figura a mano libera 637">
                  <a:extLst>
                    <a:ext uri="{FF2B5EF4-FFF2-40B4-BE49-F238E27FC236}">
                      <a16:creationId xmlns:a16="http://schemas.microsoft.com/office/drawing/2014/main" id="{25C9A6CE-9623-4CF6-969D-3458A7756754}"/>
                    </a:ext>
                  </a:extLst>
                </p:cNvPr>
                <p:cNvSpPr/>
                <p:nvPr/>
              </p:nvSpPr>
              <p:spPr bwMode="auto">
                <a:xfrm>
                  <a:off x="3106062" y="2640126"/>
                  <a:ext cx="659771" cy="682423"/>
                </a:xfrm>
                <a:custGeom>
                  <a:avLst/>
                  <a:gdLst>
                    <a:gd name="connsiteX0" fmla="*/ 788193 w 1316831"/>
                    <a:gd name="connsiteY0" fmla="*/ 1402556 h 1414462"/>
                    <a:gd name="connsiteX1" fmla="*/ 738187 w 1316831"/>
                    <a:gd name="connsiteY1" fmla="*/ 1373981 h 1414462"/>
                    <a:gd name="connsiteX2" fmla="*/ 704850 w 1316831"/>
                    <a:gd name="connsiteY2" fmla="*/ 1390650 h 1414462"/>
                    <a:gd name="connsiteX3" fmla="*/ 685800 w 1316831"/>
                    <a:gd name="connsiteY3" fmla="*/ 1409700 h 1414462"/>
                    <a:gd name="connsiteX4" fmla="*/ 657225 w 1316831"/>
                    <a:gd name="connsiteY4" fmla="*/ 1414462 h 1414462"/>
                    <a:gd name="connsiteX5" fmla="*/ 638175 w 1316831"/>
                    <a:gd name="connsiteY5" fmla="*/ 1385887 h 1414462"/>
                    <a:gd name="connsiteX6" fmla="*/ 650081 w 1316831"/>
                    <a:gd name="connsiteY6" fmla="*/ 1354931 h 1414462"/>
                    <a:gd name="connsiteX7" fmla="*/ 664368 w 1316831"/>
                    <a:gd name="connsiteY7" fmla="*/ 1371600 h 1414462"/>
                    <a:gd name="connsiteX8" fmla="*/ 690562 w 1316831"/>
                    <a:gd name="connsiteY8" fmla="*/ 1359694 h 1414462"/>
                    <a:gd name="connsiteX9" fmla="*/ 690562 w 1316831"/>
                    <a:gd name="connsiteY9" fmla="*/ 1331119 h 1414462"/>
                    <a:gd name="connsiteX10" fmla="*/ 673893 w 1316831"/>
                    <a:gd name="connsiteY10" fmla="*/ 1281112 h 1414462"/>
                    <a:gd name="connsiteX11" fmla="*/ 631031 w 1316831"/>
                    <a:gd name="connsiteY11" fmla="*/ 1238250 h 1414462"/>
                    <a:gd name="connsiteX12" fmla="*/ 595312 w 1316831"/>
                    <a:gd name="connsiteY12" fmla="*/ 1223962 h 1414462"/>
                    <a:gd name="connsiteX13" fmla="*/ 559593 w 1316831"/>
                    <a:gd name="connsiteY13" fmla="*/ 1159669 h 1414462"/>
                    <a:gd name="connsiteX14" fmla="*/ 471487 w 1316831"/>
                    <a:gd name="connsiteY14" fmla="*/ 1126331 h 1414462"/>
                    <a:gd name="connsiteX15" fmla="*/ 471487 w 1316831"/>
                    <a:gd name="connsiteY15" fmla="*/ 1085850 h 1414462"/>
                    <a:gd name="connsiteX16" fmla="*/ 485775 w 1316831"/>
                    <a:gd name="connsiteY16" fmla="*/ 1031081 h 1414462"/>
                    <a:gd name="connsiteX17" fmla="*/ 431006 w 1316831"/>
                    <a:gd name="connsiteY17" fmla="*/ 1021556 h 1414462"/>
                    <a:gd name="connsiteX18" fmla="*/ 376237 w 1316831"/>
                    <a:gd name="connsiteY18" fmla="*/ 1021556 h 1414462"/>
                    <a:gd name="connsiteX19" fmla="*/ 371475 w 1316831"/>
                    <a:gd name="connsiteY19" fmla="*/ 1045369 h 1414462"/>
                    <a:gd name="connsiteX20" fmla="*/ 347662 w 1316831"/>
                    <a:gd name="connsiteY20" fmla="*/ 1023937 h 1414462"/>
                    <a:gd name="connsiteX21" fmla="*/ 354806 w 1316831"/>
                    <a:gd name="connsiteY21" fmla="*/ 992981 h 1414462"/>
                    <a:gd name="connsiteX22" fmla="*/ 347662 w 1316831"/>
                    <a:gd name="connsiteY22" fmla="*/ 938212 h 1414462"/>
                    <a:gd name="connsiteX23" fmla="*/ 371475 w 1316831"/>
                    <a:gd name="connsiteY23" fmla="*/ 912019 h 1414462"/>
                    <a:gd name="connsiteX24" fmla="*/ 371475 w 1316831"/>
                    <a:gd name="connsiteY24" fmla="*/ 888206 h 1414462"/>
                    <a:gd name="connsiteX25" fmla="*/ 381000 w 1316831"/>
                    <a:gd name="connsiteY25" fmla="*/ 821531 h 1414462"/>
                    <a:gd name="connsiteX26" fmla="*/ 364331 w 1316831"/>
                    <a:gd name="connsiteY26" fmla="*/ 771525 h 1414462"/>
                    <a:gd name="connsiteX27" fmla="*/ 314325 w 1316831"/>
                    <a:gd name="connsiteY27" fmla="*/ 692944 h 1414462"/>
                    <a:gd name="connsiteX28" fmla="*/ 280987 w 1316831"/>
                    <a:gd name="connsiteY28" fmla="*/ 654844 h 1414462"/>
                    <a:gd name="connsiteX29" fmla="*/ 257175 w 1316831"/>
                    <a:gd name="connsiteY29" fmla="*/ 585787 h 1414462"/>
                    <a:gd name="connsiteX30" fmla="*/ 264318 w 1316831"/>
                    <a:gd name="connsiteY30" fmla="*/ 419100 h 1414462"/>
                    <a:gd name="connsiteX31" fmla="*/ 235743 w 1316831"/>
                    <a:gd name="connsiteY31" fmla="*/ 371475 h 1414462"/>
                    <a:gd name="connsiteX32" fmla="*/ 204787 w 1316831"/>
                    <a:gd name="connsiteY32" fmla="*/ 350044 h 1414462"/>
                    <a:gd name="connsiteX33" fmla="*/ 190500 w 1316831"/>
                    <a:gd name="connsiteY33" fmla="*/ 304800 h 1414462"/>
                    <a:gd name="connsiteX34" fmla="*/ 164306 w 1316831"/>
                    <a:gd name="connsiteY34" fmla="*/ 280987 h 1414462"/>
                    <a:gd name="connsiteX35" fmla="*/ 138112 w 1316831"/>
                    <a:gd name="connsiteY35" fmla="*/ 264319 h 1414462"/>
                    <a:gd name="connsiteX36" fmla="*/ 116681 w 1316831"/>
                    <a:gd name="connsiteY36" fmla="*/ 273844 h 1414462"/>
                    <a:gd name="connsiteX37" fmla="*/ 88106 w 1316831"/>
                    <a:gd name="connsiteY37" fmla="*/ 264319 h 1414462"/>
                    <a:gd name="connsiteX38" fmla="*/ 59531 w 1316831"/>
                    <a:gd name="connsiteY38" fmla="*/ 230981 h 1414462"/>
                    <a:gd name="connsiteX39" fmla="*/ 130968 w 1316831"/>
                    <a:gd name="connsiteY39" fmla="*/ 216694 h 1414462"/>
                    <a:gd name="connsiteX40" fmla="*/ 109537 w 1316831"/>
                    <a:gd name="connsiteY40" fmla="*/ 178594 h 1414462"/>
                    <a:gd name="connsiteX41" fmla="*/ 69056 w 1316831"/>
                    <a:gd name="connsiteY41" fmla="*/ 178594 h 1414462"/>
                    <a:gd name="connsiteX42" fmla="*/ 61912 w 1316831"/>
                    <a:gd name="connsiteY42" fmla="*/ 133350 h 1414462"/>
                    <a:gd name="connsiteX43" fmla="*/ 21431 w 1316831"/>
                    <a:gd name="connsiteY43" fmla="*/ 100012 h 1414462"/>
                    <a:gd name="connsiteX44" fmla="*/ 0 w 1316831"/>
                    <a:gd name="connsiteY44" fmla="*/ 61912 h 1414462"/>
                    <a:gd name="connsiteX45" fmla="*/ 42862 w 1316831"/>
                    <a:gd name="connsiteY45" fmla="*/ 40481 h 1414462"/>
                    <a:gd name="connsiteX46" fmla="*/ 64293 w 1316831"/>
                    <a:gd name="connsiteY46" fmla="*/ 0 h 1414462"/>
                    <a:gd name="connsiteX47" fmla="*/ 147637 w 1316831"/>
                    <a:gd name="connsiteY47" fmla="*/ 7144 h 1414462"/>
                    <a:gd name="connsiteX48" fmla="*/ 152400 w 1316831"/>
                    <a:gd name="connsiteY48" fmla="*/ 45244 h 1414462"/>
                    <a:gd name="connsiteX49" fmla="*/ 171450 w 1316831"/>
                    <a:gd name="connsiteY49" fmla="*/ 83344 h 1414462"/>
                    <a:gd name="connsiteX50" fmla="*/ 276225 w 1316831"/>
                    <a:gd name="connsiteY50" fmla="*/ 130969 h 1414462"/>
                    <a:gd name="connsiteX51" fmla="*/ 316706 w 1316831"/>
                    <a:gd name="connsiteY51" fmla="*/ 140494 h 1414462"/>
                    <a:gd name="connsiteX52" fmla="*/ 350043 w 1316831"/>
                    <a:gd name="connsiteY52" fmla="*/ 169069 h 1414462"/>
                    <a:gd name="connsiteX53" fmla="*/ 390525 w 1316831"/>
                    <a:gd name="connsiteY53" fmla="*/ 192881 h 1414462"/>
                    <a:gd name="connsiteX54" fmla="*/ 411956 w 1316831"/>
                    <a:gd name="connsiteY54" fmla="*/ 223837 h 1414462"/>
                    <a:gd name="connsiteX55" fmla="*/ 416718 w 1316831"/>
                    <a:gd name="connsiteY55" fmla="*/ 230981 h 1414462"/>
                    <a:gd name="connsiteX56" fmla="*/ 423862 w 1316831"/>
                    <a:gd name="connsiteY56" fmla="*/ 240506 h 1414462"/>
                    <a:gd name="connsiteX57" fmla="*/ 431006 w 1316831"/>
                    <a:gd name="connsiteY57" fmla="*/ 247650 h 1414462"/>
                    <a:gd name="connsiteX58" fmla="*/ 431006 w 1316831"/>
                    <a:gd name="connsiteY58" fmla="*/ 247650 h 1414462"/>
                    <a:gd name="connsiteX59" fmla="*/ 490537 w 1316831"/>
                    <a:gd name="connsiteY59" fmla="*/ 233362 h 1414462"/>
                    <a:gd name="connsiteX60" fmla="*/ 540543 w 1316831"/>
                    <a:gd name="connsiteY60" fmla="*/ 259556 h 1414462"/>
                    <a:gd name="connsiteX61" fmla="*/ 588168 w 1316831"/>
                    <a:gd name="connsiteY61" fmla="*/ 292894 h 1414462"/>
                    <a:gd name="connsiteX62" fmla="*/ 602456 w 1316831"/>
                    <a:gd name="connsiteY62" fmla="*/ 297656 h 1414462"/>
                    <a:gd name="connsiteX63" fmla="*/ 635793 w 1316831"/>
                    <a:gd name="connsiteY63" fmla="*/ 245269 h 1414462"/>
                    <a:gd name="connsiteX64" fmla="*/ 685800 w 1316831"/>
                    <a:gd name="connsiteY64" fmla="*/ 280987 h 1414462"/>
                    <a:gd name="connsiteX65" fmla="*/ 733425 w 1316831"/>
                    <a:gd name="connsiteY65" fmla="*/ 271462 h 1414462"/>
                    <a:gd name="connsiteX66" fmla="*/ 766762 w 1316831"/>
                    <a:gd name="connsiteY66" fmla="*/ 280987 h 1414462"/>
                    <a:gd name="connsiteX67" fmla="*/ 750093 w 1316831"/>
                    <a:gd name="connsiteY67" fmla="*/ 250031 h 1414462"/>
                    <a:gd name="connsiteX68" fmla="*/ 790575 w 1316831"/>
                    <a:gd name="connsiteY68" fmla="*/ 228600 h 1414462"/>
                    <a:gd name="connsiteX69" fmla="*/ 826293 w 1316831"/>
                    <a:gd name="connsiteY69" fmla="*/ 192881 h 1414462"/>
                    <a:gd name="connsiteX70" fmla="*/ 862012 w 1316831"/>
                    <a:gd name="connsiteY70" fmla="*/ 209550 h 1414462"/>
                    <a:gd name="connsiteX71" fmla="*/ 885825 w 1316831"/>
                    <a:gd name="connsiteY71" fmla="*/ 245269 h 1414462"/>
                    <a:gd name="connsiteX72" fmla="*/ 945356 w 1316831"/>
                    <a:gd name="connsiteY72" fmla="*/ 240506 h 1414462"/>
                    <a:gd name="connsiteX73" fmla="*/ 938212 w 1316831"/>
                    <a:gd name="connsiteY73" fmla="*/ 280987 h 1414462"/>
                    <a:gd name="connsiteX74" fmla="*/ 1012031 w 1316831"/>
                    <a:gd name="connsiteY74" fmla="*/ 278606 h 1414462"/>
                    <a:gd name="connsiteX75" fmla="*/ 981075 w 1316831"/>
                    <a:gd name="connsiteY75" fmla="*/ 347662 h 1414462"/>
                    <a:gd name="connsiteX76" fmla="*/ 966787 w 1316831"/>
                    <a:gd name="connsiteY76" fmla="*/ 378619 h 1414462"/>
                    <a:gd name="connsiteX77" fmla="*/ 988218 w 1316831"/>
                    <a:gd name="connsiteY77" fmla="*/ 400050 h 1414462"/>
                    <a:gd name="connsiteX78" fmla="*/ 985837 w 1316831"/>
                    <a:gd name="connsiteY78" fmla="*/ 442912 h 1414462"/>
                    <a:gd name="connsiteX79" fmla="*/ 1085850 w 1316831"/>
                    <a:gd name="connsiteY79" fmla="*/ 488156 h 1414462"/>
                    <a:gd name="connsiteX80" fmla="*/ 1143000 w 1316831"/>
                    <a:gd name="connsiteY80" fmla="*/ 523875 h 1414462"/>
                    <a:gd name="connsiteX81" fmla="*/ 1181100 w 1316831"/>
                    <a:gd name="connsiteY81" fmla="*/ 528637 h 1414462"/>
                    <a:gd name="connsiteX82" fmla="*/ 1281112 w 1316831"/>
                    <a:gd name="connsiteY82" fmla="*/ 516731 h 1414462"/>
                    <a:gd name="connsiteX83" fmla="*/ 1316831 w 1316831"/>
                    <a:gd name="connsiteY83" fmla="*/ 545306 h 1414462"/>
                    <a:gd name="connsiteX84" fmla="*/ 1202531 w 1316831"/>
                    <a:gd name="connsiteY84" fmla="*/ 609600 h 1414462"/>
                    <a:gd name="connsiteX85" fmla="*/ 1221581 w 1316831"/>
                    <a:gd name="connsiteY85" fmla="*/ 633412 h 1414462"/>
                    <a:gd name="connsiteX86" fmla="*/ 1183481 w 1316831"/>
                    <a:gd name="connsiteY86" fmla="*/ 683419 h 1414462"/>
                    <a:gd name="connsiteX87" fmla="*/ 1166812 w 1316831"/>
                    <a:gd name="connsiteY87" fmla="*/ 683419 h 1414462"/>
                    <a:gd name="connsiteX88" fmla="*/ 1195387 w 1316831"/>
                    <a:gd name="connsiteY88" fmla="*/ 711994 h 1414462"/>
                    <a:gd name="connsiteX89" fmla="*/ 1150143 w 1316831"/>
                    <a:gd name="connsiteY89" fmla="*/ 723900 h 1414462"/>
                    <a:gd name="connsiteX90" fmla="*/ 1123950 w 1316831"/>
                    <a:gd name="connsiteY90" fmla="*/ 745331 h 1414462"/>
                    <a:gd name="connsiteX91" fmla="*/ 1154906 w 1316831"/>
                    <a:gd name="connsiteY91" fmla="*/ 745331 h 1414462"/>
                    <a:gd name="connsiteX92" fmla="*/ 1183481 w 1316831"/>
                    <a:gd name="connsiteY92" fmla="*/ 790575 h 1414462"/>
                    <a:gd name="connsiteX93" fmla="*/ 1223962 w 1316831"/>
                    <a:gd name="connsiteY93" fmla="*/ 828675 h 1414462"/>
                    <a:gd name="connsiteX94" fmla="*/ 1216818 w 1316831"/>
                    <a:gd name="connsiteY94" fmla="*/ 840581 h 1414462"/>
                    <a:gd name="connsiteX95" fmla="*/ 1154906 w 1316831"/>
                    <a:gd name="connsiteY95" fmla="*/ 864394 h 1414462"/>
                    <a:gd name="connsiteX96" fmla="*/ 1147762 w 1316831"/>
                    <a:gd name="connsiteY96" fmla="*/ 847725 h 1414462"/>
                    <a:gd name="connsiteX97" fmla="*/ 1102518 w 1316831"/>
                    <a:gd name="connsiteY97" fmla="*/ 895350 h 1414462"/>
                    <a:gd name="connsiteX98" fmla="*/ 1052512 w 1316831"/>
                    <a:gd name="connsiteY98" fmla="*/ 945356 h 1414462"/>
                    <a:gd name="connsiteX99" fmla="*/ 1071562 w 1316831"/>
                    <a:gd name="connsiteY99" fmla="*/ 990600 h 1414462"/>
                    <a:gd name="connsiteX100" fmla="*/ 1100137 w 1316831"/>
                    <a:gd name="connsiteY100" fmla="*/ 1000125 h 1414462"/>
                    <a:gd name="connsiteX101" fmla="*/ 1092993 w 1316831"/>
                    <a:gd name="connsiteY101" fmla="*/ 1062037 h 1414462"/>
                    <a:gd name="connsiteX102" fmla="*/ 1071562 w 1316831"/>
                    <a:gd name="connsiteY102" fmla="*/ 1112044 h 1414462"/>
                    <a:gd name="connsiteX103" fmla="*/ 1057275 w 1316831"/>
                    <a:gd name="connsiteY103" fmla="*/ 1116806 h 1414462"/>
                    <a:gd name="connsiteX104" fmla="*/ 992981 w 1316831"/>
                    <a:gd name="connsiteY104" fmla="*/ 1131094 h 1414462"/>
                    <a:gd name="connsiteX105" fmla="*/ 1002506 w 1316831"/>
                    <a:gd name="connsiteY105" fmla="*/ 1243012 h 1414462"/>
                    <a:gd name="connsiteX106" fmla="*/ 966787 w 1316831"/>
                    <a:gd name="connsiteY106" fmla="*/ 1250156 h 1414462"/>
                    <a:gd name="connsiteX107" fmla="*/ 928687 w 1316831"/>
                    <a:gd name="connsiteY107" fmla="*/ 1278731 h 1414462"/>
                    <a:gd name="connsiteX108" fmla="*/ 890587 w 1316831"/>
                    <a:gd name="connsiteY108" fmla="*/ 1271587 h 1414462"/>
                    <a:gd name="connsiteX109" fmla="*/ 873918 w 1316831"/>
                    <a:gd name="connsiteY109" fmla="*/ 1328737 h 1414462"/>
                    <a:gd name="connsiteX110" fmla="*/ 909637 w 1316831"/>
                    <a:gd name="connsiteY110" fmla="*/ 1345406 h 1414462"/>
                    <a:gd name="connsiteX111" fmla="*/ 897731 w 1316831"/>
                    <a:gd name="connsiteY111" fmla="*/ 1369219 h 1414462"/>
                    <a:gd name="connsiteX112" fmla="*/ 788193 w 1316831"/>
                    <a:gd name="connsiteY112" fmla="*/ 1402556 h 1414462"/>
                    <a:gd name="connsiteX0" fmla="*/ 788193 w 1316831"/>
                    <a:gd name="connsiteY0" fmla="*/ 1402556 h 1414462"/>
                    <a:gd name="connsiteX1" fmla="*/ 738187 w 1316831"/>
                    <a:gd name="connsiteY1" fmla="*/ 1373981 h 1414462"/>
                    <a:gd name="connsiteX2" fmla="*/ 704850 w 1316831"/>
                    <a:gd name="connsiteY2" fmla="*/ 1390650 h 1414462"/>
                    <a:gd name="connsiteX3" fmla="*/ 685800 w 1316831"/>
                    <a:gd name="connsiteY3" fmla="*/ 1409700 h 1414462"/>
                    <a:gd name="connsiteX4" fmla="*/ 657225 w 1316831"/>
                    <a:gd name="connsiteY4" fmla="*/ 1414462 h 1414462"/>
                    <a:gd name="connsiteX5" fmla="*/ 638175 w 1316831"/>
                    <a:gd name="connsiteY5" fmla="*/ 1385887 h 1414462"/>
                    <a:gd name="connsiteX6" fmla="*/ 650081 w 1316831"/>
                    <a:gd name="connsiteY6" fmla="*/ 1354931 h 1414462"/>
                    <a:gd name="connsiteX7" fmla="*/ 664368 w 1316831"/>
                    <a:gd name="connsiteY7" fmla="*/ 1371600 h 1414462"/>
                    <a:gd name="connsiteX8" fmla="*/ 690562 w 1316831"/>
                    <a:gd name="connsiteY8" fmla="*/ 1359694 h 1414462"/>
                    <a:gd name="connsiteX9" fmla="*/ 690562 w 1316831"/>
                    <a:gd name="connsiteY9" fmla="*/ 1331119 h 1414462"/>
                    <a:gd name="connsiteX10" fmla="*/ 673893 w 1316831"/>
                    <a:gd name="connsiteY10" fmla="*/ 1281112 h 1414462"/>
                    <a:gd name="connsiteX11" fmla="*/ 631031 w 1316831"/>
                    <a:gd name="connsiteY11" fmla="*/ 1238250 h 1414462"/>
                    <a:gd name="connsiteX12" fmla="*/ 595312 w 1316831"/>
                    <a:gd name="connsiteY12" fmla="*/ 1223962 h 1414462"/>
                    <a:gd name="connsiteX13" fmla="*/ 559593 w 1316831"/>
                    <a:gd name="connsiteY13" fmla="*/ 1159669 h 1414462"/>
                    <a:gd name="connsiteX14" fmla="*/ 471487 w 1316831"/>
                    <a:gd name="connsiteY14" fmla="*/ 1126331 h 1414462"/>
                    <a:gd name="connsiteX15" fmla="*/ 471487 w 1316831"/>
                    <a:gd name="connsiteY15" fmla="*/ 1085850 h 1414462"/>
                    <a:gd name="connsiteX16" fmla="*/ 485775 w 1316831"/>
                    <a:gd name="connsiteY16" fmla="*/ 1031081 h 1414462"/>
                    <a:gd name="connsiteX17" fmla="*/ 431006 w 1316831"/>
                    <a:gd name="connsiteY17" fmla="*/ 1021556 h 1414462"/>
                    <a:gd name="connsiteX18" fmla="*/ 376237 w 1316831"/>
                    <a:gd name="connsiteY18" fmla="*/ 1021556 h 1414462"/>
                    <a:gd name="connsiteX19" fmla="*/ 371475 w 1316831"/>
                    <a:gd name="connsiteY19" fmla="*/ 1045369 h 1414462"/>
                    <a:gd name="connsiteX20" fmla="*/ 347662 w 1316831"/>
                    <a:gd name="connsiteY20" fmla="*/ 1023937 h 1414462"/>
                    <a:gd name="connsiteX21" fmla="*/ 354806 w 1316831"/>
                    <a:gd name="connsiteY21" fmla="*/ 992981 h 1414462"/>
                    <a:gd name="connsiteX22" fmla="*/ 347662 w 1316831"/>
                    <a:gd name="connsiteY22" fmla="*/ 938212 h 1414462"/>
                    <a:gd name="connsiteX23" fmla="*/ 371475 w 1316831"/>
                    <a:gd name="connsiteY23" fmla="*/ 912019 h 1414462"/>
                    <a:gd name="connsiteX24" fmla="*/ 371475 w 1316831"/>
                    <a:gd name="connsiteY24" fmla="*/ 888206 h 1414462"/>
                    <a:gd name="connsiteX25" fmla="*/ 381000 w 1316831"/>
                    <a:gd name="connsiteY25" fmla="*/ 821531 h 1414462"/>
                    <a:gd name="connsiteX26" fmla="*/ 364331 w 1316831"/>
                    <a:gd name="connsiteY26" fmla="*/ 771525 h 1414462"/>
                    <a:gd name="connsiteX27" fmla="*/ 314325 w 1316831"/>
                    <a:gd name="connsiteY27" fmla="*/ 692944 h 1414462"/>
                    <a:gd name="connsiteX28" fmla="*/ 280987 w 1316831"/>
                    <a:gd name="connsiteY28" fmla="*/ 654844 h 1414462"/>
                    <a:gd name="connsiteX29" fmla="*/ 257175 w 1316831"/>
                    <a:gd name="connsiteY29" fmla="*/ 585787 h 1414462"/>
                    <a:gd name="connsiteX30" fmla="*/ 264318 w 1316831"/>
                    <a:gd name="connsiteY30" fmla="*/ 419100 h 1414462"/>
                    <a:gd name="connsiteX31" fmla="*/ 235743 w 1316831"/>
                    <a:gd name="connsiteY31" fmla="*/ 371475 h 1414462"/>
                    <a:gd name="connsiteX32" fmla="*/ 204787 w 1316831"/>
                    <a:gd name="connsiteY32" fmla="*/ 350044 h 1414462"/>
                    <a:gd name="connsiteX33" fmla="*/ 190500 w 1316831"/>
                    <a:gd name="connsiteY33" fmla="*/ 304800 h 1414462"/>
                    <a:gd name="connsiteX34" fmla="*/ 164306 w 1316831"/>
                    <a:gd name="connsiteY34" fmla="*/ 280987 h 1414462"/>
                    <a:gd name="connsiteX35" fmla="*/ 138112 w 1316831"/>
                    <a:gd name="connsiteY35" fmla="*/ 264319 h 1414462"/>
                    <a:gd name="connsiteX36" fmla="*/ 116681 w 1316831"/>
                    <a:gd name="connsiteY36" fmla="*/ 273844 h 1414462"/>
                    <a:gd name="connsiteX37" fmla="*/ 88106 w 1316831"/>
                    <a:gd name="connsiteY37" fmla="*/ 264319 h 1414462"/>
                    <a:gd name="connsiteX38" fmla="*/ 95250 w 1316831"/>
                    <a:gd name="connsiteY38" fmla="*/ 223837 h 1414462"/>
                    <a:gd name="connsiteX39" fmla="*/ 130968 w 1316831"/>
                    <a:gd name="connsiteY39" fmla="*/ 216694 h 1414462"/>
                    <a:gd name="connsiteX40" fmla="*/ 109537 w 1316831"/>
                    <a:gd name="connsiteY40" fmla="*/ 178594 h 1414462"/>
                    <a:gd name="connsiteX41" fmla="*/ 69056 w 1316831"/>
                    <a:gd name="connsiteY41" fmla="*/ 178594 h 1414462"/>
                    <a:gd name="connsiteX42" fmla="*/ 61912 w 1316831"/>
                    <a:gd name="connsiteY42" fmla="*/ 133350 h 1414462"/>
                    <a:gd name="connsiteX43" fmla="*/ 21431 w 1316831"/>
                    <a:gd name="connsiteY43" fmla="*/ 100012 h 1414462"/>
                    <a:gd name="connsiteX44" fmla="*/ 0 w 1316831"/>
                    <a:gd name="connsiteY44" fmla="*/ 61912 h 1414462"/>
                    <a:gd name="connsiteX45" fmla="*/ 42862 w 1316831"/>
                    <a:gd name="connsiteY45" fmla="*/ 40481 h 1414462"/>
                    <a:gd name="connsiteX46" fmla="*/ 64293 w 1316831"/>
                    <a:gd name="connsiteY46" fmla="*/ 0 h 1414462"/>
                    <a:gd name="connsiteX47" fmla="*/ 147637 w 1316831"/>
                    <a:gd name="connsiteY47" fmla="*/ 7144 h 1414462"/>
                    <a:gd name="connsiteX48" fmla="*/ 152400 w 1316831"/>
                    <a:gd name="connsiteY48" fmla="*/ 45244 h 1414462"/>
                    <a:gd name="connsiteX49" fmla="*/ 171450 w 1316831"/>
                    <a:gd name="connsiteY49" fmla="*/ 83344 h 1414462"/>
                    <a:gd name="connsiteX50" fmla="*/ 276225 w 1316831"/>
                    <a:gd name="connsiteY50" fmla="*/ 130969 h 1414462"/>
                    <a:gd name="connsiteX51" fmla="*/ 316706 w 1316831"/>
                    <a:gd name="connsiteY51" fmla="*/ 140494 h 1414462"/>
                    <a:gd name="connsiteX52" fmla="*/ 350043 w 1316831"/>
                    <a:gd name="connsiteY52" fmla="*/ 169069 h 1414462"/>
                    <a:gd name="connsiteX53" fmla="*/ 390525 w 1316831"/>
                    <a:gd name="connsiteY53" fmla="*/ 192881 h 1414462"/>
                    <a:gd name="connsiteX54" fmla="*/ 411956 w 1316831"/>
                    <a:gd name="connsiteY54" fmla="*/ 223837 h 1414462"/>
                    <a:gd name="connsiteX55" fmla="*/ 416718 w 1316831"/>
                    <a:gd name="connsiteY55" fmla="*/ 230981 h 1414462"/>
                    <a:gd name="connsiteX56" fmla="*/ 423862 w 1316831"/>
                    <a:gd name="connsiteY56" fmla="*/ 240506 h 1414462"/>
                    <a:gd name="connsiteX57" fmla="*/ 431006 w 1316831"/>
                    <a:gd name="connsiteY57" fmla="*/ 247650 h 1414462"/>
                    <a:gd name="connsiteX58" fmla="*/ 431006 w 1316831"/>
                    <a:gd name="connsiteY58" fmla="*/ 247650 h 1414462"/>
                    <a:gd name="connsiteX59" fmla="*/ 490537 w 1316831"/>
                    <a:gd name="connsiteY59" fmla="*/ 233362 h 1414462"/>
                    <a:gd name="connsiteX60" fmla="*/ 540543 w 1316831"/>
                    <a:gd name="connsiteY60" fmla="*/ 259556 h 1414462"/>
                    <a:gd name="connsiteX61" fmla="*/ 588168 w 1316831"/>
                    <a:gd name="connsiteY61" fmla="*/ 292894 h 1414462"/>
                    <a:gd name="connsiteX62" fmla="*/ 602456 w 1316831"/>
                    <a:gd name="connsiteY62" fmla="*/ 297656 h 1414462"/>
                    <a:gd name="connsiteX63" fmla="*/ 635793 w 1316831"/>
                    <a:gd name="connsiteY63" fmla="*/ 245269 h 1414462"/>
                    <a:gd name="connsiteX64" fmla="*/ 685800 w 1316831"/>
                    <a:gd name="connsiteY64" fmla="*/ 280987 h 1414462"/>
                    <a:gd name="connsiteX65" fmla="*/ 733425 w 1316831"/>
                    <a:gd name="connsiteY65" fmla="*/ 271462 h 1414462"/>
                    <a:gd name="connsiteX66" fmla="*/ 766762 w 1316831"/>
                    <a:gd name="connsiteY66" fmla="*/ 280987 h 1414462"/>
                    <a:gd name="connsiteX67" fmla="*/ 750093 w 1316831"/>
                    <a:gd name="connsiteY67" fmla="*/ 250031 h 1414462"/>
                    <a:gd name="connsiteX68" fmla="*/ 790575 w 1316831"/>
                    <a:gd name="connsiteY68" fmla="*/ 228600 h 1414462"/>
                    <a:gd name="connsiteX69" fmla="*/ 826293 w 1316831"/>
                    <a:gd name="connsiteY69" fmla="*/ 192881 h 1414462"/>
                    <a:gd name="connsiteX70" fmla="*/ 862012 w 1316831"/>
                    <a:gd name="connsiteY70" fmla="*/ 209550 h 1414462"/>
                    <a:gd name="connsiteX71" fmla="*/ 885825 w 1316831"/>
                    <a:gd name="connsiteY71" fmla="*/ 245269 h 1414462"/>
                    <a:gd name="connsiteX72" fmla="*/ 945356 w 1316831"/>
                    <a:gd name="connsiteY72" fmla="*/ 240506 h 1414462"/>
                    <a:gd name="connsiteX73" fmla="*/ 938212 w 1316831"/>
                    <a:gd name="connsiteY73" fmla="*/ 280987 h 1414462"/>
                    <a:gd name="connsiteX74" fmla="*/ 1012031 w 1316831"/>
                    <a:gd name="connsiteY74" fmla="*/ 278606 h 1414462"/>
                    <a:gd name="connsiteX75" fmla="*/ 981075 w 1316831"/>
                    <a:gd name="connsiteY75" fmla="*/ 347662 h 1414462"/>
                    <a:gd name="connsiteX76" fmla="*/ 966787 w 1316831"/>
                    <a:gd name="connsiteY76" fmla="*/ 378619 h 1414462"/>
                    <a:gd name="connsiteX77" fmla="*/ 988218 w 1316831"/>
                    <a:gd name="connsiteY77" fmla="*/ 400050 h 1414462"/>
                    <a:gd name="connsiteX78" fmla="*/ 985837 w 1316831"/>
                    <a:gd name="connsiteY78" fmla="*/ 442912 h 1414462"/>
                    <a:gd name="connsiteX79" fmla="*/ 1085850 w 1316831"/>
                    <a:gd name="connsiteY79" fmla="*/ 488156 h 1414462"/>
                    <a:gd name="connsiteX80" fmla="*/ 1143000 w 1316831"/>
                    <a:gd name="connsiteY80" fmla="*/ 523875 h 1414462"/>
                    <a:gd name="connsiteX81" fmla="*/ 1181100 w 1316831"/>
                    <a:gd name="connsiteY81" fmla="*/ 528637 h 1414462"/>
                    <a:gd name="connsiteX82" fmla="*/ 1281112 w 1316831"/>
                    <a:gd name="connsiteY82" fmla="*/ 516731 h 1414462"/>
                    <a:gd name="connsiteX83" fmla="*/ 1316831 w 1316831"/>
                    <a:gd name="connsiteY83" fmla="*/ 545306 h 1414462"/>
                    <a:gd name="connsiteX84" fmla="*/ 1202531 w 1316831"/>
                    <a:gd name="connsiteY84" fmla="*/ 609600 h 1414462"/>
                    <a:gd name="connsiteX85" fmla="*/ 1221581 w 1316831"/>
                    <a:gd name="connsiteY85" fmla="*/ 633412 h 1414462"/>
                    <a:gd name="connsiteX86" fmla="*/ 1183481 w 1316831"/>
                    <a:gd name="connsiteY86" fmla="*/ 683419 h 1414462"/>
                    <a:gd name="connsiteX87" fmla="*/ 1166812 w 1316831"/>
                    <a:gd name="connsiteY87" fmla="*/ 683419 h 1414462"/>
                    <a:gd name="connsiteX88" fmla="*/ 1195387 w 1316831"/>
                    <a:gd name="connsiteY88" fmla="*/ 711994 h 1414462"/>
                    <a:gd name="connsiteX89" fmla="*/ 1150143 w 1316831"/>
                    <a:gd name="connsiteY89" fmla="*/ 723900 h 1414462"/>
                    <a:gd name="connsiteX90" fmla="*/ 1123950 w 1316831"/>
                    <a:gd name="connsiteY90" fmla="*/ 745331 h 1414462"/>
                    <a:gd name="connsiteX91" fmla="*/ 1154906 w 1316831"/>
                    <a:gd name="connsiteY91" fmla="*/ 745331 h 1414462"/>
                    <a:gd name="connsiteX92" fmla="*/ 1183481 w 1316831"/>
                    <a:gd name="connsiteY92" fmla="*/ 790575 h 1414462"/>
                    <a:gd name="connsiteX93" fmla="*/ 1223962 w 1316831"/>
                    <a:gd name="connsiteY93" fmla="*/ 828675 h 1414462"/>
                    <a:gd name="connsiteX94" fmla="*/ 1216818 w 1316831"/>
                    <a:gd name="connsiteY94" fmla="*/ 840581 h 1414462"/>
                    <a:gd name="connsiteX95" fmla="*/ 1154906 w 1316831"/>
                    <a:gd name="connsiteY95" fmla="*/ 864394 h 1414462"/>
                    <a:gd name="connsiteX96" fmla="*/ 1147762 w 1316831"/>
                    <a:gd name="connsiteY96" fmla="*/ 847725 h 1414462"/>
                    <a:gd name="connsiteX97" fmla="*/ 1102518 w 1316831"/>
                    <a:gd name="connsiteY97" fmla="*/ 895350 h 1414462"/>
                    <a:gd name="connsiteX98" fmla="*/ 1052512 w 1316831"/>
                    <a:gd name="connsiteY98" fmla="*/ 945356 h 1414462"/>
                    <a:gd name="connsiteX99" fmla="*/ 1071562 w 1316831"/>
                    <a:gd name="connsiteY99" fmla="*/ 990600 h 1414462"/>
                    <a:gd name="connsiteX100" fmla="*/ 1100137 w 1316831"/>
                    <a:gd name="connsiteY100" fmla="*/ 1000125 h 1414462"/>
                    <a:gd name="connsiteX101" fmla="*/ 1092993 w 1316831"/>
                    <a:gd name="connsiteY101" fmla="*/ 1062037 h 1414462"/>
                    <a:gd name="connsiteX102" fmla="*/ 1071562 w 1316831"/>
                    <a:gd name="connsiteY102" fmla="*/ 1112044 h 1414462"/>
                    <a:gd name="connsiteX103" fmla="*/ 1057275 w 1316831"/>
                    <a:gd name="connsiteY103" fmla="*/ 1116806 h 1414462"/>
                    <a:gd name="connsiteX104" fmla="*/ 992981 w 1316831"/>
                    <a:gd name="connsiteY104" fmla="*/ 1131094 h 1414462"/>
                    <a:gd name="connsiteX105" fmla="*/ 1002506 w 1316831"/>
                    <a:gd name="connsiteY105" fmla="*/ 1243012 h 1414462"/>
                    <a:gd name="connsiteX106" fmla="*/ 966787 w 1316831"/>
                    <a:gd name="connsiteY106" fmla="*/ 1250156 h 1414462"/>
                    <a:gd name="connsiteX107" fmla="*/ 928687 w 1316831"/>
                    <a:gd name="connsiteY107" fmla="*/ 1278731 h 1414462"/>
                    <a:gd name="connsiteX108" fmla="*/ 890587 w 1316831"/>
                    <a:gd name="connsiteY108" fmla="*/ 1271587 h 1414462"/>
                    <a:gd name="connsiteX109" fmla="*/ 873918 w 1316831"/>
                    <a:gd name="connsiteY109" fmla="*/ 1328737 h 1414462"/>
                    <a:gd name="connsiteX110" fmla="*/ 909637 w 1316831"/>
                    <a:gd name="connsiteY110" fmla="*/ 1345406 h 1414462"/>
                    <a:gd name="connsiteX111" fmla="*/ 897731 w 1316831"/>
                    <a:gd name="connsiteY111" fmla="*/ 1369219 h 1414462"/>
                    <a:gd name="connsiteX112" fmla="*/ 788193 w 1316831"/>
                    <a:gd name="connsiteY112" fmla="*/ 1402556 h 14144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</a:cxnLst>
                  <a:rect l="l" t="t" r="r" b="b"/>
                  <a:pathLst>
                    <a:path w="1316831" h="1414462">
                      <a:moveTo>
                        <a:pt x="788193" y="1402556"/>
                      </a:moveTo>
                      <a:lnTo>
                        <a:pt x="738187" y="1373981"/>
                      </a:lnTo>
                      <a:lnTo>
                        <a:pt x="704850" y="1390650"/>
                      </a:lnTo>
                      <a:lnTo>
                        <a:pt x="685800" y="1409700"/>
                      </a:lnTo>
                      <a:lnTo>
                        <a:pt x="657225" y="1414462"/>
                      </a:lnTo>
                      <a:lnTo>
                        <a:pt x="638175" y="1385887"/>
                      </a:lnTo>
                      <a:lnTo>
                        <a:pt x="650081" y="1354931"/>
                      </a:lnTo>
                      <a:lnTo>
                        <a:pt x="664368" y="1371600"/>
                      </a:lnTo>
                      <a:lnTo>
                        <a:pt x="690562" y="1359694"/>
                      </a:lnTo>
                      <a:lnTo>
                        <a:pt x="690562" y="1331119"/>
                      </a:lnTo>
                      <a:lnTo>
                        <a:pt x="673893" y="1281112"/>
                      </a:lnTo>
                      <a:lnTo>
                        <a:pt x="631031" y="1238250"/>
                      </a:lnTo>
                      <a:lnTo>
                        <a:pt x="595312" y="1223962"/>
                      </a:lnTo>
                      <a:lnTo>
                        <a:pt x="559593" y="1159669"/>
                      </a:lnTo>
                      <a:lnTo>
                        <a:pt x="471487" y="1126331"/>
                      </a:lnTo>
                      <a:lnTo>
                        <a:pt x="471487" y="1085850"/>
                      </a:lnTo>
                      <a:lnTo>
                        <a:pt x="485775" y="1031081"/>
                      </a:lnTo>
                      <a:lnTo>
                        <a:pt x="431006" y="1021556"/>
                      </a:lnTo>
                      <a:lnTo>
                        <a:pt x="376237" y="1021556"/>
                      </a:lnTo>
                      <a:lnTo>
                        <a:pt x="371475" y="1045369"/>
                      </a:lnTo>
                      <a:lnTo>
                        <a:pt x="347662" y="1023937"/>
                      </a:lnTo>
                      <a:lnTo>
                        <a:pt x="354806" y="992981"/>
                      </a:lnTo>
                      <a:lnTo>
                        <a:pt x="347662" y="938212"/>
                      </a:lnTo>
                      <a:lnTo>
                        <a:pt x="371475" y="912019"/>
                      </a:lnTo>
                      <a:lnTo>
                        <a:pt x="371475" y="888206"/>
                      </a:lnTo>
                      <a:lnTo>
                        <a:pt x="381000" y="821531"/>
                      </a:lnTo>
                      <a:lnTo>
                        <a:pt x="364331" y="771525"/>
                      </a:lnTo>
                      <a:lnTo>
                        <a:pt x="314325" y="692944"/>
                      </a:lnTo>
                      <a:lnTo>
                        <a:pt x="280987" y="654844"/>
                      </a:lnTo>
                      <a:lnTo>
                        <a:pt x="257175" y="585787"/>
                      </a:lnTo>
                      <a:lnTo>
                        <a:pt x="264318" y="419100"/>
                      </a:lnTo>
                      <a:lnTo>
                        <a:pt x="235743" y="371475"/>
                      </a:lnTo>
                      <a:lnTo>
                        <a:pt x="204787" y="350044"/>
                      </a:lnTo>
                      <a:lnTo>
                        <a:pt x="190500" y="304800"/>
                      </a:lnTo>
                      <a:lnTo>
                        <a:pt x="164306" y="280987"/>
                      </a:lnTo>
                      <a:lnTo>
                        <a:pt x="138112" y="264319"/>
                      </a:lnTo>
                      <a:lnTo>
                        <a:pt x="116681" y="273844"/>
                      </a:lnTo>
                      <a:lnTo>
                        <a:pt x="88106" y="264319"/>
                      </a:lnTo>
                      <a:lnTo>
                        <a:pt x="95250" y="223837"/>
                      </a:lnTo>
                      <a:lnTo>
                        <a:pt x="130968" y="216694"/>
                      </a:lnTo>
                      <a:lnTo>
                        <a:pt x="109537" y="178594"/>
                      </a:lnTo>
                      <a:lnTo>
                        <a:pt x="69056" y="178594"/>
                      </a:lnTo>
                      <a:lnTo>
                        <a:pt x="61912" y="133350"/>
                      </a:lnTo>
                      <a:lnTo>
                        <a:pt x="21431" y="100012"/>
                      </a:lnTo>
                      <a:lnTo>
                        <a:pt x="0" y="61912"/>
                      </a:lnTo>
                      <a:lnTo>
                        <a:pt x="42862" y="40481"/>
                      </a:lnTo>
                      <a:lnTo>
                        <a:pt x="64293" y="0"/>
                      </a:lnTo>
                      <a:lnTo>
                        <a:pt x="147637" y="7144"/>
                      </a:lnTo>
                      <a:lnTo>
                        <a:pt x="152400" y="45244"/>
                      </a:lnTo>
                      <a:lnTo>
                        <a:pt x="171450" y="83344"/>
                      </a:lnTo>
                      <a:lnTo>
                        <a:pt x="276225" y="130969"/>
                      </a:lnTo>
                      <a:lnTo>
                        <a:pt x="316706" y="140494"/>
                      </a:lnTo>
                      <a:lnTo>
                        <a:pt x="350043" y="169069"/>
                      </a:lnTo>
                      <a:lnTo>
                        <a:pt x="390525" y="192881"/>
                      </a:lnTo>
                      <a:lnTo>
                        <a:pt x="411956" y="223837"/>
                      </a:lnTo>
                      <a:cubicBezTo>
                        <a:pt x="413577" y="226195"/>
                        <a:pt x="415001" y="228692"/>
                        <a:pt x="416718" y="230981"/>
                      </a:cubicBezTo>
                      <a:cubicBezTo>
                        <a:pt x="419099" y="234156"/>
                        <a:pt x="421279" y="237493"/>
                        <a:pt x="423862" y="240506"/>
                      </a:cubicBezTo>
                      <a:cubicBezTo>
                        <a:pt x="426054" y="243063"/>
                        <a:pt x="431006" y="247650"/>
                        <a:pt x="431006" y="247650"/>
                      </a:cubicBezTo>
                      <a:lnTo>
                        <a:pt x="431006" y="247650"/>
                      </a:lnTo>
                      <a:lnTo>
                        <a:pt x="490537" y="233362"/>
                      </a:lnTo>
                      <a:lnTo>
                        <a:pt x="540543" y="259556"/>
                      </a:lnTo>
                      <a:lnTo>
                        <a:pt x="588168" y="292894"/>
                      </a:lnTo>
                      <a:lnTo>
                        <a:pt x="602456" y="297656"/>
                      </a:lnTo>
                      <a:lnTo>
                        <a:pt x="635793" y="245269"/>
                      </a:lnTo>
                      <a:lnTo>
                        <a:pt x="685800" y="280987"/>
                      </a:lnTo>
                      <a:lnTo>
                        <a:pt x="733425" y="271462"/>
                      </a:lnTo>
                      <a:lnTo>
                        <a:pt x="766762" y="280987"/>
                      </a:lnTo>
                      <a:lnTo>
                        <a:pt x="750093" y="250031"/>
                      </a:lnTo>
                      <a:lnTo>
                        <a:pt x="790575" y="228600"/>
                      </a:lnTo>
                      <a:lnTo>
                        <a:pt x="826293" y="192881"/>
                      </a:lnTo>
                      <a:lnTo>
                        <a:pt x="862012" y="209550"/>
                      </a:lnTo>
                      <a:lnTo>
                        <a:pt x="885825" y="245269"/>
                      </a:lnTo>
                      <a:lnTo>
                        <a:pt x="945356" y="240506"/>
                      </a:lnTo>
                      <a:lnTo>
                        <a:pt x="938212" y="280987"/>
                      </a:lnTo>
                      <a:lnTo>
                        <a:pt x="1012031" y="278606"/>
                      </a:lnTo>
                      <a:lnTo>
                        <a:pt x="981075" y="347662"/>
                      </a:lnTo>
                      <a:lnTo>
                        <a:pt x="966787" y="378619"/>
                      </a:lnTo>
                      <a:lnTo>
                        <a:pt x="988218" y="400050"/>
                      </a:lnTo>
                      <a:lnTo>
                        <a:pt x="985837" y="442912"/>
                      </a:lnTo>
                      <a:lnTo>
                        <a:pt x="1085850" y="488156"/>
                      </a:lnTo>
                      <a:lnTo>
                        <a:pt x="1143000" y="523875"/>
                      </a:lnTo>
                      <a:lnTo>
                        <a:pt x="1181100" y="528637"/>
                      </a:lnTo>
                      <a:lnTo>
                        <a:pt x="1281112" y="516731"/>
                      </a:lnTo>
                      <a:lnTo>
                        <a:pt x="1316831" y="545306"/>
                      </a:lnTo>
                      <a:lnTo>
                        <a:pt x="1202531" y="609600"/>
                      </a:lnTo>
                      <a:lnTo>
                        <a:pt x="1221581" y="633412"/>
                      </a:lnTo>
                      <a:lnTo>
                        <a:pt x="1183481" y="683419"/>
                      </a:lnTo>
                      <a:lnTo>
                        <a:pt x="1166812" y="683419"/>
                      </a:lnTo>
                      <a:lnTo>
                        <a:pt x="1195387" y="711994"/>
                      </a:lnTo>
                      <a:lnTo>
                        <a:pt x="1150143" y="723900"/>
                      </a:lnTo>
                      <a:lnTo>
                        <a:pt x="1123950" y="745331"/>
                      </a:lnTo>
                      <a:lnTo>
                        <a:pt x="1154906" y="745331"/>
                      </a:lnTo>
                      <a:lnTo>
                        <a:pt x="1183481" y="790575"/>
                      </a:lnTo>
                      <a:lnTo>
                        <a:pt x="1223962" y="828675"/>
                      </a:lnTo>
                      <a:lnTo>
                        <a:pt x="1216818" y="840581"/>
                      </a:lnTo>
                      <a:lnTo>
                        <a:pt x="1154906" y="864394"/>
                      </a:lnTo>
                      <a:lnTo>
                        <a:pt x="1147762" y="847725"/>
                      </a:lnTo>
                      <a:lnTo>
                        <a:pt x="1102518" y="895350"/>
                      </a:lnTo>
                      <a:lnTo>
                        <a:pt x="1052512" y="945356"/>
                      </a:lnTo>
                      <a:lnTo>
                        <a:pt x="1071562" y="990600"/>
                      </a:lnTo>
                      <a:lnTo>
                        <a:pt x="1100137" y="1000125"/>
                      </a:lnTo>
                      <a:lnTo>
                        <a:pt x="1092993" y="1062037"/>
                      </a:lnTo>
                      <a:lnTo>
                        <a:pt x="1071562" y="1112044"/>
                      </a:lnTo>
                      <a:lnTo>
                        <a:pt x="1057275" y="1116806"/>
                      </a:lnTo>
                      <a:lnTo>
                        <a:pt x="992981" y="1131094"/>
                      </a:lnTo>
                      <a:lnTo>
                        <a:pt x="1002506" y="1243012"/>
                      </a:lnTo>
                      <a:lnTo>
                        <a:pt x="966787" y="1250156"/>
                      </a:lnTo>
                      <a:lnTo>
                        <a:pt x="928687" y="1278731"/>
                      </a:lnTo>
                      <a:lnTo>
                        <a:pt x="890587" y="1271587"/>
                      </a:lnTo>
                      <a:lnTo>
                        <a:pt x="873918" y="1328737"/>
                      </a:lnTo>
                      <a:lnTo>
                        <a:pt x="909637" y="1345406"/>
                      </a:lnTo>
                      <a:lnTo>
                        <a:pt x="897731" y="1369219"/>
                      </a:lnTo>
                      <a:lnTo>
                        <a:pt x="788193" y="140255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913" tIns="24456" rIns="48913" bIns="24456"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Figura a mano libera 638">
                  <a:extLst>
                    <a:ext uri="{FF2B5EF4-FFF2-40B4-BE49-F238E27FC236}">
                      <a16:creationId xmlns:a16="http://schemas.microsoft.com/office/drawing/2014/main" id="{8F1335E1-A19E-4B82-BAAE-5E2F6C6AF52A}"/>
                    </a:ext>
                  </a:extLst>
                </p:cNvPr>
                <p:cNvSpPr/>
                <p:nvPr/>
              </p:nvSpPr>
              <p:spPr bwMode="auto">
                <a:xfrm>
                  <a:off x="3502478" y="3173409"/>
                  <a:ext cx="660696" cy="527861"/>
                </a:xfrm>
                <a:custGeom>
                  <a:avLst/>
                  <a:gdLst>
                    <a:gd name="connsiteX0" fmla="*/ 1190625 w 1319213"/>
                    <a:gd name="connsiteY0" fmla="*/ 1078706 h 1095375"/>
                    <a:gd name="connsiteX1" fmla="*/ 1121569 w 1319213"/>
                    <a:gd name="connsiteY1" fmla="*/ 1052512 h 1095375"/>
                    <a:gd name="connsiteX2" fmla="*/ 1102519 w 1319213"/>
                    <a:gd name="connsiteY2" fmla="*/ 1059656 h 1095375"/>
                    <a:gd name="connsiteX3" fmla="*/ 1092994 w 1319213"/>
                    <a:gd name="connsiteY3" fmla="*/ 1064419 h 1095375"/>
                    <a:gd name="connsiteX4" fmla="*/ 1090613 w 1319213"/>
                    <a:gd name="connsiteY4" fmla="*/ 1095375 h 1095375"/>
                    <a:gd name="connsiteX5" fmla="*/ 1090613 w 1319213"/>
                    <a:gd name="connsiteY5" fmla="*/ 1095375 h 1095375"/>
                    <a:gd name="connsiteX6" fmla="*/ 990600 w 1319213"/>
                    <a:gd name="connsiteY6" fmla="*/ 1045369 h 1095375"/>
                    <a:gd name="connsiteX7" fmla="*/ 942975 w 1319213"/>
                    <a:gd name="connsiteY7" fmla="*/ 1045369 h 1095375"/>
                    <a:gd name="connsiteX8" fmla="*/ 904875 w 1319213"/>
                    <a:gd name="connsiteY8" fmla="*/ 1038225 h 1095375"/>
                    <a:gd name="connsiteX9" fmla="*/ 866775 w 1319213"/>
                    <a:gd name="connsiteY9" fmla="*/ 1062037 h 1095375"/>
                    <a:gd name="connsiteX10" fmla="*/ 823913 w 1319213"/>
                    <a:gd name="connsiteY10" fmla="*/ 1092994 h 1095375"/>
                    <a:gd name="connsiteX11" fmla="*/ 802481 w 1319213"/>
                    <a:gd name="connsiteY11" fmla="*/ 1062037 h 1095375"/>
                    <a:gd name="connsiteX12" fmla="*/ 781050 w 1319213"/>
                    <a:gd name="connsiteY12" fmla="*/ 997744 h 1095375"/>
                    <a:gd name="connsiteX13" fmla="*/ 711994 w 1319213"/>
                    <a:gd name="connsiteY13" fmla="*/ 954881 h 1095375"/>
                    <a:gd name="connsiteX14" fmla="*/ 685800 w 1319213"/>
                    <a:gd name="connsiteY14" fmla="*/ 950119 h 1095375"/>
                    <a:gd name="connsiteX15" fmla="*/ 664369 w 1319213"/>
                    <a:gd name="connsiteY15" fmla="*/ 971550 h 1095375"/>
                    <a:gd name="connsiteX16" fmla="*/ 621506 w 1319213"/>
                    <a:gd name="connsiteY16" fmla="*/ 919162 h 1095375"/>
                    <a:gd name="connsiteX17" fmla="*/ 592931 w 1319213"/>
                    <a:gd name="connsiteY17" fmla="*/ 933450 h 1095375"/>
                    <a:gd name="connsiteX18" fmla="*/ 542925 w 1319213"/>
                    <a:gd name="connsiteY18" fmla="*/ 852487 h 1095375"/>
                    <a:gd name="connsiteX19" fmla="*/ 457200 w 1319213"/>
                    <a:gd name="connsiteY19" fmla="*/ 754856 h 1095375"/>
                    <a:gd name="connsiteX20" fmla="*/ 383381 w 1319213"/>
                    <a:gd name="connsiteY20" fmla="*/ 726281 h 1095375"/>
                    <a:gd name="connsiteX21" fmla="*/ 395288 w 1319213"/>
                    <a:gd name="connsiteY21" fmla="*/ 690562 h 1095375"/>
                    <a:gd name="connsiteX22" fmla="*/ 378619 w 1319213"/>
                    <a:gd name="connsiteY22" fmla="*/ 652462 h 1095375"/>
                    <a:gd name="connsiteX23" fmla="*/ 342900 w 1319213"/>
                    <a:gd name="connsiteY23" fmla="*/ 602456 h 1095375"/>
                    <a:gd name="connsiteX24" fmla="*/ 266700 w 1319213"/>
                    <a:gd name="connsiteY24" fmla="*/ 545306 h 1095375"/>
                    <a:gd name="connsiteX25" fmla="*/ 226219 w 1319213"/>
                    <a:gd name="connsiteY25" fmla="*/ 521494 h 1095375"/>
                    <a:gd name="connsiteX26" fmla="*/ 197644 w 1319213"/>
                    <a:gd name="connsiteY26" fmla="*/ 545306 h 1095375"/>
                    <a:gd name="connsiteX27" fmla="*/ 152400 w 1319213"/>
                    <a:gd name="connsiteY27" fmla="*/ 431006 h 1095375"/>
                    <a:gd name="connsiteX28" fmla="*/ 142875 w 1319213"/>
                    <a:gd name="connsiteY28" fmla="*/ 395287 h 1095375"/>
                    <a:gd name="connsiteX29" fmla="*/ 85725 w 1319213"/>
                    <a:gd name="connsiteY29" fmla="*/ 328612 h 1095375"/>
                    <a:gd name="connsiteX30" fmla="*/ 11906 w 1319213"/>
                    <a:gd name="connsiteY30" fmla="*/ 304800 h 1095375"/>
                    <a:gd name="connsiteX31" fmla="*/ 0 w 1319213"/>
                    <a:gd name="connsiteY31" fmla="*/ 283369 h 1095375"/>
                    <a:gd name="connsiteX32" fmla="*/ 23813 w 1319213"/>
                    <a:gd name="connsiteY32" fmla="*/ 259556 h 1095375"/>
                    <a:gd name="connsiteX33" fmla="*/ 83344 w 1319213"/>
                    <a:gd name="connsiteY33" fmla="*/ 264319 h 1095375"/>
                    <a:gd name="connsiteX34" fmla="*/ 95250 w 1319213"/>
                    <a:gd name="connsiteY34" fmla="*/ 247650 h 1095375"/>
                    <a:gd name="connsiteX35" fmla="*/ 104775 w 1319213"/>
                    <a:gd name="connsiteY35" fmla="*/ 226219 h 1095375"/>
                    <a:gd name="connsiteX36" fmla="*/ 73819 w 1319213"/>
                    <a:gd name="connsiteY36" fmla="*/ 204787 h 1095375"/>
                    <a:gd name="connsiteX37" fmla="*/ 78581 w 1319213"/>
                    <a:gd name="connsiteY37" fmla="*/ 171450 h 1095375"/>
                    <a:gd name="connsiteX38" fmla="*/ 119063 w 1319213"/>
                    <a:gd name="connsiteY38" fmla="*/ 171450 h 1095375"/>
                    <a:gd name="connsiteX39" fmla="*/ 161925 w 1319213"/>
                    <a:gd name="connsiteY39" fmla="*/ 142875 h 1095375"/>
                    <a:gd name="connsiteX40" fmla="*/ 173831 w 1319213"/>
                    <a:gd name="connsiteY40" fmla="*/ 133350 h 1095375"/>
                    <a:gd name="connsiteX41" fmla="*/ 200025 w 1319213"/>
                    <a:gd name="connsiteY41" fmla="*/ 133350 h 1095375"/>
                    <a:gd name="connsiteX42" fmla="*/ 190500 w 1319213"/>
                    <a:gd name="connsiteY42" fmla="*/ 78581 h 1095375"/>
                    <a:gd name="connsiteX43" fmla="*/ 180975 w 1319213"/>
                    <a:gd name="connsiteY43" fmla="*/ 45244 h 1095375"/>
                    <a:gd name="connsiteX44" fmla="*/ 180975 w 1319213"/>
                    <a:gd name="connsiteY44" fmla="*/ 14287 h 1095375"/>
                    <a:gd name="connsiteX45" fmla="*/ 226219 w 1319213"/>
                    <a:gd name="connsiteY45" fmla="*/ 4762 h 1095375"/>
                    <a:gd name="connsiteX46" fmla="*/ 259556 w 1319213"/>
                    <a:gd name="connsiteY46" fmla="*/ 0 h 1095375"/>
                    <a:gd name="connsiteX47" fmla="*/ 264319 w 1319213"/>
                    <a:gd name="connsiteY47" fmla="*/ 28575 h 1095375"/>
                    <a:gd name="connsiteX48" fmla="*/ 273844 w 1319213"/>
                    <a:gd name="connsiteY48" fmla="*/ 64294 h 1095375"/>
                    <a:gd name="connsiteX49" fmla="*/ 292894 w 1319213"/>
                    <a:gd name="connsiteY49" fmla="*/ 66675 h 1095375"/>
                    <a:gd name="connsiteX50" fmla="*/ 264319 w 1319213"/>
                    <a:gd name="connsiteY50" fmla="*/ 97631 h 1095375"/>
                    <a:gd name="connsiteX51" fmla="*/ 307181 w 1319213"/>
                    <a:gd name="connsiteY51" fmla="*/ 114300 h 1095375"/>
                    <a:gd name="connsiteX52" fmla="*/ 314325 w 1319213"/>
                    <a:gd name="connsiteY52" fmla="*/ 138112 h 1095375"/>
                    <a:gd name="connsiteX53" fmla="*/ 342900 w 1319213"/>
                    <a:gd name="connsiteY53" fmla="*/ 119062 h 1095375"/>
                    <a:gd name="connsiteX54" fmla="*/ 373856 w 1319213"/>
                    <a:gd name="connsiteY54" fmla="*/ 126206 h 1095375"/>
                    <a:gd name="connsiteX55" fmla="*/ 392906 w 1319213"/>
                    <a:gd name="connsiteY55" fmla="*/ 97631 h 1095375"/>
                    <a:gd name="connsiteX56" fmla="*/ 419100 w 1319213"/>
                    <a:gd name="connsiteY56" fmla="*/ 126206 h 1095375"/>
                    <a:gd name="connsiteX57" fmla="*/ 416719 w 1319213"/>
                    <a:gd name="connsiteY57" fmla="*/ 150019 h 1095375"/>
                    <a:gd name="connsiteX58" fmla="*/ 457200 w 1319213"/>
                    <a:gd name="connsiteY58" fmla="*/ 216694 h 1095375"/>
                    <a:gd name="connsiteX59" fmla="*/ 488156 w 1319213"/>
                    <a:gd name="connsiteY59" fmla="*/ 259556 h 1095375"/>
                    <a:gd name="connsiteX60" fmla="*/ 497681 w 1319213"/>
                    <a:gd name="connsiteY60" fmla="*/ 235744 h 1095375"/>
                    <a:gd name="connsiteX61" fmla="*/ 519113 w 1319213"/>
                    <a:gd name="connsiteY61" fmla="*/ 273844 h 1095375"/>
                    <a:gd name="connsiteX62" fmla="*/ 538163 w 1319213"/>
                    <a:gd name="connsiteY62" fmla="*/ 292894 h 1095375"/>
                    <a:gd name="connsiteX63" fmla="*/ 557213 w 1319213"/>
                    <a:gd name="connsiteY63" fmla="*/ 309562 h 1095375"/>
                    <a:gd name="connsiteX64" fmla="*/ 561975 w 1319213"/>
                    <a:gd name="connsiteY64" fmla="*/ 333375 h 1095375"/>
                    <a:gd name="connsiteX65" fmla="*/ 592931 w 1319213"/>
                    <a:gd name="connsiteY65" fmla="*/ 302419 h 1095375"/>
                    <a:gd name="connsiteX66" fmla="*/ 602456 w 1319213"/>
                    <a:gd name="connsiteY66" fmla="*/ 261937 h 1095375"/>
                    <a:gd name="connsiteX67" fmla="*/ 631031 w 1319213"/>
                    <a:gd name="connsiteY67" fmla="*/ 278606 h 1095375"/>
                    <a:gd name="connsiteX68" fmla="*/ 661988 w 1319213"/>
                    <a:gd name="connsiteY68" fmla="*/ 259556 h 1095375"/>
                    <a:gd name="connsiteX69" fmla="*/ 652463 w 1319213"/>
                    <a:gd name="connsiteY69" fmla="*/ 238125 h 1095375"/>
                    <a:gd name="connsiteX70" fmla="*/ 676275 w 1319213"/>
                    <a:gd name="connsiteY70" fmla="*/ 233362 h 1095375"/>
                    <a:gd name="connsiteX71" fmla="*/ 692944 w 1319213"/>
                    <a:gd name="connsiteY71" fmla="*/ 209550 h 1095375"/>
                    <a:gd name="connsiteX72" fmla="*/ 719138 w 1319213"/>
                    <a:gd name="connsiteY72" fmla="*/ 223837 h 1095375"/>
                    <a:gd name="connsiteX73" fmla="*/ 745331 w 1319213"/>
                    <a:gd name="connsiteY73" fmla="*/ 183356 h 1095375"/>
                    <a:gd name="connsiteX74" fmla="*/ 742950 w 1319213"/>
                    <a:gd name="connsiteY74" fmla="*/ 161925 h 1095375"/>
                    <a:gd name="connsiteX75" fmla="*/ 781050 w 1319213"/>
                    <a:gd name="connsiteY75" fmla="*/ 164306 h 1095375"/>
                    <a:gd name="connsiteX76" fmla="*/ 859631 w 1319213"/>
                    <a:gd name="connsiteY76" fmla="*/ 152400 h 1095375"/>
                    <a:gd name="connsiteX77" fmla="*/ 890588 w 1319213"/>
                    <a:gd name="connsiteY77" fmla="*/ 145256 h 1095375"/>
                    <a:gd name="connsiteX78" fmla="*/ 904875 w 1319213"/>
                    <a:gd name="connsiteY78" fmla="*/ 119062 h 1095375"/>
                    <a:gd name="connsiteX79" fmla="*/ 895350 w 1319213"/>
                    <a:gd name="connsiteY79" fmla="*/ 83344 h 1095375"/>
                    <a:gd name="connsiteX80" fmla="*/ 921544 w 1319213"/>
                    <a:gd name="connsiteY80" fmla="*/ 61912 h 1095375"/>
                    <a:gd name="connsiteX81" fmla="*/ 950119 w 1319213"/>
                    <a:gd name="connsiteY81" fmla="*/ 92869 h 1095375"/>
                    <a:gd name="connsiteX82" fmla="*/ 981075 w 1319213"/>
                    <a:gd name="connsiteY82" fmla="*/ 126206 h 1095375"/>
                    <a:gd name="connsiteX83" fmla="*/ 1000125 w 1319213"/>
                    <a:gd name="connsiteY83" fmla="*/ 157162 h 1095375"/>
                    <a:gd name="connsiteX84" fmla="*/ 1004888 w 1319213"/>
                    <a:gd name="connsiteY84" fmla="*/ 190500 h 1095375"/>
                    <a:gd name="connsiteX85" fmla="*/ 959644 w 1319213"/>
                    <a:gd name="connsiteY85" fmla="*/ 190500 h 1095375"/>
                    <a:gd name="connsiteX86" fmla="*/ 914400 w 1319213"/>
                    <a:gd name="connsiteY86" fmla="*/ 180975 h 1095375"/>
                    <a:gd name="connsiteX87" fmla="*/ 914400 w 1319213"/>
                    <a:gd name="connsiteY87" fmla="*/ 180975 h 1095375"/>
                    <a:gd name="connsiteX88" fmla="*/ 895350 w 1319213"/>
                    <a:gd name="connsiteY88" fmla="*/ 214312 h 1095375"/>
                    <a:gd name="connsiteX89" fmla="*/ 885825 w 1319213"/>
                    <a:gd name="connsiteY89" fmla="*/ 250031 h 1095375"/>
                    <a:gd name="connsiteX90" fmla="*/ 852488 w 1319213"/>
                    <a:gd name="connsiteY90" fmla="*/ 290512 h 1095375"/>
                    <a:gd name="connsiteX91" fmla="*/ 888206 w 1319213"/>
                    <a:gd name="connsiteY91" fmla="*/ 316706 h 1095375"/>
                    <a:gd name="connsiteX92" fmla="*/ 897731 w 1319213"/>
                    <a:gd name="connsiteY92" fmla="*/ 369094 h 1095375"/>
                    <a:gd name="connsiteX93" fmla="*/ 947738 w 1319213"/>
                    <a:gd name="connsiteY93" fmla="*/ 416719 h 1095375"/>
                    <a:gd name="connsiteX94" fmla="*/ 985838 w 1319213"/>
                    <a:gd name="connsiteY94" fmla="*/ 440531 h 1095375"/>
                    <a:gd name="connsiteX95" fmla="*/ 985838 w 1319213"/>
                    <a:gd name="connsiteY95" fmla="*/ 464344 h 1095375"/>
                    <a:gd name="connsiteX96" fmla="*/ 964406 w 1319213"/>
                    <a:gd name="connsiteY96" fmla="*/ 469106 h 1095375"/>
                    <a:gd name="connsiteX97" fmla="*/ 954881 w 1319213"/>
                    <a:gd name="connsiteY97" fmla="*/ 488156 h 1095375"/>
                    <a:gd name="connsiteX98" fmla="*/ 954881 w 1319213"/>
                    <a:gd name="connsiteY98" fmla="*/ 488156 h 1095375"/>
                    <a:gd name="connsiteX99" fmla="*/ 892969 w 1319213"/>
                    <a:gd name="connsiteY99" fmla="*/ 471487 h 1095375"/>
                    <a:gd name="connsiteX100" fmla="*/ 838200 w 1319213"/>
                    <a:gd name="connsiteY100" fmla="*/ 445294 h 1095375"/>
                    <a:gd name="connsiteX101" fmla="*/ 823913 w 1319213"/>
                    <a:gd name="connsiteY101" fmla="*/ 485775 h 1095375"/>
                    <a:gd name="connsiteX102" fmla="*/ 802481 w 1319213"/>
                    <a:gd name="connsiteY102" fmla="*/ 490537 h 1095375"/>
                    <a:gd name="connsiteX103" fmla="*/ 826294 w 1319213"/>
                    <a:gd name="connsiteY103" fmla="*/ 547687 h 1095375"/>
                    <a:gd name="connsiteX104" fmla="*/ 912019 w 1319213"/>
                    <a:gd name="connsiteY104" fmla="*/ 578644 h 1095375"/>
                    <a:gd name="connsiteX105" fmla="*/ 997744 w 1319213"/>
                    <a:gd name="connsiteY105" fmla="*/ 623887 h 1095375"/>
                    <a:gd name="connsiteX106" fmla="*/ 995363 w 1319213"/>
                    <a:gd name="connsiteY106" fmla="*/ 704850 h 1095375"/>
                    <a:gd name="connsiteX107" fmla="*/ 1028700 w 1319213"/>
                    <a:gd name="connsiteY107" fmla="*/ 690562 h 1095375"/>
                    <a:gd name="connsiteX108" fmla="*/ 1083469 w 1319213"/>
                    <a:gd name="connsiteY108" fmla="*/ 735806 h 1095375"/>
                    <a:gd name="connsiteX109" fmla="*/ 1145381 w 1319213"/>
                    <a:gd name="connsiteY109" fmla="*/ 697706 h 1095375"/>
                    <a:gd name="connsiteX110" fmla="*/ 1207294 w 1319213"/>
                    <a:gd name="connsiteY110" fmla="*/ 750094 h 1095375"/>
                    <a:gd name="connsiteX111" fmla="*/ 1262063 w 1319213"/>
                    <a:gd name="connsiteY111" fmla="*/ 785812 h 1095375"/>
                    <a:gd name="connsiteX112" fmla="*/ 1283494 w 1319213"/>
                    <a:gd name="connsiteY112" fmla="*/ 788194 h 1095375"/>
                    <a:gd name="connsiteX113" fmla="*/ 1319213 w 1319213"/>
                    <a:gd name="connsiteY113" fmla="*/ 897731 h 1095375"/>
                    <a:gd name="connsiteX114" fmla="*/ 1297781 w 1319213"/>
                    <a:gd name="connsiteY114" fmla="*/ 914400 h 1095375"/>
                    <a:gd name="connsiteX115" fmla="*/ 1293019 w 1319213"/>
                    <a:gd name="connsiteY115" fmla="*/ 933450 h 1095375"/>
                    <a:gd name="connsiteX116" fmla="*/ 1293019 w 1319213"/>
                    <a:gd name="connsiteY116" fmla="*/ 933450 h 1095375"/>
                    <a:gd name="connsiteX117" fmla="*/ 1243013 w 1319213"/>
                    <a:gd name="connsiteY117" fmla="*/ 947737 h 1095375"/>
                    <a:gd name="connsiteX118" fmla="*/ 1245394 w 1319213"/>
                    <a:gd name="connsiteY118" fmla="*/ 1031081 h 1095375"/>
                    <a:gd name="connsiteX119" fmla="*/ 1190625 w 1319213"/>
                    <a:gd name="connsiteY119" fmla="*/ 1078706 h 1095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</a:cxnLst>
                  <a:rect l="l" t="t" r="r" b="b"/>
                  <a:pathLst>
                    <a:path w="1319213" h="1095375">
                      <a:moveTo>
                        <a:pt x="1190625" y="1078706"/>
                      </a:moveTo>
                      <a:lnTo>
                        <a:pt x="1121569" y="1052512"/>
                      </a:lnTo>
                      <a:lnTo>
                        <a:pt x="1102519" y="1059656"/>
                      </a:lnTo>
                      <a:cubicBezTo>
                        <a:pt x="1093919" y="1062783"/>
                        <a:pt x="1097325" y="1060087"/>
                        <a:pt x="1092994" y="1064419"/>
                      </a:cubicBezTo>
                      <a:lnTo>
                        <a:pt x="1090613" y="1095375"/>
                      </a:lnTo>
                      <a:lnTo>
                        <a:pt x="1090613" y="1095375"/>
                      </a:lnTo>
                      <a:lnTo>
                        <a:pt x="990600" y="1045369"/>
                      </a:lnTo>
                      <a:lnTo>
                        <a:pt x="942975" y="1045369"/>
                      </a:lnTo>
                      <a:lnTo>
                        <a:pt x="904875" y="1038225"/>
                      </a:lnTo>
                      <a:lnTo>
                        <a:pt x="866775" y="1062037"/>
                      </a:lnTo>
                      <a:lnTo>
                        <a:pt x="823913" y="1092994"/>
                      </a:lnTo>
                      <a:lnTo>
                        <a:pt x="802481" y="1062037"/>
                      </a:lnTo>
                      <a:lnTo>
                        <a:pt x="781050" y="997744"/>
                      </a:lnTo>
                      <a:lnTo>
                        <a:pt x="711994" y="954881"/>
                      </a:lnTo>
                      <a:lnTo>
                        <a:pt x="685800" y="950119"/>
                      </a:lnTo>
                      <a:lnTo>
                        <a:pt x="664369" y="971550"/>
                      </a:lnTo>
                      <a:lnTo>
                        <a:pt x="621506" y="919162"/>
                      </a:lnTo>
                      <a:lnTo>
                        <a:pt x="592931" y="933450"/>
                      </a:lnTo>
                      <a:lnTo>
                        <a:pt x="542925" y="852487"/>
                      </a:lnTo>
                      <a:lnTo>
                        <a:pt x="457200" y="754856"/>
                      </a:lnTo>
                      <a:lnTo>
                        <a:pt x="383381" y="726281"/>
                      </a:lnTo>
                      <a:lnTo>
                        <a:pt x="395288" y="690562"/>
                      </a:lnTo>
                      <a:lnTo>
                        <a:pt x="378619" y="652462"/>
                      </a:lnTo>
                      <a:lnTo>
                        <a:pt x="342900" y="602456"/>
                      </a:lnTo>
                      <a:lnTo>
                        <a:pt x="266700" y="545306"/>
                      </a:lnTo>
                      <a:lnTo>
                        <a:pt x="226219" y="521494"/>
                      </a:lnTo>
                      <a:lnTo>
                        <a:pt x="197644" y="545306"/>
                      </a:lnTo>
                      <a:lnTo>
                        <a:pt x="152400" y="431006"/>
                      </a:lnTo>
                      <a:lnTo>
                        <a:pt x="142875" y="395287"/>
                      </a:lnTo>
                      <a:lnTo>
                        <a:pt x="85725" y="328612"/>
                      </a:lnTo>
                      <a:lnTo>
                        <a:pt x="11906" y="304800"/>
                      </a:lnTo>
                      <a:lnTo>
                        <a:pt x="0" y="283369"/>
                      </a:lnTo>
                      <a:lnTo>
                        <a:pt x="23813" y="259556"/>
                      </a:lnTo>
                      <a:lnTo>
                        <a:pt x="83344" y="264319"/>
                      </a:lnTo>
                      <a:lnTo>
                        <a:pt x="95250" y="247650"/>
                      </a:lnTo>
                      <a:lnTo>
                        <a:pt x="104775" y="226219"/>
                      </a:lnTo>
                      <a:lnTo>
                        <a:pt x="73819" y="204787"/>
                      </a:lnTo>
                      <a:lnTo>
                        <a:pt x="78581" y="171450"/>
                      </a:lnTo>
                      <a:lnTo>
                        <a:pt x="119063" y="171450"/>
                      </a:lnTo>
                      <a:lnTo>
                        <a:pt x="161925" y="142875"/>
                      </a:lnTo>
                      <a:lnTo>
                        <a:pt x="173831" y="133350"/>
                      </a:lnTo>
                      <a:lnTo>
                        <a:pt x="200025" y="133350"/>
                      </a:lnTo>
                      <a:lnTo>
                        <a:pt x="190500" y="78581"/>
                      </a:lnTo>
                      <a:lnTo>
                        <a:pt x="180975" y="45244"/>
                      </a:lnTo>
                      <a:lnTo>
                        <a:pt x="180975" y="14287"/>
                      </a:lnTo>
                      <a:lnTo>
                        <a:pt x="226219" y="4762"/>
                      </a:lnTo>
                      <a:lnTo>
                        <a:pt x="259556" y="0"/>
                      </a:lnTo>
                      <a:lnTo>
                        <a:pt x="264319" y="28575"/>
                      </a:lnTo>
                      <a:lnTo>
                        <a:pt x="273844" y="64294"/>
                      </a:lnTo>
                      <a:lnTo>
                        <a:pt x="292894" y="66675"/>
                      </a:lnTo>
                      <a:lnTo>
                        <a:pt x="264319" y="97631"/>
                      </a:lnTo>
                      <a:lnTo>
                        <a:pt x="307181" y="114300"/>
                      </a:lnTo>
                      <a:lnTo>
                        <a:pt x="314325" y="138112"/>
                      </a:lnTo>
                      <a:lnTo>
                        <a:pt x="342900" y="119062"/>
                      </a:lnTo>
                      <a:lnTo>
                        <a:pt x="373856" y="126206"/>
                      </a:lnTo>
                      <a:lnTo>
                        <a:pt x="392906" y="97631"/>
                      </a:lnTo>
                      <a:lnTo>
                        <a:pt x="419100" y="126206"/>
                      </a:lnTo>
                      <a:lnTo>
                        <a:pt x="416719" y="150019"/>
                      </a:lnTo>
                      <a:lnTo>
                        <a:pt x="457200" y="216694"/>
                      </a:lnTo>
                      <a:lnTo>
                        <a:pt x="488156" y="259556"/>
                      </a:lnTo>
                      <a:lnTo>
                        <a:pt x="497681" y="235744"/>
                      </a:lnTo>
                      <a:lnTo>
                        <a:pt x="519113" y="273844"/>
                      </a:lnTo>
                      <a:lnTo>
                        <a:pt x="538163" y="292894"/>
                      </a:lnTo>
                      <a:lnTo>
                        <a:pt x="557213" y="309562"/>
                      </a:lnTo>
                      <a:lnTo>
                        <a:pt x="561975" y="333375"/>
                      </a:lnTo>
                      <a:lnTo>
                        <a:pt x="592931" y="302419"/>
                      </a:lnTo>
                      <a:lnTo>
                        <a:pt x="602456" y="261937"/>
                      </a:lnTo>
                      <a:lnTo>
                        <a:pt x="631031" y="278606"/>
                      </a:lnTo>
                      <a:lnTo>
                        <a:pt x="661988" y="259556"/>
                      </a:lnTo>
                      <a:lnTo>
                        <a:pt x="652463" y="238125"/>
                      </a:lnTo>
                      <a:lnTo>
                        <a:pt x="676275" y="233362"/>
                      </a:lnTo>
                      <a:lnTo>
                        <a:pt x="692944" y="209550"/>
                      </a:lnTo>
                      <a:lnTo>
                        <a:pt x="719138" y="223837"/>
                      </a:lnTo>
                      <a:lnTo>
                        <a:pt x="745331" y="183356"/>
                      </a:lnTo>
                      <a:lnTo>
                        <a:pt x="742950" y="161925"/>
                      </a:lnTo>
                      <a:lnTo>
                        <a:pt x="781050" y="164306"/>
                      </a:lnTo>
                      <a:lnTo>
                        <a:pt x="859631" y="152400"/>
                      </a:lnTo>
                      <a:lnTo>
                        <a:pt x="890588" y="145256"/>
                      </a:lnTo>
                      <a:lnTo>
                        <a:pt x="904875" y="119062"/>
                      </a:lnTo>
                      <a:lnTo>
                        <a:pt x="895350" y="83344"/>
                      </a:lnTo>
                      <a:lnTo>
                        <a:pt x="921544" y="61912"/>
                      </a:lnTo>
                      <a:lnTo>
                        <a:pt x="950119" y="92869"/>
                      </a:lnTo>
                      <a:lnTo>
                        <a:pt x="981075" y="126206"/>
                      </a:lnTo>
                      <a:lnTo>
                        <a:pt x="1000125" y="157162"/>
                      </a:lnTo>
                      <a:lnTo>
                        <a:pt x="1004888" y="190500"/>
                      </a:lnTo>
                      <a:lnTo>
                        <a:pt x="959644" y="190500"/>
                      </a:lnTo>
                      <a:lnTo>
                        <a:pt x="914400" y="180975"/>
                      </a:lnTo>
                      <a:lnTo>
                        <a:pt x="914400" y="180975"/>
                      </a:lnTo>
                      <a:lnTo>
                        <a:pt x="895350" y="214312"/>
                      </a:lnTo>
                      <a:lnTo>
                        <a:pt x="885825" y="250031"/>
                      </a:lnTo>
                      <a:lnTo>
                        <a:pt x="852488" y="290512"/>
                      </a:lnTo>
                      <a:lnTo>
                        <a:pt x="888206" y="316706"/>
                      </a:lnTo>
                      <a:lnTo>
                        <a:pt x="897731" y="369094"/>
                      </a:lnTo>
                      <a:lnTo>
                        <a:pt x="947738" y="416719"/>
                      </a:lnTo>
                      <a:lnTo>
                        <a:pt x="985838" y="440531"/>
                      </a:lnTo>
                      <a:lnTo>
                        <a:pt x="985838" y="464344"/>
                      </a:lnTo>
                      <a:cubicBezTo>
                        <a:pt x="978694" y="465931"/>
                        <a:pt x="970639" y="465271"/>
                        <a:pt x="964406" y="469106"/>
                      </a:cubicBezTo>
                      <a:cubicBezTo>
                        <a:pt x="954001" y="475509"/>
                        <a:pt x="954881" y="480223"/>
                        <a:pt x="954881" y="488156"/>
                      </a:cubicBezTo>
                      <a:lnTo>
                        <a:pt x="954881" y="488156"/>
                      </a:lnTo>
                      <a:lnTo>
                        <a:pt x="892969" y="471487"/>
                      </a:lnTo>
                      <a:lnTo>
                        <a:pt x="838200" y="445294"/>
                      </a:lnTo>
                      <a:lnTo>
                        <a:pt x="823913" y="485775"/>
                      </a:lnTo>
                      <a:lnTo>
                        <a:pt x="802481" y="490537"/>
                      </a:lnTo>
                      <a:lnTo>
                        <a:pt x="826294" y="547687"/>
                      </a:lnTo>
                      <a:lnTo>
                        <a:pt x="912019" y="578644"/>
                      </a:lnTo>
                      <a:lnTo>
                        <a:pt x="997744" y="623887"/>
                      </a:lnTo>
                      <a:cubicBezTo>
                        <a:pt x="996950" y="650875"/>
                        <a:pt x="996157" y="677862"/>
                        <a:pt x="995363" y="704850"/>
                      </a:cubicBezTo>
                      <a:lnTo>
                        <a:pt x="1028700" y="690562"/>
                      </a:lnTo>
                      <a:lnTo>
                        <a:pt x="1083469" y="735806"/>
                      </a:lnTo>
                      <a:lnTo>
                        <a:pt x="1145381" y="697706"/>
                      </a:lnTo>
                      <a:lnTo>
                        <a:pt x="1207294" y="750094"/>
                      </a:lnTo>
                      <a:lnTo>
                        <a:pt x="1262063" y="785812"/>
                      </a:lnTo>
                      <a:lnTo>
                        <a:pt x="1283494" y="788194"/>
                      </a:lnTo>
                      <a:lnTo>
                        <a:pt x="1319213" y="897731"/>
                      </a:lnTo>
                      <a:lnTo>
                        <a:pt x="1297781" y="914400"/>
                      </a:lnTo>
                      <a:lnTo>
                        <a:pt x="1293019" y="933450"/>
                      </a:lnTo>
                      <a:lnTo>
                        <a:pt x="1293019" y="933450"/>
                      </a:lnTo>
                      <a:lnTo>
                        <a:pt x="1243013" y="947737"/>
                      </a:lnTo>
                      <a:cubicBezTo>
                        <a:pt x="1243807" y="975518"/>
                        <a:pt x="1244600" y="1003300"/>
                        <a:pt x="1245394" y="1031081"/>
                      </a:cubicBezTo>
                      <a:lnTo>
                        <a:pt x="1190625" y="107870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913" tIns="24456" rIns="48913" bIns="24456"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Figura a mano libera 639">
                  <a:extLst>
                    <a:ext uri="{FF2B5EF4-FFF2-40B4-BE49-F238E27FC236}">
                      <a16:creationId xmlns:a16="http://schemas.microsoft.com/office/drawing/2014/main" id="{9B919687-42AE-4EDE-B03F-38A5E0931979}"/>
                    </a:ext>
                  </a:extLst>
                </p:cNvPr>
                <p:cNvSpPr/>
                <p:nvPr/>
              </p:nvSpPr>
              <p:spPr bwMode="auto">
                <a:xfrm>
                  <a:off x="3635542" y="2932076"/>
                  <a:ext cx="348367" cy="406742"/>
                </a:xfrm>
                <a:custGeom>
                  <a:avLst/>
                  <a:gdLst>
                    <a:gd name="connsiteX0" fmla="*/ 673894 w 692944"/>
                    <a:gd name="connsiteY0" fmla="*/ 564357 h 845344"/>
                    <a:gd name="connsiteX1" fmla="*/ 692944 w 692944"/>
                    <a:gd name="connsiteY1" fmla="*/ 535782 h 845344"/>
                    <a:gd name="connsiteX2" fmla="*/ 681037 w 692944"/>
                    <a:gd name="connsiteY2" fmla="*/ 509588 h 845344"/>
                    <a:gd name="connsiteX3" fmla="*/ 626269 w 692944"/>
                    <a:gd name="connsiteY3" fmla="*/ 531019 h 845344"/>
                    <a:gd name="connsiteX4" fmla="*/ 595312 w 692944"/>
                    <a:gd name="connsiteY4" fmla="*/ 490538 h 845344"/>
                    <a:gd name="connsiteX5" fmla="*/ 564356 w 692944"/>
                    <a:gd name="connsiteY5" fmla="*/ 478632 h 845344"/>
                    <a:gd name="connsiteX6" fmla="*/ 554831 w 692944"/>
                    <a:gd name="connsiteY6" fmla="*/ 492919 h 845344"/>
                    <a:gd name="connsiteX7" fmla="*/ 554831 w 692944"/>
                    <a:gd name="connsiteY7" fmla="*/ 492919 h 845344"/>
                    <a:gd name="connsiteX8" fmla="*/ 528637 w 692944"/>
                    <a:gd name="connsiteY8" fmla="*/ 478632 h 845344"/>
                    <a:gd name="connsiteX9" fmla="*/ 507206 w 692944"/>
                    <a:gd name="connsiteY9" fmla="*/ 445294 h 845344"/>
                    <a:gd name="connsiteX10" fmla="*/ 509587 w 692944"/>
                    <a:gd name="connsiteY10" fmla="*/ 409575 h 845344"/>
                    <a:gd name="connsiteX11" fmla="*/ 504825 w 692944"/>
                    <a:gd name="connsiteY11" fmla="*/ 369094 h 845344"/>
                    <a:gd name="connsiteX12" fmla="*/ 490537 w 692944"/>
                    <a:gd name="connsiteY12" fmla="*/ 328613 h 845344"/>
                    <a:gd name="connsiteX13" fmla="*/ 490537 w 692944"/>
                    <a:gd name="connsiteY13" fmla="*/ 328613 h 845344"/>
                    <a:gd name="connsiteX14" fmla="*/ 481012 w 692944"/>
                    <a:gd name="connsiteY14" fmla="*/ 300038 h 845344"/>
                    <a:gd name="connsiteX15" fmla="*/ 478631 w 692944"/>
                    <a:gd name="connsiteY15" fmla="*/ 273844 h 845344"/>
                    <a:gd name="connsiteX16" fmla="*/ 454819 w 692944"/>
                    <a:gd name="connsiteY16" fmla="*/ 252413 h 845344"/>
                    <a:gd name="connsiteX17" fmla="*/ 457200 w 692944"/>
                    <a:gd name="connsiteY17" fmla="*/ 235744 h 845344"/>
                    <a:gd name="connsiteX18" fmla="*/ 452437 w 692944"/>
                    <a:gd name="connsiteY18" fmla="*/ 204788 h 845344"/>
                    <a:gd name="connsiteX19" fmla="*/ 452437 w 692944"/>
                    <a:gd name="connsiteY19" fmla="*/ 190500 h 845344"/>
                    <a:gd name="connsiteX20" fmla="*/ 428625 w 692944"/>
                    <a:gd name="connsiteY20" fmla="*/ 166688 h 845344"/>
                    <a:gd name="connsiteX21" fmla="*/ 428625 w 692944"/>
                    <a:gd name="connsiteY21" fmla="*/ 166688 h 845344"/>
                    <a:gd name="connsiteX22" fmla="*/ 445294 w 692944"/>
                    <a:gd name="connsiteY22" fmla="*/ 142875 h 845344"/>
                    <a:gd name="connsiteX23" fmla="*/ 440531 w 692944"/>
                    <a:gd name="connsiteY23" fmla="*/ 123825 h 845344"/>
                    <a:gd name="connsiteX24" fmla="*/ 383381 w 692944"/>
                    <a:gd name="connsiteY24" fmla="*/ 126207 h 845344"/>
                    <a:gd name="connsiteX25" fmla="*/ 383381 w 692944"/>
                    <a:gd name="connsiteY25" fmla="*/ 126207 h 845344"/>
                    <a:gd name="connsiteX26" fmla="*/ 345281 w 692944"/>
                    <a:gd name="connsiteY26" fmla="*/ 130969 h 845344"/>
                    <a:gd name="connsiteX27" fmla="*/ 319087 w 692944"/>
                    <a:gd name="connsiteY27" fmla="*/ 90488 h 845344"/>
                    <a:gd name="connsiteX28" fmla="*/ 304800 w 692944"/>
                    <a:gd name="connsiteY28" fmla="*/ 59532 h 845344"/>
                    <a:gd name="connsiteX29" fmla="*/ 276225 w 692944"/>
                    <a:gd name="connsiteY29" fmla="*/ 52388 h 845344"/>
                    <a:gd name="connsiteX30" fmla="*/ 271462 w 692944"/>
                    <a:gd name="connsiteY30" fmla="*/ 71438 h 845344"/>
                    <a:gd name="connsiteX31" fmla="*/ 250031 w 692944"/>
                    <a:gd name="connsiteY31" fmla="*/ 69057 h 845344"/>
                    <a:gd name="connsiteX32" fmla="*/ 211931 w 692944"/>
                    <a:gd name="connsiteY32" fmla="*/ 54769 h 845344"/>
                    <a:gd name="connsiteX33" fmla="*/ 245269 w 692944"/>
                    <a:gd name="connsiteY33" fmla="*/ 50007 h 845344"/>
                    <a:gd name="connsiteX34" fmla="*/ 247650 w 692944"/>
                    <a:gd name="connsiteY34" fmla="*/ 47625 h 845344"/>
                    <a:gd name="connsiteX35" fmla="*/ 230981 w 692944"/>
                    <a:gd name="connsiteY35" fmla="*/ 28575 h 845344"/>
                    <a:gd name="connsiteX36" fmla="*/ 257175 w 692944"/>
                    <a:gd name="connsiteY36" fmla="*/ 0 h 845344"/>
                    <a:gd name="connsiteX37" fmla="*/ 200025 w 692944"/>
                    <a:gd name="connsiteY37" fmla="*/ 26194 h 845344"/>
                    <a:gd name="connsiteX38" fmla="*/ 166687 w 692944"/>
                    <a:gd name="connsiteY38" fmla="*/ 9525 h 845344"/>
                    <a:gd name="connsiteX39" fmla="*/ 150019 w 692944"/>
                    <a:gd name="connsiteY39" fmla="*/ 42863 h 845344"/>
                    <a:gd name="connsiteX40" fmla="*/ 121444 w 692944"/>
                    <a:gd name="connsiteY40" fmla="*/ 83344 h 845344"/>
                    <a:gd name="connsiteX41" fmla="*/ 107156 w 692944"/>
                    <a:gd name="connsiteY41" fmla="*/ 83344 h 845344"/>
                    <a:gd name="connsiteX42" fmla="*/ 119062 w 692944"/>
                    <a:gd name="connsiteY42" fmla="*/ 104775 h 845344"/>
                    <a:gd name="connsiteX43" fmla="*/ 126206 w 692944"/>
                    <a:gd name="connsiteY43" fmla="*/ 107157 h 845344"/>
                    <a:gd name="connsiteX44" fmla="*/ 97631 w 692944"/>
                    <a:gd name="connsiteY44" fmla="*/ 111919 h 845344"/>
                    <a:gd name="connsiteX45" fmla="*/ 69056 w 692944"/>
                    <a:gd name="connsiteY45" fmla="*/ 133350 h 845344"/>
                    <a:gd name="connsiteX46" fmla="*/ 100012 w 692944"/>
                    <a:gd name="connsiteY46" fmla="*/ 145257 h 845344"/>
                    <a:gd name="connsiteX47" fmla="*/ 114300 w 692944"/>
                    <a:gd name="connsiteY47" fmla="*/ 176213 h 845344"/>
                    <a:gd name="connsiteX48" fmla="*/ 133350 w 692944"/>
                    <a:gd name="connsiteY48" fmla="*/ 197644 h 845344"/>
                    <a:gd name="connsiteX49" fmla="*/ 154781 w 692944"/>
                    <a:gd name="connsiteY49" fmla="*/ 228600 h 845344"/>
                    <a:gd name="connsiteX50" fmla="*/ 133350 w 692944"/>
                    <a:gd name="connsiteY50" fmla="*/ 247650 h 845344"/>
                    <a:gd name="connsiteX51" fmla="*/ 95250 w 692944"/>
                    <a:gd name="connsiteY51" fmla="*/ 261938 h 845344"/>
                    <a:gd name="connsiteX52" fmla="*/ 83344 w 692944"/>
                    <a:gd name="connsiteY52" fmla="*/ 233363 h 845344"/>
                    <a:gd name="connsiteX53" fmla="*/ 45244 w 692944"/>
                    <a:gd name="connsiteY53" fmla="*/ 290513 h 845344"/>
                    <a:gd name="connsiteX54" fmla="*/ 0 w 692944"/>
                    <a:gd name="connsiteY54" fmla="*/ 323850 h 845344"/>
                    <a:gd name="connsiteX55" fmla="*/ 0 w 692944"/>
                    <a:gd name="connsiteY55" fmla="*/ 338138 h 845344"/>
                    <a:gd name="connsiteX56" fmla="*/ 4762 w 692944"/>
                    <a:gd name="connsiteY56" fmla="*/ 361950 h 845344"/>
                    <a:gd name="connsiteX57" fmla="*/ 4762 w 692944"/>
                    <a:gd name="connsiteY57" fmla="*/ 361950 h 845344"/>
                    <a:gd name="connsiteX58" fmla="*/ 35719 w 692944"/>
                    <a:gd name="connsiteY58" fmla="*/ 392907 h 845344"/>
                    <a:gd name="connsiteX59" fmla="*/ 35719 w 692944"/>
                    <a:gd name="connsiteY59" fmla="*/ 423863 h 845344"/>
                    <a:gd name="connsiteX60" fmla="*/ 33337 w 692944"/>
                    <a:gd name="connsiteY60" fmla="*/ 473869 h 845344"/>
                    <a:gd name="connsiteX61" fmla="*/ 33337 w 692944"/>
                    <a:gd name="connsiteY61" fmla="*/ 473869 h 845344"/>
                    <a:gd name="connsiteX62" fmla="*/ 16669 w 692944"/>
                    <a:gd name="connsiteY62" fmla="*/ 507207 h 845344"/>
                    <a:gd name="connsiteX63" fmla="*/ 14287 w 692944"/>
                    <a:gd name="connsiteY63" fmla="*/ 528638 h 845344"/>
                    <a:gd name="connsiteX64" fmla="*/ 9525 w 692944"/>
                    <a:gd name="connsiteY64" fmla="*/ 566738 h 845344"/>
                    <a:gd name="connsiteX65" fmla="*/ 35719 w 692944"/>
                    <a:gd name="connsiteY65" fmla="*/ 573882 h 845344"/>
                    <a:gd name="connsiteX66" fmla="*/ 11906 w 692944"/>
                    <a:gd name="connsiteY66" fmla="*/ 614363 h 845344"/>
                    <a:gd name="connsiteX67" fmla="*/ 52387 w 692944"/>
                    <a:gd name="connsiteY67" fmla="*/ 616744 h 845344"/>
                    <a:gd name="connsiteX68" fmla="*/ 57150 w 692944"/>
                    <a:gd name="connsiteY68" fmla="*/ 645319 h 845344"/>
                    <a:gd name="connsiteX69" fmla="*/ 61912 w 692944"/>
                    <a:gd name="connsiteY69" fmla="*/ 628650 h 845344"/>
                    <a:gd name="connsiteX70" fmla="*/ 114300 w 692944"/>
                    <a:gd name="connsiteY70" fmla="*/ 640557 h 845344"/>
                    <a:gd name="connsiteX71" fmla="*/ 140494 w 692944"/>
                    <a:gd name="connsiteY71" fmla="*/ 607219 h 845344"/>
                    <a:gd name="connsiteX72" fmla="*/ 164306 w 692944"/>
                    <a:gd name="connsiteY72" fmla="*/ 640557 h 845344"/>
                    <a:gd name="connsiteX73" fmla="*/ 185737 w 692944"/>
                    <a:gd name="connsiteY73" fmla="*/ 716757 h 845344"/>
                    <a:gd name="connsiteX74" fmla="*/ 226219 w 692944"/>
                    <a:gd name="connsiteY74" fmla="*/ 771525 h 845344"/>
                    <a:gd name="connsiteX75" fmla="*/ 238125 w 692944"/>
                    <a:gd name="connsiteY75" fmla="*/ 745332 h 845344"/>
                    <a:gd name="connsiteX76" fmla="*/ 285750 w 692944"/>
                    <a:gd name="connsiteY76" fmla="*/ 807244 h 845344"/>
                    <a:gd name="connsiteX77" fmla="*/ 304800 w 692944"/>
                    <a:gd name="connsiteY77" fmla="*/ 819150 h 845344"/>
                    <a:gd name="connsiteX78" fmla="*/ 304800 w 692944"/>
                    <a:gd name="connsiteY78" fmla="*/ 845344 h 845344"/>
                    <a:gd name="connsiteX79" fmla="*/ 342900 w 692944"/>
                    <a:gd name="connsiteY79" fmla="*/ 812007 h 845344"/>
                    <a:gd name="connsiteX80" fmla="*/ 354806 w 692944"/>
                    <a:gd name="connsiteY80" fmla="*/ 762000 h 845344"/>
                    <a:gd name="connsiteX81" fmla="*/ 400050 w 692944"/>
                    <a:gd name="connsiteY81" fmla="*/ 790575 h 845344"/>
                    <a:gd name="connsiteX82" fmla="*/ 409575 w 692944"/>
                    <a:gd name="connsiteY82" fmla="*/ 773907 h 845344"/>
                    <a:gd name="connsiteX83" fmla="*/ 404812 w 692944"/>
                    <a:gd name="connsiteY83" fmla="*/ 740569 h 845344"/>
                    <a:gd name="connsiteX84" fmla="*/ 428625 w 692944"/>
                    <a:gd name="connsiteY84" fmla="*/ 733425 h 845344"/>
                    <a:gd name="connsiteX85" fmla="*/ 438150 w 692944"/>
                    <a:gd name="connsiteY85" fmla="*/ 721519 h 845344"/>
                    <a:gd name="connsiteX86" fmla="*/ 481012 w 692944"/>
                    <a:gd name="connsiteY86" fmla="*/ 735807 h 845344"/>
                    <a:gd name="connsiteX87" fmla="*/ 485775 w 692944"/>
                    <a:gd name="connsiteY87" fmla="*/ 669132 h 845344"/>
                    <a:gd name="connsiteX88" fmla="*/ 619125 w 692944"/>
                    <a:gd name="connsiteY88" fmla="*/ 669132 h 845344"/>
                    <a:gd name="connsiteX89" fmla="*/ 654844 w 692944"/>
                    <a:gd name="connsiteY89" fmla="*/ 652463 h 845344"/>
                    <a:gd name="connsiteX90" fmla="*/ 635794 w 692944"/>
                    <a:gd name="connsiteY90" fmla="*/ 626269 h 845344"/>
                    <a:gd name="connsiteX91" fmla="*/ 673894 w 692944"/>
                    <a:gd name="connsiteY91" fmla="*/ 564357 h 8453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</a:cxnLst>
                  <a:rect l="l" t="t" r="r" b="b"/>
                  <a:pathLst>
                    <a:path w="692944" h="845344">
                      <a:moveTo>
                        <a:pt x="673894" y="564357"/>
                      </a:moveTo>
                      <a:lnTo>
                        <a:pt x="692944" y="535782"/>
                      </a:lnTo>
                      <a:lnTo>
                        <a:pt x="681037" y="509588"/>
                      </a:lnTo>
                      <a:lnTo>
                        <a:pt x="626269" y="531019"/>
                      </a:lnTo>
                      <a:lnTo>
                        <a:pt x="595312" y="490538"/>
                      </a:lnTo>
                      <a:lnTo>
                        <a:pt x="564356" y="478632"/>
                      </a:lnTo>
                      <a:lnTo>
                        <a:pt x="554831" y="492919"/>
                      </a:lnTo>
                      <a:lnTo>
                        <a:pt x="554831" y="492919"/>
                      </a:lnTo>
                      <a:lnTo>
                        <a:pt x="528637" y="478632"/>
                      </a:lnTo>
                      <a:lnTo>
                        <a:pt x="507206" y="445294"/>
                      </a:lnTo>
                      <a:lnTo>
                        <a:pt x="509587" y="409575"/>
                      </a:lnTo>
                      <a:lnTo>
                        <a:pt x="504825" y="369094"/>
                      </a:lnTo>
                      <a:lnTo>
                        <a:pt x="490537" y="328613"/>
                      </a:lnTo>
                      <a:lnTo>
                        <a:pt x="490537" y="328613"/>
                      </a:lnTo>
                      <a:lnTo>
                        <a:pt x="481012" y="300038"/>
                      </a:lnTo>
                      <a:lnTo>
                        <a:pt x="478631" y="273844"/>
                      </a:lnTo>
                      <a:lnTo>
                        <a:pt x="454819" y="252413"/>
                      </a:lnTo>
                      <a:lnTo>
                        <a:pt x="457200" y="235744"/>
                      </a:lnTo>
                      <a:lnTo>
                        <a:pt x="452437" y="204788"/>
                      </a:lnTo>
                      <a:lnTo>
                        <a:pt x="452437" y="190500"/>
                      </a:lnTo>
                      <a:lnTo>
                        <a:pt x="428625" y="166688"/>
                      </a:lnTo>
                      <a:lnTo>
                        <a:pt x="428625" y="166688"/>
                      </a:lnTo>
                      <a:lnTo>
                        <a:pt x="445294" y="142875"/>
                      </a:lnTo>
                      <a:lnTo>
                        <a:pt x="440531" y="123825"/>
                      </a:lnTo>
                      <a:lnTo>
                        <a:pt x="383381" y="126207"/>
                      </a:lnTo>
                      <a:lnTo>
                        <a:pt x="383381" y="126207"/>
                      </a:lnTo>
                      <a:lnTo>
                        <a:pt x="345281" y="130969"/>
                      </a:lnTo>
                      <a:lnTo>
                        <a:pt x="319087" y="90488"/>
                      </a:lnTo>
                      <a:lnTo>
                        <a:pt x="304800" y="59532"/>
                      </a:lnTo>
                      <a:lnTo>
                        <a:pt x="276225" y="52388"/>
                      </a:lnTo>
                      <a:lnTo>
                        <a:pt x="271462" y="71438"/>
                      </a:lnTo>
                      <a:lnTo>
                        <a:pt x="250031" y="69057"/>
                      </a:lnTo>
                      <a:lnTo>
                        <a:pt x="211931" y="54769"/>
                      </a:lnTo>
                      <a:cubicBezTo>
                        <a:pt x="217953" y="54167"/>
                        <a:pt x="236640" y="53459"/>
                        <a:pt x="245269" y="50007"/>
                      </a:cubicBezTo>
                      <a:cubicBezTo>
                        <a:pt x="246311" y="49590"/>
                        <a:pt x="246856" y="48419"/>
                        <a:pt x="247650" y="47625"/>
                      </a:cubicBezTo>
                      <a:lnTo>
                        <a:pt x="230981" y="28575"/>
                      </a:lnTo>
                      <a:lnTo>
                        <a:pt x="257175" y="0"/>
                      </a:lnTo>
                      <a:lnTo>
                        <a:pt x="200025" y="26194"/>
                      </a:lnTo>
                      <a:lnTo>
                        <a:pt x="166687" y="9525"/>
                      </a:lnTo>
                      <a:lnTo>
                        <a:pt x="150019" y="42863"/>
                      </a:lnTo>
                      <a:lnTo>
                        <a:pt x="121444" y="83344"/>
                      </a:lnTo>
                      <a:lnTo>
                        <a:pt x="107156" y="83344"/>
                      </a:lnTo>
                      <a:cubicBezTo>
                        <a:pt x="117183" y="103398"/>
                        <a:pt x="111661" y="97374"/>
                        <a:pt x="119062" y="104775"/>
                      </a:cubicBezTo>
                      <a:lnTo>
                        <a:pt x="126206" y="107157"/>
                      </a:lnTo>
                      <a:lnTo>
                        <a:pt x="97631" y="111919"/>
                      </a:lnTo>
                      <a:lnTo>
                        <a:pt x="69056" y="133350"/>
                      </a:lnTo>
                      <a:lnTo>
                        <a:pt x="100012" y="145257"/>
                      </a:lnTo>
                      <a:lnTo>
                        <a:pt x="114300" y="176213"/>
                      </a:lnTo>
                      <a:lnTo>
                        <a:pt x="133350" y="197644"/>
                      </a:lnTo>
                      <a:lnTo>
                        <a:pt x="154781" y="228600"/>
                      </a:lnTo>
                      <a:lnTo>
                        <a:pt x="133350" y="247650"/>
                      </a:lnTo>
                      <a:lnTo>
                        <a:pt x="95250" y="261938"/>
                      </a:lnTo>
                      <a:lnTo>
                        <a:pt x="83344" y="233363"/>
                      </a:lnTo>
                      <a:lnTo>
                        <a:pt x="45244" y="290513"/>
                      </a:lnTo>
                      <a:lnTo>
                        <a:pt x="0" y="323850"/>
                      </a:lnTo>
                      <a:lnTo>
                        <a:pt x="0" y="338138"/>
                      </a:lnTo>
                      <a:lnTo>
                        <a:pt x="4762" y="361950"/>
                      </a:lnTo>
                      <a:lnTo>
                        <a:pt x="4762" y="361950"/>
                      </a:lnTo>
                      <a:lnTo>
                        <a:pt x="35719" y="392907"/>
                      </a:lnTo>
                      <a:lnTo>
                        <a:pt x="35719" y="423863"/>
                      </a:lnTo>
                      <a:lnTo>
                        <a:pt x="33337" y="473869"/>
                      </a:lnTo>
                      <a:lnTo>
                        <a:pt x="33337" y="473869"/>
                      </a:lnTo>
                      <a:lnTo>
                        <a:pt x="16669" y="507207"/>
                      </a:lnTo>
                      <a:lnTo>
                        <a:pt x="14287" y="528638"/>
                      </a:lnTo>
                      <a:lnTo>
                        <a:pt x="9525" y="566738"/>
                      </a:lnTo>
                      <a:lnTo>
                        <a:pt x="35719" y="573882"/>
                      </a:lnTo>
                      <a:lnTo>
                        <a:pt x="11906" y="614363"/>
                      </a:lnTo>
                      <a:lnTo>
                        <a:pt x="52387" y="616744"/>
                      </a:lnTo>
                      <a:lnTo>
                        <a:pt x="57150" y="645319"/>
                      </a:lnTo>
                      <a:lnTo>
                        <a:pt x="61912" y="628650"/>
                      </a:lnTo>
                      <a:lnTo>
                        <a:pt x="114300" y="640557"/>
                      </a:lnTo>
                      <a:lnTo>
                        <a:pt x="140494" y="607219"/>
                      </a:lnTo>
                      <a:lnTo>
                        <a:pt x="164306" y="640557"/>
                      </a:lnTo>
                      <a:lnTo>
                        <a:pt x="185737" y="716757"/>
                      </a:lnTo>
                      <a:lnTo>
                        <a:pt x="226219" y="771525"/>
                      </a:lnTo>
                      <a:lnTo>
                        <a:pt x="238125" y="745332"/>
                      </a:lnTo>
                      <a:lnTo>
                        <a:pt x="285750" y="807244"/>
                      </a:lnTo>
                      <a:lnTo>
                        <a:pt x="304800" y="819150"/>
                      </a:lnTo>
                      <a:lnTo>
                        <a:pt x="304800" y="845344"/>
                      </a:lnTo>
                      <a:lnTo>
                        <a:pt x="342900" y="812007"/>
                      </a:lnTo>
                      <a:lnTo>
                        <a:pt x="354806" y="762000"/>
                      </a:lnTo>
                      <a:lnTo>
                        <a:pt x="400050" y="790575"/>
                      </a:lnTo>
                      <a:lnTo>
                        <a:pt x="409575" y="773907"/>
                      </a:lnTo>
                      <a:lnTo>
                        <a:pt x="404812" y="740569"/>
                      </a:lnTo>
                      <a:lnTo>
                        <a:pt x="428625" y="733425"/>
                      </a:lnTo>
                      <a:lnTo>
                        <a:pt x="438150" y="721519"/>
                      </a:lnTo>
                      <a:lnTo>
                        <a:pt x="481012" y="735807"/>
                      </a:lnTo>
                      <a:lnTo>
                        <a:pt x="485775" y="669132"/>
                      </a:lnTo>
                      <a:lnTo>
                        <a:pt x="619125" y="669132"/>
                      </a:lnTo>
                      <a:lnTo>
                        <a:pt x="654844" y="652463"/>
                      </a:lnTo>
                      <a:lnTo>
                        <a:pt x="635794" y="626269"/>
                      </a:lnTo>
                      <a:lnTo>
                        <a:pt x="673894" y="56435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913" tIns="24456" rIns="48913" bIns="24456"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Figura a mano libera 640">
                  <a:extLst>
                    <a:ext uri="{FF2B5EF4-FFF2-40B4-BE49-F238E27FC236}">
                      <a16:creationId xmlns:a16="http://schemas.microsoft.com/office/drawing/2014/main" id="{D7DBC7A5-084E-4F2B-85B5-7DD2A83AE141}"/>
                    </a:ext>
                  </a:extLst>
                </p:cNvPr>
                <p:cNvSpPr/>
                <p:nvPr/>
              </p:nvSpPr>
              <p:spPr bwMode="auto">
                <a:xfrm>
                  <a:off x="3688213" y="2822707"/>
                  <a:ext cx="452785" cy="410357"/>
                </a:xfrm>
                <a:custGeom>
                  <a:avLst/>
                  <a:gdLst>
                    <a:gd name="connsiteX0" fmla="*/ 40481 w 902494"/>
                    <a:gd name="connsiteY0" fmla="*/ 221456 h 852487"/>
                    <a:gd name="connsiteX1" fmla="*/ 71437 w 902494"/>
                    <a:gd name="connsiteY1" fmla="*/ 200025 h 852487"/>
                    <a:gd name="connsiteX2" fmla="*/ 121444 w 902494"/>
                    <a:gd name="connsiteY2" fmla="*/ 176212 h 852487"/>
                    <a:gd name="connsiteX3" fmla="*/ 145256 w 902494"/>
                    <a:gd name="connsiteY3" fmla="*/ 166687 h 852487"/>
                    <a:gd name="connsiteX4" fmla="*/ 116681 w 902494"/>
                    <a:gd name="connsiteY4" fmla="*/ 130968 h 852487"/>
                    <a:gd name="connsiteX5" fmla="*/ 66675 w 902494"/>
                    <a:gd name="connsiteY5" fmla="*/ 135731 h 852487"/>
                    <a:gd name="connsiteX6" fmla="*/ 42862 w 902494"/>
                    <a:gd name="connsiteY6" fmla="*/ 138112 h 852487"/>
                    <a:gd name="connsiteX7" fmla="*/ 0 w 902494"/>
                    <a:gd name="connsiteY7" fmla="*/ 138112 h 852487"/>
                    <a:gd name="connsiteX8" fmla="*/ 23812 w 902494"/>
                    <a:gd name="connsiteY8" fmla="*/ 88106 h 852487"/>
                    <a:gd name="connsiteX9" fmla="*/ 47625 w 902494"/>
                    <a:gd name="connsiteY9" fmla="*/ 23812 h 852487"/>
                    <a:gd name="connsiteX10" fmla="*/ 80962 w 902494"/>
                    <a:gd name="connsiteY10" fmla="*/ 28575 h 852487"/>
                    <a:gd name="connsiteX11" fmla="*/ 123825 w 902494"/>
                    <a:gd name="connsiteY11" fmla="*/ 11906 h 852487"/>
                    <a:gd name="connsiteX12" fmla="*/ 161925 w 902494"/>
                    <a:gd name="connsiteY12" fmla="*/ 0 h 852487"/>
                    <a:gd name="connsiteX13" fmla="*/ 190500 w 902494"/>
                    <a:gd name="connsiteY13" fmla="*/ 33337 h 852487"/>
                    <a:gd name="connsiteX14" fmla="*/ 216694 w 902494"/>
                    <a:gd name="connsiteY14" fmla="*/ 28575 h 852487"/>
                    <a:gd name="connsiteX15" fmla="*/ 235744 w 902494"/>
                    <a:gd name="connsiteY15" fmla="*/ 61912 h 852487"/>
                    <a:gd name="connsiteX16" fmla="*/ 235744 w 902494"/>
                    <a:gd name="connsiteY16" fmla="*/ 61912 h 852487"/>
                    <a:gd name="connsiteX17" fmla="*/ 273844 w 902494"/>
                    <a:gd name="connsiteY17" fmla="*/ 97631 h 852487"/>
                    <a:gd name="connsiteX18" fmla="*/ 302419 w 902494"/>
                    <a:gd name="connsiteY18" fmla="*/ 95250 h 852487"/>
                    <a:gd name="connsiteX19" fmla="*/ 316706 w 902494"/>
                    <a:gd name="connsiteY19" fmla="*/ 59531 h 852487"/>
                    <a:gd name="connsiteX20" fmla="*/ 340519 w 902494"/>
                    <a:gd name="connsiteY20" fmla="*/ 50006 h 852487"/>
                    <a:gd name="connsiteX21" fmla="*/ 359569 w 902494"/>
                    <a:gd name="connsiteY21" fmla="*/ 23812 h 852487"/>
                    <a:gd name="connsiteX22" fmla="*/ 352425 w 902494"/>
                    <a:gd name="connsiteY22" fmla="*/ 0 h 852487"/>
                    <a:gd name="connsiteX23" fmla="*/ 378619 w 902494"/>
                    <a:gd name="connsiteY23" fmla="*/ 9525 h 852487"/>
                    <a:gd name="connsiteX24" fmla="*/ 402431 w 902494"/>
                    <a:gd name="connsiteY24" fmla="*/ 19050 h 852487"/>
                    <a:gd name="connsiteX25" fmla="*/ 461962 w 902494"/>
                    <a:gd name="connsiteY25" fmla="*/ 71437 h 852487"/>
                    <a:gd name="connsiteX26" fmla="*/ 521494 w 902494"/>
                    <a:gd name="connsiteY26" fmla="*/ 126206 h 852487"/>
                    <a:gd name="connsiteX27" fmla="*/ 590550 w 902494"/>
                    <a:gd name="connsiteY27" fmla="*/ 169068 h 852487"/>
                    <a:gd name="connsiteX28" fmla="*/ 635794 w 902494"/>
                    <a:gd name="connsiteY28" fmla="*/ 211931 h 852487"/>
                    <a:gd name="connsiteX29" fmla="*/ 707231 w 902494"/>
                    <a:gd name="connsiteY29" fmla="*/ 226218 h 852487"/>
                    <a:gd name="connsiteX30" fmla="*/ 738187 w 902494"/>
                    <a:gd name="connsiteY30" fmla="*/ 252412 h 852487"/>
                    <a:gd name="connsiteX31" fmla="*/ 781050 w 902494"/>
                    <a:gd name="connsiteY31" fmla="*/ 273843 h 852487"/>
                    <a:gd name="connsiteX32" fmla="*/ 778669 w 902494"/>
                    <a:gd name="connsiteY32" fmla="*/ 345281 h 852487"/>
                    <a:gd name="connsiteX33" fmla="*/ 823912 w 902494"/>
                    <a:gd name="connsiteY33" fmla="*/ 431006 h 852487"/>
                    <a:gd name="connsiteX34" fmla="*/ 859631 w 902494"/>
                    <a:gd name="connsiteY34" fmla="*/ 531018 h 852487"/>
                    <a:gd name="connsiteX35" fmla="*/ 883444 w 902494"/>
                    <a:gd name="connsiteY35" fmla="*/ 597693 h 852487"/>
                    <a:gd name="connsiteX36" fmla="*/ 902494 w 902494"/>
                    <a:gd name="connsiteY36" fmla="*/ 692943 h 852487"/>
                    <a:gd name="connsiteX37" fmla="*/ 895350 w 902494"/>
                    <a:gd name="connsiteY37" fmla="*/ 723900 h 852487"/>
                    <a:gd name="connsiteX38" fmla="*/ 833437 w 902494"/>
                    <a:gd name="connsiteY38" fmla="*/ 735806 h 852487"/>
                    <a:gd name="connsiteX39" fmla="*/ 788194 w 902494"/>
                    <a:gd name="connsiteY39" fmla="*/ 762000 h 852487"/>
                    <a:gd name="connsiteX40" fmla="*/ 742950 w 902494"/>
                    <a:gd name="connsiteY40" fmla="*/ 776287 h 852487"/>
                    <a:gd name="connsiteX41" fmla="*/ 716756 w 902494"/>
                    <a:gd name="connsiteY41" fmla="*/ 773906 h 852487"/>
                    <a:gd name="connsiteX42" fmla="*/ 690562 w 902494"/>
                    <a:gd name="connsiteY42" fmla="*/ 812006 h 852487"/>
                    <a:gd name="connsiteX43" fmla="*/ 652462 w 902494"/>
                    <a:gd name="connsiteY43" fmla="*/ 835818 h 852487"/>
                    <a:gd name="connsiteX44" fmla="*/ 616744 w 902494"/>
                    <a:gd name="connsiteY44" fmla="*/ 852487 h 852487"/>
                    <a:gd name="connsiteX45" fmla="*/ 571500 w 902494"/>
                    <a:gd name="connsiteY45" fmla="*/ 788193 h 852487"/>
                    <a:gd name="connsiteX46" fmla="*/ 590550 w 902494"/>
                    <a:gd name="connsiteY46" fmla="*/ 762000 h 852487"/>
                    <a:gd name="connsiteX47" fmla="*/ 571500 w 902494"/>
                    <a:gd name="connsiteY47" fmla="*/ 721518 h 852487"/>
                    <a:gd name="connsiteX48" fmla="*/ 528637 w 902494"/>
                    <a:gd name="connsiteY48" fmla="*/ 742950 h 852487"/>
                    <a:gd name="connsiteX49" fmla="*/ 495300 w 902494"/>
                    <a:gd name="connsiteY49" fmla="*/ 716756 h 852487"/>
                    <a:gd name="connsiteX50" fmla="*/ 454819 w 902494"/>
                    <a:gd name="connsiteY50" fmla="*/ 692943 h 852487"/>
                    <a:gd name="connsiteX51" fmla="*/ 438150 w 902494"/>
                    <a:gd name="connsiteY51" fmla="*/ 709612 h 852487"/>
                    <a:gd name="connsiteX52" fmla="*/ 407194 w 902494"/>
                    <a:gd name="connsiteY52" fmla="*/ 669131 h 852487"/>
                    <a:gd name="connsiteX53" fmla="*/ 411956 w 902494"/>
                    <a:gd name="connsiteY53" fmla="*/ 592931 h 852487"/>
                    <a:gd name="connsiteX54" fmla="*/ 378619 w 902494"/>
                    <a:gd name="connsiteY54" fmla="*/ 519112 h 852487"/>
                    <a:gd name="connsiteX55" fmla="*/ 385762 w 902494"/>
                    <a:gd name="connsiteY55" fmla="*/ 483393 h 852487"/>
                    <a:gd name="connsiteX56" fmla="*/ 357187 w 902494"/>
                    <a:gd name="connsiteY56" fmla="*/ 469106 h 852487"/>
                    <a:gd name="connsiteX57" fmla="*/ 357187 w 902494"/>
                    <a:gd name="connsiteY57" fmla="*/ 409575 h 852487"/>
                    <a:gd name="connsiteX58" fmla="*/ 330994 w 902494"/>
                    <a:gd name="connsiteY58" fmla="*/ 378618 h 852487"/>
                    <a:gd name="connsiteX59" fmla="*/ 350044 w 902494"/>
                    <a:gd name="connsiteY59" fmla="*/ 347662 h 852487"/>
                    <a:gd name="connsiteX60" fmla="*/ 340519 w 902494"/>
                    <a:gd name="connsiteY60" fmla="*/ 330993 h 852487"/>
                    <a:gd name="connsiteX61" fmla="*/ 314325 w 902494"/>
                    <a:gd name="connsiteY61" fmla="*/ 340518 h 852487"/>
                    <a:gd name="connsiteX62" fmla="*/ 238125 w 902494"/>
                    <a:gd name="connsiteY62" fmla="*/ 342900 h 852487"/>
                    <a:gd name="connsiteX63" fmla="*/ 207169 w 902494"/>
                    <a:gd name="connsiteY63" fmla="*/ 280987 h 852487"/>
                    <a:gd name="connsiteX64" fmla="*/ 169069 w 902494"/>
                    <a:gd name="connsiteY64" fmla="*/ 261937 h 852487"/>
                    <a:gd name="connsiteX65" fmla="*/ 169069 w 902494"/>
                    <a:gd name="connsiteY65" fmla="*/ 280987 h 852487"/>
                    <a:gd name="connsiteX66" fmla="*/ 142875 w 902494"/>
                    <a:gd name="connsiteY66" fmla="*/ 288131 h 852487"/>
                    <a:gd name="connsiteX67" fmla="*/ 102394 w 902494"/>
                    <a:gd name="connsiteY67" fmla="*/ 271462 h 852487"/>
                    <a:gd name="connsiteX68" fmla="*/ 150019 w 902494"/>
                    <a:gd name="connsiteY68" fmla="*/ 271462 h 852487"/>
                    <a:gd name="connsiteX69" fmla="*/ 140494 w 902494"/>
                    <a:gd name="connsiteY69" fmla="*/ 247650 h 852487"/>
                    <a:gd name="connsiteX70" fmla="*/ 147637 w 902494"/>
                    <a:gd name="connsiteY70" fmla="*/ 214312 h 852487"/>
                    <a:gd name="connsiteX71" fmla="*/ 128587 w 902494"/>
                    <a:gd name="connsiteY71" fmla="*/ 235743 h 852487"/>
                    <a:gd name="connsiteX72" fmla="*/ 92869 w 902494"/>
                    <a:gd name="connsiteY72" fmla="*/ 238125 h 852487"/>
                    <a:gd name="connsiteX73" fmla="*/ 40481 w 902494"/>
                    <a:gd name="connsiteY73" fmla="*/ 221456 h 8524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902494" h="852487">
                      <a:moveTo>
                        <a:pt x="40481" y="221456"/>
                      </a:moveTo>
                      <a:lnTo>
                        <a:pt x="71437" y="200025"/>
                      </a:lnTo>
                      <a:lnTo>
                        <a:pt x="121444" y="176212"/>
                      </a:lnTo>
                      <a:lnTo>
                        <a:pt x="145256" y="166687"/>
                      </a:lnTo>
                      <a:lnTo>
                        <a:pt x="116681" y="130968"/>
                      </a:lnTo>
                      <a:lnTo>
                        <a:pt x="66675" y="135731"/>
                      </a:lnTo>
                      <a:lnTo>
                        <a:pt x="42862" y="138112"/>
                      </a:lnTo>
                      <a:lnTo>
                        <a:pt x="0" y="138112"/>
                      </a:lnTo>
                      <a:lnTo>
                        <a:pt x="23812" y="88106"/>
                      </a:lnTo>
                      <a:lnTo>
                        <a:pt x="47625" y="23812"/>
                      </a:lnTo>
                      <a:lnTo>
                        <a:pt x="80962" y="28575"/>
                      </a:lnTo>
                      <a:lnTo>
                        <a:pt x="123825" y="11906"/>
                      </a:lnTo>
                      <a:lnTo>
                        <a:pt x="161925" y="0"/>
                      </a:lnTo>
                      <a:lnTo>
                        <a:pt x="190500" y="33337"/>
                      </a:lnTo>
                      <a:lnTo>
                        <a:pt x="216694" y="28575"/>
                      </a:lnTo>
                      <a:lnTo>
                        <a:pt x="235744" y="61912"/>
                      </a:lnTo>
                      <a:lnTo>
                        <a:pt x="235744" y="61912"/>
                      </a:lnTo>
                      <a:lnTo>
                        <a:pt x="273844" y="97631"/>
                      </a:lnTo>
                      <a:lnTo>
                        <a:pt x="302419" y="95250"/>
                      </a:lnTo>
                      <a:lnTo>
                        <a:pt x="316706" y="59531"/>
                      </a:lnTo>
                      <a:cubicBezTo>
                        <a:pt x="337418" y="51764"/>
                        <a:pt x="329690" y="55419"/>
                        <a:pt x="340519" y="50006"/>
                      </a:cubicBezTo>
                      <a:lnTo>
                        <a:pt x="359569" y="23812"/>
                      </a:lnTo>
                      <a:lnTo>
                        <a:pt x="352425" y="0"/>
                      </a:lnTo>
                      <a:lnTo>
                        <a:pt x="378619" y="9525"/>
                      </a:lnTo>
                      <a:lnTo>
                        <a:pt x="402431" y="19050"/>
                      </a:lnTo>
                      <a:lnTo>
                        <a:pt x="461962" y="71437"/>
                      </a:lnTo>
                      <a:lnTo>
                        <a:pt x="521494" y="126206"/>
                      </a:lnTo>
                      <a:lnTo>
                        <a:pt x="590550" y="169068"/>
                      </a:lnTo>
                      <a:lnTo>
                        <a:pt x="635794" y="211931"/>
                      </a:lnTo>
                      <a:lnTo>
                        <a:pt x="707231" y="226218"/>
                      </a:lnTo>
                      <a:lnTo>
                        <a:pt x="738187" y="252412"/>
                      </a:lnTo>
                      <a:lnTo>
                        <a:pt x="781050" y="273843"/>
                      </a:lnTo>
                      <a:cubicBezTo>
                        <a:pt x="780256" y="297656"/>
                        <a:pt x="779463" y="321468"/>
                        <a:pt x="778669" y="345281"/>
                      </a:cubicBezTo>
                      <a:lnTo>
                        <a:pt x="823912" y="431006"/>
                      </a:lnTo>
                      <a:lnTo>
                        <a:pt x="859631" y="531018"/>
                      </a:lnTo>
                      <a:lnTo>
                        <a:pt x="883444" y="597693"/>
                      </a:lnTo>
                      <a:lnTo>
                        <a:pt x="902494" y="692943"/>
                      </a:lnTo>
                      <a:lnTo>
                        <a:pt x="895350" y="723900"/>
                      </a:lnTo>
                      <a:lnTo>
                        <a:pt x="833437" y="735806"/>
                      </a:lnTo>
                      <a:lnTo>
                        <a:pt x="788194" y="762000"/>
                      </a:lnTo>
                      <a:lnTo>
                        <a:pt x="742950" y="776287"/>
                      </a:lnTo>
                      <a:lnTo>
                        <a:pt x="716756" y="773906"/>
                      </a:lnTo>
                      <a:lnTo>
                        <a:pt x="690562" y="812006"/>
                      </a:lnTo>
                      <a:lnTo>
                        <a:pt x="652462" y="835818"/>
                      </a:lnTo>
                      <a:lnTo>
                        <a:pt x="616744" y="852487"/>
                      </a:lnTo>
                      <a:lnTo>
                        <a:pt x="571500" y="788193"/>
                      </a:lnTo>
                      <a:lnTo>
                        <a:pt x="590550" y="762000"/>
                      </a:lnTo>
                      <a:lnTo>
                        <a:pt x="571500" y="721518"/>
                      </a:lnTo>
                      <a:lnTo>
                        <a:pt x="528637" y="742950"/>
                      </a:lnTo>
                      <a:lnTo>
                        <a:pt x="495300" y="716756"/>
                      </a:lnTo>
                      <a:lnTo>
                        <a:pt x="454819" y="692943"/>
                      </a:lnTo>
                      <a:lnTo>
                        <a:pt x="438150" y="709612"/>
                      </a:lnTo>
                      <a:lnTo>
                        <a:pt x="407194" y="669131"/>
                      </a:lnTo>
                      <a:lnTo>
                        <a:pt x="411956" y="592931"/>
                      </a:lnTo>
                      <a:lnTo>
                        <a:pt x="378619" y="519112"/>
                      </a:lnTo>
                      <a:lnTo>
                        <a:pt x="385762" y="483393"/>
                      </a:lnTo>
                      <a:lnTo>
                        <a:pt x="357187" y="469106"/>
                      </a:lnTo>
                      <a:lnTo>
                        <a:pt x="357187" y="409575"/>
                      </a:lnTo>
                      <a:lnTo>
                        <a:pt x="330994" y="378618"/>
                      </a:lnTo>
                      <a:lnTo>
                        <a:pt x="350044" y="347662"/>
                      </a:lnTo>
                      <a:lnTo>
                        <a:pt x="340519" y="330993"/>
                      </a:lnTo>
                      <a:cubicBezTo>
                        <a:pt x="315631" y="338460"/>
                        <a:pt x="322566" y="332277"/>
                        <a:pt x="314325" y="340518"/>
                      </a:cubicBezTo>
                      <a:lnTo>
                        <a:pt x="238125" y="342900"/>
                      </a:lnTo>
                      <a:lnTo>
                        <a:pt x="207169" y="280987"/>
                      </a:lnTo>
                      <a:lnTo>
                        <a:pt x="169069" y="261937"/>
                      </a:lnTo>
                      <a:lnTo>
                        <a:pt x="169069" y="280987"/>
                      </a:lnTo>
                      <a:lnTo>
                        <a:pt x="142875" y="288131"/>
                      </a:lnTo>
                      <a:lnTo>
                        <a:pt x="102394" y="271462"/>
                      </a:lnTo>
                      <a:lnTo>
                        <a:pt x="150019" y="271462"/>
                      </a:lnTo>
                      <a:lnTo>
                        <a:pt x="140494" y="247650"/>
                      </a:lnTo>
                      <a:lnTo>
                        <a:pt x="147637" y="214312"/>
                      </a:lnTo>
                      <a:lnTo>
                        <a:pt x="128587" y="235743"/>
                      </a:lnTo>
                      <a:lnTo>
                        <a:pt x="92869" y="238125"/>
                      </a:lnTo>
                      <a:lnTo>
                        <a:pt x="40481" y="22145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48913" tIns="24456" rIns="48913" bIns="24456" anchor="ctr"/>
                <a:lstStyle/>
                <a:p>
                  <a:pPr marL="0" marR="0" lvl="0" indent="0" algn="ctr" defTabSz="6857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6" name="CasellaDiTesto 558">
                  <a:extLst>
                    <a:ext uri="{FF2B5EF4-FFF2-40B4-BE49-F238E27FC236}">
                      <a16:creationId xmlns:a16="http://schemas.microsoft.com/office/drawing/2014/main" id="{7207D972-FE57-46B8-AB67-39D026A79B4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683662" y="2438383"/>
                  <a:ext cx="747011" cy="154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68364" tIns="34183" rIns="68364" bIns="34183">
                  <a:spAutoFit/>
                </a:bodyPr>
                <a:lstStyle/>
                <a:p>
                  <a:pPr marL="0" marR="0" lvl="0" indent="0" algn="r" defTabSz="685783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altLang="it-IT" sz="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TO Orbassano</a:t>
                  </a:r>
                </a:p>
              </p:txBody>
            </p:sp>
            <p:sp>
              <p:nvSpPr>
                <p:cNvPr id="180" name="CasellaDiTesto 562">
                  <a:extLst>
                    <a:ext uri="{FF2B5EF4-FFF2-40B4-BE49-F238E27FC236}">
                      <a16:creationId xmlns:a16="http://schemas.microsoft.com/office/drawing/2014/main" id="{FD60031F-89AE-4D87-81C2-BFC2AF689E84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549874" y="2539281"/>
                  <a:ext cx="450148" cy="154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68364" tIns="34183" rIns="68364" bIns="34183">
                  <a:spAutoFit/>
                </a:bodyPr>
                <a:lstStyle/>
                <a:p>
                  <a:pPr marL="0" marR="0" lvl="0" indent="0" algn="l" defTabSz="685783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altLang="it-IT" sz="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Rivalta </a:t>
                  </a:r>
                </a:p>
              </p:txBody>
            </p:sp>
            <p:grpSp>
              <p:nvGrpSpPr>
                <p:cNvPr id="184" name="Group 1141">
                  <a:extLst>
                    <a:ext uri="{FF2B5EF4-FFF2-40B4-BE49-F238E27FC236}">
                      <a16:creationId xmlns:a16="http://schemas.microsoft.com/office/drawing/2014/main" id="{73AE2BB6-03CC-41A9-9C2D-8B858E795BAF}"/>
                    </a:ext>
                  </a:extLst>
                </p:cNvPr>
                <p:cNvGrpSpPr/>
                <p:nvPr/>
              </p:nvGrpSpPr>
              <p:grpSpPr>
                <a:xfrm>
                  <a:off x="2969843" y="2086959"/>
                  <a:ext cx="2854270" cy="1638717"/>
                  <a:chOff x="9579586" y="1387334"/>
                  <a:chExt cx="3502621" cy="2021906"/>
                </a:xfrm>
              </p:grpSpPr>
              <p:sp>
                <p:nvSpPr>
                  <p:cNvPr id="189" name="CasellaDiTesto 564">
                    <a:extLst>
                      <a:ext uri="{FF2B5EF4-FFF2-40B4-BE49-F238E27FC236}">
                        <a16:creationId xmlns:a16="http://schemas.microsoft.com/office/drawing/2014/main" id="{626BD3FC-E5C6-4752-ADB1-340C707C7B2D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9579586" y="1387334"/>
                    <a:ext cx="1190625" cy="19048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68364" tIns="34183" rIns="68364" bIns="34183">
                    <a:spAutoFit/>
                  </a:bodyPr>
                  <a:lstStyle/>
                  <a:p>
                    <a:pPr marL="0" marR="0" lvl="0" indent="0" algn="l" defTabSz="685783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altLang="it-IT" sz="6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rPr>
                      <a:t>Mi.Smistamento</a:t>
                    </a:r>
                  </a:p>
                </p:txBody>
              </p:sp>
              <p:sp>
                <p:nvSpPr>
                  <p:cNvPr id="190" name="CasellaDiTesto 574">
                    <a:extLst>
                      <a:ext uri="{FF2B5EF4-FFF2-40B4-BE49-F238E27FC236}">
                        <a16:creationId xmlns:a16="http://schemas.microsoft.com/office/drawing/2014/main" id="{AF258F89-DDDF-4EAE-A684-9160DC872687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1910631" y="3218752"/>
                    <a:ext cx="1171576" cy="19048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68364" tIns="34183" rIns="68364" bIns="34183">
                    <a:spAutoFit/>
                  </a:bodyPr>
                  <a:lstStyle/>
                  <a:p>
                    <a:pPr marL="0" marR="0" lvl="0" indent="0" algn="l" defTabSz="685783" rtl="0" eaLnBrk="0" fontAlgn="auto" latinLnBrk="0" hangingPunct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it-IT" altLang="it-IT" sz="600" b="1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rPr>
                      <a:t>Bari Lamasinata</a:t>
                    </a:r>
                  </a:p>
                </p:txBody>
              </p:sp>
            </p:grpSp>
            <p:sp>
              <p:nvSpPr>
                <p:cNvPr id="185" name="CasellaDiTesto 567">
                  <a:extLst>
                    <a:ext uri="{FF2B5EF4-FFF2-40B4-BE49-F238E27FC236}">
                      <a16:creationId xmlns:a16="http://schemas.microsoft.com/office/drawing/2014/main" id="{662B4AD8-6A11-4A34-BCD9-5489EA58768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312803" y="2206813"/>
                  <a:ext cx="436804" cy="154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68364" tIns="34183" rIns="68364" bIns="34183">
                  <a:spAutoFit/>
                </a:bodyPr>
                <a:lstStyle/>
                <a:p>
                  <a:pPr marL="0" marR="0" lvl="0" indent="0" algn="l" defTabSz="685783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altLang="it-IT" sz="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Brescia</a:t>
                  </a:r>
                </a:p>
              </p:txBody>
            </p:sp>
            <p:sp>
              <p:nvSpPr>
                <p:cNvPr id="186" name="CasellaDiTesto 568">
                  <a:extLst>
                    <a:ext uri="{FF2B5EF4-FFF2-40B4-BE49-F238E27FC236}">
                      <a16:creationId xmlns:a16="http://schemas.microsoft.com/office/drawing/2014/main" id="{DECE68FD-1262-4829-9441-227DBFC7CB2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357874" y="2384456"/>
                  <a:ext cx="622244" cy="154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8364" tIns="34183" rIns="68364" bIns="34183">
                  <a:spAutoFit/>
                </a:bodyPr>
                <a:lstStyle/>
                <a:p>
                  <a:pPr marL="0" marR="0" lvl="0" indent="0" algn="l" defTabSz="685783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altLang="it-IT" sz="6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Verona QE</a:t>
                  </a:r>
                </a:p>
              </p:txBody>
            </p:sp>
            <p:sp>
              <p:nvSpPr>
                <p:cNvPr id="187" name="CasellaDiTesto 574">
                  <a:extLst>
                    <a:ext uri="{FF2B5EF4-FFF2-40B4-BE49-F238E27FC236}">
                      <a16:creationId xmlns:a16="http://schemas.microsoft.com/office/drawing/2014/main" id="{1F6DEE70-A97E-4497-AB0A-A3DBAA3BBDA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260631" y="3821495"/>
                  <a:ext cx="954712" cy="154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8364" tIns="34183" rIns="68364" bIns="34183" anchor="t">
                  <a:spAutoFit/>
                </a:bodyPr>
                <a:lstStyle/>
                <a:p>
                  <a:pPr marL="0" marR="0" lvl="0" indent="0" algn="l" defTabSz="685783" rtl="0" eaLnBrk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altLang="it-IT" sz="6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Brindisi</a:t>
                  </a:r>
                  <a:endParaRPr kumimoji="0" lang="it-IT" altLang="it-IT" sz="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Calibri"/>
                  </a:endParaRPr>
                </a:p>
              </p:txBody>
            </p:sp>
            <p:sp>
              <p:nvSpPr>
                <p:cNvPr id="188" name="Freeform 293">
                  <a:extLst>
                    <a:ext uri="{FF2B5EF4-FFF2-40B4-BE49-F238E27FC236}">
                      <a16:creationId xmlns:a16="http://schemas.microsoft.com/office/drawing/2014/main" id="{8C37E3BD-178D-4F69-8A7F-CAE4B84653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074606" y="3824099"/>
                  <a:ext cx="192404" cy="123470"/>
                </a:xfrm>
                <a:custGeom>
                  <a:avLst/>
                  <a:gdLst>
                    <a:gd name="T0" fmla="*/ 1068 w 1357"/>
                    <a:gd name="T1" fmla="*/ 97 h 947"/>
                    <a:gd name="T2" fmla="*/ 447 w 1357"/>
                    <a:gd name="T3" fmla="*/ 257 h 947"/>
                    <a:gd name="T4" fmla="*/ 0 w 1357"/>
                    <a:gd name="T5" fmla="*/ 861 h 947"/>
                    <a:gd name="T6" fmla="*/ 541 w 1357"/>
                    <a:gd name="T7" fmla="*/ 470 h 947"/>
                    <a:gd name="T8" fmla="*/ 911 w 1357"/>
                    <a:gd name="T9" fmla="*/ 374 h 947"/>
                    <a:gd name="T10" fmla="*/ 295 w 1357"/>
                    <a:gd name="T11" fmla="*/ 288 h 947"/>
                    <a:gd name="T12" fmla="*/ 295 w 1357"/>
                    <a:gd name="T13" fmla="*/ 536 h 947"/>
                    <a:gd name="T14" fmla="*/ 1 w 1357"/>
                    <a:gd name="T15" fmla="*/ 288 h 947"/>
                    <a:gd name="T16" fmla="*/ 272 w 1357"/>
                    <a:gd name="T17" fmla="*/ 485 h 947"/>
                    <a:gd name="T18" fmla="*/ 221 w 1357"/>
                    <a:gd name="T19" fmla="*/ 334 h 947"/>
                    <a:gd name="T20" fmla="*/ 272 w 1357"/>
                    <a:gd name="T21" fmla="*/ 411 h 947"/>
                    <a:gd name="T22" fmla="*/ 48 w 1357"/>
                    <a:gd name="T23" fmla="*/ 334 h 947"/>
                    <a:gd name="T24" fmla="*/ 117 w 1357"/>
                    <a:gd name="T25" fmla="*/ 334 h 947"/>
                    <a:gd name="T26" fmla="*/ 142 w 1357"/>
                    <a:gd name="T27" fmla="*/ 334 h 947"/>
                    <a:gd name="T28" fmla="*/ 48 w 1357"/>
                    <a:gd name="T29" fmla="*/ 438 h 947"/>
                    <a:gd name="T30" fmla="*/ 295 w 1357"/>
                    <a:gd name="T31" fmla="*/ 574 h 947"/>
                    <a:gd name="T32" fmla="*/ 295 w 1357"/>
                    <a:gd name="T33" fmla="*/ 822 h 947"/>
                    <a:gd name="T34" fmla="*/ 1 w 1357"/>
                    <a:gd name="T35" fmla="*/ 574 h 947"/>
                    <a:gd name="T36" fmla="*/ 272 w 1357"/>
                    <a:gd name="T37" fmla="*/ 772 h 947"/>
                    <a:gd name="T38" fmla="*/ 221 w 1357"/>
                    <a:gd name="T39" fmla="*/ 621 h 947"/>
                    <a:gd name="T40" fmla="*/ 272 w 1357"/>
                    <a:gd name="T41" fmla="*/ 699 h 947"/>
                    <a:gd name="T42" fmla="*/ 48 w 1357"/>
                    <a:gd name="T43" fmla="*/ 621 h 947"/>
                    <a:gd name="T44" fmla="*/ 117 w 1357"/>
                    <a:gd name="T45" fmla="*/ 621 h 947"/>
                    <a:gd name="T46" fmla="*/ 142 w 1357"/>
                    <a:gd name="T47" fmla="*/ 621 h 947"/>
                    <a:gd name="T48" fmla="*/ 48 w 1357"/>
                    <a:gd name="T49" fmla="*/ 726 h 947"/>
                    <a:gd name="T50" fmla="*/ 948 w 1357"/>
                    <a:gd name="T51" fmla="*/ 574 h 947"/>
                    <a:gd name="T52" fmla="*/ 948 w 1357"/>
                    <a:gd name="T53" fmla="*/ 822 h 947"/>
                    <a:gd name="T54" fmla="*/ 654 w 1357"/>
                    <a:gd name="T55" fmla="*/ 574 h 947"/>
                    <a:gd name="T56" fmla="*/ 925 w 1357"/>
                    <a:gd name="T57" fmla="*/ 772 h 947"/>
                    <a:gd name="T58" fmla="*/ 874 w 1357"/>
                    <a:gd name="T59" fmla="*/ 621 h 947"/>
                    <a:gd name="T60" fmla="*/ 925 w 1357"/>
                    <a:gd name="T61" fmla="*/ 699 h 947"/>
                    <a:gd name="T62" fmla="*/ 702 w 1357"/>
                    <a:gd name="T63" fmla="*/ 621 h 947"/>
                    <a:gd name="T64" fmla="*/ 770 w 1357"/>
                    <a:gd name="T65" fmla="*/ 621 h 947"/>
                    <a:gd name="T66" fmla="*/ 795 w 1357"/>
                    <a:gd name="T67" fmla="*/ 621 h 947"/>
                    <a:gd name="T68" fmla="*/ 702 w 1357"/>
                    <a:gd name="T69" fmla="*/ 726 h 947"/>
                    <a:gd name="T70" fmla="*/ 1334 w 1357"/>
                    <a:gd name="T71" fmla="*/ 574 h 947"/>
                    <a:gd name="T72" fmla="*/ 1334 w 1357"/>
                    <a:gd name="T73" fmla="*/ 822 h 947"/>
                    <a:gd name="T74" fmla="*/ 1040 w 1357"/>
                    <a:gd name="T75" fmla="*/ 574 h 947"/>
                    <a:gd name="T76" fmla="*/ 1310 w 1357"/>
                    <a:gd name="T77" fmla="*/ 772 h 947"/>
                    <a:gd name="T78" fmla="*/ 1259 w 1357"/>
                    <a:gd name="T79" fmla="*/ 621 h 947"/>
                    <a:gd name="T80" fmla="*/ 1310 w 1357"/>
                    <a:gd name="T81" fmla="*/ 699 h 947"/>
                    <a:gd name="T82" fmla="*/ 1086 w 1357"/>
                    <a:gd name="T83" fmla="*/ 621 h 947"/>
                    <a:gd name="T84" fmla="*/ 1155 w 1357"/>
                    <a:gd name="T85" fmla="*/ 621 h 947"/>
                    <a:gd name="T86" fmla="*/ 1180 w 1357"/>
                    <a:gd name="T87" fmla="*/ 621 h 947"/>
                    <a:gd name="T88" fmla="*/ 1086 w 1357"/>
                    <a:gd name="T89" fmla="*/ 726 h 947"/>
                    <a:gd name="T90" fmla="*/ 782 w 1357"/>
                    <a:gd name="T91" fmla="*/ 170 h 947"/>
                    <a:gd name="T92" fmla="*/ 782 w 1357"/>
                    <a:gd name="T93" fmla="*/ 170 h 947"/>
                    <a:gd name="T94" fmla="*/ 678 w 1357"/>
                    <a:gd name="T95" fmla="*/ 216 h 947"/>
                    <a:gd name="T96" fmla="*/ 602 w 1357"/>
                    <a:gd name="T97" fmla="*/ 250 h 947"/>
                    <a:gd name="T98" fmla="*/ 628 w 1357"/>
                    <a:gd name="T99" fmla="*/ 313 h 947"/>
                    <a:gd name="T100" fmla="*/ 704 w 1357"/>
                    <a:gd name="T101" fmla="*/ 264 h 947"/>
                    <a:gd name="T102" fmla="*/ 794 w 1357"/>
                    <a:gd name="T103" fmla="*/ 207 h 947"/>
                    <a:gd name="T104" fmla="*/ 885 w 1357"/>
                    <a:gd name="T105" fmla="*/ 149 h 947"/>
                    <a:gd name="T106" fmla="*/ 935 w 1357"/>
                    <a:gd name="T107" fmla="*/ 102 h 947"/>
                    <a:gd name="T108" fmla="*/ 999 w 1357"/>
                    <a:gd name="T109" fmla="*/ 74 h 947"/>
                    <a:gd name="T110" fmla="*/ 955 w 1357"/>
                    <a:gd name="T111" fmla="*/ 93 h 9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357" h="947">
                      <a:moveTo>
                        <a:pt x="1128" y="374"/>
                      </a:moveTo>
                      <a:lnTo>
                        <a:pt x="1032" y="374"/>
                      </a:lnTo>
                      <a:lnTo>
                        <a:pt x="1032" y="120"/>
                      </a:lnTo>
                      <a:lnTo>
                        <a:pt x="1048" y="109"/>
                      </a:lnTo>
                      <a:lnTo>
                        <a:pt x="1068" y="97"/>
                      </a:lnTo>
                      <a:lnTo>
                        <a:pt x="1059" y="76"/>
                      </a:lnTo>
                      <a:lnTo>
                        <a:pt x="1039" y="26"/>
                      </a:lnTo>
                      <a:lnTo>
                        <a:pt x="1029" y="0"/>
                      </a:lnTo>
                      <a:lnTo>
                        <a:pt x="1003" y="11"/>
                      </a:lnTo>
                      <a:lnTo>
                        <a:pt x="447" y="257"/>
                      </a:lnTo>
                      <a:lnTo>
                        <a:pt x="378" y="257"/>
                      </a:lnTo>
                      <a:lnTo>
                        <a:pt x="378" y="470"/>
                      </a:lnTo>
                      <a:lnTo>
                        <a:pt x="415" y="470"/>
                      </a:lnTo>
                      <a:lnTo>
                        <a:pt x="415" y="861"/>
                      </a:lnTo>
                      <a:lnTo>
                        <a:pt x="0" y="861"/>
                      </a:lnTo>
                      <a:lnTo>
                        <a:pt x="0" y="947"/>
                      </a:lnTo>
                      <a:lnTo>
                        <a:pt x="1357" y="947"/>
                      </a:lnTo>
                      <a:lnTo>
                        <a:pt x="1357" y="861"/>
                      </a:lnTo>
                      <a:lnTo>
                        <a:pt x="541" y="861"/>
                      </a:lnTo>
                      <a:lnTo>
                        <a:pt x="541" y="470"/>
                      </a:lnTo>
                      <a:lnTo>
                        <a:pt x="581" y="470"/>
                      </a:lnTo>
                      <a:lnTo>
                        <a:pt x="581" y="408"/>
                      </a:lnTo>
                      <a:lnTo>
                        <a:pt x="1006" y="136"/>
                      </a:lnTo>
                      <a:lnTo>
                        <a:pt x="1006" y="374"/>
                      </a:lnTo>
                      <a:lnTo>
                        <a:pt x="911" y="374"/>
                      </a:lnTo>
                      <a:lnTo>
                        <a:pt x="911" y="531"/>
                      </a:lnTo>
                      <a:lnTo>
                        <a:pt x="1128" y="531"/>
                      </a:lnTo>
                      <a:lnTo>
                        <a:pt x="1128" y="374"/>
                      </a:lnTo>
                      <a:lnTo>
                        <a:pt x="1128" y="374"/>
                      </a:lnTo>
                      <a:close/>
                      <a:moveTo>
                        <a:pt x="295" y="288"/>
                      </a:moveTo>
                      <a:lnTo>
                        <a:pt x="319" y="288"/>
                      </a:lnTo>
                      <a:lnTo>
                        <a:pt x="319" y="310"/>
                      </a:lnTo>
                      <a:lnTo>
                        <a:pt x="319" y="512"/>
                      </a:lnTo>
                      <a:lnTo>
                        <a:pt x="319" y="536"/>
                      </a:lnTo>
                      <a:lnTo>
                        <a:pt x="295" y="536"/>
                      </a:lnTo>
                      <a:lnTo>
                        <a:pt x="25" y="536"/>
                      </a:lnTo>
                      <a:lnTo>
                        <a:pt x="1" y="536"/>
                      </a:lnTo>
                      <a:lnTo>
                        <a:pt x="1" y="512"/>
                      </a:lnTo>
                      <a:lnTo>
                        <a:pt x="1" y="310"/>
                      </a:lnTo>
                      <a:lnTo>
                        <a:pt x="1" y="288"/>
                      </a:lnTo>
                      <a:lnTo>
                        <a:pt x="25" y="288"/>
                      </a:lnTo>
                      <a:lnTo>
                        <a:pt x="295" y="288"/>
                      </a:lnTo>
                      <a:lnTo>
                        <a:pt x="295" y="288"/>
                      </a:lnTo>
                      <a:close/>
                      <a:moveTo>
                        <a:pt x="221" y="334"/>
                      </a:moveTo>
                      <a:lnTo>
                        <a:pt x="272" y="485"/>
                      </a:lnTo>
                      <a:lnTo>
                        <a:pt x="272" y="489"/>
                      </a:lnTo>
                      <a:lnTo>
                        <a:pt x="245" y="489"/>
                      </a:lnTo>
                      <a:lnTo>
                        <a:pt x="194" y="334"/>
                      </a:lnTo>
                      <a:lnTo>
                        <a:pt x="221" y="334"/>
                      </a:lnTo>
                      <a:lnTo>
                        <a:pt x="221" y="334"/>
                      </a:lnTo>
                      <a:close/>
                      <a:moveTo>
                        <a:pt x="272" y="411"/>
                      </a:moveTo>
                      <a:lnTo>
                        <a:pt x="246" y="334"/>
                      </a:lnTo>
                      <a:lnTo>
                        <a:pt x="272" y="334"/>
                      </a:lnTo>
                      <a:lnTo>
                        <a:pt x="272" y="411"/>
                      </a:lnTo>
                      <a:lnTo>
                        <a:pt x="272" y="411"/>
                      </a:lnTo>
                      <a:close/>
                      <a:moveTo>
                        <a:pt x="65" y="334"/>
                      </a:moveTo>
                      <a:lnTo>
                        <a:pt x="117" y="489"/>
                      </a:lnTo>
                      <a:lnTo>
                        <a:pt x="90" y="489"/>
                      </a:lnTo>
                      <a:lnTo>
                        <a:pt x="48" y="365"/>
                      </a:lnTo>
                      <a:lnTo>
                        <a:pt x="48" y="334"/>
                      </a:lnTo>
                      <a:lnTo>
                        <a:pt x="65" y="334"/>
                      </a:lnTo>
                      <a:lnTo>
                        <a:pt x="65" y="334"/>
                      </a:lnTo>
                      <a:close/>
                      <a:moveTo>
                        <a:pt x="142" y="489"/>
                      </a:moveTo>
                      <a:lnTo>
                        <a:pt x="90" y="334"/>
                      </a:lnTo>
                      <a:lnTo>
                        <a:pt x="117" y="334"/>
                      </a:lnTo>
                      <a:lnTo>
                        <a:pt x="169" y="489"/>
                      </a:lnTo>
                      <a:lnTo>
                        <a:pt x="142" y="489"/>
                      </a:lnTo>
                      <a:lnTo>
                        <a:pt x="142" y="489"/>
                      </a:lnTo>
                      <a:close/>
                      <a:moveTo>
                        <a:pt x="194" y="489"/>
                      </a:moveTo>
                      <a:lnTo>
                        <a:pt x="142" y="334"/>
                      </a:lnTo>
                      <a:lnTo>
                        <a:pt x="169" y="334"/>
                      </a:lnTo>
                      <a:lnTo>
                        <a:pt x="221" y="489"/>
                      </a:lnTo>
                      <a:lnTo>
                        <a:pt x="194" y="489"/>
                      </a:lnTo>
                      <a:lnTo>
                        <a:pt x="194" y="489"/>
                      </a:lnTo>
                      <a:close/>
                      <a:moveTo>
                        <a:pt x="48" y="438"/>
                      </a:moveTo>
                      <a:lnTo>
                        <a:pt x="65" y="489"/>
                      </a:lnTo>
                      <a:lnTo>
                        <a:pt x="48" y="489"/>
                      </a:lnTo>
                      <a:lnTo>
                        <a:pt x="48" y="438"/>
                      </a:lnTo>
                      <a:lnTo>
                        <a:pt x="48" y="438"/>
                      </a:lnTo>
                      <a:close/>
                      <a:moveTo>
                        <a:pt x="295" y="574"/>
                      </a:moveTo>
                      <a:lnTo>
                        <a:pt x="319" y="574"/>
                      </a:lnTo>
                      <a:lnTo>
                        <a:pt x="319" y="597"/>
                      </a:lnTo>
                      <a:lnTo>
                        <a:pt x="319" y="799"/>
                      </a:lnTo>
                      <a:lnTo>
                        <a:pt x="319" y="822"/>
                      </a:lnTo>
                      <a:lnTo>
                        <a:pt x="295" y="822"/>
                      </a:lnTo>
                      <a:lnTo>
                        <a:pt x="25" y="822"/>
                      </a:lnTo>
                      <a:lnTo>
                        <a:pt x="1" y="822"/>
                      </a:lnTo>
                      <a:lnTo>
                        <a:pt x="1" y="799"/>
                      </a:lnTo>
                      <a:lnTo>
                        <a:pt x="1" y="597"/>
                      </a:lnTo>
                      <a:lnTo>
                        <a:pt x="1" y="574"/>
                      </a:lnTo>
                      <a:lnTo>
                        <a:pt x="25" y="574"/>
                      </a:lnTo>
                      <a:lnTo>
                        <a:pt x="295" y="574"/>
                      </a:lnTo>
                      <a:lnTo>
                        <a:pt x="295" y="574"/>
                      </a:lnTo>
                      <a:close/>
                      <a:moveTo>
                        <a:pt x="221" y="621"/>
                      </a:moveTo>
                      <a:lnTo>
                        <a:pt x="272" y="772"/>
                      </a:lnTo>
                      <a:lnTo>
                        <a:pt x="272" y="776"/>
                      </a:lnTo>
                      <a:lnTo>
                        <a:pt x="245" y="776"/>
                      </a:lnTo>
                      <a:lnTo>
                        <a:pt x="194" y="621"/>
                      </a:lnTo>
                      <a:lnTo>
                        <a:pt x="221" y="621"/>
                      </a:lnTo>
                      <a:lnTo>
                        <a:pt x="221" y="621"/>
                      </a:lnTo>
                      <a:close/>
                      <a:moveTo>
                        <a:pt x="272" y="699"/>
                      </a:moveTo>
                      <a:lnTo>
                        <a:pt x="246" y="621"/>
                      </a:lnTo>
                      <a:lnTo>
                        <a:pt x="272" y="621"/>
                      </a:lnTo>
                      <a:lnTo>
                        <a:pt x="272" y="699"/>
                      </a:lnTo>
                      <a:lnTo>
                        <a:pt x="272" y="699"/>
                      </a:lnTo>
                      <a:close/>
                      <a:moveTo>
                        <a:pt x="65" y="621"/>
                      </a:moveTo>
                      <a:lnTo>
                        <a:pt x="117" y="776"/>
                      </a:lnTo>
                      <a:lnTo>
                        <a:pt x="90" y="776"/>
                      </a:lnTo>
                      <a:lnTo>
                        <a:pt x="48" y="652"/>
                      </a:lnTo>
                      <a:lnTo>
                        <a:pt x="48" y="621"/>
                      </a:lnTo>
                      <a:lnTo>
                        <a:pt x="65" y="621"/>
                      </a:lnTo>
                      <a:lnTo>
                        <a:pt x="65" y="621"/>
                      </a:lnTo>
                      <a:close/>
                      <a:moveTo>
                        <a:pt x="142" y="776"/>
                      </a:moveTo>
                      <a:lnTo>
                        <a:pt x="90" y="621"/>
                      </a:lnTo>
                      <a:lnTo>
                        <a:pt x="117" y="621"/>
                      </a:lnTo>
                      <a:lnTo>
                        <a:pt x="169" y="776"/>
                      </a:lnTo>
                      <a:lnTo>
                        <a:pt x="142" y="776"/>
                      </a:lnTo>
                      <a:lnTo>
                        <a:pt x="142" y="776"/>
                      </a:lnTo>
                      <a:close/>
                      <a:moveTo>
                        <a:pt x="194" y="776"/>
                      </a:moveTo>
                      <a:lnTo>
                        <a:pt x="142" y="621"/>
                      </a:lnTo>
                      <a:lnTo>
                        <a:pt x="169" y="621"/>
                      </a:lnTo>
                      <a:lnTo>
                        <a:pt x="221" y="776"/>
                      </a:lnTo>
                      <a:lnTo>
                        <a:pt x="194" y="776"/>
                      </a:lnTo>
                      <a:lnTo>
                        <a:pt x="194" y="776"/>
                      </a:lnTo>
                      <a:close/>
                      <a:moveTo>
                        <a:pt x="48" y="726"/>
                      </a:moveTo>
                      <a:lnTo>
                        <a:pt x="65" y="776"/>
                      </a:lnTo>
                      <a:lnTo>
                        <a:pt x="48" y="776"/>
                      </a:lnTo>
                      <a:lnTo>
                        <a:pt x="48" y="726"/>
                      </a:lnTo>
                      <a:lnTo>
                        <a:pt x="48" y="726"/>
                      </a:lnTo>
                      <a:close/>
                      <a:moveTo>
                        <a:pt x="948" y="574"/>
                      </a:moveTo>
                      <a:lnTo>
                        <a:pt x="971" y="574"/>
                      </a:lnTo>
                      <a:lnTo>
                        <a:pt x="971" y="597"/>
                      </a:lnTo>
                      <a:lnTo>
                        <a:pt x="971" y="799"/>
                      </a:lnTo>
                      <a:lnTo>
                        <a:pt x="971" y="822"/>
                      </a:lnTo>
                      <a:lnTo>
                        <a:pt x="948" y="822"/>
                      </a:lnTo>
                      <a:lnTo>
                        <a:pt x="678" y="822"/>
                      </a:lnTo>
                      <a:lnTo>
                        <a:pt x="654" y="822"/>
                      </a:lnTo>
                      <a:lnTo>
                        <a:pt x="654" y="799"/>
                      </a:lnTo>
                      <a:lnTo>
                        <a:pt x="654" y="597"/>
                      </a:lnTo>
                      <a:lnTo>
                        <a:pt x="654" y="574"/>
                      </a:lnTo>
                      <a:lnTo>
                        <a:pt x="678" y="574"/>
                      </a:lnTo>
                      <a:lnTo>
                        <a:pt x="948" y="574"/>
                      </a:lnTo>
                      <a:lnTo>
                        <a:pt x="948" y="574"/>
                      </a:lnTo>
                      <a:close/>
                      <a:moveTo>
                        <a:pt x="874" y="621"/>
                      </a:moveTo>
                      <a:lnTo>
                        <a:pt x="925" y="772"/>
                      </a:lnTo>
                      <a:lnTo>
                        <a:pt x="925" y="776"/>
                      </a:lnTo>
                      <a:lnTo>
                        <a:pt x="898" y="776"/>
                      </a:lnTo>
                      <a:lnTo>
                        <a:pt x="847" y="621"/>
                      </a:lnTo>
                      <a:lnTo>
                        <a:pt x="874" y="621"/>
                      </a:lnTo>
                      <a:lnTo>
                        <a:pt x="874" y="621"/>
                      </a:lnTo>
                      <a:close/>
                      <a:moveTo>
                        <a:pt x="925" y="699"/>
                      </a:moveTo>
                      <a:lnTo>
                        <a:pt x="899" y="621"/>
                      </a:lnTo>
                      <a:lnTo>
                        <a:pt x="925" y="621"/>
                      </a:lnTo>
                      <a:lnTo>
                        <a:pt x="925" y="699"/>
                      </a:lnTo>
                      <a:lnTo>
                        <a:pt x="925" y="699"/>
                      </a:lnTo>
                      <a:close/>
                      <a:moveTo>
                        <a:pt x="718" y="621"/>
                      </a:moveTo>
                      <a:lnTo>
                        <a:pt x="770" y="776"/>
                      </a:lnTo>
                      <a:lnTo>
                        <a:pt x="743" y="776"/>
                      </a:lnTo>
                      <a:lnTo>
                        <a:pt x="702" y="652"/>
                      </a:lnTo>
                      <a:lnTo>
                        <a:pt x="702" y="621"/>
                      </a:lnTo>
                      <a:lnTo>
                        <a:pt x="718" y="621"/>
                      </a:lnTo>
                      <a:lnTo>
                        <a:pt x="718" y="621"/>
                      </a:lnTo>
                      <a:close/>
                      <a:moveTo>
                        <a:pt x="795" y="776"/>
                      </a:moveTo>
                      <a:lnTo>
                        <a:pt x="743" y="621"/>
                      </a:lnTo>
                      <a:lnTo>
                        <a:pt x="770" y="621"/>
                      </a:lnTo>
                      <a:lnTo>
                        <a:pt x="822" y="776"/>
                      </a:lnTo>
                      <a:lnTo>
                        <a:pt x="795" y="776"/>
                      </a:lnTo>
                      <a:lnTo>
                        <a:pt x="795" y="776"/>
                      </a:lnTo>
                      <a:close/>
                      <a:moveTo>
                        <a:pt x="847" y="776"/>
                      </a:moveTo>
                      <a:lnTo>
                        <a:pt x="795" y="621"/>
                      </a:lnTo>
                      <a:lnTo>
                        <a:pt x="822" y="621"/>
                      </a:lnTo>
                      <a:lnTo>
                        <a:pt x="874" y="776"/>
                      </a:lnTo>
                      <a:lnTo>
                        <a:pt x="847" y="776"/>
                      </a:lnTo>
                      <a:lnTo>
                        <a:pt x="847" y="776"/>
                      </a:lnTo>
                      <a:close/>
                      <a:moveTo>
                        <a:pt x="702" y="726"/>
                      </a:moveTo>
                      <a:lnTo>
                        <a:pt x="718" y="776"/>
                      </a:lnTo>
                      <a:lnTo>
                        <a:pt x="702" y="776"/>
                      </a:lnTo>
                      <a:lnTo>
                        <a:pt x="702" y="726"/>
                      </a:lnTo>
                      <a:lnTo>
                        <a:pt x="702" y="726"/>
                      </a:lnTo>
                      <a:close/>
                      <a:moveTo>
                        <a:pt x="1334" y="574"/>
                      </a:moveTo>
                      <a:lnTo>
                        <a:pt x="1356" y="574"/>
                      </a:lnTo>
                      <a:lnTo>
                        <a:pt x="1356" y="597"/>
                      </a:lnTo>
                      <a:lnTo>
                        <a:pt x="1356" y="799"/>
                      </a:lnTo>
                      <a:lnTo>
                        <a:pt x="1356" y="822"/>
                      </a:lnTo>
                      <a:lnTo>
                        <a:pt x="1334" y="822"/>
                      </a:lnTo>
                      <a:lnTo>
                        <a:pt x="1063" y="822"/>
                      </a:lnTo>
                      <a:lnTo>
                        <a:pt x="1040" y="822"/>
                      </a:lnTo>
                      <a:lnTo>
                        <a:pt x="1040" y="799"/>
                      </a:lnTo>
                      <a:lnTo>
                        <a:pt x="1040" y="597"/>
                      </a:lnTo>
                      <a:lnTo>
                        <a:pt x="1040" y="574"/>
                      </a:lnTo>
                      <a:lnTo>
                        <a:pt x="1063" y="574"/>
                      </a:lnTo>
                      <a:lnTo>
                        <a:pt x="1334" y="574"/>
                      </a:lnTo>
                      <a:lnTo>
                        <a:pt x="1334" y="574"/>
                      </a:lnTo>
                      <a:close/>
                      <a:moveTo>
                        <a:pt x="1259" y="621"/>
                      </a:moveTo>
                      <a:lnTo>
                        <a:pt x="1310" y="772"/>
                      </a:lnTo>
                      <a:lnTo>
                        <a:pt x="1310" y="776"/>
                      </a:lnTo>
                      <a:lnTo>
                        <a:pt x="1284" y="776"/>
                      </a:lnTo>
                      <a:lnTo>
                        <a:pt x="1232" y="621"/>
                      </a:lnTo>
                      <a:lnTo>
                        <a:pt x="1259" y="621"/>
                      </a:lnTo>
                      <a:lnTo>
                        <a:pt x="1259" y="621"/>
                      </a:lnTo>
                      <a:close/>
                      <a:moveTo>
                        <a:pt x="1310" y="699"/>
                      </a:moveTo>
                      <a:lnTo>
                        <a:pt x="1284" y="621"/>
                      </a:lnTo>
                      <a:lnTo>
                        <a:pt x="1310" y="621"/>
                      </a:lnTo>
                      <a:lnTo>
                        <a:pt x="1310" y="699"/>
                      </a:lnTo>
                      <a:lnTo>
                        <a:pt x="1310" y="699"/>
                      </a:lnTo>
                      <a:close/>
                      <a:moveTo>
                        <a:pt x="1104" y="621"/>
                      </a:moveTo>
                      <a:lnTo>
                        <a:pt x="1155" y="776"/>
                      </a:lnTo>
                      <a:lnTo>
                        <a:pt x="1128" y="776"/>
                      </a:lnTo>
                      <a:lnTo>
                        <a:pt x="1086" y="652"/>
                      </a:lnTo>
                      <a:lnTo>
                        <a:pt x="1086" y="621"/>
                      </a:lnTo>
                      <a:lnTo>
                        <a:pt x="1104" y="621"/>
                      </a:lnTo>
                      <a:lnTo>
                        <a:pt x="1104" y="621"/>
                      </a:lnTo>
                      <a:close/>
                      <a:moveTo>
                        <a:pt x="1180" y="776"/>
                      </a:moveTo>
                      <a:lnTo>
                        <a:pt x="1128" y="621"/>
                      </a:lnTo>
                      <a:lnTo>
                        <a:pt x="1155" y="621"/>
                      </a:lnTo>
                      <a:lnTo>
                        <a:pt x="1207" y="776"/>
                      </a:lnTo>
                      <a:lnTo>
                        <a:pt x="1180" y="776"/>
                      </a:lnTo>
                      <a:lnTo>
                        <a:pt x="1180" y="776"/>
                      </a:lnTo>
                      <a:close/>
                      <a:moveTo>
                        <a:pt x="1232" y="776"/>
                      </a:moveTo>
                      <a:lnTo>
                        <a:pt x="1180" y="621"/>
                      </a:lnTo>
                      <a:lnTo>
                        <a:pt x="1207" y="621"/>
                      </a:lnTo>
                      <a:lnTo>
                        <a:pt x="1259" y="776"/>
                      </a:lnTo>
                      <a:lnTo>
                        <a:pt x="1232" y="776"/>
                      </a:lnTo>
                      <a:lnTo>
                        <a:pt x="1232" y="776"/>
                      </a:lnTo>
                      <a:close/>
                      <a:moveTo>
                        <a:pt x="1086" y="726"/>
                      </a:moveTo>
                      <a:lnTo>
                        <a:pt x="1103" y="776"/>
                      </a:lnTo>
                      <a:lnTo>
                        <a:pt x="1086" y="776"/>
                      </a:lnTo>
                      <a:lnTo>
                        <a:pt x="1086" y="726"/>
                      </a:lnTo>
                      <a:lnTo>
                        <a:pt x="1086" y="726"/>
                      </a:lnTo>
                      <a:close/>
                      <a:moveTo>
                        <a:pt x="782" y="170"/>
                      </a:moveTo>
                      <a:lnTo>
                        <a:pt x="841" y="143"/>
                      </a:lnTo>
                      <a:lnTo>
                        <a:pt x="831" y="184"/>
                      </a:lnTo>
                      <a:lnTo>
                        <a:pt x="820" y="190"/>
                      </a:lnTo>
                      <a:lnTo>
                        <a:pt x="782" y="170"/>
                      </a:lnTo>
                      <a:lnTo>
                        <a:pt x="782" y="170"/>
                      </a:lnTo>
                      <a:close/>
                      <a:moveTo>
                        <a:pt x="678" y="216"/>
                      </a:moveTo>
                      <a:lnTo>
                        <a:pt x="728" y="193"/>
                      </a:lnTo>
                      <a:lnTo>
                        <a:pt x="726" y="245"/>
                      </a:lnTo>
                      <a:lnTo>
                        <a:pt x="678" y="216"/>
                      </a:lnTo>
                      <a:lnTo>
                        <a:pt x="678" y="216"/>
                      </a:lnTo>
                      <a:close/>
                      <a:moveTo>
                        <a:pt x="602" y="250"/>
                      </a:moveTo>
                      <a:lnTo>
                        <a:pt x="634" y="236"/>
                      </a:lnTo>
                      <a:lnTo>
                        <a:pt x="632" y="278"/>
                      </a:lnTo>
                      <a:lnTo>
                        <a:pt x="602" y="250"/>
                      </a:lnTo>
                      <a:lnTo>
                        <a:pt x="602" y="250"/>
                      </a:lnTo>
                      <a:close/>
                      <a:moveTo>
                        <a:pt x="628" y="313"/>
                      </a:moveTo>
                      <a:lnTo>
                        <a:pt x="581" y="343"/>
                      </a:lnTo>
                      <a:lnTo>
                        <a:pt x="581" y="268"/>
                      </a:lnTo>
                      <a:lnTo>
                        <a:pt x="628" y="313"/>
                      </a:lnTo>
                      <a:lnTo>
                        <a:pt x="628" y="313"/>
                      </a:lnTo>
                      <a:close/>
                      <a:moveTo>
                        <a:pt x="704" y="264"/>
                      </a:moveTo>
                      <a:lnTo>
                        <a:pt x="659" y="293"/>
                      </a:lnTo>
                      <a:lnTo>
                        <a:pt x="661" y="239"/>
                      </a:lnTo>
                      <a:lnTo>
                        <a:pt x="704" y="264"/>
                      </a:lnTo>
                      <a:lnTo>
                        <a:pt x="704" y="264"/>
                      </a:lnTo>
                      <a:close/>
                      <a:moveTo>
                        <a:pt x="794" y="207"/>
                      </a:moveTo>
                      <a:lnTo>
                        <a:pt x="754" y="232"/>
                      </a:lnTo>
                      <a:lnTo>
                        <a:pt x="755" y="187"/>
                      </a:lnTo>
                      <a:lnTo>
                        <a:pt x="794" y="207"/>
                      </a:lnTo>
                      <a:lnTo>
                        <a:pt x="794" y="207"/>
                      </a:lnTo>
                      <a:close/>
                      <a:moveTo>
                        <a:pt x="885" y="149"/>
                      </a:moveTo>
                      <a:lnTo>
                        <a:pt x="865" y="161"/>
                      </a:lnTo>
                      <a:lnTo>
                        <a:pt x="872" y="139"/>
                      </a:lnTo>
                      <a:lnTo>
                        <a:pt x="885" y="149"/>
                      </a:lnTo>
                      <a:lnTo>
                        <a:pt x="885" y="149"/>
                      </a:lnTo>
                      <a:close/>
                      <a:moveTo>
                        <a:pt x="938" y="115"/>
                      </a:moveTo>
                      <a:lnTo>
                        <a:pt x="910" y="133"/>
                      </a:lnTo>
                      <a:lnTo>
                        <a:pt x="910" y="133"/>
                      </a:lnTo>
                      <a:lnTo>
                        <a:pt x="892" y="121"/>
                      </a:lnTo>
                      <a:lnTo>
                        <a:pt x="935" y="102"/>
                      </a:lnTo>
                      <a:lnTo>
                        <a:pt x="935" y="102"/>
                      </a:lnTo>
                      <a:lnTo>
                        <a:pt x="938" y="115"/>
                      </a:lnTo>
                      <a:lnTo>
                        <a:pt x="938" y="115"/>
                      </a:lnTo>
                      <a:close/>
                      <a:moveTo>
                        <a:pt x="955" y="93"/>
                      </a:moveTo>
                      <a:lnTo>
                        <a:pt x="999" y="74"/>
                      </a:lnTo>
                      <a:lnTo>
                        <a:pt x="1000" y="75"/>
                      </a:lnTo>
                      <a:lnTo>
                        <a:pt x="953" y="104"/>
                      </a:lnTo>
                      <a:lnTo>
                        <a:pt x="953" y="104"/>
                      </a:lnTo>
                      <a:lnTo>
                        <a:pt x="955" y="93"/>
                      </a:lnTo>
                      <a:lnTo>
                        <a:pt x="955" y="93"/>
                      </a:lnTo>
                      <a:close/>
                    </a:path>
                  </a:pathLst>
                </a:custGeom>
                <a:solidFill>
                  <a:srgbClr val="77ED37"/>
                </a:solidFill>
                <a:ln>
                  <a:solidFill>
                    <a:srgbClr val="77ED37"/>
                  </a:solidFill>
                </a:ln>
              </p:spPr>
              <p:txBody>
                <a:bodyPr vert="horz" wrap="square" lIns="64657" tIns="32328" rIns="64657" bIns="323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76409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100" b="0" i="1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4" name="Gruppo 93">
                <a:extLst>
                  <a:ext uri="{FF2B5EF4-FFF2-40B4-BE49-F238E27FC236}">
                    <a16:creationId xmlns:a16="http://schemas.microsoft.com/office/drawing/2014/main" id="{55E0886D-A0AA-4203-AA3F-BCEB982E1D0D}"/>
                  </a:ext>
                </a:extLst>
              </p:cNvPr>
              <p:cNvGrpSpPr/>
              <p:nvPr/>
            </p:nvGrpSpPr>
            <p:grpSpPr>
              <a:xfrm>
                <a:off x="782348" y="3640746"/>
                <a:ext cx="1737601" cy="904262"/>
                <a:chOff x="395349" y="3256419"/>
                <a:chExt cx="1737601" cy="904262"/>
              </a:xfrm>
            </p:grpSpPr>
            <p:sp>
              <p:nvSpPr>
                <p:cNvPr id="101" name="CasellaDiTesto 100">
                  <a:extLst>
                    <a:ext uri="{FF2B5EF4-FFF2-40B4-BE49-F238E27FC236}">
                      <a16:creationId xmlns:a16="http://schemas.microsoft.com/office/drawing/2014/main" id="{034CDE08-A3A2-4597-BAD9-833B0B0AA238}"/>
                    </a:ext>
                  </a:extLst>
                </p:cNvPr>
                <p:cNvSpPr txBox="1"/>
                <p:nvPr/>
              </p:nvSpPr>
              <p:spPr>
                <a:xfrm>
                  <a:off x="576697" y="3256419"/>
                  <a:ext cx="988386" cy="2695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Terminal Core</a:t>
                  </a:r>
                </a:p>
              </p:txBody>
            </p:sp>
            <p:sp>
              <p:nvSpPr>
                <p:cNvPr id="102" name="CasellaDiTesto 101">
                  <a:extLst>
                    <a:ext uri="{FF2B5EF4-FFF2-40B4-BE49-F238E27FC236}">
                      <a16:creationId xmlns:a16="http://schemas.microsoft.com/office/drawing/2014/main" id="{A2B49F6E-1628-4ED7-8E59-087ECE2AA32A}"/>
                    </a:ext>
                  </a:extLst>
                </p:cNvPr>
                <p:cNvSpPr txBox="1"/>
                <p:nvPr/>
              </p:nvSpPr>
              <p:spPr>
                <a:xfrm>
                  <a:off x="575051" y="3569603"/>
                  <a:ext cx="1544730" cy="2695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Terminal Comprehensive</a:t>
                  </a:r>
                </a:p>
              </p:txBody>
            </p:sp>
            <p:sp>
              <p:nvSpPr>
                <p:cNvPr id="103" name="CasellaDiTesto 102">
                  <a:extLst>
                    <a:ext uri="{FF2B5EF4-FFF2-40B4-BE49-F238E27FC236}">
                      <a16:creationId xmlns:a16="http://schemas.microsoft.com/office/drawing/2014/main" id="{BD03446D-CC79-4B6A-950E-DC1A3B60F507}"/>
                    </a:ext>
                  </a:extLst>
                </p:cNvPr>
                <p:cNvSpPr txBox="1"/>
                <p:nvPr/>
              </p:nvSpPr>
              <p:spPr>
                <a:xfrm>
                  <a:off x="588220" y="3891133"/>
                  <a:ext cx="1544730" cy="2695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7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Terminal off rete TEN-T</a:t>
                  </a:r>
                </a:p>
              </p:txBody>
            </p:sp>
            <p:sp>
              <p:nvSpPr>
                <p:cNvPr id="104" name="Freeform 293">
                  <a:extLst>
                    <a:ext uri="{FF2B5EF4-FFF2-40B4-BE49-F238E27FC236}">
                      <a16:creationId xmlns:a16="http://schemas.microsoft.com/office/drawing/2014/main" id="{5391495E-4E62-4F13-8E3F-1019BD24555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5349" y="3260602"/>
                  <a:ext cx="240162" cy="176695"/>
                </a:xfrm>
                <a:custGeom>
                  <a:avLst/>
                  <a:gdLst>
                    <a:gd name="T0" fmla="*/ 1068 w 1357"/>
                    <a:gd name="T1" fmla="*/ 97 h 947"/>
                    <a:gd name="T2" fmla="*/ 447 w 1357"/>
                    <a:gd name="T3" fmla="*/ 257 h 947"/>
                    <a:gd name="T4" fmla="*/ 0 w 1357"/>
                    <a:gd name="T5" fmla="*/ 861 h 947"/>
                    <a:gd name="T6" fmla="*/ 541 w 1357"/>
                    <a:gd name="T7" fmla="*/ 470 h 947"/>
                    <a:gd name="T8" fmla="*/ 911 w 1357"/>
                    <a:gd name="T9" fmla="*/ 374 h 947"/>
                    <a:gd name="T10" fmla="*/ 295 w 1357"/>
                    <a:gd name="T11" fmla="*/ 288 h 947"/>
                    <a:gd name="T12" fmla="*/ 295 w 1357"/>
                    <a:gd name="T13" fmla="*/ 536 h 947"/>
                    <a:gd name="T14" fmla="*/ 1 w 1357"/>
                    <a:gd name="T15" fmla="*/ 288 h 947"/>
                    <a:gd name="T16" fmla="*/ 272 w 1357"/>
                    <a:gd name="T17" fmla="*/ 485 h 947"/>
                    <a:gd name="T18" fmla="*/ 221 w 1357"/>
                    <a:gd name="T19" fmla="*/ 334 h 947"/>
                    <a:gd name="T20" fmla="*/ 272 w 1357"/>
                    <a:gd name="T21" fmla="*/ 411 h 947"/>
                    <a:gd name="T22" fmla="*/ 48 w 1357"/>
                    <a:gd name="T23" fmla="*/ 334 h 947"/>
                    <a:gd name="T24" fmla="*/ 117 w 1357"/>
                    <a:gd name="T25" fmla="*/ 334 h 947"/>
                    <a:gd name="T26" fmla="*/ 142 w 1357"/>
                    <a:gd name="T27" fmla="*/ 334 h 947"/>
                    <a:gd name="T28" fmla="*/ 48 w 1357"/>
                    <a:gd name="T29" fmla="*/ 438 h 947"/>
                    <a:gd name="T30" fmla="*/ 295 w 1357"/>
                    <a:gd name="T31" fmla="*/ 574 h 947"/>
                    <a:gd name="T32" fmla="*/ 295 w 1357"/>
                    <a:gd name="T33" fmla="*/ 822 h 947"/>
                    <a:gd name="T34" fmla="*/ 1 w 1357"/>
                    <a:gd name="T35" fmla="*/ 574 h 947"/>
                    <a:gd name="T36" fmla="*/ 272 w 1357"/>
                    <a:gd name="T37" fmla="*/ 772 h 947"/>
                    <a:gd name="T38" fmla="*/ 221 w 1357"/>
                    <a:gd name="T39" fmla="*/ 621 h 947"/>
                    <a:gd name="T40" fmla="*/ 272 w 1357"/>
                    <a:gd name="T41" fmla="*/ 699 h 947"/>
                    <a:gd name="T42" fmla="*/ 48 w 1357"/>
                    <a:gd name="T43" fmla="*/ 621 h 947"/>
                    <a:gd name="T44" fmla="*/ 117 w 1357"/>
                    <a:gd name="T45" fmla="*/ 621 h 947"/>
                    <a:gd name="T46" fmla="*/ 142 w 1357"/>
                    <a:gd name="T47" fmla="*/ 621 h 947"/>
                    <a:gd name="T48" fmla="*/ 48 w 1357"/>
                    <a:gd name="T49" fmla="*/ 726 h 947"/>
                    <a:gd name="T50" fmla="*/ 948 w 1357"/>
                    <a:gd name="T51" fmla="*/ 574 h 947"/>
                    <a:gd name="T52" fmla="*/ 948 w 1357"/>
                    <a:gd name="T53" fmla="*/ 822 h 947"/>
                    <a:gd name="T54" fmla="*/ 654 w 1357"/>
                    <a:gd name="T55" fmla="*/ 574 h 947"/>
                    <a:gd name="T56" fmla="*/ 925 w 1357"/>
                    <a:gd name="T57" fmla="*/ 772 h 947"/>
                    <a:gd name="T58" fmla="*/ 874 w 1357"/>
                    <a:gd name="T59" fmla="*/ 621 h 947"/>
                    <a:gd name="T60" fmla="*/ 925 w 1357"/>
                    <a:gd name="T61" fmla="*/ 699 h 947"/>
                    <a:gd name="T62" fmla="*/ 702 w 1357"/>
                    <a:gd name="T63" fmla="*/ 621 h 947"/>
                    <a:gd name="T64" fmla="*/ 770 w 1357"/>
                    <a:gd name="T65" fmla="*/ 621 h 947"/>
                    <a:gd name="T66" fmla="*/ 795 w 1357"/>
                    <a:gd name="T67" fmla="*/ 621 h 947"/>
                    <a:gd name="T68" fmla="*/ 702 w 1357"/>
                    <a:gd name="T69" fmla="*/ 726 h 947"/>
                    <a:gd name="T70" fmla="*/ 1334 w 1357"/>
                    <a:gd name="T71" fmla="*/ 574 h 947"/>
                    <a:gd name="T72" fmla="*/ 1334 w 1357"/>
                    <a:gd name="T73" fmla="*/ 822 h 947"/>
                    <a:gd name="T74" fmla="*/ 1040 w 1357"/>
                    <a:gd name="T75" fmla="*/ 574 h 947"/>
                    <a:gd name="T76" fmla="*/ 1310 w 1357"/>
                    <a:gd name="T77" fmla="*/ 772 h 947"/>
                    <a:gd name="T78" fmla="*/ 1259 w 1357"/>
                    <a:gd name="T79" fmla="*/ 621 h 947"/>
                    <a:gd name="T80" fmla="*/ 1310 w 1357"/>
                    <a:gd name="T81" fmla="*/ 699 h 947"/>
                    <a:gd name="T82" fmla="*/ 1086 w 1357"/>
                    <a:gd name="T83" fmla="*/ 621 h 947"/>
                    <a:gd name="T84" fmla="*/ 1155 w 1357"/>
                    <a:gd name="T85" fmla="*/ 621 h 947"/>
                    <a:gd name="T86" fmla="*/ 1180 w 1357"/>
                    <a:gd name="T87" fmla="*/ 621 h 947"/>
                    <a:gd name="T88" fmla="*/ 1086 w 1357"/>
                    <a:gd name="T89" fmla="*/ 726 h 947"/>
                    <a:gd name="T90" fmla="*/ 782 w 1357"/>
                    <a:gd name="T91" fmla="*/ 170 h 947"/>
                    <a:gd name="T92" fmla="*/ 782 w 1357"/>
                    <a:gd name="T93" fmla="*/ 170 h 947"/>
                    <a:gd name="T94" fmla="*/ 678 w 1357"/>
                    <a:gd name="T95" fmla="*/ 216 h 947"/>
                    <a:gd name="T96" fmla="*/ 602 w 1357"/>
                    <a:gd name="T97" fmla="*/ 250 h 947"/>
                    <a:gd name="T98" fmla="*/ 628 w 1357"/>
                    <a:gd name="T99" fmla="*/ 313 h 947"/>
                    <a:gd name="T100" fmla="*/ 704 w 1357"/>
                    <a:gd name="T101" fmla="*/ 264 h 947"/>
                    <a:gd name="T102" fmla="*/ 794 w 1357"/>
                    <a:gd name="T103" fmla="*/ 207 h 947"/>
                    <a:gd name="T104" fmla="*/ 885 w 1357"/>
                    <a:gd name="T105" fmla="*/ 149 h 947"/>
                    <a:gd name="T106" fmla="*/ 935 w 1357"/>
                    <a:gd name="T107" fmla="*/ 102 h 947"/>
                    <a:gd name="T108" fmla="*/ 999 w 1357"/>
                    <a:gd name="T109" fmla="*/ 74 h 947"/>
                    <a:gd name="T110" fmla="*/ 955 w 1357"/>
                    <a:gd name="T111" fmla="*/ 93 h 9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357" h="947">
                      <a:moveTo>
                        <a:pt x="1128" y="374"/>
                      </a:moveTo>
                      <a:lnTo>
                        <a:pt x="1032" y="374"/>
                      </a:lnTo>
                      <a:lnTo>
                        <a:pt x="1032" y="120"/>
                      </a:lnTo>
                      <a:lnTo>
                        <a:pt x="1048" y="109"/>
                      </a:lnTo>
                      <a:lnTo>
                        <a:pt x="1068" y="97"/>
                      </a:lnTo>
                      <a:lnTo>
                        <a:pt x="1059" y="76"/>
                      </a:lnTo>
                      <a:lnTo>
                        <a:pt x="1039" y="26"/>
                      </a:lnTo>
                      <a:lnTo>
                        <a:pt x="1029" y="0"/>
                      </a:lnTo>
                      <a:lnTo>
                        <a:pt x="1003" y="11"/>
                      </a:lnTo>
                      <a:lnTo>
                        <a:pt x="447" y="257"/>
                      </a:lnTo>
                      <a:lnTo>
                        <a:pt x="378" y="257"/>
                      </a:lnTo>
                      <a:lnTo>
                        <a:pt x="378" y="470"/>
                      </a:lnTo>
                      <a:lnTo>
                        <a:pt x="415" y="470"/>
                      </a:lnTo>
                      <a:lnTo>
                        <a:pt x="415" y="861"/>
                      </a:lnTo>
                      <a:lnTo>
                        <a:pt x="0" y="861"/>
                      </a:lnTo>
                      <a:lnTo>
                        <a:pt x="0" y="947"/>
                      </a:lnTo>
                      <a:lnTo>
                        <a:pt x="1357" y="947"/>
                      </a:lnTo>
                      <a:lnTo>
                        <a:pt x="1357" y="861"/>
                      </a:lnTo>
                      <a:lnTo>
                        <a:pt x="541" y="861"/>
                      </a:lnTo>
                      <a:lnTo>
                        <a:pt x="541" y="470"/>
                      </a:lnTo>
                      <a:lnTo>
                        <a:pt x="581" y="470"/>
                      </a:lnTo>
                      <a:lnTo>
                        <a:pt x="581" y="408"/>
                      </a:lnTo>
                      <a:lnTo>
                        <a:pt x="1006" y="136"/>
                      </a:lnTo>
                      <a:lnTo>
                        <a:pt x="1006" y="374"/>
                      </a:lnTo>
                      <a:lnTo>
                        <a:pt x="911" y="374"/>
                      </a:lnTo>
                      <a:lnTo>
                        <a:pt x="911" y="531"/>
                      </a:lnTo>
                      <a:lnTo>
                        <a:pt x="1128" y="531"/>
                      </a:lnTo>
                      <a:lnTo>
                        <a:pt x="1128" y="374"/>
                      </a:lnTo>
                      <a:lnTo>
                        <a:pt x="1128" y="374"/>
                      </a:lnTo>
                      <a:close/>
                      <a:moveTo>
                        <a:pt x="295" y="288"/>
                      </a:moveTo>
                      <a:lnTo>
                        <a:pt x="319" y="288"/>
                      </a:lnTo>
                      <a:lnTo>
                        <a:pt x="319" y="310"/>
                      </a:lnTo>
                      <a:lnTo>
                        <a:pt x="319" y="512"/>
                      </a:lnTo>
                      <a:lnTo>
                        <a:pt x="319" y="536"/>
                      </a:lnTo>
                      <a:lnTo>
                        <a:pt x="295" y="536"/>
                      </a:lnTo>
                      <a:lnTo>
                        <a:pt x="25" y="536"/>
                      </a:lnTo>
                      <a:lnTo>
                        <a:pt x="1" y="536"/>
                      </a:lnTo>
                      <a:lnTo>
                        <a:pt x="1" y="512"/>
                      </a:lnTo>
                      <a:lnTo>
                        <a:pt x="1" y="310"/>
                      </a:lnTo>
                      <a:lnTo>
                        <a:pt x="1" y="288"/>
                      </a:lnTo>
                      <a:lnTo>
                        <a:pt x="25" y="288"/>
                      </a:lnTo>
                      <a:lnTo>
                        <a:pt x="295" y="288"/>
                      </a:lnTo>
                      <a:lnTo>
                        <a:pt x="295" y="288"/>
                      </a:lnTo>
                      <a:close/>
                      <a:moveTo>
                        <a:pt x="221" y="334"/>
                      </a:moveTo>
                      <a:lnTo>
                        <a:pt x="272" y="485"/>
                      </a:lnTo>
                      <a:lnTo>
                        <a:pt x="272" y="489"/>
                      </a:lnTo>
                      <a:lnTo>
                        <a:pt x="245" y="489"/>
                      </a:lnTo>
                      <a:lnTo>
                        <a:pt x="194" y="334"/>
                      </a:lnTo>
                      <a:lnTo>
                        <a:pt x="221" y="334"/>
                      </a:lnTo>
                      <a:lnTo>
                        <a:pt x="221" y="334"/>
                      </a:lnTo>
                      <a:close/>
                      <a:moveTo>
                        <a:pt x="272" y="411"/>
                      </a:moveTo>
                      <a:lnTo>
                        <a:pt x="246" y="334"/>
                      </a:lnTo>
                      <a:lnTo>
                        <a:pt x="272" y="334"/>
                      </a:lnTo>
                      <a:lnTo>
                        <a:pt x="272" y="411"/>
                      </a:lnTo>
                      <a:lnTo>
                        <a:pt x="272" y="411"/>
                      </a:lnTo>
                      <a:close/>
                      <a:moveTo>
                        <a:pt x="65" y="334"/>
                      </a:moveTo>
                      <a:lnTo>
                        <a:pt x="117" y="489"/>
                      </a:lnTo>
                      <a:lnTo>
                        <a:pt x="90" y="489"/>
                      </a:lnTo>
                      <a:lnTo>
                        <a:pt x="48" y="365"/>
                      </a:lnTo>
                      <a:lnTo>
                        <a:pt x="48" y="334"/>
                      </a:lnTo>
                      <a:lnTo>
                        <a:pt x="65" y="334"/>
                      </a:lnTo>
                      <a:lnTo>
                        <a:pt x="65" y="334"/>
                      </a:lnTo>
                      <a:close/>
                      <a:moveTo>
                        <a:pt x="142" y="489"/>
                      </a:moveTo>
                      <a:lnTo>
                        <a:pt x="90" y="334"/>
                      </a:lnTo>
                      <a:lnTo>
                        <a:pt x="117" y="334"/>
                      </a:lnTo>
                      <a:lnTo>
                        <a:pt x="169" y="489"/>
                      </a:lnTo>
                      <a:lnTo>
                        <a:pt x="142" y="489"/>
                      </a:lnTo>
                      <a:lnTo>
                        <a:pt x="142" y="489"/>
                      </a:lnTo>
                      <a:close/>
                      <a:moveTo>
                        <a:pt x="194" y="489"/>
                      </a:moveTo>
                      <a:lnTo>
                        <a:pt x="142" y="334"/>
                      </a:lnTo>
                      <a:lnTo>
                        <a:pt x="169" y="334"/>
                      </a:lnTo>
                      <a:lnTo>
                        <a:pt x="221" y="489"/>
                      </a:lnTo>
                      <a:lnTo>
                        <a:pt x="194" y="489"/>
                      </a:lnTo>
                      <a:lnTo>
                        <a:pt x="194" y="489"/>
                      </a:lnTo>
                      <a:close/>
                      <a:moveTo>
                        <a:pt x="48" y="438"/>
                      </a:moveTo>
                      <a:lnTo>
                        <a:pt x="65" y="489"/>
                      </a:lnTo>
                      <a:lnTo>
                        <a:pt x="48" y="489"/>
                      </a:lnTo>
                      <a:lnTo>
                        <a:pt x="48" y="438"/>
                      </a:lnTo>
                      <a:lnTo>
                        <a:pt x="48" y="438"/>
                      </a:lnTo>
                      <a:close/>
                      <a:moveTo>
                        <a:pt x="295" y="574"/>
                      </a:moveTo>
                      <a:lnTo>
                        <a:pt x="319" y="574"/>
                      </a:lnTo>
                      <a:lnTo>
                        <a:pt x="319" y="597"/>
                      </a:lnTo>
                      <a:lnTo>
                        <a:pt x="319" y="799"/>
                      </a:lnTo>
                      <a:lnTo>
                        <a:pt x="319" y="822"/>
                      </a:lnTo>
                      <a:lnTo>
                        <a:pt x="295" y="822"/>
                      </a:lnTo>
                      <a:lnTo>
                        <a:pt x="25" y="822"/>
                      </a:lnTo>
                      <a:lnTo>
                        <a:pt x="1" y="822"/>
                      </a:lnTo>
                      <a:lnTo>
                        <a:pt x="1" y="799"/>
                      </a:lnTo>
                      <a:lnTo>
                        <a:pt x="1" y="597"/>
                      </a:lnTo>
                      <a:lnTo>
                        <a:pt x="1" y="574"/>
                      </a:lnTo>
                      <a:lnTo>
                        <a:pt x="25" y="574"/>
                      </a:lnTo>
                      <a:lnTo>
                        <a:pt x="295" y="574"/>
                      </a:lnTo>
                      <a:lnTo>
                        <a:pt x="295" y="574"/>
                      </a:lnTo>
                      <a:close/>
                      <a:moveTo>
                        <a:pt x="221" y="621"/>
                      </a:moveTo>
                      <a:lnTo>
                        <a:pt x="272" y="772"/>
                      </a:lnTo>
                      <a:lnTo>
                        <a:pt x="272" y="776"/>
                      </a:lnTo>
                      <a:lnTo>
                        <a:pt x="245" y="776"/>
                      </a:lnTo>
                      <a:lnTo>
                        <a:pt x="194" y="621"/>
                      </a:lnTo>
                      <a:lnTo>
                        <a:pt x="221" y="621"/>
                      </a:lnTo>
                      <a:lnTo>
                        <a:pt x="221" y="621"/>
                      </a:lnTo>
                      <a:close/>
                      <a:moveTo>
                        <a:pt x="272" y="699"/>
                      </a:moveTo>
                      <a:lnTo>
                        <a:pt x="246" y="621"/>
                      </a:lnTo>
                      <a:lnTo>
                        <a:pt x="272" y="621"/>
                      </a:lnTo>
                      <a:lnTo>
                        <a:pt x="272" y="699"/>
                      </a:lnTo>
                      <a:lnTo>
                        <a:pt x="272" y="699"/>
                      </a:lnTo>
                      <a:close/>
                      <a:moveTo>
                        <a:pt x="65" y="621"/>
                      </a:moveTo>
                      <a:lnTo>
                        <a:pt x="117" y="776"/>
                      </a:lnTo>
                      <a:lnTo>
                        <a:pt x="90" y="776"/>
                      </a:lnTo>
                      <a:lnTo>
                        <a:pt x="48" y="652"/>
                      </a:lnTo>
                      <a:lnTo>
                        <a:pt x="48" y="621"/>
                      </a:lnTo>
                      <a:lnTo>
                        <a:pt x="65" y="621"/>
                      </a:lnTo>
                      <a:lnTo>
                        <a:pt x="65" y="621"/>
                      </a:lnTo>
                      <a:close/>
                      <a:moveTo>
                        <a:pt x="142" y="776"/>
                      </a:moveTo>
                      <a:lnTo>
                        <a:pt x="90" y="621"/>
                      </a:lnTo>
                      <a:lnTo>
                        <a:pt x="117" y="621"/>
                      </a:lnTo>
                      <a:lnTo>
                        <a:pt x="169" y="776"/>
                      </a:lnTo>
                      <a:lnTo>
                        <a:pt x="142" y="776"/>
                      </a:lnTo>
                      <a:lnTo>
                        <a:pt x="142" y="776"/>
                      </a:lnTo>
                      <a:close/>
                      <a:moveTo>
                        <a:pt x="194" y="776"/>
                      </a:moveTo>
                      <a:lnTo>
                        <a:pt x="142" y="621"/>
                      </a:lnTo>
                      <a:lnTo>
                        <a:pt x="169" y="621"/>
                      </a:lnTo>
                      <a:lnTo>
                        <a:pt x="221" y="776"/>
                      </a:lnTo>
                      <a:lnTo>
                        <a:pt x="194" y="776"/>
                      </a:lnTo>
                      <a:lnTo>
                        <a:pt x="194" y="776"/>
                      </a:lnTo>
                      <a:close/>
                      <a:moveTo>
                        <a:pt x="48" y="726"/>
                      </a:moveTo>
                      <a:lnTo>
                        <a:pt x="65" y="776"/>
                      </a:lnTo>
                      <a:lnTo>
                        <a:pt x="48" y="776"/>
                      </a:lnTo>
                      <a:lnTo>
                        <a:pt x="48" y="726"/>
                      </a:lnTo>
                      <a:lnTo>
                        <a:pt x="48" y="726"/>
                      </a:lnTo>
                      <a:close/>
                      <a:moveTo>
                        <a:pt x="948" y="574"/>
                      </a:moveTo>
                      <a:lnTo>
                        <a:pt x="971" y="574"/>
                      </a:lnTo>
                      <a:lnTo>
                        <a:pt x="971" y="597"/>
                      </a:lnTo>
                      <a:lnTo>
                        <a:pt x="971" y="799"/>
                      </a:lnTo>
                      <a:lnTo>
                        <a:pt x="971" y="822"/>
                      </a:lnTo>
                      <a:lnTo>
                        <a:pt x="948" y="822"/>
                      </a:lnTo>
                      <a:lnTo>
                        <a:pt x="678" y="822"/>
                      </a:lnTo>
                      <a:lnTo>
                        <a:pt x="654" y="822"/>
                      </a:lnTo>
                      <a:lnTo>
                        <a:pt x="654" y="799"/>
                      </a:lnTo>
                      <a:lnTo>
                        <a:pt x="654" y="597"/>
                      </a:lnTo>
                      <a:lnTo>
                        <a:pt x="654" y="574"/>
                      </a:lnTo>
                      <a:lnTo>
                        <a:pt x="678" y="574"/>
                      </a:lnTo>
                      <a:lnTo>
                        <a:pt x="948" y="574"/>
                      </a:lnTo>
                      <a:lnTo>
                        <a:pt x="948" y="574"/>
                      </a:lnTo>
                      <a:close/>
                      <a:moveTo>
                        <a:pt x="874" y="621"/>
                      </a:moveTo>
                      <a:lnTo>
                        <a:pt x="925" y="772"/>
                      </a:lnTo>
                      <a:lnTo>
                        <a:pt x="925" y="776"/>
                      </a:lnTo>
                      <a:lnTo>
                        <a:pt x="898" y="776"/>
                      </a:lnTo>
                      <a:lnTo>
                        <a:pt x="847" y="621"/>
                      </a:lnTo>
                      <a:lnTo>
                        <a:pt x="874" y="621"/>
                      </a:lnTo>
                      <a:lnTo>
                        <a:pt x="874" y="621"/>
                      </a:lnTo>
                      <a:close/>
                      <a:moveTo>
                        <a:pt x="925" y="699"/>
                      </a:moveTo>
                      <a:lnTo>
                        <a:pt x="899" y="621"/>
                      </a:lnTo>
                      <a:lnTo>
                        <a:pt x="925" y="621"/>
                      </a:lnTo>
                      <a:lnTo>
                        <a:pt x="925" y="699"/>
                      </a:lnTo>
                      <a:lnTo>
                        <a:pt x="925" y="699"/>
                      </a:lnTo>
                      <a:close/>
                      <a:moveTo>
                        <a:pt x="718" y="621"/>
                      </a:moveTo>
                      <a:lnTo>
                        <a:pt x="770" y="776"/>
                      </a:lnTo>
                      <a:lnTo>
                        <a:pt x="743" y="776"/>
                      </a:lnTo>
                      <a:lnTo>
                        <a:pt x="702" y="652"/>
                      </a:lnTo>
                      <a:lnTo>
                        <a:pt x="702" y="621"/>
                      </a:lnTo>
                      <a:lnTo>
                        <a:pt x="718" y="621"/>
                      </a:lnTo>
                      <a:lnTo>
                        <a:pt x="718" y="621"/>
                      </a:lnTo>
                      <a:close/>
                      <a:moveTo>
                        <a:pt x="795" y="776"/>
                      </a:moveTo>
                      <a:lnTo>
                        <a:pt x="743" y="621"/>
                      </a:lnTo>
                      <a:lnTo>
                        <a:pt x="770" y="621"/>
                      </a:lnTo>
                      <a:lnTo>
                        <a:pt x="822" y="776"/>
                      </a:lnTo>
                      <a:lnTo>
                        <a:pt x="795" y="776"/>
                      </a:lnTo>
                      <a:lnTo>
                        <a:pt x="795" y="776"/>
                      </a:lnTo>
                      <a:close/>
                      <a:moveTo>
                        <a:pt x="847" y="776"/>
                      </a:moveTo>
                      <a:lnTo>
                        <a:pt x="795" y="621"/>
                      </a:lnTo>
                      <a:lnTo>
                        <a:pt x="822" y="621"/>
                      </a:lnTo>
                      <a:lnTo>
                        <a:pt x="874" y="776"/>
                      </a:lnTo>
                      <a:lnTo>
                        <a:pt x="847" y="776"/>
                      </a:lnTo>
                      <a:lnTo>
                        <a:pt x="847" y="776"/>
                      </a:lnTo>
                      <a:close/>
                      <a:moveTo>
                        <a:pt x="702" y="726"/>
                      </a:moveTo>
                      <a:lnTo>
                        <a:pt x="718" y="776"/>
                      </a:lnTo>
                      <a:lnTo>
                        <a:pt x="702" y="776"/>
                      </a:lnTo>
                      <a:lnTo>
                        <a:pt x="702" y="726"/>
                      </a:lnTo>
                      <a:lnTo>
                        <a:pt x="702" y="726"/>
                      </a:lnTo>
                      <a:close/>
                      <a:moveTo>
                        <a:pt x="1334" y="574"/>
                      </a:moveTo>
                      <a:lnTo>
                        <a:pt x="1356" y="574"/>
                      </a:lnTo>
                      <a:lnTo>
                        <a:pt x="1356" y="597"/>
                      </a:lnTo>
                      <a:lnTo>
                        <a:pt x="1356" y="799"/>
                      </a:lnTo>
                      <a:lnTo>
                        <a:pt x="1356" y="822"/>
                      </a:lnTo>
                      <a:lnTo>
                        <a:pt x="1334" y="822"/>
                      </a:lnTo>
                      <a:lnTo>
                        <a:pt x="1063" y="822"/>
                      </a:lnTo>
                      <a:lnTo>
                        <a:pt x="1040" y="822"/>
                      </a:lnTo>
                      <a:lnTo>
                        <a:pt x="1040" y="799"/>
                      </a:lnTo>
                      <a:lnTo>
                        <a:pt x="1040" y="597"/>
                      </a:lnTo>
                      <a:lnTo>
                        <a:pt x="1040" y="574"/>
                      </a:lnTo>
                      <a:lnTo>
                        <a:pt x="1063" y="574"/>
                      </a:lnTo>
                      <a:lnTo>
                        <a:pt x="1334" y="574"/>
                      </a:lnTo>
                      <a:lnTo>
                        <a:pt x="1334" y="574"/>
                      </a:lnTo>
                      <a:close/>
                      <a:moveTo>
                        <a:pt x="1259" y="621"/>
                      </a:moveTo>
                      <a:lnTo>
                        <a:pt x="1310" y="772"/>
                      </a:lnTo>
                      <a:lnTo>
                        <a:pt x="1310" y="776"/>
                      </a:lnTo>
                      <a:lnTo>
                        <a:pt x="1284" y="776"/>
                      </a:lnTo>
                      <a:lnTo>
                        <a:pt x="1232" y="621"/>
                      </a:lnTo>
                      <a:lnTo>
                        <a:pt x="1259" y="621"/>
                      </a:lnTo>
                      <a:lnTo>
                        <a:pt x="1259" y="621"/>
                      </a:lnTo>
                      <a:close/>
                      <a:moveTo>
                        <a:pt x="1310" y="699"/>
                      </a:moveTo>
                      <a:lnTo>
                        <a:pt x="1284" y="621"/>
                      </a:lnTo>
                      <a:lnTo>
                        <a:pt x="1310" y="621"/>
                      </a:lnTo>
                      <a:lnTo>
                        <a:pt x="1310" y="699"/>
                      </a:lnTo>
                      <a:lnTo>
                        <a:pt x="1310" y="699"/>
                      </a:lnTo>
                      <a:close/>
                      <a:moveTo>
                        <a:pt x="1104" y="621"/>
                      </a:moveTo>
                      <a:lnTo>
                        <a:pt x="1155" y="776"/>
                      </a:lnTo>
                      <a:lnTo>
                        <a:pt x="1128" y="776"/>
                      </a:lnTo>
                      <a:lnTo>
                        <a:pt x="1086" y="652"/>
                      </a:lnTo>
                      <a:lnTo>
                        <a:pt x="1086" y="621"/>
                      </a:lnTo>
                      <a:lnTo>
                        <a:pt x="1104" y="621"/>
                      </a:lnTo>
                      <a:lnTo>
                        <a:pt x="1104" y="621"/>
                      </a:lnTo>
                      <a:close/>
                      <a:moveTo>
                        <a:pt x="1180" y="776"/>
                      </a:moveTo>
                      <a:lnTo>
                        <a:pt x="1128" y="621"/>
                      </a:lnTo>
                      <a:lnTo>
                        <a:pt x="1155" y="621"/>
                      </a:lnTo>
                      <a:lnTo>
                        <a:pt x="1207" y="776"/>
                      </a:lnTo>
                      <a:lnTo>
                        <a:pt x="1180" y="776"/>
                      </a:lnTo>
                      <a:lnTo>
                        <a:pt x="1180" y="776"/>
                      </a:lnTo>
                      <a:close/>
                      <a:moveTo>
                        <a:pt x="1232" y="776"/>
                      </a:moveTo>
                      <a:lnTo>
                        <a:pt x="1180" y="621"/>
                      </a:lnTo>
                      <a:lnTo>
                        <a:pt x="1207" y="621"/>
                      </a:lnTo>
                      <a:lnTo>
                        <a:pt x="1259" y="776"/>
                      </a:lnTo>
                      <a:lnTo>
                        <a:pt x="1232" y="776"/>
                      </a:lnTo>
                      <a:lnTo>
                        <a:pt x="1232" y="776"/>
                      </a:lnTo>
                      <a:close/>
                      <a:moveTo>
                        <a:pt x="1086" y="726"/>
                      </a:moveTo>
                      <a:lnTo>
                        <a:pt x="1103" y="776"/>
                      </a:lnTo>
                      <a:lnTo>
                        <a:pt x="1086" y="776"/>
                      </a:lnTo>
                      <a:lnTo>
                        <a:pt x="1086" y="726"/>
                      </a:lnTo>
                      <a:lnTo>
                        <a:pt x="1086" y="726"/>
                      </a:lnTo>
                      <a:close/>
                      <a:moveTo>
                        <a:pt x="782" y="170"/>
                      </a:moveTo>
                      <a:lnTo>
                        <a:pt x="841" y="143"/>
                      </a:lnTo>
                      <a:lnTo>
                        <a:pt x="831" y="184"/>
                      </a:lnTo>
                      <a:lnTo>
                        <a:pt x="820" y="190"/>
                      </a:lnTo>
                      <a:lnTo>
                        <a:pt x="782" y="170"/>
                      </a:lnTo>
                      <a:lnTo>
                        <a:pt x="782" y="170"/>
                      </a:lnTo>
                      <a:close/>
                      <a:moveTo>
                        <a:pt x="678" y="216"/>
                      </a:moveTo>
                      <a:lnTo>
                        <a:pt x="728" y="193"/>
                      </a:lnTo>
                      <a:lnTo>
                        <a:pt x="726" y="245"/>
                      </a:lnTo>
                      <a:lnTo>
                        <a:pt x="678" y="216"/>
                      </a:lnTo>
                      <a:lnTo>
                        <a:pt x="678" y="216"/>
                      </a:lnTo>
                      <a:close/>
                      <a:moveTo>
                        <a:pt x="602" y="250"/>
                      </a:moveTo>
                      <a:lnTo>
                        <a:pt x="634" y="236"/>
                      </a:lnTo>
                      <a:lnTo>
                        <a:pt x="632" y="278"/>
                      </a:lnTo>
                      <a:lnTo>
                        <a:pt x="602" y="250"/>
                      </a:lnTo>
                      <a:lnTo>
                        <a:pt x="602" y="250"/>
                      </a:lnTo>
                      <a:close/>
                      <a:moveTo>
                        <a:pt x="628" y="313"/>
                      </a:moveTo>
                      <a:lnTo>
                        <a:pt x="581" y="343"/>
                      </a:lnTo>
                      <a:lnTo>
                        <a:pt x="581" y="268"/>
                      </a:lnTo>
                      <a:lnTo>
                        <a:pt x="628" y="313"/>
                      </a:lnTo>
                      <a:lnTo>
                        <a:pt x="628" y="313"/>
                      </a:lnTo>
                      <a:close/>
                      <a:moveTo>
                        <a:pt x="704" y="264"/>
                      </a:moveTo>
                      <a:lnTo>
                        <a:pt x="659" y="293"/>
                      </a:lnTo>
                      <a:lnTo>
                        <a:pt x="661" y="239"/>
                      </a:lnTo>
                      <a:lnTo>
                        <a:pt x="704" y="264"/>
                      </a:lnTo>
                      <a:lnTo>
                        <a:pt x="704" y="264"/>
                      </a:lnTo>
                      <a:close/>
                      <a:moveTo>
                        <a:pt x="794" y="207"/>
                      </a:moveTo>
                      <a:lnTo>
                        <a:pt x="754" y="232"/>
                      </a:lnTo>
                      <a:lnTo>
                        <a:pt x="755" y="187"/>
                      </a:lnTo>
                      <a:lnTo>
                        <a:pt x="794" y="207"/>
                      </a:lnTo>
                      <a:lnTo>
                        <a:pt x="794" y="207"/>
                      </a:lnTo>
                      <a:close/>
                      <a:moveTo>
                        <a:pt x="885" y="149"/>
                      </a:moveTo>
                      <a:lnTo>
                        <a:pt x="865" y="161"/>
                      </a:lnTo>
                      <a:lnTo>
                        <a:pt x="872" y="139"/>
                      </a:lnTo>
                      <a:lnTo>
                        <a:pt x="885" y="149"/>
                      </a:lnTo>
                      <a:lnTo>
                        <a:pt x="885" y="149"/>
                      </a:lnTo>
                      <a:close/>
                      <a:moveTo>
                        <a:pt x="938" y="115"/>
                      </a:moveTo>
                      <a:lnTo>
                        <a:pt x="910" y="133"/>
                      </a:lnTo>
                      <a:lnTo>
                        <a:pt x="910" y="133"/>
                      </a:lnTo>
                      <a:lnTo>
                        <a:pt x="892" y="121"/>
                      </a:lnTo>
                      <a:lnTo>
                        <a:pt x="935" y="102"/>
                      </a:lnTo>
                      <a:lnTo>
                        <a:pt x="935" y="102"/>
                      </a:lnTo>
                      <a:lnTo>
                        <a:pt x="938" y="115"/>
                      </a:lnTo>
                      <a:lnTo>
                        <a:pt x="938" y="115"/>
                      </a:lnTo>
                      <a:close/>
                      <a:moveTo>
                        <a:pt x="955" y="93"/>
                      </a:moveTo>
                      <a:lnTo>
                        <a:pt x="999" y="74"/>
                      </a:lnTo>
                      <a:lnTo>
                        <a:pt x="1000" y="75"/>
                      </a:lnTo>
                      <a:lnTo>
                        <a:pt x="953" y="104"/>
                      </a:lnTo>
                      <a:lnTo>
                        <a:pt x="953" y="104"/>
                      </a:lnTo>
                      <a:lnTo>
                        <a:pt x="955" y="93"/>
                      </a:lnTo>
                      <a:lnTo>
                        <a:pt x="955" y="9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64657" tIns="32328" rIns="64657" bIns="323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76409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 293">
                  <a:extLst>
                    <a:ext uri="{FF2B5EF4-FFF2-40B4-BE49-F238E27FC236}">
                      <a16:creationId xmlns:a16="http://schemas.microsoft.com/office/drawing/2014/main" id="{F9155077-74C9-439F-9453-C11898DD87E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3613" y="3579975"/>
                  <a:ext cx="240162" cy="176695"/>
                </a:xfrm>
                <a:custGeom>
                  <a:avLst/>
                  <a:gdLst>
                    <a:gd name="T0" fmla="*/ 1068 w 1357"/>
                    <a:gd name="T1" fmla="*/ 97 h 947"/>
                    <a:gd name="T2" fmla="*/ 447 w 1357"/>
                    <a:gd name="T3" fmla="*/ 257 h 947"/>
                    <a:gd name="T4" fmla="*/ 0 w 1357"/>
                    <a:gd name="T5" fmla="*/ 861 h 947"/>
                    <a:gd name="T6" fmla="*/ 541 w 1357"/>
                    <a:gd name="T7" fmla="*/ 470 h 947"/>
                    <a:gd name="T8" fmla="*/ 911 w 1357"/>
                    <a:gd name="T9" fmla="*/ 374 h 947"/>
                    <a:gd name="T10" fmla="*/ 295 w 1357"/>
                    <a:gd name="T11" fmla="*/ 288 h 947"/>
                    <a:gd name="T12" fmla="*/ 295 w 1357"/>
                    <a:gd name="T13" fmla="*/ 536 h 947"/>
                    <a:gd name="T14" fmla="*/ 1 w 1357"/>
                    <a:gd name="T15" fmla="*/ 288 h 947"/>
                    <a:gd name="T16" fmla="*/ 272 w 1357"/>
                    <a:gd name="T17" fmla="*/ 485 h 947"/>
                    <a:gd name="T18" fmla="*/ 221 w 1357"/>
                    <a:gd name="T19" fmla="*/ 334 h 947"/>
                    <a:gd name="T20" fmla="*/ 272 w 1357"/>
                    <a:gd name="T21" fmla="*/ 411 h 947"/>
                    <a:gd name="T22" fmla="*/ 48 w 1357"/>
                    <a:gd name="T23" fmla="*/ 334 h 947"/>
                    <a:gd name="T24" fmla="*/ 117 w 1357"/>
                    <a:gd name="T25" fmla="*/ 334 h 947"/>
                    <a:gd name="T26" fmla="*/ 142 w 1357"/>
                    <a:gd name="T27" fmla="*/ 334 h 947"/>
                    <a:gd name="T28" fmla="*/ 48 w 1357"/>
                    <a:gd name="T29" fmla="*/ 438 h 947"/>
                    <a:gd name="T30" fmla="*/ 295 w 1357"/>
                    <a:gd name="T31" fmla="*/ 574 h 947"/>
                    <a:gd name="T32" fmla="*/ 295 w 1357"/>
                    <a:gd name="T33" fmla="*/ 822 h 947"/>
                    <a:gd name="T34" fmla="*/ 1 w 1357"/>
                    <a:gd name="T35" fmla="*/ 574 h 947"/>
                    <a:gd name="T36" fmla="*/ 272 w 1357"/>
                    <a:gd name="T37" fmla="*/ 772 h 947"/>
                    <a:gd name="T38" fmla="*/ 221 w 1357"/>
                    <a:gd name="T39" fmla="*/ 621 h 947"/>
                    <a:gd name="T40" fmla="*/ 272 w 1357"/>
                    <a:gd name="T41" fmla="*/ 699 h 947"/>
                    <a:gd name="T42" fmla="*/ 48 w 1357"/>
                    <a:gd name="T43" fmla="*/ 621 h 947"/>
                    <a:gd name="T44" fmla="*/ 117 w 1357"/>
                    <a:gd name="T45" fmla="*/ 621 h 947"/>
                    <a:gd name="T46" fmla="*/ 142 w 1357"/>
                    <a:gd name="T47" fmla="*/ 621 h 947"/>
                    <a:gd name="T48" fmla="*/ 48 w 1357"/>
                    <a:gd name="T49" fmla="*/ 726 h 947"/>
                    <a:gd name="T50" fmla="*/ 948 w 1357"/>
                    <a:gd name="T51" fmla="*/ 574 h 947"/>
                    <a:gd name="T52" fmla="*/ 948 w 1357"/>
                    <a:gd name="T53" fmla="*/ 822 h 947"/>
                    <a:gd name="T54" fmla="*/ 654 w 1357"/>
                    <a:gd name="T55" fmla="*/ 574 h 947"/>
                    <a:gd name="T56" fmla="*/ 925 w 1357"/>
                    <a:gd name="T57" fmla="*/ 772 h 947"/>
                    <a:gd name="T58" fmla="*/ 874 w 1357"/>
                    <a:gd name="T59" fmla="*/ 621 h 947"/>
                    <a:gd name="T60" fmla="*/ 925 w 1357"/>
                    <a:gd name="T61" fmla="*/ 699 h 947"/>
                    <a:gd name="T62" fmla="*/ 702 w 1357"/>
                    <a:gd name="T63" fmla="*/ 621 h 947"/>
                    <a:gd name="T64" fmla="*/ 770 w 1357"/>
                    <a:gd name="T65" fmla="*/ 621 h 947"/>
                    <a:gd name="T66" fmla="*/ 795 w 1357"/>
                    <a:gd name="T67" fmla="*/ 621 h 947"/>
                    <a:gd name="T68" fmla="*/ 702 w 1357"/>
                    <a:gd name="T69" fmla="*/ 726 h 947"/>
                    <a:gd name="T70" fmla="*/ 1334 w 1357"/>
                    <a:gd name="T71" fmla="*/ 574 h 947"/>
                    <a:gd name="T72" fmla="*/ 1334 w 1357"/>
                    <a:gd name="T73" fmla="*/ 822 h 947"/>
                    <a:gd name="T74" fmla="*/ 1040 w 1357"/>
                    <a:gd name="T75" fmla="*/ 574 h 947"/>
                    <a:gd name="T76" fmla="*/ 1310 w 1357"/>
                    <a:gd name="T77" fmla="*/ 772 h 947"/>
                    <a:gd name="T78" fmla="*/ 1259 w 1357"/>
                    <a:gd name="T79" fmla="*/ 621 h 947"/>
                    <a:gd name="T80" fmla="*/ 1310 w 1357"/>
                    <a:gd name="T81" fmla="*/ 699 h 947"/>
                    <a:gd name="T82" fmla="*/ 1086 w 1357"/>
                    <a:gd name="T83" fmla="*/ 621 h 947"/>
                    <a:gd name="T84" fmla="*/ 1155 w 1357"/>
                    <a:gd name="T85" fmla="*/ 621 h 947"/>
                    <a:gd name="T86" fmla="*/ 1180 w 1357"/>
                    <a:gd name="T87" fmla="*/ 621 h 947"/>
                    <a:gd name="T88" fmla="*/ 1086 w 1357"/>
                    <a:gd name="T89" fmla="*/ 726 h 947"/>
                    <a:gd name="T90" fmla="*/ 782 w 1357"/>
                    <a:gd name="T91" fmla="*/ 170 h 947"/>
                    <a:gd name="T92" fmla="*/ 782 w 1357"/>
                    <a:gd name="T93" fmla="*/ 170 h 947"/>
                    <a:gd name="T94" fmla="*/ 678 w 1357"/>
                    <a:gd name="T95" fmla="*/ 216 h 947"/>
                    <a:gd name="T96" fmla="*/ 602 w 1357"/>
                    <a:gd name="T97" fmla="*/ 250 h 947"/>
                    <a:gd name="T98" fmla="*/ 628 w 1357"/>
                    <a:gd name="T99" fmla="*/ 313 h 947"/>
                    <a:gd name="T100" fmla="*/ 704 w 1357"/>
                    <a:gd name="T101" fmla="*/ 264 h 947"/>
                    <a:gd name="T102" fmla="*/ 794 w 1357"/>
                    <a:gd name="T103" fmla="*/ 207 h 947"/>
                    <a:gd name="T104" fmla="*/ 885 w 1357"/>
                    <a:gd name="T105" fmla="*/ 149 h 947"/>
                    <a:gd name="T106" fmla="*/ 935 w 1357"/>
                    <a:gd name="T107" fmla="*/ 102 h 947"/>
                    <a:gd name="T108" fmla="*/ 999 w 1357"/>
                    <a:gd name="T109" fmla="*/ 74 h 947"/>
                    <a:gd name="T110" fmla="*/ 955 w 1357"/>
                    <a:gd name="T111" fmla="*/ 93 h 9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357" h="947">
                      <a:moveTo>
                        <a:pt x="1128" y="374"/>
                      </a:moveTo>
                      <a:lnTo>
                        <a:pt x="1032" y="374"/>
                      </a:lnTo>
                      <a:lnTo>
                        <a:pt x="1032" y="120"/>
                      </a:lnTo>
                      <a:lnTo>
                        <a:pt x="1048" y="109"/>
                      </a:lnTo>
                      <a:lnTo>
                        <a:pt x="1068" y="97"/>
                      </a:lnTo>
                      <a:lnTo>
                        <a:pt x="1059" y="76"/>
                      </a:lnTo>
                      <a:lnTo>
                        <a:pt x="1039" y="26"/>
                      </a:lnTo>
                      <a:lnTo>
                        <a:pt x="1029" y="0"/>
                      </a:lnTo>
                      <a:lnTo>
                        <a:pt x="1003" y="11"/>
                      </a:lnTo>
                      <a:lnTo>
                        <a:pt x="447" y="257"/>
                      </a:lnTo>
                      <a:lnTo>
                        <a:pt x="378" y="257"/>
                      </a:lnTo>
                      <a:lnTo>
                        <a:pt x="378" y="470"/>
                      </a:lnTo>
                      <a:lnTo>
                        <a:pt x="415" y="470"/>
                      </a:lnTo>
                      <a:lnTo>
                        <a:pt x="415" y="861"/>
                      </a:lnTo>
                      <a:lnTo>
                        <a:pt x="0" y="861"/>
                      </a:lnTo>
                      <a:lnTo>
                        <a:pt x="0" y="947"/>
                      </a:lnTo>
                      <a:lnTo>
                        <a:pt x="1357" y="947"/>
                      </a:lnTo>
                      <a:lnTo>
                        <a:pt x="1357" y="861"/>
                      </a:lnTo>
                      <a:lnTo>
                        <a:pt x="541" y="861"/>
                      </a:lnTo>
                      <a:lnTo>
                        <a:pt x="541" y="470"/>
                      </a:lnTo>
                      <a:lnTo>
                        <a:pt x="581" y="470"/>
                      </a:lnTo>
                      <a:lnTo>
                        <a:pt x="581" y="408"/>
                      </a:lnTo>
                      <a:lnTo>
                        <a:pt x="1006" y="136"/>
                      </a:lnTo>
                      <a:lnTo>
                        <a:pt x="1006" y="374"/>
                      </a:lnTo>
                      <a:lnTo>
                        <a:pt x="911" y="374"/>
                      </a:lnTo>
                      <a:lnTo>
                        <a:pt x="911" y="531"/>
                      </a:lnTo>
                      <a:lnTo>
                        <a:pt x="1128" y="531"/>
                      </a:lnTo>
                      <a:lnTo>
                        <a:pt x="1128" y="374"/>
                      </a:lnTo>
                      <a:lnTo>
                        <a:pt x="1128" y="374"/>
                      </a:lnTo>
                      <a:close/>
                      <a:moveTo>
                        <a:pt x="295" y="288"/>
                      </a:moveTo>
                      <a:lnTo>
                        <a:pt x="319" y="288"/>
                      </a:lnTo>
                      <a:lnTo>
                        <a:pt x="319" y="310"/>
                      </a:lnTo>
                      <a:lnTo>
                        <a:pt x="319" y="512"/>
                      </a:lnTo>
                      <a:lnTo>
                        <a:pt x="319" y="536"/>
                      </a:lnTo>
                      <a:lnTo>
                        <a:pt x="295" y="536"/>
                      </a:lnTo>
                      <a:lnTo>
                        <a:pt x="25" y="536"/>
                      </a:lnTo>
                      <a:lnTo>
                        <a:pt x="1" y="536"/>
                      </a:lnTo>
                      <a:lnTo>
                        <a:pt x="1" y="512"/>
                      </a:lnTo>
                      <a:lnTo>
                        <a:pt x="1" y="310"/>
                      </a:lnTo>
                      <a:lnTo>
                        <a:pt x="1" y="288"/>
                      </a:lnTo>
                      <a:lnTo>
                        <a:pt x="25" y="288"/>
                      </a:lnTo>
                      <a:lnTo>
                        <a:pt x="295" y="288"/>
                      </a:lnTo>
                      <a:lnTo>
                        <a:pt x="295" y="288"/>
                      </a:lnTo>
                      <a:close/>
                      <a:moveTo>
                        <a:pt x="221" y="334"/>
                      </a:moveTo>
                      <a:lnTo>
                        <a:pt x="272" y="485"/>
                      </a:lnTo>
                      <a:lnTo>
                        <a:pt x="272" y="489"/>
                      </a:lnTo>
                      <a:lnTo>
                        <a:pt x="245" y="489"/>
                      </a:lnTo>
                      <a:lnTo>
                        <a:pt x="194" y="334"/>
                      </a:lnTo>
                      <a:lnTo>
                        <a:pt x="221" y="334"/>
                      </a:lnTo>
                      <a:lnTo>
                        <a:pt x="221" y="334"/>
                      </a:lnTo>
                      <a:close/>
                      <a:moveTo>
                        <a:pt x="272" y="411"/>
                      </a:moveTo>
                      <a:lnTo>
                        <a:pt x="246" y="334"/>
                      </a:lnTo>
                      <a:lnTo>
                        <a:pt x="272" y="334"/>
                      </a:lnTo>
                      <a:lnTo>
                        <a:pt x="272" y="411"/>
                      </a:lnTo>
                      <a:lnTo>
                        <a:pt x="272" y="411"/>
                      </a:lnTo>
                      <a:close/>
                      <a:moveTo>
                        <a:pt x="65" y="334"/>
                      </a:moveTo>
                      <a:lnTo>
                        <a:pt x="117" y="489"/>
                      </a:lnTo>
                      <a:lnTo>
                        <a:pt x="90" y="489"/>
                      </a:lnTo>
                      <a:lnTo>
                        <a:pt x="48" y="365"/>
                      </a:lnTo>
                      <a:lnTo>
                        <a:pt x="48" y="334"/>
                      </a:lnTo>
                      <a:lnTo>
                        <a:pt x="65" y="334"/>
                      </a:lnTo>
                      <a:lnTo>
                        <a:pt x="65" y="334"/>
                      </a:lnTo>
                      <a:close/>
                      <a:moveTo>
                        <a:pt x="142" y="489"/>
                      </a:moveTo>
                      <a:lnTo>
                        <a:pt x="90" y="334"/>
                      </a:lnTo>
                      <a:lnTo>
                        <a:pt x="117" y="334"/>
                      </a:lnTo>
                      <a:lnTo>
                        <a:pt x="169" y="489"/>
                      </a:lnTo>
                      <a:lnTo>
                        <a:pt x="142" y="489"/>
                      </a:lnTo>
                      <a:lnTo>
                        <a:pt x="142" y="489"/>
                      </a:lnTo>
                      <a:close/>
                      <a:moveTo>
                        <a:pt x="194" y="489"/>
                      </a:moveTo>
                      <a:lnTo>
                        <a:pt x="142" y="334"/>
                      </a:lnTo>
                      <a:lnTo>
                        <a:pt x="169" y="334"/>
                      </a:lnTo>
                      <a:lnTo>
                        <a:pt x="221" y="489"/>
                      </a:lnTo>
                      <a:lnTo>
                        <a:pt x="194" y="489"/>
                      </a:lnTo>
                      <a:lnTo>
                        <a:pt x="194" y="489"/>
                      </a:lnTo>
                      <a:close/>
                      <a:moveTo>
                        <a:pt x="48" y="438"/>
                      </a:moveTo>
                      <a:lnTo>
                        <a:pt x="65" y="489"/>
                      </a:lnTo>
                      <a:lnTo>
                        <a:pt x="48" y="489"/>
                      </a:lnTo>
                      <a:lnTo>
                        <a:pt x="48" y="438"/>
                      </a:lnTo>
                      <a:lnTo>
                        <a:pt x="48" y="438"/>
                      </a:lnTo>
                      <a:close/>
                      <a:moveTo>
                        <a:pt x="295" y="574"/>
                      </a:moveTo>
                      <a:lnTo>
                        <a:pt x="319" y="574"/>
                      </a:lnTo>
                      <a:lnTo>
                        <a:pt x="319" y="597"/>
                      </a:lnTo>
                      <a:lnTo>
                        <a:pt x="319" y="799"/>
                      </a:lnTo>
                      <a:lnTo>
                        <a:pt x="319" y="822"/>
                      </a:lnTo>
                      <a:lnTo>
                        <a:pt x="295" y="822"/>
                      </a:lnTo>
                      <a:lnTo>
                        <a:pt x="25" y="822"/>
                      </a:lnTo>
                      <a:lnTo>
                        <a:pt x="1" y="822"/>
                      </a:lnTo>
                      <a:lnTo>
                        <a:pt x="1" y="799"/>
                      </a:lnTo>
                      <a:lnTo>
                        <a:pt x="1" y="597"/>
                      </a:lnTo>
                      <a:lnTo>
                        <a:pt x="1" y="574"/>
                      </a:lnTo>
                      <a:lnTo>
                        <a:pt x="25" y="574"/>
                      </a:lnTo>
                      <a:lnTo>
                        <a:pt x="295" y="574"/>
                      </a:lnTo>
                      <a:lnTo>
                        <a:pt x="295" y="574"/>
                      </a:lnTo>
                      <a:close/>
                      <a:moveTo>
                        <a:pt x="221" y="621"/>
                      </a:moveTo>
                      <a:lnTo>
                        <a:pt x="272" y="772"/>
                      </a:lnTo>
                      <a:lnTo>
                        <a:pt x="272" y="776"/>
                      </a:lnTo>
                      <a:lnTo>
                        <a:pt x="245" y="776"/>
                      </a:lnTo>
                      <a:lnTo>
                        <a:pt x="194" y="621"/>
                      </a:lnTo>
                      <a:lnTo>
                        <a:pt x="221" y="621"/>
                      </a:lnTo>
                      <a:lnTo>
                        <a:pt x="221" y="621"/>
                      </a:lnTo>
                      <a:close/>
                      <a:moveTo>
                        <a:pt x="272" y="699"/>
                      </a:moveTo>
                      <a:lnTo>
                        <a:pt x="246" y="621"/>
                      </a:lnTo>
                      <a:lnTo>
                        <a:pt x="272" y="621"/>
                      </a:lnTo>
                      <a:lnTo>
                        <a:pt x="272" y="699"/>
                      </a:lnTo>
                      <a:lnTo>
                        <a:pt x="272" y="699"/>
                      </a:lnTo>
                      <a:close/>
                      <a:moveTo>
                        <a:pt x="65" y="621"/>
                      </a:moveTo>
                      <a:lnTo>
                        <a:pt x="117" y="776"/>
                      </a:lnTo>
                      <a:lnTo>
                        <a:pt x="90" y="776"/>
                      </a:lnTo>
                      <a:lnTo>
                        <a:pt x="48" y="652"/>
                      </a:lnTo>
                      <a:lnTo>
                        <a:pt x="48" y="621"/>
                      </a:lnTo>
                      <a:lnTo>
                        <a:pt x="65" y="621"/>
                      </a:lnTo>
                      <a:lnTo>
                        <a:pt x="65" y="621"/>
                      </a:lnTo>
                      <a:close/>
                      <a:moveTo>
                        <a:pt x="142" y="776"/>
                      </a:moveTo>
                      <a:lnTo>
                        <a:pt x="90" y="621"/>
                      </a:lnTo>
                      <a:lnTo>
                        <a:pt x="117" y="621"/>
                      </a:lnTo>
                      <a:lnTo>
                        <a:pt x="169" y="776"/>
                      </a:lnTo>
                      <a:lnTo>
                        <a:pt x="142" y="776"/>
                      </a:lnTo>
                      <a:lnTo>
                        <a:pt x="142" y="776"/>
                      </a:lnTo>
                      <a:close/>
                      <a:moveTo>
                        <a:pt x="194" y="776"/>
                      </a:moveTo>
                      <a:lnTo>
                        <a:pt x="142" y="621"/>
                      </a:lnTo>
                      <a:lnTo>
                        <a:pt x="169" y="621"/>
                      </a:lnTo>
                      <a:lnTo>
                        <a:pt x="221" y="776"/>
                      </a:lnTo>
                      <a:lnTo>
                        <a:pt x="194" y="776"/>
                      </a:lnTo>
                      <a:lnTo>
                        <a:pt x="194" y="776"/>
                      </a:lnTo>
                      <a:close/>
                      <a:moveTo>
                        <a:pt x="48" y="726"/>
                      </a:moveTo>
                      <a:lnTo>
                        <a:pt x="65" y="776"/>
                      </a:lnTo>
                      <a:lnTo>
                        <a:pt x="48" y="776"/>
                      </a:lnTo>
                      <a:lnTo>
                        <a:pt x="48" y="726"/>
                      </a:lnTo>
                      <a:lnTo>
                        <a:pt x="48" y="726"/>
                      </a:lnTo>
                      <a:close/>
                      <a:moveTo>
                        <a:pt x="948" y="574"/>
                      </a:moveTo>
                      <a:lnTo>
                        <a:pt x="971" y="574"/>
                      </a:lnTo>
                      <a:lnTo>
                        <a:pt x="971" y="597"/>
                      </a:lnTo>
                      <a:lnTo>
                        <a:pt x="971" y="799"/>
                      </a:lnTo>
                      <a:lnTo>
                        <a:pt x="971" y="822"/>
                      </a:lnTo>
                      <a:lnTo>
                        <a:pt x="948" y="822"/>
                      </a:lnTo>
                      <a:lnTo>
                        <a:pt x="678" y="822"/>
                      </a:lnTo>
                      <a:lnTo>
                        <a:pt x="654" y="822"/>
                      </a:lnTo>
                      <a:lnTo>
                        <a:pt x="654" y="799"/>
                      </a:lnTo>
                      <a:lnTo>
                        <a:pt x="654" y="597"/>
                      </a:lnTo>
                      <a:lnTo>
                        <a:pt x="654" y="574"/>
                      </a:lnTo>
                      <a:lnTo>
                        <a:pt x="678" y="574"/>
                      </a:lnTo>
                      <a:lnTo>
                        <a:pt x="948" y="574"/>
                      </a:lnTo>
                      <a:lnTo>
                        <a:pt x="948" y="574"/>
                      </a:lnTo>
                      <a:close/>
                      <a:moveTo>
                        <a:pt x="874" y="621"/>
                      </a:moveTo>
                      <a:lnTo>
                        <a:pt x="925" y="772"/>
                      </a:lnTo>
                      <a:lnTo>
                        <a:pt x="925" y="776"/>
                      </a:lnTo>
                      <a:lnTo>
                        <a:pt x="898" y="776"/>
                      </a:lnTo>
                      <a:lnTo>
                        <a:pt x="847" y="621"/>
                      </a:lnTo>
                      <a:lnTo>
                        <a:pt x="874" y="621"/>
                      </a:lnTo>
                      <a:lnTo>
                        <a:pt x="874" y="621"/>
                      </a:lnTo>
                      <a:close/>
                      <a:moveTo>
                        <a:pt x="925" y="699"/>
                      </a:moveTo>
                      <a:lnTo>
                        <a:pt x="899" y="621"/>
                      </a:lnTo>
                      <a:lnTo>
                        <a:pt x="925" y="621"/>
                      </a:lnTo>
                      <a:lnTo>
                        <a:pt x="925" y="699"/>
                      </a:lnTo>
                      <a:lnTo>
                        <a:pt x="925" y="699"/>
                      </a:lnTo>
                      <a:close/>
                      <a:moveTo>
                        <a:pt x="718" y="621"/>
                      </a:moveTo>
                      <a:lnTo>
                        <a:pt x="770" y="776"/>
                      </a:lnTo>
                      <a:lnTo>
                        <a:pt x="743" y="776"/>
                      </a:lnTo>
                      <a:lnTo>
                        <a:pt x="702" y="652"/>
                      </a:lnTo>
                      <a:lnTo>
                        <a:pt x="702" y="621"/>
                      </a:lnTo>
                      <a:lnTo>
                        <a:pt x="718" y="621"/>
                      </a:lnTo>
                      <a:lnTo>
                        <a:pt x="718" y="621"/>
                      </a:lnTo>
                      <a:close/>
                      <a:moveTo>
                        <a:pt x="795" y="776"/>
                      </a:moveTo>
                      <a:lnTo>
                        <a:pt x="743" y="621"/>
                      </a:lnTo>
                      <a:lnTo>
                        <a:pt x="770" y="621"/>
                      </a:lnTo>
                      <a:lnTo>
                        <a:pt x="822" y="776"/>
                      </a:lnTo>
                      <a:lnTo>
                        <a:pt x="795" y="776"/>
                      </a:lnTo>
                      <a:lnTo>
                        <a:pt x="795" y="776"/>
                      </a:lnTo>
                      <a:close/>
                      <a:moveTo>
                        <a:pt x="847" y="776"/>
                      </a:moveTo>
                      <a:lnTo>
                        <a:pt x="795" y="621"/>
                      </a:lnTo>
                      <a:lnTo>
                        <a:pt x="822" y="621"/>
                      </a:lnTo>
                      <a:lnTo>
                        <a:pt x="874" y="776"/>
                      </a:lnTo>
                      <a:lnTo>
                        <a:pt x="847" y="776"/>
                      </a:lnTo>
                      <a:lnTo>
                        <a:pt x="847" y="776"/>
                      </a:lnTo>
                      <a:close/>
                      <a:moveTo>
                        <a:pt x="702" y="726"/>
                      </a:moveTo>
                      <a:lnTo>
                        <a:pt x="718" y="776"/>
                      </a:lnTo>
                      <a:lnTo>
                        <a:pt x="702" y="776"/>
                      </a:lnTo>
                      <a:lnTo>
                        <a:pt x="702" y="726"/>
                      </a:lnTo>
                      <a:lnTo>
                        <a:pt x="702" y="726"/>
                      </a:lnTo>
                      <a:close/>
                      <a:moveTo>
                        <a:pt x="1334" y="574"/>
                      </a:moveTo>
                      <a:lnTo>
                        <a:pt x="1356" y="574"/>
                      </a:lnTo>
                      <a:lnTo>
                        <a:pt x="1356" y="597"/>
                      </a:lnTo>
                      <a:lnTo>
                        <a:pt x="1356" y="799"/>
                      </a:lnTo>
                      <a:lnTo>
                        <a:pt x="1356" y="822"/>
                      </a:lnTo>
                      <a:lnTo>
                        <a:pt x="1334" y="822"/>
                      </a:lnTo>
                      <a:lnTo>
                        <a:pt x="1063" y="822"/>
                      </a:lnTo>
                      <a:lnTo>
                        <a:pt x="1040" y="822"/>
                      </a:lnTo>
                      <a:lnTo>
                        <a:pt x="1040" y="799"/>
                      </a:lnTo>
                      <a:lnTo>
                        <a:pt x="1040" y="597"/>
                      </a:lnTo>
                      <a:lnTo>
                        <a:pt x="1040" y="574"/>
                      </a:lnTo>
                      <a:lnTo>
                        <a:pt x="1063" y="574"/>
                      </a:lnTo>
                      <a:lnTo>
                        <a:pt x="1334" y="574"/>
                      </a:lnTo>
                      <a:lnTo>
                        <a:pt x="1334" y="574"/>
                      </a:lnTo>
                      <a:close/>
                      <a:moveTo>
                        <a:pt x="1259" y="621"/>
                      </a:moveTo>
                      <a:lnTo>
                        <a:pt x="1310" y="772"/>
                      </a:lnTo>
                      <a:lnTo>
                        <a:pt x="1310" y="776"/>
                      </a:lnTo>
                      <a:lnTo>
                        <a:pt x="1284" y="776"/>
                      </a:lnTo>
                      <a:lnTo>
                        <a:pt x="1232" y="621"/>
                      </a:lnTo>
                      <a:lnTo>
                        <a:pt x="1259" y="621"/>
                      </a:lnTo>
                      <a:lnTo>
                        <a:pt x="1259" y="621"/>
                      </a:lnTo>
                      <a:close/>
                      <a:moveTo>
                        <a:pt x="1310" y="699"/>
                      </a:moveTo>
                      <a:lnTo>
                        <a:pt x="1284" y="621"/>
                      </a:lnTo>
                      <a:lnTo>
                        <a:pt x="1310" y="621"/>
                      </a:lnTo>
                      <a:lnTo>
                        <a:pt x="1310" y="699"/>
                      </a:lnTo>
                      <a:lnTo>
                        <a:pt x="1310" y="699"/>
                      </a:lnTo>
                      <a:close/>
                      <a:moveTo>
                        <a:pt x="1104" y="621"/>
                      </a:moveTo>
                      <a:lnTo>
                        <a:pt x="1155" y="776"/>
                      </a:lnTo>
                      <a:lnTo>
                        <a:pt x="1128" y="776"/>
                      </a:lnTo>
                      <a:lnTo>
                        <a:pt x="1086" y="652"/>
                      </a:lnTo>
                      <a:lnTo>
                        <a:pt x="1086" y="621"/>
                      </a:lnTo>
                      <a:lnTo>
                        <a:pt x="1104" y="621"/>
                      </a:lnTo>
                      <a:lnTo>
                        <a:pt x="1104" y="621"/>
                      </a:lnTo>
                      <a:close/>
                      <a:moveTo>
                        <a:pt x="1180" y="776"/>
                      </a:moveTo>
                      <a:lnTo>
                        <a:pt x="1128" y="621"/>
                      </a:lnTo>
                      <a:lnTo>
                        <a:pt x="1155" y="621"/>
                      </a:lnTo>
                      <a:lnTo>
                        <a:pt x="1207" y="776"/>
                      </a:lnTo>
                      <a:lnTo>
                        <a:pt x="1180" y="776"/>
                      </a:lnTo>
                      <a:lnTo>
                        <a:pt x="1180" y="776"/>
                      </a:lnTo>
                      <a:close/>
                      <a:moveTo>
                        <a:pt x="1232" y="776"/>
                      </a:moveTo>
                      <a:lnTo>
                        <a:pt x="1180" y="621"/>
                      </a:lnTo>
                      <a:lnTo>
                        <a:pt x="1207" y="621"/>
                      </a:lnTo>
                      <a:lnTo>
                        <a:pt x="1259" y="776"/>
                      </a:lnTo>
                      <a:lnTo>
                        <a:pt x="1232" y="776"/>
                      </a:lnTo>
                      <a:lnTo>
                        <a:pt x="1232" y="776"/>
                      </a:lnTo>
                      <a:close/>
                      <a:moveTo>
                        <a:pt x="1086" y="726"/>
                      </a:moveTo>
                      <a:lnTo>
                        <a:pt x="1103" y="776"/>
                      </a:lnTo>
                      <a:lnTo>
                        <a:pt x="1086" y="776"/>
                      </a:lnTo>
                      <a:lnTo>
                        <a:pt x="1086" y="726"/>
                      </a:lnTo>
                      <a:lnTo>
                        <a:pt x="1086" y="726"/>
                      </a:lnTo>
                      <a:close/>
                      <a:moveTo>
                        <a:pt x="782" y="170"/>
                      </a:moveTo>
                      <a:lnTo>
                        <a:pt x="841" y="143"/>
                      </a:lnTo>
                      <a:lnTo>
                        <a:pt x="831" y="184"/>
                      </a:lnTo>
                      <a:lnTo>
                        <a:pt x="820" y="190"/>
                      </a:lnTo>
                      <a:lnTo>
                        <a:pt x="782" y="170"/>
                      </a:lnTo>
                      <a:lnTo>
                        <a:pt x="782" y="170"/>
                      </a:lnTo>
                      <a:close/>
                      <a:moveTo>
                        <a:pt x="678" y="216"/>
                      </a:moveTo>
                      <a:lnTo>
                        <a:pt x="728" y="193"/>
                      </a:lnTo>
                      <a:lnTo>
                        <a:pt x="726" y="245"/>
                      </a:lnTo>
                      <a:lnTo>
                        <a:pt x="678" y="216"/>
                      </a:lnTo>
                      <a:lnTo>
                        <a:pt x="678" y="216"/>
                      </a:lnTo>
                      <a:close/>
                      <a:moveTo>
                        <a:pt x="602" y="250"/>
                      </a:moveTo>
                      <a:lnTo>
                        <a:pt x="634" y="236"/>
                      </a:lnTo>
                      <a:lnTo>
                        <a:pt x="632" y="278"/>
                      </a:lnTo>
                      <a:lnTo>
                        <a:pt x="602" y="250"/>
                      </a:lnTo>
                      <a:lnTo>
                        <a:pt x="602" y="250"/>
                      </a:lnTo>
                      <a:close/>
                      <a:moveTo>
                        <a:pt x="628" y="313"/>
                      </a:moveTo>
                      <a:lnTo>
                        <a:pt x="581" y="343"/>
                      </a:lnTo>
                      <a:lnTo>
                        <a:pt x="581" y="268"/>
                      </a:lnTo>
                      <a:lnTo>
                        <a:pt x="628" y="313"/>
                      </a:lnTo>
                      <a:lnTo>
                        <a:pt x="628" y="313"/>
                      </a:lnTo>
                      <a:close/>
                      <a:moveTo>
                        <a:pt x="704" y="264"/>
                      </a:moveTo>
                      <a:lnTo>
                        <a:pt x="659" y="293"/>
                      </a:lnTo>
                      <a:lnTo>
                        <a:pt x="661" y="239"/>
                      </a:lnTo>
                      <a:lnTo>
                        <a:pt x="704" y="264"/>
                      </a:lnTo>
                      <a:lnTo>
                        <a:pt x="704" y="264"/>
                      </a:lnTo>
                      <a:close/>
                      <a:moveTo>
                        <a:pt x="794" y="207"/>
                      </a:moveTo>
                      <a:lnTo>
                        <a:pt x="754" y="232"/>
                      </a:lnTo>
                      <a:lnTo>
                        <a:pt x="755" y="187"/>
                      </a:lnTo>
                      <a:lnTo>
                        <a:pt x="794" y="207"/>
                      </a:lnTo>
                      <a:lnTo>
                        <a:pt x="794" y="207"/>
                      </a:lnTo>
                      <a:close/>
                      <a:moveTo>
                        <a:pt x="885" y="149"/>
                      </a:moveTo>
                      <a:lnTo>
                        <a:pt x="865" y="161"/>
                      </a:lnTo>
                      <a:lnTo>
                        <a:pt x="872" y="139"/>
                      </a:lnTo>
                      <a:lnTo>
                        <a:pt x="885" y="149"/>
                      </a:lnTo>
                      <a:lnTo>
                        <a:pt x="885" y="149"/>
                      </a:lnTo>
                      <a:close/>
                      <a:moveTo>
                        <a:pt x="938" y="115"/>
                      </a:moveTo>
                      <a:lnTo>
                        <a:pt x="910" y="133"/>
                      </a:lnTo>
                      <a:lnTo>
                        <a:pt x="910" y="133"/>
                      </a:lnTo>
                      <a:lnTo>
                        <a:pt x="892" y="121"/>
                      </a:lnTo>
                      <a:lnTo>
                        <a:pt x="935" y="102"/>
                      </a:lnTo>
                      <a:lnTo>
                        <a:pt x="935" y="102"/>
                      </a:lnTo>
                      <a:lnTo>
                        <a:pt x="938" y="115"/>
                      </a:lnTo>
                      <a:lnTo>
                        <a:pt x="938" y="115"/>
                      </a:lnTo>
                      <a:close/>
                      <a:moveTo>
                        <a:pt x="955" y="93"/>
                      </a:moveTo>
                      <a:lnTo>
                        <a:pt x="999" y="74"/>
                      </a:lnTo>
                      <a:lnTo>
                        <a:pt x="1000" y="75"/>
                      </a:lnTo>
                      <a:lnTo>
                        <a:pt x="953" y="104"/>
                      </a:lnTo>
                      <a:lnTo>
                        <a:pt x="953" y="104"/>
                      </a:lnTo>
                      <a:lnTo>
                        <a:pt x="955" y="93"/>
                      </a:lnTo>
                      <a:lnTo>
                        <a:pt x="955" y="93"/>
                      </a:lnTo>
                      <a:close/>
                    </a:path>
                  </a:pathLst>
                </a:custGeom>
                <a:solidFill>
                  <a:srgbClr val="0A2966"/>
                </a:solidFill>
                <a:ln>
                  <a:solidFill>
                    <a:srgbClr val="0A2966"/>
                  </a:solidFill>
                </a:ln>
              </p:spPr>
              <p:txBody>
                <a:bodyPr vert="horz" wrap="square" lIns="64657" tIns="32328" rIns="64657" bIns="323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76409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293">
                  <a:extLst>
                    <a:ext uri="{FF2B5EF4-FFF2-40B4-BE49-F238E27FC236}">
                      <a16:creationId xmlns:a16="http://schemas.microsoft.com/office/drawing/2014/main" id="{D927AC34-2C20-4FF2-897E-536623ED77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07359" y="3910507"/>
                  <a:ext cx="240162" cy="176695"/>
                </a:xfrm>
                <a:custGeom>
                  <a:avLst/>
                  <a:gdLst>
                    <a:gd name="T0" fmla="*/ 1068 w 1357"/>
                    <a:gd name="T1" fmla="*/ 97 h 947"/>
                    <a:gd name="T2" fmla="*/ 447 w 1357"/>
                    <a:gd name="T3" fmla="*/ 257 h 947"/>
                    <a:gd name="T4" fmla="*/ 0 w 1357"/>
                    <a:gd name="T5" fmla="*/ 861 h 947"/>
                    <a:gd name="T6" fmla="*/ 541 w 1357"/>
                    <a:gd name="T7" fmla="*/ 470 h 947"/>
                    <a:gd name="T8" fmla="*/ 911 w 1357"/>
                    <a:gd name="T9" fmla="*/ 374 h 947"/>
                    <a:gd name="T10" fmla="*/ 295 w 1357"/>
                    <a:gd name="T11" fmla="*/ 288 h 947"/>
                    <a:gd name="T12" fmla="*/ 295 w 1357"/>
                    <a:gd name="T13" fmla="*/ 536 h 947"/>
                    <a:gd name="T14" fmla="*/ 1 w 1357"/>
                    <a:gd name="T15" fmla="*/ 288 h 947"/>
                    <a:gd name="T16" fmla="*/ 272 w 1357"/>
                    <a:gd name="T17" fmla="*/ 485 h 947"/>
                    <a:gd name="T18" fmla="*/ 221 w 1357"/>
                    <a:gd name="T19" fmla="*/ 334 h 947"/>
                    <a:gd name="T20" fmla="*/ 272 w 1357"/>
                    <a:gd name="T21" fmla="*/ 411 h 947"/>
                    <a:gd name="T22" fmla="*/ 48 w 1357"/>
                    <a:gd name="T23" fmla="*/ 334 h 947"/>
                    <a:gd name="T24" fmla="*/ 117 w 1357"/>
                    <a:gd name="T25" fmla="*/ 334 h 947"/>
                    <a:gd name="T26" fmla="*/ 142 w 1357"/>
                    <a:gd name="T27" fmla="*/ 334 h 947"/>
                    <a:gd name="T28" fmla="*/ 48 w 1357"/>
                    <a:gd name="T29" fmla="*/ 438 h 947"/>
                    <a:gd name="T30" fmla="*/ 295 w 1357"/>
                    <a:gd name="T31" fmla="*/ 574 h 947"/>
                    <a:gd name="T32" fmla="*/ 295 w 1357"/>
                    <a:gd name="T33" fmla="*/ 822 h 947"/>
                    <a:gd name="T34" fmla="*/ 1 w 1357"/>
                    <a:gd name="T35" fmla="*/ 574 h 947"/>
                    <a:gd name="T36" fmla="*/ 272 w 1357"/>
                    <a:gd name="T37" fmla="*/ 772 h 947"/>
                    <a:gd name="T38" fmla="*/ 221 w 1357"/>
                    <a:gd name="T39" fmla="*/ 621 h 947"/>
                    <a:gd name="T40" fmla="*/ 272 w 1357"/>
                    <a:gd name="T41" fmla="*/ 699 h 947"/>
                    <a:gd name="T42" fmla="*/ 48 w 1357"/>
                    <a:gd name="T43" fmla="*/ 621 h 947"/>
                    <a:gd name="T44" fmla="*/ 117 w 1357"/>
                    <a:gd name="T45" fmla="*/ 621 h 947"/>
                    <a:gd name="T46" fmla="*/ 142 w 1357"/>
                    <a:gd name="T47" fmla="*/ 621 h 947"/>
                    <a:gd name="T48" fmla="*/ 48 w 1357"/>
                    <a:gd name="T49" fmla="*/ 726 h 947"/>
                    <a:gd name="T50" fmla="*/ 948 w 1357"/>
                    <a:gd name="T51" fmla="*/ 574 h 947"/>
                    <a:gd name="T52" fmla="*/ 948 w 1357"/>
                    <a:gd name="T53" fmla="*/ 822 h 947"/>
                    <a:gd name="T54" fmla="*/ 654 w 1357"/>
                    <a:gd name="T55" fmla="*/ 574 h 947"/>
                    <a:gd name="T56" fmla="*/ 925 w 1357"/>
                    <a:gd name="T57" fmla="*/ 772 h 947"/>
                    <a:gd name="T58" fmla="*/ 874 w 1357"/>
                    <a:gd name="T59" fmla="*/ 621 h 947"/>
                    <a:gd name="T60" fmla="*/ 925 w 1357"/>
                    <a:gd name="T61" fmla="*/ 699 h 947"/>
                    <a:gd name="T62" fmla="*/ 702 w 1357"/>
                    <a:gd name="T63" fmla="*/ 621 h 947"/>
                    <a:gd name="T64" fmla="*/ 770 w 1357"/>
                    <a:gd name="T65" fmla="*/ 621 h 947"/>
                    <a:gd name="T66" fmla="*/ 795 w 1357"/>
                    <a:gd name="T67" fmla="*/ 621 h 947"/>
                    <a:gd name="T68" fmla="*/ 702 w 1357"/>
                    <a:gd name="T69" fmla="*/ 726 h 947"/>
                    <a:gd name="T70" fmla="*/ 1334 w 1357"/>
                    <a:gd name="T71" fmla="*/ 574 h 947"/>
                    <a:gd name="T72" fmla="*/ 1334 w 1357"/>
                    <a:gd name="T73" fmla="*/ 822 h 947"/>
                    <a:gd name="T74" fmla="*/ 1040 w 1357"/>
                    <a:gd name="T75" fmla="*/ 574 h 947"/>
                    <a:gd name="T76" fmla="*/ 1310 w 1357"/>
                    <a:gd name="T77" fmla="*/ 772 h 947"/>
                    <a:gd name="T78" fmla="*/ 1259 w 1357"/>
                    <a:gd name="T79" fmla="*/ 621 h 947"/>
                    <a:gd name="T80" fmla="*/ 1310 w 1357"/>
                    <a:gd name="T81" fmla="*/ 699 h 947"/>
                    <a:gd name="T82" fmla="*/ 1086 w 1357"/>
                    <a:gd name="T83" fmla="*/ 621 h 947"/>
                    <a:gd name="T84" fmla="*/ 1155 w 1357"/>
                    <a:gd name="T85" fmla="*/ 621 h 947"/>
                    <a:gd name="T86" fmla="*/ 1180 w 1357"/>
                    <a:gd name="T87" fmla="*/ 621 h 947"/>
                    <a:gd name="T88" fmla="*/ 1086 w 1357"/>
                    <a:gd name="T89" fmla="*/ 726 h 947"/>
                    <a:gd name="T90" fmla="*/ 782 w 1357"/>
                    <a:gd name="T91" fmla="*/ 170 h 947"/>
                    <a:gd name="T92" fmla="*/ 782 w 1357"/>
                    <a:gd name="T93" fmla="*/ 170 h 947"/>
                    <a:gd name="T94" fmla="*/ 678 w 1357"/>
                    <a:gd name="T95" fmla="*/ 216 h 947"/>
                    <a:gd name="T96" fmla="*/ 602 w 1357"/>
                    <a:gd name="T97" fmla="*/ 250 h 947"/>
                    <a:gd name="T98" fmla="*/ 628 w 1357"/>
                    <a:gd name="T99" fmla="*/ 313 h 947"/>
                    <a:gd name="T100" fmla="*/ 704 w 1357"/>
                    <a:gd name="T101" fmla="*/ 264 h 947"/>
                    <a:gd name="T102" fmla="*/ 794 w 1357"/>
                    <a:gd name="T103" fmla="*/ 207 h 947"/>
                    <a:gd name="T104" fmla="*/ 885 w 1357"/>
                    <a:gd name="T105" fmla="*/ 149 h 947"/>
                    <a:gd name="T106" fmla="*/ 935 w 1357"/>
                    <a:gd name="T107" fmla="*/ 102 h 947"/>
                    <a:gd name="T108" fmla="*/ 999 w 1357"/>
                    <a:gd name="T109" fmla="*/ 74 h 947"/>
                    <a:gd name="T110" fmla="*/ 955 w 1357"/>
                    <a:gd name="T111" fmla="*/ 93 h 9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357" h="947">
                      <a:moveTo>
                        <a:pt x="1128" y="374"/>
                      </a:moveTo>
                      <a:lnTo>
                        <a:pt x="1032" y="374"/>
                      </a:lnTo>
                      <a:lnTo>
                        <a:pt x="1032" y="120"/>
                      </a:lnTo>
                      <a:lnTo>
                        <a:pt x="1048" y="109"/>
                      </a:lnTo>
                      <a:lnTo>
                        <a:pt x="1068" y="97"/>
                      </a:lnTo>
                      <a:lnTo>
                        <a:pt x="1059" y="76"/>
                      </a:lnTo>
                      <a:lnTo>
                        <a:pt x="1039" y="26"/>
                      </a:lnTo>
                      <a:lnTo>
                        <a:pt x="1029" y="0"/>
                      </a:lnTo>
                      <a:lnTo>
                        <a:pt x="1003" y="11"/>
                      </a:lnTo>
                      <a:lnTo>
                        <a:pt x="447" y="257"/>
                      </a:lnTo>
                      <a:lnTo>
                        <a:pt x="378" y="257"/>
                      </a:lnTo>
                      <a:lnTo>
                        <a:pt x="378" y="470"/>
                      </a:lnTo>
                      <a:lnTo>
                        <a:pt x="415" y="470"/>
                      </a:lnTo>
                      <a:lnTo>
                        <a:pt x="415" y="861"/>
                      </a:lnTo>
                      <a:lnTo>
                        <a:pt x="0" y="861"/>
                      </a:lnTo>
                      <a:lnTo>
                        <a:pt x="0" y="947"/>
                      </a:lnTo>
                      <a:lnTo>
                        <a:pt x="1357" y="947"/>
                      </a:lnTo>
                      <a:lnTo>
                        <a:pt x="1357" y="861"/>
                      </a:lnTo>
                      <a:lnTo>
                        <a:pt x="541" y="861"/>
                      </a:lnTo>
                      <a:lnTo>
                        <a:pt x="541" y="470"/>
                      </a:lnTo>
                      <a:lnTo>
                        <a:pt x="581" y="470"/>
                      </a:lnTo>
                      <a:lnTo>
                        <a:pt x="581" y="408"/>
                      </a:lnTo>
                      <a:lnTo>
                        <a:pt x="1006" y="136"/>
                      </a:lnTo>
                      <a:lnTo>
                        <a:pt x="1006" y="374"/>
                      </a:lnTo>
                      <a:lnTo>
                        <a:pt x="911" y="374"/>
                      </a:lnTo>
                      <a:lnTo>
                        <a:pt x="911" y="531"/>
                      </a:lnTo>
                      <a:lnTo>
                        <a:pt x="1128" y="531"/>
                      </a:lnTo>
                      <a:lnTo>
                        <a:pt x="1128" y="374"/>
                      </a:lnTo>
                      <a:lnTo>
                        <a:pt x="1128" y="374"/>
                      </a:lnTo>
                      <a:close/>
                      <a:moveTo>
                        <a:pt x="295" y="288"/>
                      </a:moveTo>
                      <a:lnTo>
                        <a:pt x="319" y="288"/>
                      </a:lnTo>
                      <a:lnTo>
                        <a:pt x="319" y="310"/>
                      </a:lnTo>
                      <a:lnTo>
                        <a:pt x="319" y="512"/>
                      </a:lnTo>
                      <a:lnTo>
                        <a:pt x="319" y="536"/>
                      </a:lnTo>
                      <a:lnTo>
                        <a:pt x="295" y="536"/>
                      </a:lnTo>
                      <a:lnTo>
                        <a:pt x="25" y="536"/>
                      </a:lnTo>
                      <a:lnTo>
                        <a:pt x="1" y="536"/>
                      </a:lnTo>
                      <a:lnTo>
                        <a:pt x="1" y="512"/>
                      </a:lnTo>
                      <a:lnTo>
                        <a:pt x="1" y="310"/>
                      </a:lnTo>
                      <a:lnTo>
                        <a:pt x="1" y="288"/>
                      </a:lnTo>
                      <a:lnTo>
                        <a:pt x="25" y="288"/>
                      </a:lnTo>
                      <a:lnTo>
                        <a:pt x="295" y="288"/>
                      </a:lnTo>
                      <a:lnTo>
                        <a:pt x="295" y="288"/>
                      </a:lnTo>
                      <a:close/>
                      <a:moveTo>
                        <a:pt x="221" y="334"/>
                      </a:moveTo>
                      <a:lnTo>
                        <a:pt x="272" y="485"/>
                      </a:lnTo>
                      <a:lnTo>
                        <a:pt x="272" y="489"/>
                      </a:lnTo>
                      <a:lnTo>
                        <a:pt x="245" y="489"/>
                      </a:lnTo>
                      <a:lnTo>
                        <a:pt x="194" y="334"/>
                      </a:lnTo>
                      <a:lnTo>
                        <a:pt x="221" y="334"/>
                      </a:lnTo>
                      <a:lnTo>
                        <a:pt x="221" y="334"/>
                      </a:lnTo>
                      <a:close/>
                      <a:moveTo>
                        <a:pt x="272" y="411"/>
                      </a:moveTo>
                      <a:lnTo>
                        <a:pt x="246" y="334"/>
                      </a:lnTo>
                      <a:lnTo>
                        <a:pt x="272" y="334"/>
                      </a:lnTo>
                      <a:lnTo>
                        <a:pt x="272" y="411"/>
                      </a:lnTo>
                      <a:lnTo>
                        <a:pt x="272" y="411"/>
                      </a:lnTo>
                      <a:close/>
                      <a:moveTo>
                        <a:pt x="65" y="334"/>
                      </a:moveTo>
                      <a:lnTo>
                        <a:pt x="117" y="489"/>
                      </a:lnTo>
                      <a:lnTo>
                        <a:pt x="90" y="489"/>
                      </a:lnTo>
                      <a:lnTo>
                        <a:pt x="48" y="365"/>
                      </a:lnTo>
                      <a:lnTo>
                        <a:pt x="48" y="334"/>
                      </a:lnTo>
                      <a:lnTo>
                        <a:pt x="65" y="334"/>
                      </a:lnTo>
                      <a:lnTo>
                        <a:pt x="65" y="334"/>
                      </a:lnTo>
                      <a:close/>
                      <a:moveTo>
                        <a:pt x="142" y="489"/>
                      </a:moveTo>
                      <a:lnTo>
                        <a:pt x="90" y="334"/>
                      </a:lnTo>
                      <a:lnTo>
                        <a:pt x="117" y="334"/>
                      </a:lnTo>
                      <a:lnTo>
                        <a:pt x="169" y="489"/>
                      </a:lnTo>
                      <a:lnTo>
                        <a:pt x="142" y="489"/>
                      </a:lnTo>
                      <a:lnTo>
                        <a:pt x="142" y="489"/>
                      </a:lnTo>
                      <a:close/>
                      <a:moveTo>
                        <a:pt x="194" y="489"/>
                      </a:moveTo>
                      <a:lnTo>
                        <a:pt x="142" y="334"/>
                      </a:lnTo>
                      <a:lnTo>
                        <a:pt x="169" y="334"/>
                      </a:lnTo>
                      <a:lnTo>
                        <a:pt x="221" y="489"/>
                      </a:lnTo>
                      <a:lnTo>
                        <a:pt x="194" y="489"/>
                      </a:lnTo>
                      <a:lnTo>
                        <a:pt x="194" y="489"/>
                      </a:lnTo>
                      <a:close/>
                      <a:moveTo>
                        <a:pt x="48" y="438"/>
                      </a:moveTo>
                      <a:lnTo>
                        <a:pt x="65" y="489"/>
                      </a:lnTo>
                      <a:lnTo>
                        <a:pt x="48" y="489"/>
                      </a:lnTo>
                      <a:lnTo>
                        <a:pt x="48" y="438"/>
                      </a:lnTo>
                      <a:lnTo>
                        <a:pt x="48" y="438"/>
                      </a:lnTo>
                      <a:close/>
                      <a:moveTo>
                        <a:pt x="295" y="574"/>
                      </a:moveTo>
                      <a:lnTo>
                        <a:pt x="319" y="574"/>
                      </a:lnTo>
                      <a:lnTo>
                        <a:pt x="319" y="597"/>
                      </a:lnTo>
                      <a:lnTo>
                        <a:pt x="319" y="799"/>
                      </a:lnTo>
                      <a:lnTo>
                        <a:pt x="319" y="822"/>
                      </a:lnTo>
                      <a:lnTo>
                        <a:pt x="295" y="822"/>
                      </a:lnTo>
                      <a:lnTo>
                        <a:pt x="25" y="822"/>
                      </a:lnTo>
                      <a:lnTo>
                        <a:pt x="1" y="822"/>
                      </a:lnTo>
                      <a:lnTo>
                        <a:pt x="1" y="799"/>
                      </a:lnTo>
                      <a:lnTo>
                        <a:pt x="1" y="597"/>
                      </a:lnTo>
                      <a:lnTo>
                        <a:pt x="1" y="574"/>
                      </a:lnTo>
                      <a:lnTo>
                        <a:pt x="25" y="574"/>
                      </a:lnTo>
                      <a:lnTo>
                        <a:pt x="295" y="574"/>
                      </a:lnTo>
                      <a:lnTo>
                        <a:pt x="295" y="574"/>
                      </a:lnTo>
                      <a:close/>
                      <a:moveTo>
                        <a:pt x="221" y="621"/>
                      </a:moveTo>
                      <a:lnTo>
                        <a:pt x="272" y="772"/>
                      </a:lnTo>
                      <a:lnTo>
                        <a:pt x="272" y="776"/>
                      </a:lnTo>
                      <a:lnTo>
                        <a:pt x="245" y="776"/>
                      </a:lnTo>
                      <a:lnTo>
                        <a:pt x="194" y="621"/>
                      </a:lnTo>
                      <a:lnTo>
                        <a:pt x="221" y="621"/>
                      </a:lnTo>
                      <a:lnTo>
                        <a:pt x="221" y="621"/>
                      </a:lnTo>
                      <a:close/>
                      <a:moveTo>
                        <a:pt x="272" y="699"/>
                      </a:moveTo>
                      <a:lnTo>
                        <a:pt x="246" y="621"/>
                      </a:lnTo>
                      <a:lnTo>
                        <a:pt x="272" y="621"/>
                      </a:lnTo>
                      <a:lnTo>
                        <a:pt x="272" y="699"/>
                      </a:lnTo>
                      <a:lnTo>
                        <a:pt x="272" y="699"/>
                      </a:lnTo>
                      <a:close/>
                      <a:moveTo>
                        <a:pt x="65" y="621"/>
                      </a:moveTo>
                      <a:lnTo>
                        <a:pt x="117" y="776"/>
                      </a:lnTo>
                      <a:lnTo>
                        <a:pt x="90" y="776"/>
                      </a:lnTo>
                      <a:lnTo>
                        <a:pt x="48" y="652"/>
                      </a:lnTo>
                      <a:lnTo>
                        <a:pt x="48" y="621"/>
                      </a:lnTo>
                      <a:lnTo>
                        <a:pt x="65" y="621"/>
                      </a:lnTo>
                      <a:lnTo>
                        <a:pt x="65" y="621"/>
                      </a:lnTo>
                      <a:close/>
                      <a:moveTo>
                        <a:pt x="142" y="776"/>
                      </a:moveTo>
                      <a:lnTo>
                        <a:pt x="90" y="621"/>
                      </a:lnTo>
                      <a:lnTo>
                        <a:pt x="117" y="621"/>
                      </a:lnTo>
                      <a:lnTo>
                        <a:pt x="169" y="776"/>
                      </a:lnTo>
                      <a:lnTo>
                        <a:pt x="142" y="776"/>
                      </a:lnTo>
                      <a:lnTo>
                        <a:pt x="142" y="776"/>
                      </a:lnTo>
                      <a:close/>
                      <a:moveTo>
                        <a:pt x="194" y="776"/>
                      </a:moveTo>
                      <a:lnTo>
                        <a:pt x="142" y="621"/>
                      </a:lnTo>
                      <a:lnTo>
                        <a:pt x="169" y="621"/>
                      </a:lnTo>
                      <a:lnTo>
                        <a:pt x="221" y="776"/>
                      </a:lnTo>
                      <a:lnTo>
                        <a:pt x="194" y="776"/>
                      </a:lnTo>
                      <a:lnTo>
                        <a:pt x="194" y="776"/>
                      </a:lnTo>
                      <a:close/>
                      <a:moveTo>
                        <a:pt x="48" y="726"/>
                      </a:moveTo>
                      <a:lnTo>
                        <a:pt x="65" y="776"/>
                      </a:lnTo>
                      <a:lnTo>
                        <a:pt x="48" y="776"/>
                      </a:lnTo>
                      <a:lnTo>
                        <a:pt x="48" y="726"/>
                      </a:lnTo>
                      <a:lnTo>
                        <a:pt x="48" y="726"/>
                      </a:lnTo>
                      <a:close/>
                      <a:moveTo>
                        <a:pt x="948" y="574"/>
                      </a:moveTo>
                      <a:lnTo>
                        <a:pt x="971" y="574"/>
                      </a:lnTo>
                      <a:lnTo>
                        <a:pt x="971" y="597"/>
                      </a:lnTo>
                      <a:lnTo>
                        <a:pt x="971" y="799"/>
                      </a:lnTo>
                      <a:lnTo>
                        <a:pt x="971" y="822"/>
                      </a:lnTo>
                      <a:lnTo>
                        <a:pt x="948" y="822"/>
                      </a:lnTo>
                      <a:lnTo>
                        <a:pt x="678" y="822"/>
                      </a:lnTo>
                      <a:lnTo>
                        <a:pt x="654" y="822"/>
                      </a:lnTo>
                      <a:lnTo>
                        <a:pt x="654" y="799"/>
                      </a:lnTo>
                      <a:lnTo>
                        <a:pt x="654" y="597"/>
                      </a:lnTo>
                      <a:lnTo>
                        <a:pt x="654" y="574"/>
                      </a:lnTo>
                      <a:lnTo>
                        <a:pt x="678" y="574"/>
                      </a:lnTo>
                      <a:lnTo>
                        <a:pt x="948" y="574"/>
                      </a:lnTo>
                      <a:lnTo>
                        <a:pt x="948" y="574"/>
                      </a:lnTo>
                      <a:close/>
                      <a:moveTo>
                        <a:pt x="874" y="621"/>
                      </a:moveTo>
                      <a:lnTo>
                        <a:pt x="925" y="772"/>
                      </a:lnTo>
                      <a:lnTo>
                        <a:pt x="925" y="776"/>
                      </a:lnTo>
                      <a:lnTo>
                        <a:pt x="898" y="776"/>
                      </a:lnTo>
                      <a:lnTo>
                        <a:pt x="847" y="621"/>
                      </a:lnTo>
                      <a:lnTo>
                        <a:pt x="874" y="621"/>
                      </a:lnTo>
                      <a:lnTo>
                        <a:pt x="874" y="621"/>
                      </a:lnTo>
                      <a:close/>
                      <a:moveTo>
                        <a:pt x="925" y="699"/>
                      </a:moveTo>
                      <a:lnTo>
                        <a:pt x="899" y="621"/>
                      </a:lnTo>
                      <a:lnTo>
                        <a:pt x="925" y="621"/>
                      </a:lnTo>
                      <a:lnTo>
                        <a:pt x="925" y="699"/>
                      </a:lnTo>
                      <a:lnTo>
                        <a:pt x="925" y="699"/>
                      </a:lnTo>
                      <a:close/>
                      <a:moveTo>
                        <a:pt x="718" y="621"/>
                      </a:moveTo>
                      <a:lnTo>
                        <a:pt x="770" y="776"/>
                      </a:lnTo>
                      <a:lnTo>
                        <a:pt x="743" y="776"/>
                      </a:lnTo>
                      <a:lnTo>
                        <a:pt x="702" y="652"/>
                      </a:lnTo>
                      <a:lnTo>
                        <a:pt x="702" y="621"/>
                      </a:lnTo>
                      <a:lnTo>
                        <a:pt x="718" y="621"/>
                      </a:lnTo>
                      <a:lnTo>
                        <a:pt x="718" y="621"/>
                      </a:lnTo>
                      <a:close/>
                      <a:moveTo>
                        <a:pt x="795" y="776"/>
                      </a:moveTo>
                      <a:lnTo>
                        <a:pt x="743" y="621"/>
                      </a:lnTo>
                      <a:lnTo>
                        <a:pt x="770" y="621"/>
                      </a:lnTo>
                      <a:lnTo>
                        <a:pt x="822" y="776"/>
                      </a:lnTo>
                      <a:lnTo>
                        <a:pt x="795" y="776"/>
                      </a:lnTo>
                      <a:lnTo>
                        <a:pt x="795" y="776"/>
                      </a:lnTo>
                      <a:close/>
                      <a:moveTo>
                        <a:pt x="847" y="776"/>
                      </a:moveTo>
                      <a:lnTo>
                        <a:pt x="795" y="621"/>
                      </a:lnTo>
                      <a:lnTo>
                        <a:pt x="822" y="621"/>
                      </a:lnTo>
                      <a:lnTo>
                        <a:pt x="874" y="776"/>
                      </a:lnTo>
                      <a:lnTo>
                        <a:pt x="847" y="776"/>
                      </a:lnTo>
                      <a:lnTo>
                        <a:pt x="847" y="776"/>
                      </a:lnTo>
                      <a:close/>
                      <a:moveTo>
                        <a:pt x="702" y="726"/>
                      </a:moveTo>
                      <a:lnTo>
                        <a:pt x="718" y="776"/>
                      </a:lnTo>
                      <a:lnTo>
                        <a:pt x="702" y="776"/>
                      </a:lnTo>
                      <a:lnTo>
                        <a:pt x="702" y="726"/>
                      </a:lnTo>
                      <a:lnTo>
                        <a:pt x="702" y="726"/>
                      </a:lnTo>
                      <a:close/>
                      <a:moveTo>
                        <a:pt x="1334" y="574"/>
                      </a:moveTo>
                      <a:lnTo>
                        <a:pt x="1356" y="574"/>
                      </a:lnTo>
                      <a:lnTo>
                        <a:pt x="1356" y="597"/>
                      </a:lnTo>
                      <a:lnTo>
                        <a:pt x="1356" y="799"/>
                      </a:lnTo>
                      <a:lnTo>
                        <a:pt x="1356" y="822"/>
                      </a:lnTo>
                      <a:lnTo>
                        <a:pt x="1334" y="822"/>
                      </a:lnTo>
                      <a:lnTo>
                        <a:pt x="1063" y="822"/>
                      </a:lnTo>
                      <a:lnTo>
                        <a:pt x="1040" y="822"/>
                      </a:lnTo>
                      <a:lnTo>
                        <a:pt x="1040" y="799"/>
                      </a:lnTo>
                      <a:lnTo>
                        <a:pt x="1040" y="597"/>
                      </a:lnTo>
                      <a:lnTo>
                        <a:pt x="1040" y="574"/>
                      </a:lnTo>
                      <a:lnTo>
                        <a:pt x="1063" y="574"/>
                      </a:lnTo>
                      <a:lnTo>
                        <a:pt x="1334" y="574"/>
                      </a:lnTo>
                      <a:lnTo>
                        <a:pt x="1334" y="574"/>
                      </a:lnTo>
                      <a:close/>
                      <a:moveTo>
                        <a:pt x="1259" y="621"/>
                      </a:moveTo>
                      <a:lnTo>
                        <a:pt x="1310" y="772"/>
                      </a:lnTo>
                      <a:lnTo>
                        <a:pt x="1310" y="776"/>
                      </a:lnTo>
                      <a:lnTo>
                        <a:pt x="1284" y="776"/>
                      </a:lnTo>
                      <a:lnTo>
                        <a:pt x="1232" y="621"/>
                      </a:lnTo>
                      <a:lnTo>
                        <a:pt x="1259" y="621"/>
                      </a:lnTo>
                      <a:lnTo>
                        <a:pt x="1259" y="621"/>
                      </a:lnTo>
                      <a:close/>
                      <a:moveTo>
                        <a:pt x="1310" y="699"/>
                      </a:moveTo>
                      <a:lnTo>
                        <a:pt x="1284" y="621"/>
                      </a:lnTo>
                      <a:lnTo>
                        <a:pt x="1310" y="621"/>
                      </a:lnTo>
                      <a:lnTo>
                        <a:pt x="1310" y="699"/>
                      </a:lnTo>
                      <a:lnTo>
                        <a:pt x="1310" y="699"/>
                      </a:lnTo>
                      <a:close/>
                      <a:moveTo>
                        <a:pt x="1104" y="621"/>
                      </a:moveTo>
                      <a:lnTo>
                        <a:pt x="1155" y="776"/>
                      </a:lnTo>
                      <a:lnTo>
                        <a:pt x="1128" y="776"/>
                      </a:lnTo>
                      <a:lnTo>
                        <a:pt x="1086" y="652"/>
                      </a:lnTo>
                      <a:lnTo>
                        <a:pt x="1086" y="621"/>
                      </a:lnTo>
                      <a:lnTo>
                        <a:pt x="1104" y="621"/>
                      </a:lnTo>
                      <a:lnTo>
                        <a:pt x="1104" y="621"/>
                      </a:lnTo>
                      <a:close/>
                      <a:moveTo>
                        <a:pt x="1180" y="776"/>
                      </a:moveTo>
                      <a:lnTo>
                        <a:pt x="1128" y="621"/>
                      </a:lnTo>
                      <a:lnTo>
                        <a:pt x="1155" y="621"/>
                      </a:lnTo>
                      <a:lnTo>
                        <a:pt x="1207" y="776"/>
                      </a:lnTo>
                      <a:lnTo>
                        <a:pt x="1180" y="776"/>
                      </a:lnTo>
                      <a:lnTo>
                        <a:pt x="1180" y="776"/>
                      </a:lnTo>
                      <a:close/>
                      <a:moveTo>
                        <a:pt x="1232" y="776"/>
                      </a:moveTo>
                      <a:lnTo>
                        <a:pt x="1180" y="621"/>
                      </a:lnTo>
                      <a:lnTo>
                        <a:pt x="1207" y="621"/>
                      </a:lnTo>
                      <a:lnTo>
                        <a:pt x="1259" y="776"/>
                      </a:lnTo>
                      <a:lnTo>
                        <a:pt x="1232" y="776"/>
                      </a:lnTo>
                      <a:lnTo>
                        <a:pt x="1232" y="776"/>
                      </a:lnTo>
                      <a:close/>
                      <a:moveTo>
                        <a:pt x="1086" y="726"/>
                      </a:moveTo>
                      <a:lnTo>
                        <a:pt x="1103" y="776"/>
                      </a:lnTo>
                      <a:lnTo>
                        <a:pt x="1086" y="776"/>
                      </a:lnTo>
                      <a:lnTo>
                        <a:pt x="1086" y="726"/>
                      </a:lnTo>
                      <a:lnTo>
                        <a:pt x="1086" y="726"/>
                      </a:lnTo>
                      <a:close/>
                      <a:moveTo>
                        <a:pt x="782" y="170"/>
                      </a:moveTo>
                      <a:lnTo>
                        <a:pt x="841" y="143"/>
                      </a:lnTo>
                      <a:lnTo>
                        <a:pt x="831" y="184"/>
                      </a:lnTo>
                      <a:lnTo>
                        <a:pt x="820" y="190"/>
                      </a:lnTo>
                      <a:lnTo>
                        <a:pt x="782" y="170"/>
                      </a:lnTo>
                      <a:lnTo>
                        <a:pt x="782" y="170"/>
                      </a:lnTo>
                      <a:close/>
                      <a:moveTo>
                        <a:pt x="678" y="216"/>
                      </a:moveTo>
                      <a:lnTo>
                        <a:pt x="728" y="193"/>
                      </a:lnTo>
                      <a:lnTo>
                        <a:pt x="726" y="245"/>
                      </a:lnTo>
                      <a:lnTo>
                        <a:pt x="678" y="216"/>
                      </a:lnTo>
                      <a:lnTo>
                        <a:pt x="678" y="216"/>
                      </a:lnTo>
                      <a:close/>
                      <a:moveTo>
                        <a:pt x="602" y="250"/>
                      </a:moveTo>
                      <a:lnTo>
                        <a:pt x="634" y="236"/>
                      </a:lnTo>
                      <a:lnTo>
                        <a:pt x="632" y="278"/>
                      </a:lnTo>
                      <a:lnTo>
                        <a:pt x="602" y="250"/>
                      </a:lnTo>
                      <a:lnTo>
                        <a:pt x="602" y="250"/>
                      </a:lnTo>
                      <a:close/>
                      <a:moveTo>
                        <a:pt x="628" y="313"/>
                      </a:moveTo>
                      <a:lnTo>
                        <a:pt x="581" y="343"/>
                      </a:lnTo>
                      <a:lnTo>
                        <a:pt x="581" y="268"/>
                      </a:lnTo>
                      <a:lnTo>
                        <a:pt x="628" y="313"/>
                      </a:lnTo>
                      <a:lnTo>
                        <a:pt x="628" y="313"/>
                      </a:lnTo>
                      <a:close/>
                      <a:moveTo>
                        <a:pt x="704" y="264"/>
                      </a:moveTo>
                      <a:lnTo>
                        <a:pt x="659" y="293"/>
                      </a:lnTo>
                      <a:lnTo>
                        <a:pt x="661" y="239"/>
                      </a:lnTo>
                      <a:lnTo>
                        <a:pt x="704" y="264"/>
                      </a:lnTo>
                      <a:lnTo>
                        <a:pt x="704" y="264"/>
                      </a:lnTo>
                      <a:close/>
                      <a:moveTo>
                        <a:pt x="794" y="207"/>
                      </a:moveTo>
                      <a:lnTo>
                        <a:pt x="754" y="232"/>
                      </a:lnTo>
                      <a:lnTo>
                        <a:pt x="755" y="187"/>
                      </a:lnTo>
                      <a:lnTo>
                        <a:pt x="794" y="207"/>
                      </a:lnTo>
                      <a:lnTo>
                        <a:pt x="794" y="207"/>
                      </a:lnTo>
                      <a:close/>
                      <a:moveTo>
                        <a:pt x="885" y="149"/>
                      </a:moveTo>
                      <a:lnTo>
                        <a:pt x="865" y="161"/>
                      </a:lnTo>
                      <a:lnTo>
                        <a:pt x="872" y="139"/>
                      </a:lnTo>
                      <a:lnTo>
                        <a:pt x="885" y="149"/>
                      </a:lnTo>
                      <a:lnTo>
                        <a:pt x="885" y="149"/>
                      </a:lnTo>
                      <a:close/>
                      <a:moveTo>
                        <a:pt x="938" y="115"/>
                      </a:moveTo>
                      <a:lnTo>
                        <a:pt x="910" y="133"/>
                      </a:lnTo>
                      <a:lnTo>
                        <a:pt x="910" y="133"/>
                      </a:lnTo>
                      <a:lnTo>
                        <a:pt x="892" y="121"/>
                      </a:lnTo>
                      <a:lnTo>
                        <a:pt x="935" y="102"/>
                      </a:lnTo>
                      <a:lnTo>
                        <a:pt x="935" y="102"/>
                      </a:lnTo>
                      <a:lnTo>
                        <a:pt x="938" y="115"/>
                      </a:lnTo>
                      <a:lnTo>
                        <a:pt x="938" y="115"/>
                      </a:lnTo>
                      <a:close/>
                      <a:moveTo>
                        <a:pt x="955" y="93"/>
                      </a:moveTo>
                      <a:lnTo>
                        <a:pt x="999" y="74"/>
                      </a:lnTo>
                      <a:lnTo>
                        <a:pt x="1000" y="75"/>
                      </a:lnTo>
                      <a:lnTo>
                        <a:pt x="953" y="104"/>
                      </a:lnTo>
                      <a:lnTo>
                        <a:pt x="953" y="104"/>
                      </a:lnTo>
                      <a:lnTo>
                        <a:pt x="955" y="93"/>
                      </a:lnTo>
                      <a:lnTo>
                        <a:pt x="955" y="93"/>
                      </a:lnTo>
                      <a:close/>
                    </a:path>
                  </a:pathLst>
                </a:custGeom>
                <a:solidFill>
                  <a:srgbClr val="77ED37"/>
                </a:solidFill>
                <a:ln>
                  <a:solidFill>
                    <a:srgbClr val="77ED37"/>
                  </a:solidFill>
                </a:ln>
              </p:spPr>
              <p:txBody>
                <a:bodyPr vert="horz" wrap="square" lIns="64657" tIns="32328" rIns="64657" bIns="3232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76409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5" name="Freeform 293">
                <a:extLst>
                  <a:ext uri="{FF2B5EF4-FFF2-40B4-BE49-F238E27FC236}">
                    <a16:creationId xmlns:a16="http://schemas.microsoft.com/office/drawing/2014/main" id="{54A4875B-9BAF-4E65-AD7C-DDE10DE448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76611" y="2452342"/>
                <a:ext cx="240162" cy="176695"/>
              </a:xfrm>
              <a:custGeom>
                <a:avLst/>
                <a:gdLst>
                  <a:gd name="T0" fmla="*/ 1068 w 1357"/>
                  <a:gd name="T1" fmla="*/ 97 h 947"/>
                  <a:gd name="T2" fmla="*/ 447 w 1357"/>
                  <a:gd name="T3" fmla="*/ 257 h 947"/>
                  <a:gd name="T4" fmla="*/ 0 w 1357"/>
                  <a:gd name="T5" fmla="*/ 861 h 947"/>
                  <a:gd name="T6" fmla="*/ 541 w 1357"/>
                  <a:gd name="T7" fmla="*/ 470 h 947"/>
                  <a:gd name="T8" fmla="*/ 911 w 1357"/>
                  <a:gd name="T9" fmla="*/ 374 h 947"/>
                  <a:gd name="T10" fmla="*/ 295 w 1357"/>
                  <a:gd name="T11" fmla="*/ 288 h 947"/>
                  <a:gd name="T12" fmla="*/ 295 w 1357"/>
                  <a:gd name="T13" fmla="*/ 536 h 947"/>
                  <a:gd name="T14" fmla="*/ 1 w 1357"/>
                  <a:gd name="T15" fmla="*/ 288 h 947"/>
                  <a:gd name="T16" fmla="*/ 272 w 1357"/>
                  <a:gd name="T17" fmla="*/ 485 h 947"/>
                  <a:gd name="T18" fmla="*/ 221 w 1357"/>
                  <a:gd name="T19" fmla="*/ 334 h 947"/>
                  <a:gd name="T20" fmla="*/ 272 w 1357"/>
                  <a:gd name="T21" fmla="*/ 411 h 947"/>
                  <a:gd name="T22" fmla="*/ 48 w 1357"/>
                  <a:gd name="T23" fmla="*/ 334 h 947"/>
                  <a:gd name="T24" fmla="*/ 117 w 1357"/>
                  <a:gd name="T25" fmla="*/ 334 h 947"/>
                  <a:gd name="T26" fmla="*/ 142 w 1357"/>
                  <a:gd name="T27" fmla="*/ 334 h 947"/>
                  <a:gd name="T28" fmla="*/ 48 w 1357"/>
                  <a:gd name="T29" fmla="*/ 438 h 947"/>
                  <a:gd name="T30" fmla="*/ 295 w 1357"/>
                  <a:gd name="T31" fmla="*/ 574 h 947"/>
                  <a:gd name="T32" fmla="*/ 295 w 1357"/>
                  <a:gd name="T33" fmla="*/ 822 h 947"/>
                  <a:gd name="T34" fmla="*/ 1 w 1357"/>
                  <a:gd name="T35" fmla="*/ 574 h 947"/>
                  <a:gd name="T36" fmla="*/ 272 w 1357"/>
                  <a:gd name="T37" fmla="*/ 772 h 947"/>
                  <a:gd name="T38" fmla="*/ 221 w 1357"/>
                  <a:gd name="T39" fmla="*/ 621 h 947"/>
                  <a:gd name="T40" fmla="*/ 272 w 1357"/>
                  <a:gd name="T41" fmla="*/ 699 h 947"/>
                  <a:gd name="T42" fmla="*/ 48 w 1357"/>
                  <a:gd name="T43" fmla="*/ 621 h 947"/>
                  <a:gd name="T44" fmla="*/ 117 w 1357"/>
                  <a:gd name="T45" fmla="*/ 621 h 947"/>
                  <a:gd name="T46" fmla="*/ 142 w 1357"/>
                  <a:gd name="T47" fmla="*/ 621 h 947"/>
                  <a:gd name="T48" fmla="*/ 48 w 1357"/>
                  <a:gd name="T49" fmla="*/ 726 h 947"/>
                  <a:gd name="T50" fmla="*/ 948 w 1357"/>
                  <a:gd name="T51" fmla="*/ 574 h 947"/>
                  <a:gd name="T52" fmla="*/ 948 w 1357"/>
                  <a:gd name="T53" fmla="*/ 822 h 947"/>
                  <a:gd name="T54" fmla="*/ 654 w 1357"/>
                  <a:gd name="T55" fmla="*/ 574 h 947"/>
                  <a:gd name="T56" fmla="*/ 925 w 1357"/>
                  <a:gd name="T57" fmla="*/ 772 h 947"/>
                  <a:gd name="T58" fmla="*/ 874 w 1357"/>
                  <a:gd name="T59" fmla="*/ 621 h 947"/>
                  <a:gd name="T60" fmla="*/ 925 w 1357"/>
                  <a:gd name="T61" fmla="*/ 699 h 947"/>
                  <a:gd name="T62" fmla="*/ 702 w 1357"/>
                  <a:gd name="T63" fmla="*/ 621 h 947"/>
                  <a:gd name="T64" fmla="*/ 770 w 1357"/>
                  <a:gd name="T65" fmla="*/ 621 h 947"/>
                  <a:gd name="T66" fmla="*/ 795 w 1357"/>
                  <a:gd name="T67" fmla="*/ 621 h 947"/>
                  <a:gd name="T68" fmla="*/ 702 w 1357"/>
                  <a:gd name="T69" fmla="*/ 726 h 947"/>
                  <a:gd name="T70" fmla="*/ 1334 w 1357"/>
                  <a:gd name="T71" fmla="*/ 574 h 947"/>
                  <a:gd name="T72" fmla="*/ 1334 w 1357"/>
                  <a:gd name="T73" fmla="*/ 822 h 947"/>
                  <a:gd name="T74" fmla="*/ 1040 w 1357"/>
                  <a:gd name="T75" fmla="*/ 574 h 947"/>
                  <a:gd name="T76" fmla="*/ 1310 w 1357"/>
                  <a:gd name="T77" fmla="*/ 772 h 947"/>
                  <a:gd name="T78" fmla="*/ 1259 w 1357"/>
                  <a:gd name="T79" fmla="*/ 621 h 947"/>
                  <a:gd name="T80" fmla="*/ 1310 w 1357"/>
                  <a:gd name="T81" fmla="*/ 699 h 947"/>
                  <a:gd name="T82" fmla="*/ 1086 w 1357"/>
                  <a:gd name="T83" fmla="*/ 621 h 947"/>
                  <a:gd name="T84" fmla="*/ 1155 w 1357"/>
                  <a:gd name="T85" fmla="*/ 621 h 947"/>
                  <a:gd name="T86" fmla="*/ 1180 w 1357"/>
                  <a:gd name="T87" fmla="*/ 621 h 947"/>
                  <a:gd name="T88" fmla="*/ 1086 w 1357"/>
                  <a:gd name="T89" fmla="*/ 726 h 947"/>
                  <a:gd name="T90" fmla="*/ 782 w 1357"/>
                  <a:gd name="T91" fmla="*/ 170 h 947"/>
                  <a:gd name="T92" fmla="*/ 782 w 1357"/>
                  <a:gd name="T93" fmla="*/ 170 h 947"/>
                  <a:gd name="T94" fmla="*/ 678 w 1357"/>
                  <a:gd name="T95" fmla="*/ 216 h 947"/>
                  <a:gd name="T96" fmla="*/ 602 w 1357"/>
                  <a:gd name="T97" fmla="*/ 250 h 947"/>
                  <a:gd name="T98" fmla="*/ 628 w 1357"/>
                  <a:gd name="T99" fmla="*/ 313 h 947"/>
                  <a:gd name="T100" fmla="*/ 704 w 1357"/>
                  <a:gd name="T101" fmla="*/ 264 h 947"/>
                  <a:gd name="T102" fmla="*/ 794 w 1357"/>
                  <a:gd name="T103" fmla="*/ 207 h 947"/>
                  <a:gd name="T104" fmla="*/ 885 w 1357"/>
                  <a:gd name="T105" fmla="*/ 149 h 947"/>
                  <a:gd name="T106" fmla="*/ 935 w 1357"/>
                  <a:gd name="T107" fmla="*/ 102 h 947"/>
                  <a:gd name="T108" fmla="*/ 999 w 1357"/>
                  <a:gd name="T109" fmla="*/ 74 h 947"/>
                  <a:gd name="T110" fmla="*/ 955 w 1357"/>
                  <a:gd name="T111" fmla="*/ 93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57" h="947">
                    <a:moveTo>
                      <a:pt x="1128" y="374"/>
                    </a:moveTo>
                    <a:lnTo>
                      <a:pt x="1032" y="374"/>
                    </a:lnTo>
                    <a:lnTo>
                      <a:pt x="1032" y="120"/>
                    </a:lnTo>
                    <a:lnTo>
                      <a:pt x="1048" y="109"/>
                    </a:lnTo>
                    <a:lnTo>
                      <a:pt x="1068" y="97"/>
                    </a:lnTo>
                    <a:lnTo>
                      <a:pt x="1059" y="76"/>
                    </a:lnTo>
                    <a:lnTo>
                      <a:pt x="1039" y="26"/>
                    </a:lnTo>
                    <a:lnTo>
                      <a:pt x="1029" y="0"/>
                    </a:lnTo>
                    <a:lnTo>
                      <a:pt x="1003" y="11"/>
                    </a:lnTo>
                    <a:lnTo>
                      <a:pt x="447" y="257"/>
                    </a:lnTo>
                    <a:lnTo>
                      <a:pt x="378" y="257"/>
                    </a:lnTo>
                    <a:lnTo>
                      <a:pt x="378" y="470"/>
                    </a:lnTo>
                    <a:lnTo>
                      <a:pt x="415" y="470"/>
                    </a:lnTo>
                    <a:lnTo>
                      <a:pt x="415" y="861"/>
                    </a:lnTo>
                    <a:lnTo>
                      <a:pt x="0" y="861"/>
                    </a:lnTo>
                    <a:lnTo>
                      <a:pt x="0" y="947"/>
                    </a:lnTo>
                    <a:lnTo>
                      <a:pt x="1357" y="947"/>
                    </a:lnTo>
                    <a:lnTo>
                      <a:pt x="1357" y="861"/>
                    </a:lnTo>
                    <a:lnTo>
                      <a:pt x="541" y="861"/>
                    </a:lnTo>
                    <a:lnTo>
                      <a:pt x="541" y="470"/>
                    </a:lnTo>
                    <a:lnTo>
                      <a:pt x="581" y="470"/>
                    </a:lnTo>
                    <a:lnTo>
                      <a:pt x="581" y="408"/>
                    </a:lnTo>
                    <a:lnTo>
                      <a:pt x="1006" y="136"/>
                    </a:lnTo>
                    <a:lnTo>
                      <a:pt x="1006" y="374"/>
                    </a:lnTo>
                    <a:lnTo>
                      <a:pt x="911" y="374"/>
                    </a:lnTo>
                    <a:lnTo>
                      <a:pt x="911" y="531"/>
                    </a:lnTo>
                    <a:lnTo>
                      <a:pt x="1128" y="531"/>
                    </a:lnTo>
                    <a:lnTo>
                      <a:pt x="1128" y="374"/>
                    </a:lnTo>
                    <a:lnTo>
                      <a:pt x="1128" y="374"/>
                    </a:lnTo>
                    <a:close/>
                    <a:moveTo>
                      <a:pt x="295" y="288"/>
                    </a:moveTo>
                    <a:lnTo>
                      <a:pt x="319" y="288"/>
                    </a:lnTo>
                    <a:lnTo>
                      <a:pt x="319" y="310"/>
                    </a:lnTo>
                    <a:lnTo>
                      <a:pt x="319" y="512"/>
                    </a:lnTo>
                    <a:lnTo>
                      <a:pt x="319" y="536"/>
                    </a:lnTo>
                    <a:lnTo>
                      <a:pt x="295" y="536"/>
                    </a:lnTo>
                    <a:lnTo>
                      <a:pt x="25" y="536"/>
                    </a:lnTo>
                    <a:lnTo>
                      <a:pt x="1" y="536"/>
                    </a:lnTo>
                    <a:lnTo>
                      <a:pt x="1" y="512"/>
                    </a:lnTo>
                    <a:lnTo>
                      <a:pt x="1" y="310"/>
                    </a:lnTo>
                    <a:lnTo>
                      <a:pt x="1" y="288"/>
                    </a:lnTo>
                    <a:lnTo>
                      <a:pt x="25" y="288"/>
                    </a:lnTo>
                    <a:lnTo>
                      <a:pt x="295" y="288"/>
                    </a:lnTo>
                    <a:lnTo>
                      <a:pt x="295" y="288"/>
                    </a:lnTo>
                    <a:close/>
                    <a:moveTo>
                      <a:pt x="221" y="334"/>
                    </a:moveTo>
                    <a:lnTo>
                      <a:pt x="272" y="485"/>
                    </a:lnTo>
                    <a:lnTo>
                      <a:pt x="272" y="489"/>
                    </a:lnTo>
                    <a:lnTo>
                      <a:pt x="245" y="489"/>
                    </a:lnTo>
                    <a:lnTo>
                      <a:pt x="194" y="334"/>
                    </a:lnTo>
                    <a:lnTo>
                      <a:pt x="221" y="334"/>
                    </a:lnTo>
                    <a:lnTo>
                      <a:pt x="221" y="334"/>
                    </a:lnTo>
                    <a:close/>
                    <a:moveTo>
                      <a:pt x="272" y="411"/>
                    </a:moveTo>
                    <a:lnTo>
                      <a:pt x="246" y="334"/>
                    </a:lnTo>
                    <a:lnTo>
                      <a:pt x="272" y="334"/>
                    </a:lnTo>
                    <a:lnTo>
                      <a:pt x="272" y="411"/>
                    </a:lnTo>
                    <a:lnTo>
                      <a:pt x="272" y="411"/>
                    </a:lnTo>
                    <a:close/>
                    <a:moveTo>
                      <a:pt x="65" y="334"/>
                    </a:moveTo>
                    <a:lnTo>
                      <a:pt x="117" y="489"/>
                    </a:lnTo>
                    <a:lnTo>
                      <a:pt x="90" y="489"/>
                    </a:lnTo>
                    <a:lnTo>
                      <a:pt x="48" y="365"/>
                    </a:lnTo>
                    <a:lnTo>
                      <a:pt x="48" y="334"/>
                    </a:lnTo>
                    <a:lnTo>
                      <a:pt x="65" y="334"/>
                    </a:lnTo>
                    <a:lnTo>
                      <a:pt x="65" y="334"/>
                    </a:lnTo>
                    <a:close/>
                    <a:moveTo>
                      <a:pt x="142" y="489"/>
                    </a:moveTo>
                    <a:lnTo>
                      <a:pt x="90" y="334"/>
                    </a:lnTo>
                    <a:lnTo>
                      <a:pt x="117" y="334"/>
                    </a:lnTo>
                    <a:lnTo>
                      <a:pt x="169" y="489"/>
                    </a:lnTo>
                    <a:lnTo>
                      <a:pt x="142" y="489"/>
                    </a:lnTo>
                    <a:lnTo>
                      <a:pt x="142" y="489"/>
                    </a:lnTo>
                    <a:close/>
                    <a:moveTo>
                      <a:pt x="194" y="489"/>
                    </a:moveTo>
                    <a:lnTo>
                      <a:pt x="142" y="334"/>
                    </a:lnTo>
                    <a:lnTo>
                      <a:pt x="169" y="334"/>
                    </a:lnTo>
                    <a:lnTo>
                      <a:pt x="221" y="489"/>
                    </a:lnTo>
                    <a:lnTo>
                      <a:pt x="194" y="489"/>
                    </a:lnTo>
                    <a:lnTo>
                      <a:pt x="194" y="489"/>
                    </a:lnTo>
                    <a:close/>
                    <a:moveTo>
                      <a:pt x="48" y="438"/>
                    </a:moveTo>
                    <a:lnTo>
                      <a:pt x="65" y="489"/>
                    </a:lnTo>
                    <a:lnTo>
                      <a:pt x="48" y="489"/>
                    </a:lnTo>
                    <a:lnTo>
                      <a:pt x="48" y="438"/>
                    </a:lnTo>
                    <a:lnTo>
                      <a:pt x="48" y="438"/>
                    </a:lnTo>
                    <a:close/>
                    <a:moveTo>
                      <a:pt x="295" y="574"/>
                    </a:moveTo>
                    <a:lnTo>
                      <a:pt x="319" y="574"/>
                    </a:lnTo>
                    <a:lnTo>
                      <a:pt x="319" y="597"/>
                    </a:lnTo>
                    <a:lnTo>
                      <a:pt x="319" y="799"/>
                    </a:lnTo>
                    <a:lnTo>
                      <a:pt x="319" y="822"/>
                    </a:lnTo>
                    <a:lnTo>
                      <a:pt x="295" y="822"/>
                    </a:lnTo>
                    <a:lnTo>
                      <a:pt x="25" y="822"/>
                    </a:lnTo>
                    <a:lnTo>
                      <a:pt x="1" y="822"/>
                    </a:lnTo>
                    <a:lnTo>
                      <a:pt x="1" y="799"/>
                    </a:lnTo>
                    <a:lnTo>
                      <a:pt x="1" y="597"/>
                    </a:lnTo>
                    <a:lnTo>
                      <a:pt x="1" y="574"/>
                    </a:lnTo>
                    <a:lnTo>
                      <a:pt x="25" y="574"/>
                    </a:lnTo>
                    <a:lnTo>
                      <a:pt x="295" y="574"/>
                    </a:lnTo>
                    <a:lnTo>
                      <a:pt x="295" y="574"/>
                    </a:lnTo>
                    <a:close/>
                    <a:moveTo>
                      <a:pt x="221" y="621"/>
                    </a:moveTo>
                    <a:lnTo>
                      <a:pt x="272" y="772"/>
                    </a:lnTo>
                    <a:lnTo>
                      <a:pt x="272" y="776"/>
                    </a:lnTo>
                    <a:lnTo>
                      <a:pt x="245" y="776"/>
                    </a:lnTo>
                    <a:lnTo>
                      <a:pt x="194" y="621"/>
                    </a:lnTo>
                    <a:lnTo>
                      <a:pt x="221" y="621"/>
                    </a:lnTo>
                    <a:lnTo>
                      <a:pt x="221" y="621"/>
                    </a:lnTo>
                    <a:close/>
                    <a:moveTo>
                      <a:pt x="272" y="699"/>
                    </a:moveTo>
                    <a:lnTo>
                      <a:pt x="246" y="621"/>
                    </a:lnTo>
                    <a:lnTo>
                      <a:pt x="272" y="621"/>
                    </a:lnTo>
                    <a:lnTo>
                      <a:pt x="272" y="699"/>
                    </a:lnTo>
                    <a:lnTo>
                      <a:pt x="272" y="699"/>
                    </a:lnTo>
                    <a:close/>
                    <a:moveTo>
                      <a:pt x="65" y="621"/>
                    </a:moveTo>
                    <a:lnTo>
                      <a:pt x="117" y="776"/>
                    </a:lnTo>
                    <a:lnTo>
                      <a:pt x="90" y="776"/>
                    </a:lnTo>
                    <a:lnTo>
                      <a:pt x="48" y="652"/>
                    </a:lnTo>
                    <a:lnTo>
                      <a:pt x="48" y="621"/>
                    </a:lnTo>
                    <a:lnTo>
                      <a:pt x="65" y="621"/>
                    </a:lnTo>
                    <a:lnTo>
                      <a:pt x="65" y="621"/>
                    </a:lnTo>
                    <a:close/>
                    <a:moveTo>
                      <a:pt x="142" y="776"/>
                    </a:moveTo>
                    <a:lnTo>
                      <a:pt x="90" y="621"/>
                    </a:lnTo>
                    <a:lnTo>
                      <a:pt x="117" y="621"/>
                    </a:lnTo>
                    <a:lnTo>
                      <a:pt x="169" y="776"/>
                    </a:lnTo>
                    <a:lnTo>
                      <a:pt x="142" y="776"/>
                    </a:lnTo>
                    <a:lnTo>
                      <a:pt x="142" y="776"/>
                    </a:lnTo>
                    <a:close/>
                    <a:moveTo>
                      <a:pt x="194" y="776"/>
                    </a:moveTo>
                    <a:lnTo>
                      <a:pt x="142" y="621"/>
                    </a:lnTo>
                    <a:lnTo>
                      <a:pt x="169" y="621"/>
                    </a:lnTo>
                    <a:lnTo>
                      <a:pt x="221" y="776"/>
                    </a:lnTo>
                    <a:lnTo>
                      <a:pt x="194" y="776"/>
                    </a:lnTo>
                    <a:lnTo>
                      <a:pt x="194" y="776"/>
                    </a:lnTo>
                    <a:close/>
                    <a:moveTo>
                      <a:pt x="48" y="726"/>
                    </a:moveTo>
                    <a:lnTo>
                      <a:pt x="65" y="776"/>
                    </a:lnTo>
                    <a:lnTo>
                      <a:pt x="48" y="776"/>
                    </a:lnTo>
                    <a:lnTo>
                      <a:pt x="48" y="726"/>
                    </a:lnTo>
                    <a:lnTo>
                      <a:pt x="48" y="726"/>
                    </a:lnTo>
                    <a:close/>
                    <a:moveTo>
                      <a:pt x="948" y="574"/>
                    </a:moveTo>
                    <a:lnTo>
                      <a:pt x="971" y="574"/>
                    </a:lnTo>
                    <a:lnTo>
                      <a:pt x="971" y="597"/>
                    </a:lnTo>
                    <a:lnTo>
                      <a:pt x="971" y="799"/>
                    </a:lnTo>
                    <a:lnTo>
                      <a:pt x="971" y="822"/>
                    </a:lnTo>
                    <a:lnTo>
                      <a:pt x="948" y="822"/>
                    </a:lnTo>
                    <a:lnTo>
                      <a:pt x="678" y="822"/>
                    </a:lnTo>
                    <a:lnTo>
                      <a:pt x="654" y="822"/>
                    </a:lnTo>
                    <a:lnTo>
                      <a:pt x="654" y="799"/>
                    </a:lnTo>
                    <a:lnTo>
                      <a:pt x="654" y="597"/>
                    </a:lnTo>
                    <a:lnTo>
                      <a:pt x="654" y="574"/>
                    </a:lnTo>
                    <a:lnTo>
                      <a:pt x="678" y="574"/>
                    </a:lnTo>
                    <a:lnTo>
                      <a:pt x="948" y="574"/>
                    </a:lnTo>
                    <a:lnTo>
                      <a:pt x="948" y="574"/>
                    </a:lnTo>
                    <a:close/>
                    <a:moveTo>
                      <a:pt x="874" y="621"/>
                    </a:moveTo>
                    <a:lnTo>
                      <a:pt x="925" y="772"/>
                    </a:lnTo>
                    <a:lnTo>
                      <a:pt x="925" y="776"/>
                    </a:lnTo>
                    <a:lnTo>
                      <a:pt x="898" y="776"/>
                    </a:lnTo>
                    <a:lnTo>
                      <a:pt x="847" y="621"/>
                    </a:lnTo>
                    <a:lnTo>
                      <a:pt x="874" y="621"/>
                    </a:lnTo>
                    <a:lnTo>
                      <a:pt x="874" y="621"/>
                    </a:lnTo>
                    <a:close/>
                    <a:moveTo>
                      <a:pt x="925" y="699"/>
                    </a:moveTo>
                    <a:lnTo>
                      <a:pt x="899" y="621"/>
                    </a:lnTo>
                    <a:lnTo>
                      <a:pt x="925" y="621"/>
                    </a:lnTo>
                    <a:lnTo>
                      <a:pt x="925" y="699"/>
                    </a:lnTo>
                    <a:lnTo>
                      <a:pt x="925" y="699"/>
                    </a:lnTo>
                    <a:close/>
                    <a:moveTo>
                      <a:pt x="718" y="621"/>
                    </a:moveTo>
                    <a:lnTo>
                      <a:pt x="770" y="776"/>
                    </a:lnTo>
                    <a:lnTo>
                      <a:pt x="743" y="776"/>
                    </a:lnTo>
                    <a:lnTo>
                      <a:pt x="702" y="652"/>
                    </a:lnTo>
                    <a:lnTo>
                      <a:pt x="702" y="621"/>
                    </a:lnTo>
                    <a:lnTo>
                      <a:pt x="718" y="621"/>
                    </a:lnTo>
                    <a:lnTo>
                      <a:pt x="718" y="621"/>
                    </a:lnTo>
                    <a:close/>
                    <a:moveTo>
                      <a:pt x="795" y="776"/>
                    </a:moveTo>
                    <a:lnTo>
                      <a:pt x="743" y="621"/>
                    </a:lnTo>
                    <a:lnTo>
                      <a:pt x="770" y="621"/>
                    </a:lnTo>
                    <a:lnTo>
                      <a:pt x="822" y="776"/>
                    </a:lnTo>
                    <a:lnTo>
                      <a:pt x="795" y="776"/>
                    </a:lnTo>
                    <a:lnTo>
                      <a:pt x="795" y="776"/>
                    </a:lnTo>
                    <a:close/>
                    <a:moveTo>
                      <a:pt x="847" y="776"/>
                    </a:moveTo>
                    <a:lnTo>
                      <a:pt x="795" y="621"/>
                    </a:lnTo>
                    <a:lnTo>
                      <a:pt x="822" y="621"/>
                    </a:lnTo>
                    <a:lnTo>
                      <a:pt x="874" y="776"/>
                    </a:lnTo>
                    <a:lnTo>
                      <a:pt x="847" y="776"/>
                    </a:lnTo>
                    <a:lnTo>
                      <a:pt x="847" y="776"/>
                    </a:lnTo>
                    <a:close/>
                    <a:moveTo>
                      <a:pt x="702" y="726"/>
                    </a:moveTo>
                    <a:lnTo>
                      <a:pt x="718" y="776"/>
                    </a:lnTo>
                    <a:lnTo>
                      <a:pt x="702" y="776"/>
                    </a:lnTo>
                    <a:lnTo>
                      <a:pt x="702" y="726"/>
                    </a:lnTo>
                    <a:lnTo>
                      <a:pt x="702" y="726"/>
                    </a:lnTo>
                    <a:close/>
                    <a:moveTo>
                      <a:pt x="1334" y="574"/>
                    </a:moveTo>
                    <a:lnTo>
                      <a:pt x="1356" y="574"/>
                    </a:lnTo>
                    <a:lnTo>
                      <a:pt x="1356" y="597"/>
                    </a:lnTo>
                    <a:lnTo>
                      <a:pt x="1356" y="799"/>
                    </a:lnTo>
                    <a:lnTo>
                      <a:pt x="1356" y="822"/>
                    </a:lnTo>
                    <a:lnTo>
                      <a:pt x="1334" y="822"/>
                    </a:lnTo>
                    <a:lnTo>
                      <a:pt x="1063" y="822"/>
                    </a:lnTo>
                    <a:lnTo>
                      <a:pt x="1040" y="822"/>
                    </a:lnTo>
                    <a:lnTo>
                      <a:pt x="1040" y="799"/>
                    </a:lnTo>
                    <a:lnTo>
                      <a:pt x="1040" y="597"/>
                    </a:lnTo>
                    <a:lnTo>
                      <a:pt x="1040" y="574"/>
                    </a:lnTo>
                    <a:lnTo>
                      <a:pt x="1063" y="574"/>
                    </a:lnTo>
                    <a:lnTo>
                      <a:pt x="1334" y="574"/>
                    </a:lnTo>
                    <a:lnTo>
                      <a:pt x="1334" y="574"/>
                    </a:lnTo>
                    <a:close/>
                    <a:moveTo>
                      <a:pt x="1259" y="621"/>
                    </a:moveTo>
                    <a:lnTo>
                      <a:pt x="1310" y="772"/>
                    </a:lnTo>
                    <a:lnTo>
                      <a:pt x="1310" y="776"/>
                    </a:lnTo>
                    <a:lnTo>
                      <a:pt x="1284" y="776"/>
                    </a:lnTo>
                    <a:lnTo>
                      <a:pt x="1232" y="621"/>
                    </a:lnTo>
                    <a:lnTo>
                      <a:pt x="1259" y="621"/>
                    </a:lnTo>
                    <a:lnTo>
                      <a:pt x="1259" y="621"/>
                    </a:lnTo>
                    <a:close/>
                    <a:moveTo>
                      <a:pt x="1310" y="699"/>
                    </a:moveTo>
                    <a:lnTo>
                      <a:pt x="1284" y="621"/>
                    </a:lnTo>
                    <a:lnTo>
                      <a:pt x="1310" y="621"/>
                    </a:lnTo>
                    <a:lnTo>
                      <a:pt x="1310" y="699"/>
                    </a:lnTo>
                    <a:lnTo>
                      <a:pt x="1310" y="699"/>
                    </a:lnTo>
                    <a:close/>
                    <a:moveTo>
                      <a:pt x="1104" y="621"/>
                    </a:moveTo>
                    <a:lnTo>
                      <a:pt x="1155" y="776"/>
                    </a:lnTo>
                    <a:lnTo>
                      <a:pt x="1128" y="776"/>
                    </a:lnTo>
                    <a:lnTo>
                      <a:pt x="1086" y="652"/>
                    </a:lnTo>
                    <a:lnTo>
                      <a:pt x="1086" y="621"/>
                    </a:lnTo>
                    <a:lnTo>
                      <a:pt x="1104" y="621"/>
                    </a:lnTo>
                    <a:lnTo>
                      <a:pt x="1104" y="621"/>
                    </a:lnTo>
                    <a:close/>
                    <a:moveTo>
                      <a:pt x="1180" y="776"/>
                    </a:moveTo>
                    <a:lnTo>
                      <a:pt x="1128" y="621"/>
                    </a:lnTo>
                    <a:lnTo>
                      <a:pt x="1155" y="621"/>
                    </a:lnTo>
                    <a:lnTo>
                      <a:pt x="1207" y="776"/>
                    </a:lnTo>
                    <a:lnTo>
                      <a:pt x="1180" y="776"/>
                    </a:lnTo>
                    <a:lnTo>
                      <a:pt x="1180" y="776"/>
                    </a:lnTo>
                    <a:close/>
                    <a:moveTo>
                      <a:pt x="1232" y="776"/>
                    </a:moveTo>
                    <a:lnTo>
                      <a:pt x="1180" y="621"/>
                    </a:lnTo>
                    <a:lnTo>
                      <a:pt x="1207" y="621"/>
                    </a:lnTo>
                    <a:lnTo>
                      <a:pt x="1259" y="776"/>
                    </a:lnTo>
                    <a:lnTo>
                      <a:pt x="1232" y="776"/>
                    </a:lnTo>
                    <a:lnTo>
                      <a:pt x="1232" y="776"/>
                    </a:lnTo>
                    <a:close/>
                    <a:moveTo>
                      <a:pt x="1086" y="726"/>
                    </a:moveTo>
                    <a:lnTo>
                      <a:pt x="1103" y="776"/>
                    </a:lnTo>
                    <a:lnTo>
                      <a:pt x="1086" y="776"/>
                    </a:lnTo>
                    <a:lnTo>
                      <a:pt x="1086" y="726"/>
                    </a:lnTo>
                    <a:lnTo>
                      <a:pt x="1086" y="726"/>
                    </a:lnTo>
                    <a:close/>
                    <a:moveTo>
                      <a:pt x="782" y="170"/>
                    </a:moveTo>
                    <a:lnTo>
                      <a:pt x="841" y="143"/>
                    </a:lnTo>
                    <a:lnTo>
                      <a:pt x="831" y="184"/>
                    </a:lnTo>
                    <a:lnTo>
                      <a:pt x="820" y="190"/>
                    </a:lnTo>
                    <a:lnTo>
                      <a:pt x="782" y="170"/>
                    </a:lnTo>
                    <a:lnTo>
                      <a:pt x="782" y="170"/>
                    </a:lnTo>
                    <a:close/>
                    <a:moveTo>
                      <a:pt x="678" y="216"/>
                    </a:moveTo>
                    <a:lnTo>
                      <a:pt x="728" y="193"/>
                    </a:lnTo>
                    <a:lnTo>
                      <a:pt x="726" y="245"/>
                    </a:lnTo>
                    <a:lnTo>
                      <a:pt x="678" y="216"/>
                    </a:lnTo>
                    <a:lnTo>
                      <a:pt x="678" y="216"/>
                    </a:lnTo>
                    <a:close/>
                    <a:moveTo>
                      <a:pt x="602" y="250"/>
                    </a:moveTo>
                    <a:lnTo>
                      <a:pt x="634" y="236"/>
                    </a:lnTo>
                    <a:lnTo>
                      <a:pt x="632" y="278"/>
                    </a:lnTo>
                    <a:lnTo>
                      <a:pt x="602" y="250"/>
                    </a:lnTo>
                    <a:lnTo>
                      <a:pt x="602" y="250"/>
                    </a:lnTo>
                    <a:close/>
                    <a:moveTo>
                      <a:pt x="628" y="313"/>
                    </a:moveTo>
                    <a:lnTo>
                      <a:pt x="581" y="343"/>
                    </a:lnTo>
                    <a:lnTo>
                      <a:pt x="581" y="268"/>
                    </a:lnTo>
                    <a:lnTo>
                      <a:pt x="628" y="313"/>
                    </a:lnTo>
                    <a:lnTo>
                      <a:pt x="628" y="313"/>
                    </a:lnTo>
                    <a:close/>
                    <a:moveTo>
                      <a:pt x="704" y="264"/>
                    </a:moveTo>
                    <a:lnTo>
                      <a:pt x="659" y="293"/>
                    </a:lnTo>
                    <a:lnTo>
                      <a:pt x="661" y="239"/>
                    </a:lnTo>
                    <a:lnTo>
                      <a:pt x="704" y="264"/>
                    </a:lnTo>
                    <a:lnTo>
                      <a:pt x="704" y="264"/>
                    </a:lnTo>
                    <a:close/>
                    <a:moveTo>
                      <a:pt x="794" y="207"/>
                    </a:moveTo>
                    <a:lnTo>
                      <a:pt x="754" y="232"/>
                    </a:lnTo>
                    <a:lnTo>
                      <a:pt x="755" y="187"/>
                    </a:lnTo>
                    <a:lnTo>
                      <a:pt x="794" y="207"/>
                    </a:lnTo>
                    <a:lnTo>
                      <a:pt x="794" y="207"/>
                    </a:lnTo>
                    <a:close/>
                    <a:moveTo>
                      <a:pt x="885" y="149"/>
                    </a:moveTo>
                    <a:lnTo>
                      <a:pt x="865" y="161"/>
                    </a:lnTo>
                    <a:lnTo>
                      <a:pt x="872" y="139"/>
                    </a:lnTo>
                    <a:lnTo>
                      <a:pt x="885" y="149"/>
                    </a:lnTo>
                    <a:lnTo>
                      <a:pt x="885" y="149"/>
                    </a:lnTo>
                    <a:close/>
                    <a:moveTo>
                      <a:pt x="938" y="115"/>
                    </a:moveTo>
                    <a:lnTo>
                      <a:pt x="910" y="133"/>
                    </a:lnTo>
                    <a:lnTo>
                      <a:pt x="910" y="133"/>
                    </a:lnTo>
                    <a:lnTo>
                      <a:pt x="892" y="121"/>
                    </a:lnTo>
                    <a:lnTo>
                      <a:pt x="935" y="102"/>
                    </a:lnTo>
                    <a:lnTo>
                      <a:pt x="935" y="102"/>
                    </a:lnTo>
                    <a:lnTo>
                      <a:pt x="938" y="115"/>
                    </a:lnTo>
                    <a:lnTo>
                      <a:pt x="938" y="115"/>
                    </a:lnTo>
                    <a:close/>
                    <a:moveTo>
                      <a:pt x="955" y="93"/>
                    </a:moveTo>
                    <a:lnTo>
                      <a:pt x="999" y="74"/>
                    </a:lnTo>
                    <a:lnTo>
                      <a:pt x="1000" y="75"/>
                    </a:lnTo>
                    <a:lnTo>
                      <a:pt x="953" y="104"/>
                    </a:lnTo>
                    <a:lnTo>
                      <a:pt x="953" y="104"/>
                    </a:lnTo>
                    <a:lnTo>
                      <a:pt x="955" y="93"/>
                    </a:lnTo>
                    <a:lnTo>
                      <a:pt x="955" y="93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64657" tIns="32328" rIns="64657" bIns="323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7640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Freeform 293">
                <a:extLst>
                  <a:ext uri="{FF2B5EF4-FFF2-40B4-BE49-F238E27FC236}">
                    <a16:creationId xmlns:a16="http://schemas.microsoft.com/office/drawing/2014/main" id="{090F5364-D206-4140-A8D9-FF7806E098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56275" y="2420803"/>
                <a:ext cx="240162" cy="176695"/>
              </a:xfrm>
              <a:custGeom>
                <a:avLst/>
                <a:gdLst>
                  <a:gd name="T0" fmla="*/ 1068 w 1357"/>
                  <a:gd name="T1" fmla="*/ 97 h 947"/>
                  <a:gd name="T2" fmla="*/ 447 w 1357"/>
                  <a:gd name="T3" fmla="*/ 257 h 947"/>
                  <a:gd name="T4" fmla="*/ 0 w 1357"/>
                  <a:gd name="T5" fmla="*/ 861 h 947"/>
                  <a:gd name="T6" fmla="*/ 541 w 1357"/>
                  <a:gd name="T7" fmla="*/ 470 h 947"/>
                  <a:gd name="T8" fmla="*/ 911 w 1357"/>
                  <a:gd name="T9" fmla="*/ 374 h 947"/>
                  <a:gd name="T10" fmla="*/ 295 w 1357"/>
                  <a:gd name="T11" fmla="*/ 288 h 947"/>
                  <a:gd name="T12" fmla="*/ 295 w 1357"/>
                  <a:gd name="T13" fmla="*/ 536 h 947"/>
                  <a:gd name="T14" fmla="*/ 1 w 1357"/>
                  <a:gd name="T15" fmla="*/ 288 h 947"/>
                  <a:gd name="T16" fmla="*/ 272 w 1357"/>
                  <a:gd name="T17" fmla="*/ 485 h 947"/>
                  <a:gd name="T18" fmla="*/ 221 w 1357"/>
                  <a:gd name="T19" fmla="*/ 334 h 947"/>
                  <a:gd name="T20" fmla="*/ 272 w 1357"/>
                  <a:gd name="T21" fmla="*/ 411 h 947"/>
                  <a:gd name="T22" fmla="*/ 48 w 1357"/>
                  <a:gd name="T23" fmla="*/ 334 h 947"/>
                  <a:gd name="T24" fmla="*/ 117 w 1357"/>
                  <a:gd name="T25" fmla="*/ 334 h 947"/>
                  <a:gd name="T26" fmla="*/ 142 w 1357"/>
                  <a:gd name="T27" fmla="*/ 334 h 947"/>
                  <a:gd name="T28" fmla="*/ 48 w 1357"/>
                  <a:gd name="T29" fmla="*/ 438 h 947"/>
                  <a:gd name="T30" fmla="*/ 295 w 1357"/>
                  <a:gd name="T31" fmla="*/ 574 h 947"/>
                  <a:gd name="T32" fmla="*/ 295 w 1357"/>
                  <a:gd name="T33" fmla="*/ 822 h 947"/>
                  <a:gd name="T34" fmla="*/ 1 w 1357"/>
                  <a:gd name="T35" fmla="*/ 574 h 947"/>
                  <a:gd name="T36" fmla="*/ 272 w 1357"/>
                  <a:gd name="T37" fmla="*/ 772 h 947"/>
                  <a:gd name="T38" fmla="*/ 221 w 1357"/>
                  <a:gd name="T39" fmla="*/ 621 h 947"/>
                  <a:gd name="T40" fmla="*/ 272 w 1357"/>
                  <a:gd name="T41" fmla="*/ 699 h 947"/>
                  <a:gd name="T42" fmla="*/ 48 w 1357"/>
                  <a:gd name="T43" fmla="*/ 621 h 947"/>
                  <a:gd name="T44" fmla="*/ 117 w 1357"/>
                  <a:gd name="T45" fmla="*/ 621 h 947"/>
                  <a:gd name="T46" fmla="*/ 142 w 1357"/>
                  <a:gd name="T47" fmla="*/ 621 h 947"/>
                  <a:gd name="T48" fmla="*/ 48 w 1357"/>
                  <a:gd name="T49" fmla="*/ 726 h 947"/>
                  <a:gd name="T50" fmla="*/ 948 w 1357"/>
                  <a:gd name="T51" fmla="*/ 574 h 947"/>
                  <a:gd name="T52" fmla="*/ 948 w 1357"/>
                  <a:gd name="T53" fmla="*/ 822 h 947"/>
                  <a:gd name="T54" fmla="*/ 654 w 1357"/>
                  <a:gd name="T55" fmla="*/ 574 h 947"/>
                  <a:gd name="T56" fmla="*/ 925 w 1357"/>
                  <a:gd name="T57" fmla="*/ 772 h 947"/>
                  <a:gd name="T58" fmla="*/ 874 w 1357"/>
                  <a:gd name="T59" fmla="*/ 621 h 947"/>
                  <a:gd name="T60" fmla="*/ 925 w 1357"/>
                  <a:gd name="T61" fmla="*/ 699 h 947"/>
                  <a:gd name="T62" fmla="*/ 702 w 1357"/>
                  <a:gd name="T63" fmla="*/ 621 h 947"/>
                  <a:gd name="T64" fmla="*/ 770 w 1357"/>
                  <a:gd name="T65" fmla="*/ 621 h 947"/>
                  <a:gd name="T66" fmla="*/ 795 w 1357"/>
                  <a:gd name="T67" fmla="*/ 621 h 947"/>
                  <a:gd name="T68" fmla="*/ 702 w 1357"/>
                  <a:gd name="T69" fmla="*/ 726 h 947"/>
                  <a:gd name="T70" fmla="*/ 1334 w 1357"/>
                  <a:gd name="T71" fmla="*/ 574 h 947"/>
                  <a:gd name="T72" fmla="*/ 1334 w 1357"/>
                  <a:gd name="T73" fmla="*/ 822 h 947"/>
                  <a:gd name="T74" fmla="*/ 1040 w 1357"/>
                  <a:gd name="T75" fmla="*/ 574 h 947"/>
                  <a:gd name="T76" fmla="*/ 1310 w 1357"/>
                  <a:gd name="T77" fmla="*/ 772 h 947"/>
                  <a:gd name="T78" fmla="*/ 1259 w 1357"/>
                  <a:gd name="T79" fmla="*/ 621 h 947"/>
                  <a:gd name="T80" fmla="*/ 1310 w 1357"/>
                  <a:gd name="T81" fmla="*/ 699 h 947"/>
                  <a:gd name="T82" fmla="*/ 1086 w 1357"/>
                  <a:gd name="T83" fmla="*/ 621 h 947"/>
                  <a:gd name="T84" fmla="*/ 1155 w 1357"/>
                  <a:gd name="T85" fmla="*/ 621 h 947"/>
                  <a:gd name="T86" fmla="*/ 1180 w 1357"/>
                  <a:gd name="T87" fmla="*/ 621 h 947"/>
                  <a:gd name="T88" fmla="*/ 1086 w 1357"/>
                  <a:gd name="T89" fmla="*/ 726 h 947"/>
                  <a:gd name="T90" fmla="*/ 782 w 1357"/>
                  <a:gd name="T91" fmla="*/ 170 h 947"/>
                  <a:gd name="T92" fmla="*/ 782 w 1357"/>
                  <a:gd name="T93" fmla="*/ 170 h 947"/>
                  <a:gd name="T94" fmla="*/ 678 w 1357"/>
                  <a:gd name="T95" fmla="*/ 216 h 947"/>
                  <a:gd name="T96" fmla="*/ 602 w 1357"/>
                  <a:gd name="T97" fmla="*/ 250 h 947"/>
                  <a:gd name="T98" fmla="*/ 628 w 1357"/>
                  <a:gd name="T99" fmla="*/ 313 h 947"/>
                  <a:gd name="T100" fmla="*/ 704 w 1357"/>
                  <a:gd name="T101" fmla="*/ 264 h 947"/>
                  <a:gd name="T102" fmla="*/ 794 w 1357"/>
                  <a:gd name="T103" fmla="*/ 207 h 947"/>
                  <a:gd name="T104" fmla="*/ 885 w 1357"/>
                  <a:gd name="T105" fmla="*/ 149 h 947"/>
                  <a:gd name="T106" fmla="*/ 935 w 1357"/>
                  <a:gd name="T107" fmla="*/ 102 h 947"/>
                  <a:gd name="T108" fmla="*/ 999 w 1357"/>
                  <a:gd name="T109" fmla="*/ 74 h 947"/>
                  <a:gd name="T110" fmla="*/ 955 w 1357"/>
                  <a:gd name="T111" fmla="*/ 93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57" h="947">
                    <a:moveTo>
                      <a:pt x="1128" y="374"/>
                    </a:moveTo>
                    <a:lnTo>
                      <a:pt x="1032" y="374"/>
                    </a:lnTo>
                    <a:lnTo>
                      <a:pt x="1032" y="120"/>
                    </a:lnTo>
                    <a:lnTo>
                      <a:pt x="1048" y="109"/>
                    </a:lnTo>
                    <a:lnTo>
                      <a:pt x="1068" y="97"/>
                    </a:lnTo>
                    <a:lnTo>
                      <a:pt x="1059" y="76"/>
                    </a:lnTo>
                    <a:lnTo>
                      <a:pt x="1039" y="26"/>
                    </a:lnTo>
                    <a:lnTo>
                      <a:pt x="1029" y="0"/>
                    </a:lnTo>
                    <a:lnTo>
                      <a:pt x="1003" y="11"/>
                    </a:lnTo>
                    <a:lnTo>
                      <a:pt x="447" y="257"/>
                    </a:lnTo>
                    <a:lnTo>
                      <a:pt x="378" y="257"/>
                    </a:lnTo>
                    <a:lnTo>
                      <a:pt x="378" y="470"/>
                    </a:lnTo>
                    <a:lnTo>
                      <a:pt x="415" y="470"/>
                    </a:lnTo>
                    <a:lnTo>
                      <a:pt x="415" y="861"/>
                    </a:lnTo>
                    <a:lnTo>
                      <a:pt x="0" y="861"/>
                    </a:lnTo>
                    <a:lnTo>
                      <a:pt x="0" y="947"/>
                    </a:lnTo>
                    <a:lnTo>
                      <a:pt x="1357" y="947"/>
                    </a:lnTo>
                    <a:lnTo>
                      <a:pt x="1357" y="861"/>
                    </a:lnTo>
                    <a:lnTo>
                      <a:pt x="541" y="861"/>
                    </a:lnTo>
                    <a:lnTo>
                      <a:pt x="541" y="470"/>
                    </a:lnTo>
                    <a:lnTo>
                      <a:pt x="581" y="470"/>
                    </a:lnTo>
                    <a:lnTo>
                      <a:pt x="581" y="408"/>
                    </a:lnTo>
                    <a:lnTo>
                      <a:pt x="1006" y="136"/>
                    </a:lnTo>
                    <a:lnTo>
                      <a:pt x="1006" y="374"/>
                    </a:lnTo>
                    <a:lnTo>
                      <a:pt x="911" y="374"/>
                    </a:lnTo>
                    <a:lnTo>
                      <a:pt x="911" y="531"/>
                    </a:lnTo>
                    <a:lnTo>
                      <a:pt x="1128" y="531"/>
                    </a:lnTo>
                    <a:lnTo>
                      <a:pt x="1128" y="374"/>
                    </a:lnTo>
                    <a:lnTo>
                      <a:pt x="1128" y="374"/>
                    </a:lnTo>
                    <a:close/>
                    <a:moveTo>
                      <a:pt x="295" y="288"/>
                    </a:moveTo>
                    <a:lnTo>
                      <a:pt x="319" y="288"/>
                    </a:lnTo>
                    <a:lnTo>
                      <a:pt x="319" y="310"/>
                    </a:lnTo>
                    <a:lnTo>
                      <a:pt x="319" y="512"/>
                    </a:lnTo>
                    <a:lnTo>
                      <a:pt x="319" y="536"/>
                    </a:lnTo>
                    <a:lnTo>
                      <a:pt x="295" y="536"/>
                    </a:lnTo>
                    <a:lnTo>
                      <a:pt x="25" y="536"/>
                    </a:lnTo>
                    <a:lnTo>
                      <a:pt x="1" y="536"/>
                    </a:lnTo>
                    <a:lnTo>
                      <a:pt x="1" y="512"/>
                    </a:lnTo>
                    <a:lnTo>
                      <a:pt x="1" y="310"/>
                    </a:lnTo>
                    <a:lnTo>
                      <a:pt x="1" y="288"/>
                    </a:lnTo>
                    <a:lnTo>
                      <a:pt x="25" y="288"/>
                    </a:lnTo>
                    <a:lnTo>
                      <a:pt x="295" y="288"/>
                    </a:lnTo>
                    <a:lnTo>
                      <a:pt x="295" y="288"/>
                    </a:lnTo>
                    <a:close/>
                    <a:moveTo>
                      <a:pt x="221" y="334"/>
                    </a:moveTo>
                    <a:lnTo>
                      <a:pt x="272" y="485"/>
                    </a:lnTo>
                    <a:lnTo>
                      <a:pt x="272" y="489"/>
                    </a:lnTo>
                    <a:lnTo>
                      <a:pt x="245" y="489"/>
                    </a:lnTo>
                    <a:lnTo>
                      <a:pt x="194" y="334"/>
                    </a:lnTo>
                    <a:lnTo>
                      <a:pt x="221" y="334"/>
                    </a:lnTo>
                    <a:lnTo>
                      <a:pt x="221" y="334"/>
                    </a:lnTo>
                    <a:close/>
                    <a:moveTo>
                      <a:pt x="272" y="411"/>
                    </a:moveTo>
                    <a:lnTo>
                      <a:pt x="246" y="334"/>
                    </a:lnTo>
                    <a:lnTo>
                      <a:pt x="272" y="334"/>
                    </a:lnTo>
                    <a:lnTo>
                      <a:pt x="272" y="411"/>
                    </a:lnTo>
                    <a:lnTo>
                      <a:pt x="272" y="411"/>
                    </a:lnTo>
                    <a:close/>
                    <a:moveTo>
                      <a:pt x="65" y="334"/>
                    </a:moveTo>
                    <a:lnTo>
                      <a:pt x="117" y="489"/>
                    </a:lnTo>
                    <a:lnTo>
                      <a:pt x="90" y="489"/>
                    </a:lnTo>
                    <a:lnTo>
                      <a:pt x="48" y="365"/>
                    </a:lnTo>
                    <a:lnTo>
                      <a:pt x="48" y="334"/>
                    </a:lnTo>
                    <a:lnTo>
                      <a:pt x="65" y="334"/>
                    </a:lnTo>
                    <a:lnTo>
                      <a:pt x="65" y="334"/>
                    </a:lnTo>
                    <a:close/>
                    <a:moveTo>
                      <a:pt x="142" y="489"/>
                    </a:moveTo>
                    <a:lnTo>
                      <a:pt x="90" y="334"/>
                    </a:lnTo>
                    <a:lnTo>
                      <a:pt x="117" y="334"/>
                    </a:lnTo>
                    <a:lnTo>
                      <a:pt x="169" y="489"/>
                    </a:lnTo>
                    <a:lnTo>
                      <a:pt x="142" y="489"/>
                    </a:lnTo>
                    <a:lnTo>
                      <a:pt x="142" y="489"/>
                    </a:lnTo>
                    <a:close/>
                    <a:moveTo>
                      <a:pt x="194" y="489"/>
                    </a:moveTo>
                    <a:lnTo>
                      <a:pt x="142" y="334"/>
                    </a:lnTo>
                    <a:lnTo>
                      <a:pt x="169" y="334"/>
                    </a:lnTo>
                    <a:lnTo>
                      <a:pt x="221" y="489"/>
                    </a:lnTo>
                    <a:lnTo>
                      <a:pt x="194" y="489"/>
                    </a:lnTo>
                    <a:lnTo>
                      <a:pt x="194" y="489"/>
                    </a:lnTo>
                    <a:close/>
                    <a:moveTo>
                      <a:pt x="48" y="438"/>
                    </a:moveTo>
                    <a:lnTo>
                      <a:pt x="65" y="489"/>
                    </a:lnTo>
                    <a:lnTo>
                      <a:pt x="48" y="489"/>
                    </a:lnTo>
                    <a:lnTo>
                      <a:pt x="48" y="438"/>
                    </a:lnTo>
                    <a:lnTo>
                      <a:pt x="48" y="438"/>
                    </a:lnTo>
                    <a:close/>
                    <a:moveTo>
                      <a:pt x="295" y="574"/>
                    </a:moveTo>
                    <a:lnTo>
                      <a:pt x="319" y="574"/>
                    </a:lnTo>
                    <a:lnTo>
                      <a:pt x="319" y="597"/>
                    </a:lnTo>
                    <a:lnTo>
                      <a:pt x="319" y="799"/>
                    </a:lnTo>
                    <a:lnTo>
                      <a:pt x="319" y="822"/>
                    </a:lnTo>
                    <a:lnTo>
                      <a:pt x="295" y="822"/>
                    </a:lnTo>
                    <a:lnTo>
                      <a:pt x="25" y="822"/>
                    </a:lnTo>
                    <a:lnTo>
                      <a:pt x="1" y="822"/>
                    </a:lnTo>
                    <a:lnTo>
                      <a:pt x="1" y="799"/>
                    </a:lnTo>
                    <a:lnTo>
                      <a:pt x="1" y="597"/>
                    </a:lnTo>
                    <a:lnTo>
                      <a:pt x="1" y="574"/>
                    </a:lnTo>
                    <a:lnTo>
                      <a:pt x="25" y="574"/>
                    </a:lnTo>
                    <a:lnTo>
                      <a:pt x="295" y="574"/>
                    </a:lnTo>
                    <a:lnTo>
                      <a:pt x="295" y="574"/>
                    </a:lnTo>
                    <a:close/>
                    <a:moveTo>
                      <a:pt x="221" y="621"/>
                    </a:moveTo>
                    <a:lnTo>
                      <a:pt x="272" y="772"/>
                    </a:lnTo>
                    <a:lnTo>
                      <a:pt x="272" y="776"/>
                    </a:lnTo>
                    <a:lnTo>
                      <a:pt x="245" y="776"/>
                    </a:lnTo>
                    <a:lnTo>
                      <a:pt x="194" y="621"/>
                    </a:lnTo>
                    <a:lnTo>
                      <a:pt x="221" y="621"/>
                    </a:lnTo>
                    <a:lnTo>
                      <a:pt x="221" y="621"/>
                    </a:lnTo>
                    <a:close/>
                    <a:moveTo>
                      <a:pt x="272" y="699"/>
                    </a:moveTo>
                    <a:lnTo>
                      <a:pt x="246" y="621"/>
                    </a:lnTo>
                    <a:lnTo>
                      <a:pt x="272" y="621"/>
                    </a:lnTo>
                    <a:lnTo>
                      <a:pt x="272" y="699"/>
                    </a:lnTo>
                    <a:lnTo>
                      <a:pt x="272" y="699"/>
                    </a:lnTo>
                    <a:close/>
                    <a:moveTo>
                      <a:pt x="65" y="621"/>
                    </a:moveTo>
                    <a:lnTo>
                      <a:pt x="117" y="776"/>
                    </a:lnTo>
                    <a:lnTo>
                      <a:pt x="90" y="776"/>
                    </a:lnTo>
                    <a:lnTo>
                      <a:pt x="48" y="652"/>
                    </a:lnTo>
                    <a:lnTo>
                      <a:pt x="48" y="621"/>
                    </a:lnTo>
                    <a:lnTo>
                      <a:pt x="65" y="621"/>
                    </a:lnTo>
                    <a:lnTo>
                      <a:pt x="65" y="621"/>
                    </a:lnTo>
                    <a:close/>
                    <a:moveTo>
                      <a:pt x="142" y="776"/>
                    </a:moveTo>
                    <a:lnTo>
                      <a:pt x="90" y="621"/>
                    </a:lnTo>
                    <a:lnTo>
                      <a:pt x="117" y="621"/>
                    </a:lnTo>
                    <a:lnTo>
                      <a:pt x="169" y="776"/>
                    </a:lnTo>
                    <a:lnTo>
                      <a:pt x="142" y="776"/>
                    </a:lnTo>
                    <a:lnTo>
                      <a:pt x="142" y="776"/>
                    </a:lnTo>
                    <a:close/>
                    <a:moveTo>
                      <a:pt x="194" y="776"/>
                    </a:moveTo>
                    <a:lnTo>
                      <a:pt x="142" y="621"/>
                    </a:lnTo>
                    <a:lnTo>
                      <a:pt x="169" y="621"/>
                    </a:lnTo>
                    <a:lnTo>
                      <a:pt x="221" y="776"/>
                    </a:lnTo>
                    <a:lnTo>
                      <a:pt x="194" y="776"/>
                    </a:lnTo>
                    <a:lnTo>
                      <a:pt x="194" y="776"/>
                    </a:lnTo>
                    <a:close/>
                    <a:moveTo>
                      <a:pt x="48" y="726"/>
                    </a:moveTo>
                    <a:lnTo>
                      <a:pt x="65" y="776"/>
                    </a:lnTo>
                    <a:lnTo>
                      <a:pt x="48" y="776"/>
                    </a:lnTo>
                    <a:lnTo>
                      <a:pt x="48" y="726"/>
                    </a:lnTo>
                    <a:lnTo>
                      <a:pt x="48" y="726"/>
                    </a:lnTo>
                    <a:close/>
                    <a:moveTo>
                      <a:pt x="948" y="574"/>
                    </a:moveTo>
                    <a:lnTo>
                      <a:pt x="971" y="574"/>
                    </a:lnTo>
                    <a:lnTo>
                      <a:pt x="971" y="597"/>
                    </a:lnTo>
                    <a:lnTo>
                      <a:pt x="971" y="799"/>
                    </a:lnTo>
                    <a:lnTo>
                      <a:pt x="971" y="822"/>
                    </a:lnTo>
                    <a:lnTo>
                      <a:pt x="948" y="822"/>
                    </a:lnTo>
                    <a:lnTo>
                      <a:pt x="678" y="822"/>
                    </a:lnTo>
                    <a:lnTo>
                      <a:pt x="654" y="822"/>
                    </a:lnTo>
                    <a:lnTo>
                      <a:pt x="654" y="799"/>
                    </a:lnTo>
                    <a:lnTo>
                      <a:pt x="654" y="597"/>
                    </a:lnTo>
                    <a:lnTo>
                      <a:pt x="654" y="574"/>
                    </a:lnTo>
                    <a:lnTo>
                      <a:pt x="678" y="574"/>
                    </a:lnTo>
                    <a:lnTo>
                      <a:pt x="948" y="574"/>
                    </a:lnTo>
                    <a:lnTo>
                      <a:pt x="948" y="574"/>
                    </a:lnTo>
                    <a:close/>
                    <a:moveTo>
                      <a:pt x="874" y="621"/>
                    </a:moveTo>
                    <a:lnTo>
                      <a:pt x="925" y="772"/>
                    </a:lnTo>
                    <a:lnTo>
                      <a:pt x="925" y="776"/>
                    </a:lnTo>
                    <a:lnTo>
                      <a:pt x="898" y="776"/>
                    </a:lnTo>
                    <a:lnTo>
                      <a:pt x="847" y="621"/>
                    </a:lnTo>
                    <a:lnTo>
                      <a:pt x="874" y="621"/>
                    </a:lnTo>
                    <a:lnTo>
                      <a:pt x="874" y="621"/>
                    </a:lnTo>
                    <a:close/>
                    <a:moveTo>
                      <a:pt x="925" y="699"/>
                    </a:moveTo>
                    <a:lnTo>
                      <a:pt x="899" y="621"/>
                    </a:lnTo>
                    <a:lnTo>
                      <a:pt x="925" y="621"/>
                    </a:lnTo>
                    <a:lnTo>
                      <a:pt x="925" y="699"/>
                    </a:lnTo>
                    <a:lnTo>
                      <a:pt x="925" y="699"/>
                    </a:lnTo>
                    <a:close/>
                    <a:moveTo>
                      <a:pt x="718" y="621"/>
                    </a:moveTo>
                    <a:lnTo>
                      <a:pt x="770" y="776"/>
                    </a:lnTo>
                    <a:lnTo>
                      <a:pt x="743" y="776"/>
                    </a:lnTo>
                    <a:lnTo>
                      <a:pt x="702" y="652"/>
                    </a:lnTo>
                    <a:lnTo>
                      <a:pt x="702" y="621"/>
                    </a:lnTo>
                    <a:lnTo>
                      <a:pt x="718" y="621"/>
                    </a:lnTo>
                    <a:lnTo>
                      <a:pt x="718" y="621"/>
                    </a:lnTo>
                    <a:close/>
                    <a:moveTo>
                      <a:pt x="795" y="776"/>
                    </a:moveTo>
                    <a:lnTo>
                      <a:pt x="743" y="621"/>
                    </a:lnTo>
                    <a:lnTo>
                      <a:pt x="770" y="621"/>
                    </a:lnTo>
                    <a:lnTo>
                      <a:pt x="822" y="776"/>
                    </a:lnTo>
                    <a:lnTo>
                      <a:pt x="795" y="776"/>
                    </a:lnTo>
                    <a:lnTo>
                      <a:pt x="795" y="776"/>
                    </a:lnTo>
                    <a:close/>
                    <a:moveTo>
                      <a:pt x="847" y="776"/>
                    </a:moveTo>
                    <a:lnTo>
                      <a:pt x="795" y="621"/>
                    </a:lnTo>
                    <a:lnTo>
                      <a:pt x="822" y="621"/>
                    </a:lnTo>
                    <a:lnTo>
                      <a:pt x="874" y="776"/>
                    </a:lnTo>
                    <a:lnTo>
                      <a:pt x="847" y="776"/>
                    </a:lnTo>
                    <a:lnTo>
                      <a:pt x="847" y="776"/>
                    </a:lnTo>
                    <a:close/>
                    <a:moveTo>
                      <a:pt x="702" y="726"/>
                    </a:moveTo>
                    <a:lnTo>
                      <a:pt x="718" y="776"/>
                    </a:lnTo>
                    <a:lnTo>
                      <a:pt x="702" y="776"/>
                    </a:lnTo>
                    <a:lnTo>
                      <a:pt x="702" y="726"/>
                    </a:lnTo>
                    <a:lnTo>
                      <a:pt x="702" y="726"/>
                    </a:lnTo>
                    <a:close/>
                    <a:moveTo>
                      <a:pt x="1334" y="574"/>
                    </a:moveTo>
                    <a:lnTo>
                      <a:pt x="1356" y="574"/>
                    </a:lnTo>
                    <a:lnTo>
                      <a:pt x="1356" y="597"/>
                    </a:lnTo>
                    <a:lnTo>
                      <a:pt x="1356" y="799"/>
                    </a:lnTo>
                    <a:lnTo>
                      <a:pt x="1356" y="822"/>
                    </a:lnTo>
                    <a:lnTo>
                      <a:pt x="1334" y="822"/>
                    </a:lnTo>
                    <a:lnTo>
                      <a:pt x="1063" y="822"/>
                    </a:lnTo>
                    <a:lnTo>
                      <a:pt x="1040" y="822"/>
                    </a:lnTo>
                    <a:lnTo>
                      <a:pt x="1040" y="799"/>
                    </a:lnTo>
                    <a:lnTo>
                      <a:pt x="1040" y="597"/>
                    </a:lnTo>
                    <a:lnTo>
                      <a:pt x="1040" y="574"/>
                    </a:lnTo>
                    <a:lnTo>
                      <a:pt x="1063" y="574"/>
                    </a:lnTo>
                    <a:lnTo>
                      <a:pt x="1334" y="574"/>
                    </a:lnTo>
                    <a:lnTo>
                      <a:pt x="1334" y="574"/>
                    </a:lnTo>
                    <a:close/>
                    <a:moveTo>
                      <a:pt x="1259" y="621"/>
                    </a:moveTo>
                    <a:lnTo>
                      <a:pt x="1310" y="772"/>
                    </a:lnTo>
                    <a:lnTo>
                      <a:pt x="1310" y="776"/>
                    </a:lnTo>
                    <a:lnTo>
                      <a:pt x="1284" y="776"/>
                    </a:lnTo>
                    <a:lnTo>
                      <a:pt x="1232" y="621"/>
                    </a:lnTo>
                    <a:lnTo>
                      <a:pt x="1259" y="621"/>
                    </a:lnTo>
                    <a:lnTo>
                      <a:pt x="1259" y="621"/>
                    </a:lnTo>
                    <a:close/>
                    <a:moveTo>
                      <a:pt x="1310" y="699"/>
                    </a:moveTo>
                    <a:lnTo>
                      <a:pt x="1284" y="621"/>
                    </a:lnTo>
                    <a:lnTo>
                      <a:pt x="1310" y="621"/>
                    </a:lnTo>
                    <a:lnTo>
                      <a:pt x="1310" y="699"/>
                    </a:lnTo>
                    <a:lnTo>
                      <a:pt x="1310" y="699"/>
                    </a:lnTo>
                    <a:close/>
                    <a:moveTo>
                      <a:pt x="1104" y="621"/>
                    </a:moveTo>
                    <a:lnTo>
                      <a:pt x="1155" y="776"/>
                    </a:lnTo>
                    <a:lnTo>
                      <a:pt x="1128" y="776"/>
                    </a:lnTo>
                    <a:lnTo>
                      <a:pt x="1086" y="652"/>
                    </a:lnTo>
                    <a:lnTo>
                      <a:pt x="1086" y="621"/>
                    </a:lnTo>
                    <a:lnTo>
                      <a:pt x="1104" y="621"/>
                    </a:lnTo>
                    <a:lnTo>
                      <a:pt x="1104" y="621"/>
                    </a:lnTo>
                    <a:close/>
                    <a:moveTo>
                      <a:pt x="1180" y="776"/>
                    </a:moveTo>
                    <a:lnTo>
                      <a:pt x="1128" y="621"/>
                    </a:lnTo>
                    <a:lnTo>
                      <a:pt x="1155" y="621"/>
                    </a:lnTo>
                    <a:lnTo>
                      <a:pt x="1207" y="776"/>
                    </a:lnTo>
                    <a:lnTo>
                      <a:pt x="1180" y="776"/>
                    </a:lnTo>
                    <a:lnTo>
                      <a:pt x="1180" y="776"/>
                    </a:lnTo>
                    <a:close/>
                    <a:moveTo>
                      <a:pt x="1232" y="776"/>
                    </a:moveTo>
                    <a:lnTo>
                      <a:pt x="1180" y="621"/>
                    </a:lnTo>
                    <a:lnTo>
                      <a:pt x="1207" y="621"/>
                    </a:lnTo>
                    <a:lnTo>
                      <a:pt x="1259" y="776"/>
                    </a:lnTo>
                    <a:lnTo>
                      <a:pt x="1232" y="776"/>
                    </a:lnTo>
                    <a:lnTo>
                      <a:pt x="1232" y="776"/>
                    </a:lnTo>
                    <a:close/>
                    <a:moveTo>
                      <a:pt x="1086" y="726"/>
                    </a:moveTo>
                    <a:lnTo>
                      <a:pt x="1103" y="776"/>
                    </a:lnTo>
                    <a:lnTo>
                      <a:pt x="1086" y="776"/>
                    </a:lnTo>
                    <a:lnTo>
                      <a:pt x="1086" y="726"/>
                    </a:lnTo>
                    <a:lnTo>
                      <a:pt x="1086" y="726"/>
                    </a:lnTo>
                    <a:close/>
                    <a:moveTo>
                      <a:pt x="782" y="170"/>
                    </a:moveTo>
                    <a:lnTo>
                      <a:pt x="841" y="143"/>
                    </a:lnTo>
                    <a:lnTo>
                      <a:pt x="831" y="184"/>
                    </a:lnTo>
                    <a:lnTo>
                      <a:pt x="820" y="190"/>
                    </a:lnTo>
                    <a:lnTo>
                      <a:pt x="782" y="170"/>
                    </a:lnTo>
                    <a:lnTo>
                      <a:pt x="782" y="170"/>
                    </a:lnTo>
                    <a:close/>
                    <a:moveTo>
                      <a:pt x="678" y="216"/>
                    </a:moveTo>
                    <a:lnTo>
                      <a:pt x="728" y="193"/>
                    </a:lnTo>
                    <a:lnTo>
                      <a:pt x="726" y="245"/>
                    </a:lnTo>
                    <a:lnTo>
                      <a:pt x="678" y="216"/>
                    </a:lnTo>
                    <a:lnTo>
                      <a:pt x="678" y="216"/>
                    </a:lnTo>
                    <a:close/>
                    <a:moveTo>
                      <a:pt x="602" y="250"/>
                    </a:moveTo>
                    <a:lnTo>
                      <a:pt x="634" y="236"/>
                    </a:lnTo>
                    <a:lnTo>
                      <a:pt x="632" y="278"/>
                    </a:lnTo>
                    <a:lnTo>
                      <a:pt x="602" y="250"/>
                    </a:lnTo>
                    <a:lnTo>
                      <a:pt x="602" y="250"/>
                    </a:lnTo>
                    <a:close/>
                    <a:moveTo>
                      <a:pt x="628" y="313"/>
                    </a:moveTo>
                    <a:lnTo>
                      <a:pt x="581" y="343"/>
                    </a:lnTo>
                    <a:lnTo>
                      <a:pt x="581" y="268"/>
                    </a:lnTo>
                    <a:lnTo>
                      <a:pt x="628" y="313"/>
                    </a:lnTo>
                    <a:lnTo>
                      <a:pt x="628" y="313"/>
                    </a:lnTo>
                    <a:close/>
                    <a:moveTo>
                      <a:pt x="704" y="264"/>
                    </a:moveTo>
                    <a:lnTo>
                      <a:pt x="659" y="293"/>
                    </a:lnTo>
                    <a:lnTo>
                      <a:pt x="661" y="239"/>
                    </a:lnTo>
                    <a:lnTo>
                      <a:pt x="704" y="264"/>
                    </a:lnTo>
                    <a:lnTo>
                      <a:pt x="704" y="264"/>
                    </a:lnTo>
                    <a:close/>
                    <a:moveTo>
                      <a:pt x="794" y="207"/>
                    </a:moveTo>
                    <a:lnTo>
                      <a:pt x="754" y="232"/>
                    </a:lnTo>
                    <a:lnTo>
                      <a:pt x="755" y="187"/>
                    </a:lnTo>
                    <a:lnTo>
                      <a:pt x="794" y="207"/>
                    </a:lnTo>
                    <a:lnTo>
                      <a:pt x="794" y="207"/>
                    </a:lnTo>
                    <a:close/>
                    <a:moveTo>
                      <a:pt x="885" y="149"/>
                    </a:moveTo>
                    <a:lnTo>
                      <a:pt x="865" y="161"/>
                    </a:lnTo>
                    <a:lnTo>
                      <a:pt x="872" y="139"/>
                    </a:lnTo>
                    <a:lnTo>
                      <a:pt x="885" y="149"/>
                    </a:lnTo>
                    <a:lnTo>
                      <a:pt x="885" y="149"/>
                    </a:lnTo>
                    <a:close/>
                    <a:moveTo>
                      <a:pt x="938" y="115"/>
                    </a:moveTo>
                    <a:lnTo>
                      <a:pt x="910" y="133"/>
                    </a:lnTo>
                    <a:lnTo>
                      <a:pt x="910" y="133"/>
                    </a:lnTo>
                    <a:lnTo>
                      <a:pt x="892" y="121"/>
                    </a:lnTo>
                    <a:lnTo>
                      <a:pt x="935" y="102"/>
                    </a:lnTo>
                    <a:lnTo>
                      <a:pt x="935" y="102"/>
                    </a:lnTo>
                    <a:lnTo>
                      <a:pt x="938" y="115"/>
                    </a:lnTo>
                    <a:lnTo>
                      <a:pt x="938" y="115"/>
                    </a:lnTo>
                    <a:close/>
                    <a:moveTo>
                      <a:pt x="955" y="93"/>
                    </a:moveTo>
                    <a:lnTo>
                      <a:pt x="999" y="74"/>
                    </a:lnTo>
                    <a:lnTo>
                      <a:pt x="1000" y="75"/>
                    </a:lnTo>
                    <a:lnTo>
                      <a:pt x="953" y="104"/>
                    </a:lnTo>
                    <a:lnTo>
                      <a:pt x="953" y="104"/>
                    </a:lnTo>
                    <a:lnTo>
                      <a:pt x="955" y="93"/>
                    </a:lnTo>
                    <a:lnTo>
                      <a:pt x="955" y="93"/>
                    </a:lnTo>
                    <a:close/>
                  </a:path>
                </a:pathLst>
              </a:custGeom>
              <a:solidFill>
                <a:srgbClr val="0A2966"/>
              </a:solidFill>
              <a:ln>
                <a:solidFill>
                  <a:srgbClr val="0A2966"/>
                </a:solidFill>
              </a:ln>
            </p:spPr>
            <p:txBody>
              <a:bodyPr vert="horz" wrap="square" lIns="64657" tIns="32328" rIns="64657" bIns="323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7640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Freeform 293">
                <a:extLst>
                  <a:ext uri="{FF2B5EF4-FFF2-40B4-BE49-F238E27FC236}">
                    <a16:creationId xmlns:a16="http://schemas.microsoft.com/office/drawing/2014/main" id="{8ADFE6AB-2EE8-462F-8912-D2CEA63859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85327" y="2092084"/>
                <a:ext cx="240162" cy="176695"/>
              </a:xfrm>
              <a:custGeom>
                <a:avLst/>
                <a:gdLst>
                  <a:gd name="T0" fmla="*/ 1068 w 1357"/>
                  <a:gd name="T1" fmla="*/ 97 h 947"/>
                  <a:gd name="T2" fmla="*/ 447 w 1357"/>
                  <a:gd name="T3" fmla="*/ 257 h 947"/>
                  <a:gd name="T4" fmla="*/ 0 w 1357"/>
                  <a:gd name="T5" fmla="*/ 861 h 947"/>
                  <a:gd name="T6" fmla="*/ 541 w 1357"/>
                  <a:gd name="T7" fmla="*/ 470 h 947"/>
                  <a:gd name="T8" fmla="*/ 911 w 1357"/>
                  <a:gd name="T9" fmla="*/ 374 h 947"/>
                  <a:gd name="T10" fmla="*/ 295 w 1357"/>
                  <a:gd name="T11" fmla="*/ 288 h 947"/>
                  <a:gd name="T12" fmla="*/ 295 w 1357"/>
                  <a:gd name="T13" fmla="*/ 536 h 947"/>
                  <a:gd name="T14" fmla="*/ 1 w 1357"/>
                  <a:gd name="T15" fmla="*/ 288 h 947"/>
                  <a:gd name="T16" fmla="*/ 272 w 1357"/>
                  <a:gd name="T17" fmla="*/ 485 h 947"/>
                  <a:gd name="T18" fmla="*/ 221 w 1357"/>
                  <a:gd name="T19" fmla="*/ 334 h 947"/>
                  <a:gd name="T20" fmla="*/ 272 w 1357"/>
                  <a:gd name="T21" fmla="*/ 411 h 947"/>
                  <a:gd name="T22" fmla="*/ 48 w 1357"/>
                  <a:gd name="T23" fmla="*/ 334 h 947"/>
                  <a:gd name="T24" fmla="*/ 117 w 1357"/>
                  <a:gd name="T25" fmla="*/ 334 h 947"/>
                  <a:gd name="T26" fmla="*/ 142 w 1357"/>
                  <a:gd name="T27" fmla="*/ 334 h 947"/>
                  <a:gd name="T28" fmla="*/ 48 w 1357"/>
                  <a:gd name="T29" fmla="*/ 438 h 947"/>
                  <a:gd name="T30" fmla="*/ 295 w 1357"/>
                  <a:gd name="T31" fmla="*/ 574 h 947"/>
                  <a:gd name="T32" fmla="*/ 295 w 1357"/>
                  <a:gd name="T33" fmla="*/ 822 h 947"/>
                  <a:gd name="T34" fmla="*/ 1 w 1357"/>
                  <a:gd name="T35" fmla="*/ 574 h 947"/>
                  <a:gd name="T36" fmla="*/ 272 w 1357"/>
                  <a:gd name="T37" fmla="*/ 772 h 947"/>
                  <a:gd name="T38" fmla="*/ 221 w 1357"/>
                  <a:gd name="T39" fmla="*/ 621 h 947"/>
                  <a:gd name="T40" fmla="*/ 272 w 1357"/>
                  <a:gd name="T41" fmla="*/ 699 h 947"/>
                  <a:gd name="T42" fmla="*/ 48 w 1357"/>
                  <a:gd name="T43" fmla="*/ 621 h 947"/>
                  <a:gd name="T44" fmla="*/ 117 w 1357"/>
                  <a:gd name="T45" fmla="*/ 621 h 947"/>
                  <a:gd name="T46" fmla="*/ 142 w 1357"/>
                  <a:gd name="T47" fmla="*/ 621 h 947"/>
                  <a:gd name="T48" fmla="*/ 48 w 1357"/>
                  <a:gd name="T49" fmla="*/ 726 h 947"/>
                  <a:gd name="T50" fmla="*/ 948 w 1357"/>
                  <a:gd name="T51" fmla="*/ 574 h 947"/>
                  <a:gd name="T52" fmla="*/ 948 w 1357"/>
                  <a:gd name="T53" fmla="*/ 822 h 947"/>
                  <a:gd name="T54" fmla="*/ 654 w 1357"/>
                  <a:gd name="T55" fmla="*/ 574 h 947"/>
                  <a:gd name="T56" fmla="*/ 925 w 1357"/>
                  <a:gd name="T57" fmla="*/ 772 h 947"/>
                  <a:gd name="T58" fmla="*/ 874 w 1357"/>
                  <a:gd name="T59" fmla="*/ 621 h 947"/>
                  <a:gd name="T60" fmla="*/ 925 w 1357"/>
                  <a:gd name="T61" fmla="*/ 699 h 947"/>
                  <a:gd name="T62" fmla="*/ 702 w 1357"/>
                  <a:gd name="T63" fmla="*/ 621 h 947"/>
                  <a:gd name="T64" fmla="*/ 770 w 1357"/>
                  <a:gd name="T65" fmla="*/ 621 h 947"/>
                  <a:gd name="T66" fmla="*/ 795 w 1357"/>
                  <a:gd name="T67" fmla="*/ 621 h 947"/>
                  <a:gd name="T68" fmla="*/ 702 w 1357"/>
                  <a:gd name="T69" fmla="*/ 726 h 947"/>
                  <a:gd name="T70" fmla="*/ 1334 w 1357"/>
                  <a:gd name="T71" fmla="*/ 574 h 947"/>
                  <a:gd name="T72" fmla="*/ 1334 w 1357"/>
                  <a:gd name="T73" fmla="*/ 822 h 947"/>
                  <a:gd name="T74" fmla="*/ 1040 w 1357"/>
                  <a:gd name="T75" fmla="*/ 574 h 947"/>
                  <a:gd name="T76" fmla="*/ 1310 w 1357"/>
                  <a:gd name="T77" fmla="*/ 772 h 947"/>
                  <a:gd name="T78" fmla="*/ 1259 w 1357"/>
                  <a:gd name="T79" fmla="*/ 621 h 947"/>
                  <a:gd name="T80" fmla="*/ 1310 w 1357"/>
                  <a:gd name="T81" fmla="*/ 699 h 947"/>
                  <a:gd name="T82" fmla="*/ 1086 w 1357"/>
                  <a:gd name="T83" fmla="*/ 621 h 947"/>
                  <a:gd name="T84" fmla="*/ 1155 w 1357"/>
                  <a:gd name="T85" fmla="*/ 621 h 947"/>
                  <a:gd name="T86" fmla="*/ 1180 w 1357"/>
                  <a:gd name="T87" fmla="*/ 621 h 947"/>
                  <a:gd name="T88" fmla="*/ 1086 w 1357"/>
                  <a:gd name="T89" fmla="*/ 726 h 947"/>
                  <a:gd name="T90" fmla="*/ 782 w 1357"/>
                  <a:gd name="T91" fmla="*/ 170 h 947"/>
                  <a:gd name="T92" fmla="*/ 782 w 1357"/>
                  <a:gd name="T93" fmla="*/ 170 h 947"/>
                  <a:gd name="T94" fmla="*/ 678 w 1357"/>
                  <a:gd name="T95" fmla="*/ 216 h 947"/>
                  <a:gd name="T96" fmla="*/ 602 w 1357"/>
                  <a:gd name="T97" fmla="*/ 250 h 947"/>
                  <a:gd name="T98" fmla="*/ 628 w 1357"/>
                  <a:gd name="T99" fmla="*/ 313 h 947"/>
                  <a:gd name="T100" fmla="*/ 704 w 1357"/>
                  <a:gd name="T101" fmla="*/ 264 h 947"/>
                  <a:gd name="T102" fmla="*/ 794 w 1357"/>
                  <a:gd name="T103" fmla="*/ 207 h 947"/>
                  <a:gd name="T104" fmla="*/ 885 w 1357"/>
                  <a:gd name="T105" fmla="*/ 149 h 947"/>
                  <a:gd name="T106" fmla="*/ 935 w 1357"/>
                  <a:gd name="T107" fmla="*/ 102 h 947"/>
                  <a:gd name="T108" fmla="*/ 999 w 1357"/>
                  <a:gd name="T109" fmla="*/ 74 h 947"/>
                  <a:gd name="T110" fmla="*/ 955 w 1357"/>
                  <a:gd name="T111" fmla="*/ 93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57" h="947">
                    <a:moveTo>
                      <a:pt x="1128" y="374"/>
                    </a:moveTo>
                    <a:lnTo>
                      <a:pt x="1032" y="374"/>
                    </a:lnTo>
                    <a:lnTo>
                      <a:pt x="1032" y="120"/>
                    </a:lnTo>
                    <a:lnTo>
                      <a:pt x="1048" y="109"/>
                    </a:lnTo>
                    <a:lnTo>
                      <a:pt x="1068" y="97"/>
                    </a:lnTo>
                    <a:lnTo>
                      <a:pt x="1059" y="76"/>
                    </a:lnTo>
                    <a:lnTo>
                      <a:pt x="1039" y="26"/>
                    </a:lnTo>
                    <a:lnTo>
                      <a:pt x="1029" y="0"/>
                    </a:lnTo>
                    <a:lnTo>
                      <a:pt x="1003" y="11"/>
                    </a:lnTo>
                    <a:lnTo>
                      <a:pt x="447" y="257"/>
                    </a:lnTo>
                    <a:lnTo>
                      <a:pt x="378" y="257"/>
                    </a:lnTo>
                    <a:lnTo>
                      <a:pt x="378" y="470"/>
                    </a:lnTo>
                    <a:lnTo>
                      <a:pt x="415" y="470"/>
                    </a:lnTo>
                    <a:lnTo>
                      <a:pt x="415" y="861"/>
                    </a:lnTo>
                    <a:lnTo>
                      <a:pt x="0" y="861"/>
                    </a:lnTo>
                    <a:lnTo>
                      <a:pt x="0" y="947"/>
                    </a:lnTo>
                    <a:lnTo>
                      <a:pt x="1357" y="947"/>
                    </a:lnTo>
                    <a:lnTo>
                      <a:pt x="1357" y="861"/>
                    </a:lnTo>
                    <a:lnTo>
                      <a:pt x="541" y="861"/>
                    </a:lnTo>
                    <a:lnTo>
                      <a:pt x="541" y="470"/>
                    </a:lnTo>
                    <a:lnTo>
                      <a:pt x="581" y="470"/>
                    </a:lnTo>
                    <a:lnTo>
                      <a:pt x="581" y="408"/>
                    </a:lnTo>
                    <a:lnTo>
                      <a:pt x="1006" y="136"/>
                    </a:lnTo>
                    <a:lnTo>
                      <a:pt x="1006" y="374"/>
                    </a:lnTo>
                    <a:lnTo>
                      <a:pt x="911" y="374"/>
                    </a:lnTo>
                    <a:lnTo>
                      <a:pt x="911" y="531"/>
                    </a:lnTo>
                    <a:lnTo>
                      <a:pt x="1128" y="531"/>
                    </a:lnTo>
                    <a:lnTo>
                      <a:pt x="1128" y="374"/>
                    </a:lnTo>
                    <a:lnTo>
                      <a:pt x="1128" y="374"/>
                    </a:lnTo>
                    <a:close/>
                    <a:moveTo>
                      <a:pt x="295" y="288"/>
                    </a:moveTo>
                    <a:lnTo>
                      <a:pt x="319" y="288"/>
                    </a:lnTo>
                    <a:lnTo>
                      <a:pt x="319" y="310"/>
                    </a:lnTo>
                    <a:lnTo>
                      <a:pt x="319" y="512"/>
                    </a:lnTo>
                    <a:lnTo>
                      <a:pt x="319" y="536"/>
                    </a:lnTo>
                    <a:lnTo>
                      <a:pt x="295" y="536"/>
                    </a:lnTo>
                    <a:lnTo>
                      <a:pt x="25" y="536"/>
                    </a:lnTo>
                    <a:lnTo>
                      <a:pt x="1" y="536"/>
                    </a:lnTo>
                    <a:lnTo>
                      <a:pt x="1" y="512"/>
                    </a:lnTo>
                    <a:lnTo>
                      <a:pt x="1" y="310"/>
                    </a:lnTo>
                    <a:lnTo>
                      <a:pt x="1" y="288"/>
                    </a:lnTo>
                    <a:lnTo>
                      <a:pt x="25" y="288"/>
                    </a:lnTo>
                    <a:lnTo>
                      <a:pt x="295" y="288"/>
                    </a:lnTo>
                    <a:lnTo>
                      <a:pt x="295" y="288"/>
                    </a:lnTo>
                    <a:close/>
                    <a:moveTo>
                      <a:pt x="221" y="334"/>
                    </a:moveTo>
                    <a:lnTo>
                      <a:pt x="272" y="485"/>
                    </a:lnTo>
                    <a:lnTo>
                      <a:pt x="272" y="489"/>
                    </a:lnTo>
                    <a:lnTo>
                      <a:pt x="245" y="489"/>
                    </a:lnTo>
                    <a:lnTo>
                      <a:pt x="194" y="334"/>
                    </a:lnTo>
                    <a:lnTo>
                      <a:pt x="221" y="334"/>
                    </a:lnTo>
                    <a:lnTo>
                      <a:pt x="221" y="334"/>
                    </a:lnTo>
                    <a:close/>
                    <a:moveTo>
                      <a:pt x="272" y="411"/>
                    </a:moveTo>
                    <a:lnTo>
                      <a:pt x="246" y="334"/>
                    </a:lnTo>
                    <a:lnTo>
                      <a:pt x="272" y="334"/>
                    </a:lnTo>
                    <a:lnTo>
                      <a:pt x="272" y="411"/>
                    </a:lnTo>
                    <a:lnTo>
                      <a:pt x="272" y="411"/>
                    </a:lnTo>
                    <a:close/>
                    <a:moveTo>
                      <a:pt x="65" y="334"/>
                    </a:moveTo>
                    <a:lnTo>
                      <a:pt x="117" y="489"/>
                    </a:lnTo>
                    <a:lnTo>
                      <a:pt x="90" y="489"/>
                    </a:lnTo>
                    <a:lnTo>
                      <a:pt x="48" y="365"/>
                    </a:lnTo>
                    <a:lnTo>
                      <a:pt x="48" y="334"/>
                    </a:lnTo>
                    <a:lnTo>
                      <a:pt x="65" y="334"/>
                    </a:lnTo>
                    <a:lnTo>
                      <a:pt x="65" y="334"/>
                    </a:lnTo>
                    <a:close/>
                    <a:moveTo>
                      <a:pt x="142" y="489"/>
                    </a:moveTo>
                    <a:lnTo>
                      <a:pt x="90" y="334"/>
                    </a:lnTo>
                    <a:lnTo>
                      <a:pt x="117" y="334"/>
                    </a:lnTo>
                    <a:lnTo>
                      <a:pt x="169" y="489"/>
                    </a:lnTo>
                    <a:lnTo>
                      <a:pt x="142" y="489"/>
                    </a:lnTo>
                    <a:lnTo>
                      <a:pt x="142" y="489"/>
                    </a:lnTo>
                    <a:close/>
                    <a:moveTo>
                      <a:pt x="194" y="489"/>
                    </a:moveTo>
                    <a:lnTo>
                      <a:pt x="142" y="334"/>
                    </a:lnTo>
                    <a:lnTo>
                      <a:pt x="169" y="334"/>
                    </a:lnTo>
                    <a:lnTo>
                      <a:pt x="221" y="489"/>
                    </a:lnTo>
                    <a:lnTo>
                      <a:pt x="194" y="489"/>
                    </a:lnTo>
                    <a:lnTo>
                      <a:pt x="194" y="489"/>
                    </a:lnTo>
                    <a:close/>
                    <a:moveTo>
                      <a:pt x="48" y="438"/>
                    </a:moveTo>
                    <a:lnTo>
                      <a:pt x="65" y="489"/>
                    </a:lnTo>
                    <a:lnTo>
                      <a:pt x="48" y="489"/>
                    </a:lnTo>
                    <a:lnTo>
                      <a:pt x="48" y="438"/>
                    </a:lnTo>
                    <a:lnTo>
                      <a:pt x="48" y="438"/>
                    </a:lnTo>
                    <a:close/>
                    <a:moveTo>
                      <a:pt x="295" y="574"/>
                    </a:moveTo>
                    <a:lnTo>
                      <a:pt x="319" y="574"/>
                    </a:lnTo>
                    <a:lnTo>
                      <a:pt x="319" y="597"/>
                    </a:lnTo>
                    <a:lnTo>
                      <a:pt x="319" y="799"/>
                    </a:lnTo>
                    <a:lnTo>
                      <a:pt x="319" y="822"/>
                    </a:lnTo>
                    <a:lnTo>
                      <a:pt x="295" y="822"/>
                    </a:lnTo>
                    <a:lnTo>
                      <a:pt x="25" y="822"/>
                    </a:lnTo>
                    <a:lnTo>
                      <a:pt x="1" y="822"/>
                    </a:lnTo>
                    <a:lnTo>
                      <a:pt x="1" y="799"/>
                    </a:lnTo>
                    <a:lnTo>
                      <a:pt x="1" y="597"/>
                    </a:lnTo>
                    <a:lnTo>
                      <a:pt x="1" y="574"/>
                    </a:lnTo>
                    <a:lnTo>
                      <a:pt x="25" y="574"/>
                    </a:lnTo>
                    <a:lnTo>
                      <a:pt x="295" y="574"/>
                    </a:lnTo>
                    <a:lnTo>
                      <a:pt x="295" y="574"/>
                    </a:lnTo>
                    <a:close/>
                    <a:moveTo>
                      <a:pt x="221" y="621"/>
                    </a:moveTo>
                    <a:lnTo>
                      <a:pt x="272" y="772"/>
                    </a:lnTo>
                    <a:lnTo>
                      <a:pt x="272" y="776"/>
                    </a:lnTo>
                    <a:lnTo>
                      <a:pt x="245" y="776"/>
                    </a:lnTo>
                    <a:lnTo>
                      <a:pt x="194" y="621"/>
                    </a:lnTo>
                    <a:lnTo>
                      <a:pt x="221" y="621"/>
                    </a:lnTo>
                    <a:lnTo>
                      <a:pt x="221" y="621"/>
                    </a:lnTo>
                    <a:close/>
                    <a:moveTo>
                      <a:pt x="272" y="699"/>
                    </a:moveTo>
                    <a:lnTo>
                      <a:pt x="246" y="621"/>
                    </a:lnTo>
                    <a:lnTo>
                      <a:pt x="272" y="621"/>
                    </a:lnTo>
                    <a:lnTo>
                      <a:pt x="272" y="699"/>
                    </a:lnTo>
                    <a:lnTo>
                      <a:pt x="272" y="699"/>
                    </a:lnTo>
                    <a:close/>
                    <a:moveTo>
                      <a:pt x="65" y="621"/>
                    </a:moveTo>
                    <a:lnTo>
                      <a:pt x="117" y="776"/>
                    </a:lnTo>
                    <a:lnTo>
                      <a:pt x="90" y="776"/>
                    </a:lnTo>
                    <a:lnTo>
                      <a:pt x="48" y="652"/>
                    </a:lnTo>
                    <a:lnTo>
                      <a:pt x="48" y="621"/>
                    </a:lnTo>
                    <a:lnTo>
                      <a:pt x="65" y="621"/>
                    </a:lnTo>
                    <a:lnTo>
                      <a:pt x="65" y="621"/>
                    </a:lnTo>
                    <a:close/>
                    <a:moveTo>
                      <a:pt x="142" y="776"/>
                    </a:moveTo>
                    <a:lnTo>
                      <a:pt x="90" y="621"/>
                    </a:lnTo>
                    <a:lnTo>
                      <a:pt x="117" y="621"/>
                    </a:lnTo>
                    <a:lnTo>
                      <a:pt x="169" y="776"/>
                    </a:lnTo>
                    <a:lnTo>
                      <a:pt x="142" y="776"/>
                    </a:lnTo>
                    <a:lnTo>
                      <a:pt x="142" y="776"/>
                    </a:lnTo>
                    <a:close/>
                    <a:moveTo>
                      <a:pt x="194" y="776"/>
                    </a:moveTo>
                    <a:lnTo>
                      <a:pt x="142" y="621"/>
                    </a:lnTo>
                    <a:lnTo>
                      <a:pt x="169" y="621"/>
                    </a:lnTo>
                    <a:lnTo>
                      <a:pt x="221" y="776"/>
                    </a:lnTo>
                    <a:lnTo>
                      <a:pt x="194" y="776"/>
                    </a:lnTo>
                    <a:lnTo>
                      <a:pt x="194" y="776"/>
                    </a:lnTo>
                    <a:close/>
                    <a:moveTo>
                      <a:pt x="48" y="726"/>
                    </a:moveTo>
                    <a:lnTo>
                      <a:pt x="65" y="776"/>
                    </a:lnTo>
                    <a:lnTo>
                      <a:pt x="48" y="776"/>
                    </a:lnTo>
                    <a:lnTo>
                      <a:pt x="48" y="726"/>
                    </a:lnTo>
                    <a:lnTo>
                      <a:pt x="48" y="726"/>
                    </a:lnTo>
                    <a:close/>
                    <a:moveTo>
                      <a:pt x="948" y="574"/>
                    </a:moveTo>
                    <a:lnTo>
                      <a:pt x="971" y="574"/>
                    </a:lnTo>
                    <a:lnTo>
                      <a:pt x="971" y="597"/>
                    </a:lnTo>
                    <a:lnTo>
                      <a:pt x="971" y="799"/>
                    </a:lnTo>
                    <a:lnTo>
                      <a:pt x="971" y="822"/>
                    </a:lnTo>
                    <a:lnTo>
                      <a:pt x="948" y="822"/>
                    </a:lnTo>
                    <a:lnTo>
                      <a:pt x="678" y="822"/>
                    </a:lnTo>
                    <a:lnTo>
                      <a:pt x="654" y="822"/>
                    </a:lnTo>
                    <a:lnTo>
                      <a:pt x="654" y="799"/>
                    </a:lnTo>
                    <a:lnTo>
                      <a:pt x="654" y="597"/>
                    </a:lnTo>
                    <a:lnTo>
                      <a:pt x="654" y="574"/>
                    </a:lnTo>
                    <a:lnTo>
                      <a:pt x="678" y="574"/>
                    </a:lnTo>
                    <a:lnTo>
                      <a:pt x="948" y="574"/>
                    </a:lnTo>
                    <a:lnTo>
                      <a:pt x="948" y="574"/>
                    </a:lnTo>
                    <a:close/>
                    <a:moveTo>
                      <a:pt x="874" y="621"/>
                    </a:moveTo>
                    <a:lnTo>
                      <a:pt x="925" y="772"/>
                    </a:lnTo>
                    <a:lnTo>
                      <a:pt x="925" y="776"/>
                    </a:lnTo>
                    <a:lnTo>
                      <a:pt x="898" y="776"/>
                    </a:lnTo>
                    <a:lnTo>
                      <a:pt x="847" y="621"/>
                    </a:lnTo>
                    <a:lnTo>
                      <a:pt x="874" y="621"/>
                    </a:lnTo>
                    <a:lnTo>
                      <a:pt x="874" y="621"/>
                    </a:lnTo>
                    <a:close/>
                    <a:moveTo>
                      <a:pt x="925" y="699"/>
                    </a:moveTo>
                    <a:lnTo>
                      <a:pt x="899" y="621"/>
                    </a:lnTo>
                    <a:lnTo>
                      <a:pt x="925" y="621"/>
                    </a:lnTo>
                    <a:lnTo>
                      <a:pt x="925" y="699"/>
                    </a:lnTo>
                    <a:lnTo>
                      <a:pt x="925" y="699"/>
                    </a:lnTo>
                    <a:close/>
                    <a:moveTo>
                      <a:pt x="718" y="621"/>
                    </a:moveTo>
                    <a:lnTo>
                      <a:pt x="770" y="776"/>
                    </a:lnTo>
                    <a:lnTo>
                      <a:pt x="743" y="776"/>
                    </a:lnTo>
                    <a:lnTo>
                      <a:pt x="702" y="652"/>
                    </a:lnTo>
                    <a:lnTo>
                      <a:pt x="702" y="621"/>
                    </a:lnTo>
                    <a:lnTo>
                      <a:pt x="718" y="621"/>
                    </a:lnTo>
                    <a:lnTo>
                      <a:pt x="718" y="621"/>
                    </a:lnTo>
                    <a:close/>
                    <a:moveTo>
                      <a:pt x="795" y="776"/>
                    </a:moveTo>
                    <a:lnTo>
                      <a:pt x="743" y="621"/>
                    </a:lnTo>
                    <a:lnTo>
                      <a:pt x="770" y="621"/>
                    </a:lnTo>
                    <a:lnTo>
                      <a:pt x="822" y="776"/>
                    </a:lnTo>
                    <a:lnTo>
                      <a:pt x="795" y="776"/>
                    </a:lnTo>
                    <a:lnTo>
                      <a:pt x="795" y="776"/>
                    </a:lnTo>
                    <a:close/>
                    <a:moveTo>
                      <a:pt x="847" y="776"/>
                    </a:moveTo>
                    <a:lnTo>
                      <a:pt x="795" y="621"/>
                    </a:lnTo>
                    <a:lnTo>
                      <a:pt x="822" y="621"/>
                    </a:lnTo>
                    <a:lnTo>
                      <a:pt x="874" y="776"/>
                    </a:lnTo>
                    <a:lnTo>
                      <a:pt x="847" y="776"/>
                    </a:lnTo>
                    <a:lnTo>
                      <a:pt x="847" y="776"/>
                    </a:lnTo>
                    <a:close/>
                    <a:moveTo>
                      <a:pt x="702" y="726"/>
                    </a:moveTo>
                    <a:lnTo>
                      <a:pt x="718" y="776"/>
                    </a:lnTo>
                    <a:lnTo>
                      <a:pt x="702" y="776"/>
                    </a:lnTo>
                    <a:lnTo>
                      <a:pt x="702" y="726"/>
                    </a:lnTo>
                    <a:lnTo>
                      <a:pt x="702" y="726"/>
                    </a:lnTo>
                    <a:close/>
                    <a:moveTo>
                      <a:pt x="1334" y="574"/>
                    </a:moveTo>
                    <a:lnTo>
                      <a:pt x="1356" y="574"/>
                    </a:lnTo>
                    <a:lnTo>
                      <a:pt x="1356" y="597"/>
                    </a:lnTo>
                    <a:lnTo>
                      <a:pt x="1356" y="799"/>
                    </a:lnTo>
                    <a:lnTo>
                      <a:pt x="1356" y="822"/>
                    </a:lnTo>
                    <a:lnTo>
                      <a:pt x="1334" y="822"/>
                    </a:lnTo>
                    <a:lnTo>
                      <a:pt x="1063" y="822"/>
                    </a:lnTo>
                    <a:lnTo>
                      <a:pt x="1040" y="822"/>
                    </a:lnTo>
                    <a:lnTo>
                      <a:pt x="1040" y="799"/>
                    </a:lnTo>
                    <a:lnTo>
                      <a:pt x="1040" y="597"/>
                    </a:lnTo>
                    <a:lnTo>
                      <a:pt x="1040" y="574"/>
                    </a:lnTo>
                    <a:lnTo>
                      <a:pt x="1063" y="574"/>
                    </a:lnTo>
                    <a:lnTo>
                      <a:pt x="1334" y="574"/>
                    </a:lnTo>
                    <a:lnTo>
                      <a:pt x="1334" y="574"/>
                    </a:lnTo>
                    <a:close/>
                    <a:moveTo>
                      <a:pt x="1259" y="621"/>
                    </a:moveTo>
                    <a:lnTo>
                      <a:pt x="1310" y="772"/>
                    </a:lnTo>
                    <a:lnTo>
                      <a:pt x="1310" y="776"/>
                    </a:lnTo>
                    <a:lnTo>
                      <a:pt x="1284" y="776"/>
                    </a:lnTo>
                    <a:lnTo>
                      <a:pt x="1232" y="621"/>
                    </a:lnTo>
                    <a:lnTo>
                      <a:pt x="1259" y="621"/>
                    </a:lnTo>
                    <a:lnTo>
                      <a:pt x="1259" y="621"/>
                    </a:lnTo>
                    <a:close/>
                    <a:moveTo>
                      <a:pt x="1310" y="699"/>
                    </a:moveTo>
                    <a:lnTo>
                      <a:pt x="1284" y="621"/>
                    </a:lnTo>
                    <a:lnTo>
                      <a:pt x="1310" y="621"/>
                    </a:lnTo>
                    <a:lnTo>
                      <a:pt x="1310" y="699"/>
                    </a:lnTo>
                    <a:lnTo>
                      <a:pt x="1310" y="699"/>
                    </a:lnTo>
                    <a:close/>
                    <a:moveTo>
                      <a:pt x="1104" y="621"/>
                    </a:moveTo>
                    <a:lnTo>
                      <a:pt x="1155" y="776"/>
                    </a:lnTo>
                    <a:lnTo>
                      <a:pt x="1128" y="776"/>
                    </a:lnTo>
                    <a:lnTo>
                      <a:pt x="1086" y="652"/>
                    </a:lnTo>
                    <a:lnTo>
                      <a:pt x="1086" y="621"/>
                    </a:lnTo>
                    <a:lnTo>
                      <a:pt x="1104" y="621"/>
                    </a:lnTo>
                    <a:lnTo>
                      <a:pt x="1104" y="621"/>
                    </a:lnTo>
                    <a:close/>
                    <a:moveTo>
                      <a:pt x="1180" y="776"/>
                    </a:moveTo>
                    <a:lnTo>
                      <a:pt x="1128" y="621"/>
                    </a:lnTo>
                    <a:lnTo>
                      <a:pt x="1155" y="621"/>
                    </a:lnTo>
                    <a:lnTo>
                      <a:pt x="1207" y="776"/>
                    </a:lnTo>
                    <a:lnTo>
                      <a:pt x="1180" y="776"/>
                    </a:lnTo>
                    <a:lnTo>
                      <a:pt x="1180" y="776"/>
                    </a:lnTo>
                    <a:close/>
                    <a:moveTo>
                      <a:pt x="1232" y="776"/>
                    </a:moveTo>
                    <a:lnTo>
                      <a:pt x="1180" y="621"/>
                    </a:lnTo>
                    <a:lnTo>
                      <a:pt x="1207" y="621"/>
                    </a:lnTo>
                    <a:lnTo>
                      <a:pt x="1259" y="776"/>
                    </a:lnTo>
                    <a:lnTo>
                      <a:pt x="1232" y="776"/>
                    </a:lnTo>
                    <a:lnTo>
                      <a:pt x="1232" y="776"/>
                    </a:lnTo>
                    <a:close/>
                    <a:moveTo>
                      <a:pt x="1086" y="726"/>
                    </a:moveTo>
                    <a:lnTo>
                      <a:pt x="1103" y="776"/>
                    </a:lnTo>
                    <a:lnTo>
                      <a:pt x="1086" y="776"/>
                    </a:lnTo>
                    <a:lnTo>
                      <a:pt x="1086" y="726"/>
                    </a:lnTo>
                    <a:lnTo>
                      <a:pt x="1086" y="726"/>
                    </a:lnTo>
                    <a:close/>
                    <a:moveTo>
                      <a:pt x="782" y="170"/>
                    </a:moveTo>
                    <a:lnTo>
                      <a:pt x="841" y="143"/>
                    </a:lnTo>
                    <a:lnTo>
                      <a:pt x="831" y="184"/>
                    </a:lnTo>
                    <a:lnTo>
                      <a:pt x="820" y="190"/>
                    </a:lnTo>
                    <a:lnTo>
                      <a:pt x="782" y="170"/>
                    </a:lnTo>
                    <a:lnTo>
                      <a:pt x="782" y="170"/>
                    </a:lnTo>
                    <a:close/>
                    <a:moveTo>
                      <a:pt x="678" y="216"/>
                    </a:moveTo>
                    <a:lnTo>
                      <a:pt x="728" y="193"/>
                    </a:lnTo>
                    <a:lnTo>
                      <a:pt x="726" y="245"/>
                    </a:lnTo>
                    <a:lnTo>
                      <a:pt x="678" y="216"/>
                    </a:lnTo>
                    <a:lnTo>
                      <a:pt x="678" y="216"/>
                    </a:lnTo>
                    <a:close/>
                    <a:moveTo>
                      <a:pt x="602" y="250"/>
                    </a:moveTo>
                    <a:lnTo>
                      <a:pt x="634" y="236"/>
                    </a:lnTo>
                    <a:lnTo>
                      <a:pt x="632" y="278"/>
                    </a:lnTo>
                    <a:lnTo>
                      <a:pt x="602" y="250"/>
                    </a:lnTo>
                    <a:lnTo>
                      <a:pt x="602" y="250"/>
                    </a:lnTo>
                    <a:close/>
                    <a:moveTo>
                      <a:pt x="628" y="313"/>
                    </a:moveTo>
                    <a:lnTo>
                      <a:pt x="581" y="343"/>
                    </a:lnTo>
                    <a:lnTo>
                      <a:pt x="581" y="268"/>
                    </a:lnTo>
                    <a:lnTo>
                      <a:pt x="628" y="313"/>
                    </a:lnTo>
                    <a:lnTo>
                      <a:pt x="628" y="313"/>
                    </a:lnTo>
                    <a:close/>
                    <a:moveTo>
                      <a:pt x="704" y="264"/>
                    </a:moveTo>
                    <a:lnTo>
                      <a:pt x="659" y="293"/>
                    </a:lnTo>
                    <a:lnTo>
                      <a:pt x="661" y="239"/>
                    </a:lnTo>
                    <a:lnTo>
                      <a:pt x="704" y="264"/>
                    </a:lnTo>
                    <a:lnTo>
                      <a:pt x="704" y="264"/>
                    </a:lnTo>
                    <a:close/>
                    <a:moveTo>
                      <a:pt x="794" y="207"/>
                    </a:moveTo>
                    <a:lnTo>
                      <a:pt x="754" y="232"/>
                    </a:lnTo>
                    <a:lnTo>
                      <a:pt x="755" y="187"/>
                    </a:lnTo>
                    <a:lnTo>
                      <a:pt x="794" y="207"/>
                    </a:lnTo>
                    <a:lnTo>
                      <a:pt x="794" y="207"/>
                    </a:lnTo>
                    <a:close/>
                    <a:moveTo>
                      <a:pt x="885" y="149"/>
                    </a:moveTo>
                    <a:lnTo>
                      <a:pt x="865" y="161"/>
                    </a:lnTo>
                    <a:lnTo>
                      <a:pt x="872" y="139"/>
                    </a:lnTo>
                    <a:lnTo>
                      <a:pt x="885" y="149"/>
                    </a:lnTo>
                    <a:lnTo>
                      <a:pt x="885" y="149"/>
                    </a:lnTo>
                    <a:close/>
                    <a:moveTo>
                      <a:pt x="938" y="115"/>
                    </a:moveTo>
                    <a:lnTo>
                      <a:pt x="910" y="133"/>
                    </a:lnTo>
                    <a:lnTo>
                      <a:pt x="910" y="133"/>
                    </a:lnTo>
                    <a:lnTo>
                      <a:pt x="892" y="121"/>
                    </a:lnTo>
                    <a:lnTo>
                      <a:pt x="935" y="102"/>
                    </a:lnTo>
                    <a:lnTo>
                      <a:pt x="935" y="102"/>
                    </a:lnTo>
                    <a:lnTo>
                      <a:pt x="938" y="115"/>
                    </a:lnTo>
                    <a:lnTo>
                      <a:pt x="938" y="115"/>
                    </a:lnTo>
                    <a:close/>
                    <a:moveTo>
                      <a:pt x="955" y="93"/>
                    </a:moveTo>
                    <a:lnTo>
                      <a:pt x="999" y="74"/>
                    </a:lnTo>
                    <a:lnTo>
                      <a:pt x="1000" y="75"/>
                    </a:lnTo>
                    <a:lnTo>
                      <a:pt x="953" y="104"/>
                    </a:lnTo>
                    <a:lnTo>
                      <a:pt x="953" y="104"/>
                    </a:lnTo>
                    <a:lnTo>
                      <a:pt x="955" y="93"/>
                    </a:lnTo>
                    <a:lnTo>
                      <a:pt x="955" y="93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64657" tIns="32328" rIns="64657" bIns="323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7640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Freeform 293">
                <a:extLst>
                  <a:ext uri="{FF2B5EF4-FFF2-40B4-BE49-F238E27FC236}">
                    <a16:creationId xmlns:a16="http://schemas.microsoft.com/office/drawing/2014/main" id="{98C29EC1-A89E-4159-A632-A437B4D586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3290" y="2138781"/>
                <a:ext cx="240162" cy="176695"/>
              </a:xfrm>
              <a:custGeom>
                <a:avLst/>
                <a:gdLst>
                  <a:gd name="T0" fmla="*/ 1068 w 1357"/>
                  <a:gd name="T1" fmla="*/ 97 h 947"/>
                  <a:gd name="T2" fmla="*/ 447 w 1357"/>
                  <a:gd name="T3" fmla="*/ 257 h 947"/>
                  <a:gd name="T4" fmla="*/ 0 w 1357"/>
                  <a:gd name="T5" fmla="*/ 861 h 947"/>
                  <a:gd name="T6" fmla="*/ 541 w 1357"/>
                  <a:gd name="T7" fmla="*/ 470 h 947"/>
                  <a:gd name="T8" fmla="*/ 911 w 1357"/>
                  <a:gd name="T9" fmla="*/ 374 h 947"/>
                  <a:gd name="T10" fmla="*/ 295 w 1357"/>
                  <a:gd name="T11" fmla="*/ 288 h 947"/>
                  <a:gd name="T12" fmla="*/ 295 w 1357"/>
                  <a:gd name="T13" fmla="*/ 536 h 947"/>
                  <a:gd name="T14" fmla="*/ 1 w 1357"/>
                  <a:gd name="T15" fmla="*/ 288 h 947"/>
                  <a:gd name="T16" fmla="*/ 272 w 1357"/>
                  <a:gd name="T17" fmla="*/ 485 h 947"/>
                  <a:gd name="T18" fmla="*/ 221 w 1357"/>
                  <a:gd name="T19" fmla="*/ 334 h 947"/>
                  <a:gd name="T20" fmla="*/ 272 w 1357"/>
                  <a:gd name="T21" fmla="*/ 411 h 947"/>
                  <a:gd name="T22" fmla="*/ 48 w 1357"/>
                  <a:gd name="T23" fmla="*/ 334 h 947"/>
                  <a:gd name="T24" fmla="*/ 117 w 1357"/>
                  <a:gd name="T25" fmla="*/ 334 h 947"/>
                  <a:gd name="T26" fmla="*/ 142 w 1357"/>
                  <a:gd name="T27" fmla="*/ 334 h 947"/>
                  <a:gd name="T28" fmla="*/ 48 w 1357"/>
                  <a:gd name="T29" fmla="*/ 438 h 947"/>
                  <a:gd name="T30" fmla="*/ 295 w 1357"/>
                  <a:gd name="T31" fmla="*/ 574 h 947"/>
                  <a:gd name="T32" fmla="*/ 295 w 1357"/>
                  <a:gd name="T33" fmla="*/ 822 h 947"/>
                  <a:gd name="T34" fmla="*/ 1 w 1357"/>
                  <a:gd name="T35" fmla="*/ 574 h 947"/>
                  <a:gd name="T36" fmla="*/ 272 w 1357"/>
                  <a:gd name="T37" fmla="*/ 772 h 947"/>
                  <a:gd name="T38" fmla="*/ 221 w 1357"/>
                  <a:gd name="T39" fmla="*/ 621 h 947"/>
                  <a:gd name="T40" fmla="*/ 272 w 1357"/>
                  <a:gd name="T41" fmla="*/ 699 h 947"/>
                  <a:gd name="T42" fmla="*/ 48 w 1357"/>
                  <a:gd name="T43" fmla="*/ 621 h 947"/>
                  <a:gd name="T44" fmla="*/ 117 w 1357"/>
                  <a:gd name="T45" fmla="*/ 621 h 947"/>
                  <a:gd name="T46" fmla="*/ 142 w 1357"/>
                  <a:gd name="T47" fmla="*/ 621 h 947"/>
                  <a:gd name="T48" fmla="*/ 48 w 1357"/>
                  <a:gd name="T49" fmla="*/ 726 h 947"/>
                  <a:gd name="T50" fmla="*/ 948 w 1357"/>
                  <a:gd name="T51" fmla="*/ 574 h 947"/>
                  <a:gd name="T52" fmla="*/ 948 w 1357"/>
                  <a:gd name="T53" fmla="*/ 822 h 947"/>
                  <a:gd name="T54" fmla="*/ 654 w 1357"/>
                  <a:gd name="T55" fmla="*/ 574 h 947"/>
                  <a:gd name="T56" fmla="*/ 925 w 1357"/>
                  <a:gd name="T57" fmla="*/ 772 h 947"/>
                  <a:gd name="T58" fmla="*/ 874 w 1357"/>
                  <a:gd name="T59" fmla="*/ 621 h 947"/>
                  <a:gd name="T60" fmla="*/ 925 w 1357"/>
                  <a:gd name="T61" fmla="*/ 699 h 947"/>
                  <a:gd name="T62" fmla="*/ 702 w 1357"/>
                  <a:gd name="T63" fmla="*/ 621 h 947"/>
                  <a:gd name="T64" fmla="*/ 770 w 1357"/>
                  <a:gd name="T65" fmla="*/ 621 h 947"/>
                  <a:gd name="T66" fmla="*/ 795 w 1357"/>
                  <a:gd name="T67" fmla="*/ 621 h 947"/>
                  <a:gd name="T68" fmla="*/ 702 w 1357"/>
                  <a:gd name="T69" fmla="*/ 726 h 947"/>
                  <a:gd name="T70" fmla="*/ 1334 w 1357"/>
                  <a:gd name="T71" fmla="*/ 574 h 947"/>
                  <a:gd name="T72" fmla="*/ 1334 w 1357"/>
                  <a:gd name="T73" fmla="*/ 822 h 947"/>
                  <a:gd name="T74" fmla="*/ 1040 w 1357"/>
                  <a:gd name="T75" fmla="*/ 574 h 947"/>
                  <a:gd name="T76" fmla="*/ 1310 w 1357"/>
                  <a:gd name="T77" fmla="*/ 772 h 947"/>
                  <a:gd name="T78" fmla="*/ 1259 w 1357"/>
                  <a:gd name="T79" fmla="*/ 621 h 947"/>
                  <a:gd name="T80" fmla="*/ 1310 w 1357"/>
                  <a:gd name="T81" fmla="*/ 699 h 947"/>
                  <a:gd name="T82" fmla="*/ 1086 w 1357"/>
                  <a:gd name="T83" fmla="*/ 621 h 947"/>
                  <a:gd name="T84" fmla="*/ 1155 w 1357"/>
                  <a:gd name="T85" fmla="*/ 621 h 947"/>
                  <a:gd name="T86" fmla="*/ 1180 w 1357"/>
                  <a:gd name="T87" fmla="*/ 621 h 947"/>
                  <a:gd name="T88" fmla="*/ 1086 w 1357"/>
                  <a:gd name="T89" fmla="*/ 726 h 947"/>
                  <a:gd name="T90" fmla="*/ 782 w 1357"/>
                  <a:gd name="T91" fmla="*/ 170 h 947"/>
                  <a:gd name="T92" fmla="*/ 782 w 1357"/>
                  <a:gd name="T93" fmla="*/ 170 h 947"/>
                  <a:gd name="T94" fmla="*/ 678 w 1357"/>
                  <a:gd name="T95" fmla="*/ 216 h 947"/>
                  <a:gd name="T96" fmla="*/ 602 w 1357"/>
                  <a:gd name="T97" fmla="*/ 250 h 947"/>
                  <a:gd name="T98" fmla="*/ 628 w 1357"/>
                  <a:gd name="T99" fmla="*/ 313 h 947"/>
                  <a:gd name="T100" fmla="*/ 704 w 1357"/>
                  <a:gd name="T101" fmla="*/ 264 h 947"/>
                  <a:gd name="T102" fmla="*/ 794 w 1357"/>
                  <a:gd name="T103" fmla="*/ 207 h 947"/>
                  <a:gd name="T104" fmla="*/ 885 w 1357"/>
                  <a:gd name="T105" fmla="*/ 149 h 947"/>
                  <a:gd name="T106" fmla="*/ 935 w 1357"/>
                  <a:gd name="T107" fmla="*/ 102 h 947"/>
                  <a:gd name="T108" fmla="*/ 999 w 1357"/>
                  <a:gd name="T109" fmla="*/ 74 h 947"/>
                  <a:gd name="T110" fmla="*/ 955 w 1357"/>
                  <a:gd name="T111" fmla="*/ 93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57" h="947">
                    <a:moveTo>
                      <a:pt x="1128" y="374"/>
                    </a:moveTo>
                    <a:lnTo>
                      <a:pt x="1032" y="374"/>
                    </a:lnTo>
                    <a:lnTo>
                      <a:pt x="1032" y="120"/>
                    </a:lnTo>
                    <a:lnTo>
                      <a:pt x="1048" y="109"/>
                    </a:lnTo>
                    <a:lnTo>
                      <a:pt x="1068" y="97"/>
                    </a:lnTo>
                    <a:lnTo>
                      <a:pt x="1059" y="76"/>
                    </a:lnTo>
                    <a:lnTo>
                      <a:pt x="1039" y="26"/>
                    </a:lnTo>
                    <a:lnTo>
                      <a:pt x="1029" y="0"/>
                    </a:lnTo>
                    <a:lnTo>
                      <a:pt x="1003" y="11"/>
                    </a:lnTo>
                    <a:lnTo>
                      <a:pt x="447" y="257"/>
                    </a:lnTo>
                    <a:lnTo>
                      <a:pt x="378" y="257"/>
                    </a:lnTo>
                    <a:lnTo>
                      <a:pt x="378" y="470"/>
                    </a:lnTo>
                    <a:lnTo>
                      <a:pt x="415" y="470"/>
                    </a:lnTo>
                    <a:lnTo>
                      <a:pt x="415" y="861"/>
                    </a:lnTo>
                    <a:lnTo>
                      <a:pt x="0" y="861"/>
                    </a:lnTo>
                    <a:lnTo>
                      <a:pt x="0" y="947"/>
                    </a:lnTo>
                    <a:lnTo>
                      <a:pt x="1357" y="947"/>
                    </a:lnTo>
                    <a:lnTo>
                      <a:pt x="1357" y="861"/>
                    </a:lnTo>
                    <a:lnTo>
                      <a:pt x="541" y="861"/>
                    </a:lnTo>
                    <a:lnTo>
                      <a:pt x="541" y="470"/>
                    </a:lnTo>
                    <a:lnTo>
                      <a:pt x="581" y="470"/>
                    </a:lnTo>
                    <a:lnTo>
                      <a:pt x="581" y="408"/>
                    </a:lnTo>
                    <a:lnTo>
                      <a:pt x="1006" y="136"/>
                    </a:lnTo>
                    <a:lnTo>
                      <a:pt x="1006" y="374"/>
                    </a:lnTo>
                    <a:lnTo>
                      <a:pt x="911" y="374"/>
                    </a:lnTo>
                    <a:lnTo>
                      <a:pt x="911" y="531"/>
                    </a:lnTo>
                    <a:lnTo>
                      <a:pt x="1128" y="531"/>
                    </a:lnTo>
                    <a:lnTo>
                      <a:pt x="1128" y="374"/>
                    </a:lnTo>
                    <a:lnTo>
                      <a:pt x="1128" y="374"/>
                    </a:lnTo>
                    <a:close/>
                    <a:moveTo>
                      <a:pt x="295" y="288"/>
                    </a:moveTo>
                    <a:lnTo>
                      <a:pt x="319" y="288"/>
                    </a:lnTo>
                    <a:lnTo>
                      <a:pt x="319" y="310"/>
                    </a:lnTo>
                    <a:lnTo>
                      <a:pt x="319" y="512"/>
                    </a:lnTo>
                    <a:lnTo>
                      <a:pt x="319" y="536"/>
                    </a:lnTo>
                    <a:lnTo>
                      <a:pt x="295" y="536"/>
                    </a:lnTo>
                    <a:lnTo>
                      <a:pt x="25" y="536"/>
                    </a:lnTo>
                    <a:lnTo>
                      <a:pt x="1" y="536"/>
                    </a:lnTo>
                    <a:lnTo>
                      <a:pt x="1" y="512"/>
                    </a:lnTo>
                    <a:lnTo>
                      <a:pt x="1" y="310"/>
                    </a:lnTo>
                    <a:lnTo>
                      <a:pt x="1" y="288"/>
                    </a:lnTo>
                    <a:lnTo>
                      <a:pt x="25" y="288"/>
                    </a:lnTo>
                    <a:lnTo>
                      <a:pt x="295" y="288"/>
                    </a:lnTo>
                    <a:lnTo>
                      <a:pt x="295" y="288"/>
                    </a:lnTo>
                    <a:close/>
                    <a:moveTo>
                      <a:pt x="221" y="334"/>
                    </a:moveTo>
                    <a:lnTo>
                      <a:pt x="272" y="485"/>
                    </a:lnTo>
                    <a:lnTo>
                      <a:pt x="272" y="489"/>
                    </a:lnTo>
                    <a:lnTo>
                      <a:pt x="245" y="489"/>
                    </a:lnTo>
                    <a:lnTo>
                      <a:pt x="194" y="334"/>
                    </a:lnTo>
                    <a:lnTo>
                      <a:pt x="221" y="334"/>
                    </a:lnTo>
                    <a:lnTo>
                      <a:pt x="221" y="334"/>
                    </a:lnTo>
                    <a:close/>
                    <a:moveTo>
                      <a:pt x="272" y="411"/>
                    </a:moveTo>
                    <a:lnTo>
                      <a:pt x="246" y="334"/>
                    </a:lnTo>
                    <a:lnTo>
                      <a:pt x="272" y="334"/>
                    </a:lnTo>
                    <a:lnTo>
                      <a:pt x="272" y="411"/>
                    </a:lnTo>
                    <a:lnTo>
                      <a:pt x="272" y="411"/>
                    </a:lnTo>
                    <a:close/>
                    <a:moveTo>
                      <a:pt x="65" y="334"/>
                    </a:moveTo>
                    <a:lnTo>
                      <a:pt x="117" y="489"/>
                    </a:lnTo>
                    <a:lnTo>
                      <a:pt x="90" y="489"/>
                    </a:lnTo>
                    <a:lnTo>
                      <a:pt x="48" y="365"/>
                    </a:lnTo>
                    <a:lnTo>
                      <a:pt x="48" y="334"/>
                    </a:lnTo>
                    <a:lnTo>
                      <a:pt x="65" y="334"/>
                    </a:lnTo>
                    <a:lnTo>
                      <a:pt x="65" y="334"/>
                    </a:lnTo>
                    <a:close/>
                    <a:moveTo>
                      <a:pt x="142" y="489"/>
                    </a:moveTo>
                    <a:lnTo>
                      <a:pt x="90" y="334"/>
                    </a:lnTo>
                    <a:lnTo>
                      <a:pt x="117" y="334"/>
                    </a:lnTo>
                    <a:lnTo>
                      <a:pt x="169" y="489"/>
                    </a:lnTo>
                    <a:lnTo>
                      <a:pt x="142" y="489"/>
                    </a:lnTo>
                    <a:lnTo>
                      <a:pt x="142" y="489"/>
                    </a:lnTo>
                    <a:close/>
                    <a:moveTo>
                      <a:pt x="194" y="489"/>
                    </a:moveTo>
                    <a:lnTo>
                      <a:pt x="142" y="334"/>
                    </a:lnTo>
                    <a:lnTo>
                      <a:pt x="169" y="334"/>
                    </a:lnTo>
                    <a:lnTo>
                      <a:pt x="221" y="489"/>
                    </a:lnTo>
                    <a:lnTo>
                      <a:pt x="194" y="489"/>
                    </a:lnTo>
                    <a:lnTo>
                      <a:pt x="194" y="489"/>
                    </a:lnTo>
                    <a:close/>
                    <a:moveTo>
                      <a:pt x="48" y="438"/>
                    </a:moveTo>
                    <a:lnTo>
                      <a:pt x="65" y="489"/>
                    </a:lnTo>
                    <a:lnTo>
                      <a:pt x="48" y="489"/>
                    </a:lnTo>
                    <a:lnTo>
                      <a:pt x="48" y="438"/>
                    </a:lnTo>
                    <a:lnTo>
                      <a:pt x="48" y="438"/>
                    </a:lnTo>
                    <a:close/>
                    <a:moveTo>
                      <a:pt x="295" y="574"/>
                    </a:moveTo>
                    <a:lnTo>
                      <a:pt x="319" y="574"/>
                    </a:lnTo>
                    <a:lnTo>
                      <a:pt x="319" y="597"/>
                    </a:lnTo>
                    <a:lnTo>
                      <a:pt x="319" y="799"/>
                    </a:lnTo>
                    <a:lnTo>
                      <a:pt x="319" y="822"/>
                    </a:lnTo>
                    <a:lnTo>
                      <a:pt x="295" y="822"/>
                    </a:lnTo>
                    <a:lnTo>
                      <a:pt x="25" y="822"/>
                    </a:lnTo>
                    <a:lnTo>
                      <a:pt x="1" y="822"/>
                    </a:lnTo>
                    <a:lnTo>
                      <a:pt x="1" y="799"/>
                    </a:lnTo>
                    <a:lnTo>
                      <a:pt x="1" y="597"/>
                    </a:lnTo>
                    <a:lnTo>
                      <a:pt x="1" y="574"/>
                    </a:lnTo>
                    <a:lnTo>
                      <a:pt x="25" y="574"/>
                    </a:lnTo>
                    <a:lnTo>
                      <a:pt x="295" y="574"/>
                    </a:lnTo>
                    <a:lnTo>
                      <a:pt x="295" y="574"/>
                    </a:lnTo>
                    <a:close/>
                    <a:moveTo>
                      <a:pt x="221" y="621"/>
                    </a:moveTo>
                    <a:lnTo>
                      <a:pt x="272" y="772"/>
                    </a:lnTo>
                    <a:lnTo>
                      <a:pt x="272" y="776"/>
                    </a:lnTo>
                    <a:lnTo>
                      <a:pt x="245" y="776"/>
                    </a:lnTo>
                    <a:lnTo>
                      <a:pt x="194" y="621"/>
                    </a:lnTo>
                    <a:lnTo>
                      <a:pt x="221" y="621"/>
                    </a:lnTo>
                    <a:lnTo>
                      <a:pt x="221" y="621"/>
                    </a:lnTo>
                    <a:close/>
                    <a:moveTo>
                      <a:pt x="272" y="699"/>
                    </a:moveTo>
                    <a:lnTo>
                      <a:pt x="246" y="621"/>
                    </a:lnTo>
                    <a:lnTo>
                      <a:pt x="272" y="621"/>
                    </a:lnTo>
                    <a:lnTo>
                      <a:pt x="272" y="699"/>
                    </a:lnTo>
                    <a:lnTo>
                      <a:pt x="272" y="699"/>
                    </a:lnTo>
                    <a:close/>
                    <a:moveTo>
                      <a:pt x="65" y="621"/>
                    </a:moveTo>
                    <a:lnTo>
                      <a:pt x="117" y="776"/>
                    </a:lnTo>
                    <a:lnTo>
                      <a:pt x="90" y="776"/>
                    </a:lnTo>
                    <a:lnTo>
                      <a:pt x="48" y="652"/>
                    </a:lnTo>
                    <a:lnTo>
                      <a:pt x="48" y="621"/>
                    </a:lnTo>
                    <a:lnTo>
                      <a:pt x="65" y="621"/>
                    </a:lnTo>
                    <a:lnTo>
                      <a:pt x="65" y="621"/>
                    </a:lnTo>
                    <a:close/>
                    <a:moveTo>
                      <a:pt x="142" y="776"/>
                    </a:moveTo>
                    <a:lnTo>
                      <a:pt x="90" y="621"/>
                    </a:lnTo>
                    <a:lnTo>
                      <a:pt x="117" y="621"/>
                    </a:lnTo>
                    <a:lnTo>
                      <a:pt x="169" y="776"/>
                    </a:lnTo>
                    <a:lnTo>
                      <a:pt x="142" y="776"/>
                    </a:lnTo>
                    <a:lnTo>
                      <a:pt x="142" y="776"/>
                    </a:lnTo>
                    <a:close/>
                    <a:moveTo>
                      <a:pt x="194" y="776"/>
                    </a:moveTo>
                    <a:lnTo>
                      <a:pt x="142" y="621"/>
                    </a:lnTo>
                    <a:lnTo>
                      <a:pt x="169" y="621"/>
                    </a:lnTo>
                    <a:lnTo>
                      <a:pt x="221" y="776"/>
                    </a:lnTo>
                    <a:lnTo>
                      <a:pt x="194" y="776"/>
                    </a:lnTo>
                    <a:lnTo>
                      <a:pt x="194" y="776"/>
                    </a:lnTo>
                    <a:close/>
                    <a:moveTo>
                      <a:pt x="48" y="726"/>
                    </a:moveTo>
                    <a:lnTo>
                      <a:pt x="65" y="776"/>
                    </a:lnTo>
                    <a:lnTo>
                      <a:pt x="48" y="776"/>
                    </a:lnTo>
                    <a:lnTo>
                      <a:pt x="48" y="726"/>
                    </a:lnTo>
                    <a:lnTo>
                      <a:pt x="48" y="726"/>
                    </a:lnTo>
                    <a:close/>
                    <a:moveTo>
                      <a:pt x="948" y="574"/>
                    </a:moveTo>
                    <a:lnTo>
                      <a:pt x="971" y="574"/>
                    </a:lnTo>
                    <a:lnTo>
                      <a:pt x="971" y="597"/>
                    </a:lnTo>
                    <a:lnTo>
                      <a:pt x="971" y="799"/>
                    </a:lnTo>
                    <a:lnTo>
                      <a:pt x="971" y="822"/>
                    </a:lnTo>
                    <a:lnTo>
                      <a:pt x="948" y="822"/>
                    </a:lnTo>
                    <a:lnTo>
                      <a:pt x="678" y="822"/>
                    </a:lnTo>
                    <a:lnTo>
                      <a:pt x="654" y="822"/>
                    </a:lnTo>
                    <a:lnTo>
                      <a:pt x="654" y="799"/>
                    </a:lnTo>
                    <a:lnTo>
                      <a:pt x="654" y="597"/>
                    </a:lnTo>
                    <a:lnTo>
                      <a:pt x="654" y="574"/>
                    </a:lnTo>
                    <a:lnTo>
                      <a:pt x="678" y="574"/>
                    </a:lnTo>
                    <a:lnTo>
                      <a:pt x="948" y="574"/>
                    </a:lnTo>
                    <a:lnTo>
                      <a:pt x="948" y="574"/>
                    </a:lnTo>
                    <a:close/>
                    <a:moveTo>
                      <a:pt x="874" y="621"/>
                    </a:moveTo>
                    <a:lnTo>
                      <a:pt x="925" y="772"/>
                    </a:lnTo>
                    <a:lnTo>
                      <a:pt x="925" y="776"/>
                    </a:lnTo>
                    <a:lnTo>
                      <a:pt x="898" y="776"/>
                    </a:lnTo>
                    <a:lnTo>
                      <a:pt x="847" y="621"/>
                    </a:lnTo>
                    <a:lnTo>
                      <a:pt x="874" y="621"/>
                    </a:lnTo>
                    <a:lnTo>
                      <a:pt x="874" y="621"/>
                    </a:lnTo>
                    <a:close/>
                    <a:moveTo>
                      <a:pt x="925" y="699"/>
                    </a:moveTo>
                    <a:lnTo>
                      <a:pt x="899" y="621"/>
                    </a:lnTo>
                    <a:lnTo>
                      <a:pt x="925" y="621"/>
                    </a:lnTo>
                    <a:lnTo>
                      <a:pt x="925" y="699"/>
                    </a:lnTo>
                    <a:lnTo>
                      <a:pt x="925" y="699"/>
                    </a:lnTo>
                    <a:close/>
                    <a:moveTo>
                      <a:pt x="718" y="621"/>
                    </a:moveTo>
                    <a:lnTo>
                      <a:pt x="770" y="776"/>
                    </a:lnTo>
                    <a:lnTo>
                      <a:pt x="743" y="776"/>
                    </a:lnTo>
                    <a:lnTo>
                      <a:pt x="702" y="652"/>
                    </a:lnTo>
                    <a:lnTo>
                      <a:pt x="702" y="621"/>
                    </a:lnTo>
                    <a:lnTo>
                      <a:pt x="718" y="621"/>
                    </a:lnTo>
                    <a:lnTo>
                      <a:pt x="718" y="621"/>
                    </a:lnTo>
                    <a:close/>
                    <a:moveTo>
                      <a:pt x="795" y="776"/>
                    </a:moveTo>
                    <a:lnTo>
                      <a:pt x="743" y="621"/>
                    </a:lnTo>
                    <a:lnTo>
                      <a:pt x="770" y="621"/>
                    </a:lnTo>
                    <a:lnTo>
                      <a:pt x="822" y="776"/>
                    </a:lnTo>
                    <a:lnTo>
                      <a:pt x="795" y="776"/>
                    </a:lnTo>
                    <a:lnTo>
                      <a:pt x="795" y="776"/>
                    </a:lnTo>
                    <a:close/>
                    <a:moveTo>
                      <a:pt x="847" y="776"/>
                    </a:moveTo>
                    <a:lnTo>
                      <a:pt x="795" y="621"/>
                    </a:lnTo>
                    <a:lnTo>
                      <a:pt x="822" y="621"/>
                    </a:lnTo>
                    <a:lnTo>
                      <a:pt x="874" y="776"/>
                    </a:lnTo>
                    <a:lnTo>
                      <a:pt x="847" y="776"/>
                    </a:lnTo>
                    <a:lnTo>
                      <a:pt x="847" y="776"/>
                    </a:lnTo>
                    <a:close/>
                    <a:moveTo>
                      <a:pt x="702" y="726"/>
                    </a:moveTo>
                    <a:lnTo>
                      <a:pt x="718" y="776"/>
                    </a:lnTo>
                    <a:lnTo>
                      <a:pt x="702" y="776"/>
                    </a:lnTo>
                    <a:lnTo>
                      <a:pt x="702" y="726"/>
                    </a:lnTo>
                    <a:lnTo>
                      <a:pt x="702" y="726"/>
                    </a:lnTo>
                    <a:close/>
                    <a:moveTo>
                      <a:pt x="1334" y="574"/>
                    </a:moveTo>
                    <a:lnTo>
                      <a:pt x="1356" y="574"/>
                    </a:lnTo>
                    <a:lnTo>
                      <a:pt x="1356" y="597"/>
                    </a:lnTo>
                    <a:lnTo>
                      <a:pt x="1356" y="799"/>
                    </a:lnTo>
                    <a:lnTo>
                      <a:pt x="1356" y="822"/>
                    </a:lnTo>
                    <a:lnTo>
                      <a:pt x="1334" y="822"/>
                    </a:lnTo>
                    <a:lnTo>
                      <a:pt x="1063" y="822"/>
                    </a:lnTo>
                    <a:lnTo>
                      <a:pt x="1040" y="822"/>
                    </a:lnTo>
                    <a:lnTo>
                      <a:pt x="1040" y="799"/>
                    </a:lnTo>
                    <a:lnTo>
                      <a:pt x="1040" y="597"/>
                    </a:lnTo>
                    <a:lnTo>
                      <a:pt x="1040" y="574"/>
                    </a:lnTo>
                    <a:lnTo>
                      <a:pt x="1063" y="574"/>
                    </a:lnTo>
                    <a:lnTo>
                      <a:pt x="1334" y="574"/>
                    </a:lnTo>
                    <a:lnTo>
                      <a:pt x="1334" y="574"/>
                    </a:lnTo>
                    <a:close/>
                    <a:moveTo>
                      <a:pt x="1259" y="621"/>
                    </a:moveTo>
                    <a:lnTo>
                      <a:pt x="1310" y="772"/>
                    </a:lnTo>
                    <a:lnTo>
                      <a:pt x="1310" y="776"/>
                    </a:lnTo>
                    <a:lnTo>
                      <a:pt x="1284" y="776"/>
                    </a:lnTo>
                    <a:lnTo>
                      <a:pt x="1232" y="621"/>
                    </a:lnTo>
                    <a:lnTo>
                      <a:pt x="1259" y="621"/>
                    </a:lnTo>
                    <a:lnTo>
                      <a:pt x="1259" y="621"/>
                    </a:lnTo>
                    <a:close/>
                    <a:moveTo>
                      <a:pt x="1310" y="699"/>
                    </a:moveTo>
                    <a:lnTo>
                      <a:pt x="1284" y="621"/>
                    </a:lnTo>
                    <a:lnTo>
                      <a:pt x="1310" y="621"/>
                    </a:lnTo>
                    <a:lnTo>
                      <a:pt x="1310" y="699"/>
                    </a:lnTo>
                    <a:lnTo>
                      <a:pt x="1310" y="699"/>
                    </a:lnTo>
                    <a:close/>
                    <a:moveTo>
                      <a:pt x="1104" y="621"/>
                    </a:moveTo>
                    <a:lnTo>
                      <a:pt x="1155" y="776"/>
                    </a:lnTo>
                    <a:lnTo>
                      <a:pt x="1128" y="776"/>
                    </a:lnTo>
                    <a:lnTo>
                      <a:pt x="1086" y="652"/>
                    </a:lnTo>
                    <a:lnTo>
                      <a:pt x="1086" y="621"/>
                    </a:lnTo>
                    <a:lnTo>
                      <a:pt x="1104" y="621"/>
                    </a:lnTo>
                    <a:lnTo>
                      <a:pt x="1104" y="621"/>
                    </a:lnTo>
                    <a:close/>
                    <a:moveTo>
                      <a:pt x="1180" y="776"/>
                    </a:moveTo>
                    <a:lnTo>
                      <a:pt x="1128" y="621"/>
                    </a:lnTo>
                    <a:lnTo>
                      <a:pt x="1155" y="621"/>
                    </a:lnTo>
                    <a:lnTo>
                      <a:pt x="1207" y="776"/>
                    </a:lnTo>
                    <a:lnTo>
                      <a:pt x="1180" y="776"/>
                    </a:lnTo>
                    <a:lnTo>
                      <a:pt x="1180" y="776"/>
                    </a:lnTo>
                    <a:close/>
                    <a:moveTo>
                      <a:pt x="1232" y="776"/>
                    </a:moveTo>
                    <a:lnTo>
                      <a:pt x="1180" y="621"/>
                    </a:lnTo>
                    <a:lnTo>
                      <a:pt x="1207" y="621"/>
                    </a:lnTo>
                    <a:lnTo>
                      <a:pt x="1259" y="776"/>
                    </a:lnTo>
                    <a:lnTo>
                      <a:pt x="1232" y="776"/>
                    </a:lnTo>
                    <a:lnTo>
                      <a:pt x="1232" y="776"/>
                    </a:lnTo>
                    <a:close/>
                    <a:moveTo>
                      <a:pt x="1086" y="726"/>
                    </a:moveTo>
                    <a:lnTo>
                      <a:pt x="1103" y="776"/>
                    </a:lnTo>
                    <a:lnTo>
                      <a:pt x="1086" y="776"/>
                    </a:lnTo>
                    <a:lnTo>
                      <a:pt x="1086" y="726"/>
                    </a:lnTo>
                    <a:lnTo>
                      <a:pt x="1086" y="726"/>
                    </a:lnTo>
                    <a:close/>
                    <a:moveTo>
                      <a:pt x="782" y="170"/>
                    </a:moveTo>
                    <a:lnTo>
                      <a:pt x="841" y="143"/>
                    </a:lnTo>
                    <a:lnTo>
                      <a:pt x="831" y="184"/>
                    </a:lnTo>
                    <a:lnTo>
                      <a:pt x="820" y="190"/>
                    </a:lnTo>
                    <a:lnTo>
                      <a:pt x="782" y="170"/>
                    </a:lnTo>
                    <a:lnTo>
                      <a:pt x="782" y="170"/>
                    </a:lnTo>
                    <a:close/>
                    <a:moveTo>
                      <a:pt x="678" y="216"/>
                    </a:moveTo>
                    <a:lnTo>
                      <a:pt x="728" y="193"/>
                    </a:lnTo>
                    <a:lnTo>
                      <a:pt x="726" y="245"/>
                    </a:lnTo>
                    <a:lnTo>
                      <a:pt x="678" y="216"/>
                    </a:lnTo>
                    <a:lnTo>
                      <a:pt x="678" y="216"/>
                    </a:lnTo>
                    <a:close/>
                    <a:moveTo>
                      <a:pt x="602" y="250"/>
                    </a:moveTo>
                    <a:lnTo>
                      <a:pt x="634" y="236"/>
                    </a:lnTo>
                    <a:lnTo>
                      <a:pt x="632" y="278"/>
                    </a:lnTo>
                    <a:lnTo>
                      <a:pt x="602" y="250"/>
                    </a:lnTo>
                    <a:lnTo>
                      <a:pt x="602" y="250"/>
                    </a:lnTo>
                    <a:close/>
                    <a:moveTo>
                      <a:pt x="628" y="313"/>
                    </a:moveTo>
                    <a:lnTo>
                      <a:pt x="581" y="343"/>
                    </a:lnTo>
                    <a:lnTo>
                      <a:pt x="581" y="268"/>
                    </a:lnTo>
                    <a:lnTo>
                      <a:pt x="628" y="313"/>
                    </a:lnTo>
                    <a:lnTo>
                      <a:pt x="628" y="313"/>
                    </a:lnTo>
                    <a:close/>
                    <a:moveTo>
                      <a:pt x="704" y="264"/>
                    </a:moveTo>
                    <a:lnTo>
                      <a:pt x="659" y="293"/>
                    </a:lnTo>
                    <a:lnTo>
                      <a:pt x="661" y="239"/>
                    </a:lnTo>
                    <a:lnTo>
                      <a:pt x="704" y="264"/>
                    </a:lnTo>
                    <a:lnTo>
                      <a:pt x="704" y="264"/>
                    </a:lnTo>
                    <a:close/>
                    <a:moveTo>
                      <a:pt x="794" y="207"/>
                    </a:moveTo>
                    <a:lnTo>
                      <a:pt x="754" y="232"/>
                    </a:lnTo>
                    <a:lnTo>
                      <a:pt x="755" y="187"/>
                    </a:lnTo>
                    <a:lnTo>
                      <a:pt x="794" y="207"/>
                    </a:lnTo>
                    <a:lnTo>
                      <a:pt x="794" y="207"/>
                    </a:lnTo>
                    <a:close/>
                    <a:moveTo>
                      <a:pt x="885" y="149"/>
                    </a:moveTo>
                    <a:lnTo>
                      <a:pt x="865" y="161"/>
                    </a:lnTo>
                    <a:lnTo>
                      <a:pt x="872" y="139"/>
                    </a:lnTo>
                    <a:lnTo>
                      <a:pt x="885" y="149"/>
                    </a:lnTo>
                    <a:lnTo>
                      <a:pt x="885" y="149"/>
                    </a:lnTo>
                    <a:close/>
                    <a:moveTo>
                      <a:pt x="938" y="115"/>
                    </a:moveTo>
                    <a:lnTo>
                      <a:pt x="910" y="133"/>
                    </a:lnTo>
                    <a:lnTo>
                      <a:pt x="910" y="133"/>
                    </a:lnTo>
                    <a:lnTo>
                      <a:pt x="892" y="121"/>
                    </a:lnTo>
                    <a:lnTo>
                      <a:pt x="935" y="102"/>
                    </a:lnTo>
                    <a:lnTo>
                      <a:pt x="935" y="102"/>
                    </a:lnTo>
                    <a:lnTo>
                      <a:pt x="938" y="115"/>
                    </a:lnTo>
                    <a:lnTo>
                      <a:pt x="938" y="115"/>
                    </a:lnTo>
                    <a:close/>
                    <a:moveTo>
                      <a:pt x="955" y="93"/>
                    </a:moveTo>
                    <a:lnTo>
                      <a:pt x="999" y="74"/>
                    </a:lnTo>
                    <a:lnTo>
                      <a:pt x="1000" y="75"/>
                    </a:lnTo>
                    <a:lnTo>
                      <a:pt x="953" y="104"/>
                    </a:lnTo>
                    <a:lnTo>
                      <a:pt x="953" y="104"/>
                    </a:lnTo>
                    <a:lnTo>
                      <a:pt x="955" y="93"/>
                    </a:lnTo>
                    <a:lnTo>
                      <a:pt x="955" y="93"/>
                    </a:lnTo>
                    <a:close/>
                  </a:path>
                </a:pathLst>
              </a:custGeom>
              <a:solidFill>
                <a:srgbClr val="0A2966"/>
              </a:solidFill>
              <a:ln>
                <a:solidFill>
                  <a:srgbClr val="0A2966"/>
                </a:solidFill>
              </a:ln>
            </p:spPr>
            <p:txBody>
              <a:bodyPr vert="horz" wrap="square" lIns="64657" tIns="32328" rIns="64657" bIns="323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7640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Freeform 293">
                <a:extLst>
                  <a:ext uri="{FF2B5EF4-FFF2-40B4-BE49-F238E27FC236}">
                    <a16:creationId xmlns:a16="http://schemas.microsoft.com/office/drawing/2014/main" id="{00866DF2-C23F-4679-B427-3BB5443ECD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0161" y="2217373"/>
                <a:ext cx="240162" cy="176695"/>
              </a:xfrm>
              <a:custGeom>
                <a:avLst/>
                <a:gdLst>
                  <a:gd name="T0" fmla="*/ 1068 w 1357"/>
                  <a:gd name="T1" fmla="*/ 97 h 947"/>
                  <a:gd name="T2" fmla="*/ 447 w 1357"/>
                  <a:gd name="T3" fmla="*/ 257 h 947"/>
                  <a:gd name="T4" fmla="*/ 0 w 1357"/>
                  <a:gd name="T5" fmla="*/ 861 h 947"/>
                  <a:gd name="T6" fmla="*/ 541 w 1357"/>
                  <a:gd name="T7" fmla="*/ 470 h 947"/>
                  <a:gd name="T8" fmla="*/ 911 w 1357"/>
                  <a:gd name="T9" fmla="*/ 374 h 947"/>
                  <a:gd name="T10" fmla="*/ 295 w 1357"/>
                  <a:gd name="T11" fmla="*/ 288 h 947"/>
                  <a:gd name="T12" fmla="*/ 295 w 1357"/>
                  <a:gd name="T13" fmla="*/ 536 h 947"/>
                  <a:gd name="T14" fmla="*/ 1 w 1357"/>
                  <a:gd name="T15" fmla="*/ 288 h 947"/>
                  <a:gd name="T16" fmla="*/ 272 w 1357"/>
                  <a:gd name="T17" fmla="*/ 485 h 947"/>
                  <a:gd name="T18" fmla="*/ 221 w 1357"/>
                  <a:gd name="T19" fmla="*/ 334 h 947"/>
                  <a:gd name="T20" fmla="*/ 272 w 1357"/>
                  <a:gd name="T21" fmla="*/ 411 h 947"/>
                  <a:gd name="T22" fmla="*/ 48 w 1357"/>
                  <a:gd name="T23" fmla="*/ 334 h 947"/>
                  <a:gd name="T24" fmla="*/ 117 w 1357"/>
                  <a:gd name="T25" fmla="*/ 334 h 947"/>
                  <a:gd name="T26" fmla="*/ 142 w 1357"/>
                  <a:gd name="T27" fmla="*/ 334 h 947"/>
                  <a:gd name="T28" fmla="*/ 48 w 1357"/>
                  <a:gd name="T29" fmla="*/ 438 h 947"/>
                  <a:gd name="T30" fmla="*/ 295 w 1357"/>
                  <a:gd name="T31" fmla="*/ 574 h 947"/>
                  <a:gd name="T32" fmla="*/ 295 w 1357"/>
                  <a:gd name="T33" fmla="*/ 822 h 947"/>
                  <a:gd name="T34" fmla="*/ 1 w 1357"/>
                  <a:gd name="T35" fmla="*/ 574 h 947"/>
                  <a:gd name="T36" fmla="*/ 272 w 1357"/>
                  <a:gd name="T37" fmla="*/ 772 h 947"/>
                  <a:gd name="T38" fmla="*/ 221 w 1357"/>
                  <a:gd name="T39" fmla="*/ 621 h 947"/>
                  <a:gd name="T40" fmla="*/ 272 w 1357"/>
                  <a:gd name="T41" fmla="*/ 699 h 947"/>
                  <a:gd name="T42" fmla="*/ 48 w 1357"/>
                  <a:gd name="T43" fmla="*/ 621 h 947"/>
                  <a:gd name="T44" fmla="*/ 117 w 1357"/>
                  <a:gd name="T45" fmla="*/ 621 h 947"/>
                  <a:gd name="T46" fmla="*/ 142 w 1357"/>
                  <a:gd name="T47" fmla="*/ 621 h 947"/>
                  <a:gd name="T48" fmla="*/ 48 w 1357"/>
                  <a:gd name="T49" fmla="*/ 726 h 947"/>
                  <a:gd name="T50" fmla="*/ 948 w 1357"/>
                  <a:gd name="T51" fmla="*/ 574 h 947"/>
                  <a:gd name="T52" fmla="*/ 948 w 1357"/>
                  <a:gd name="T53" fmla="*/ 822 h 947"/>
                  <a:gd name="T54" fmla="*/ 654 w 1357"/>
                  <a:gd name="T55" fmla="*/ 574 h 947"/>
                  <a:gd name="T56" fmla="*/ 925 w 1357"/>
                  <a:gd name="T57" fmla="*/ 772 h 947"/>
                  <a:gd name="T58" fmla="*/ 874 w 1357"/>
                  <a:gd name="T59" fmla="*/ 621 h 947"/>
                  <a:gd name="T60" fmla="*/ 925 w 1357"/>
                  <a:gd name="T61" fmla="*/ 699 h 947"/>
                  <a:gd name="T62" fmla="*/ 702 w 1357"/>
                  <a:gd name="T63" fmla="*/ 621 h 947"/>
                  <a:gd name="T64" fmla="*/ 770 w 1357"/>
                  <a:gd name="T65" fmla="*/ 621 h 947"/>
                  <a:gd name="T66" fmla="*/ 795 w 1357"/>
                  <a:gd name="T67" fmla="*/ 621 h 947"/>
                  <a:gd name="T68" fmla="*/ 702 w 1357"/>
                  <a:gd name="T69" fmla="*/ 726 h 947"/>
                  <a:gd name="T70" fmla="*/ 1334 w 1357"/>
                  <a:gd name="T71" fmla="*/ 574 h 947"/>
                  <a:gd name="T72" fmla="*/ 1334 w 1357"/>
                  <a:gd name="T73" fmla="*/ 822 h 947"/>
                  <a:gd name="T74" fmla="*/ 1040 w 1357"/>
                  <a:gd name="T75" fmla="*/ 574 h 947"/>
                  <a:gd name="T76" fmla="*/ 1310 w 1357"/>
                  <a:gd name="T77" fmla="*/ 772 h 947"/>
                  <a:gd name="T78" fmla="*/ 1259 w 1357"/>
                  <a:gd name="T79" fmla="*/ 621 h 947"/>
                  <a:gd name="T80" fmla="*/ 1310 w 1357"/>
                  <a:gd name="T81" fmla="*/ 699 h 947"/>
                  <a:gd name="T82" fmla="*/ 1086 w 1357"/>
                  <a:gd name="T83" fmla="*/ 621 h 947"/>
                  <a:gd name="T84" fmla="*/ 1155 w 1357"/>
                  <a:gd name="T85" fmla="*/ 621 h 947"/>
                  <a:gd name="T86" fmla="*/ 1180 w 1357"/>
                  <a:gd name="T87" fmla="*/ 621 h 947"/>
                  <a:gd name="T88" fmla="*/ 1086 w 1357"/>
                  <a:gd name="T89" fmla="*/ 726 h 947"/>
                  <a:gd name="T90" fmla="*/ 782 w 1357"/>
                  <a:gd name="T91" fmla="*/ 170 h 947"/>
                  <a:gd name="T92" fmla="*/ 782 w 1357"/>
                  <a:gd name="T93" fmla="*/ 170 h 947"/>
                  <a:gd name="T94" fmla="*/ 678 w 1357"/>
                  <a:gd name="T95" fmla="*/ 216 h 947"/>
                  <a:gd name="T96" fmla="*/ 602 w 1357"/>
                  <a:gd name="T97" fmla="*/ 250 h 947"/>
                  <a:gd name="T98" fmla="*/ 628 w 1357"/>
                  <a:gd name="T99" fmla="*/ 313 h 947"/>
                  <a:gd name="T100" fmla="*/ 704 w 1357"/>
                  <a:gd name="T101" fmla="*/ 264 h 947"/>
                  <a:gd name="T102" fmla="*/ 794 w 1357"/>
                  <a:gd name="T103" fmla="*/ 207 h 947"/>
                  <a:gd name="T104" fmla="*/ 885 w 1357"/>
                  <a:gd name="T105" fmla="*/ 149 h 947"/>
                  <a:gd name="T106" fmla="*/ 935 w 1357"/>
                  <a:gd name="T107" fmla="*/ 102 h 947"/>
                  <a:gd name="T108" fmla="*/ 999 w 1357"/>
                  <a:gd name="T109" fmla="*/ 74 h 947"/>
                  <a:gd name="T110" fmla="*/ 955 w 1357"/>
                  <a:gd name="T111" fmla="*/ 93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57" h="947">
                    <a:moveTo>
                      <a:pt x="1128" y="374"/>
                    </a:moveTo>
                    <a:lnTo>
                      <a:pt x="1032" y="374"/>
                    </a:lnTo>
                    <a:lnTo>
                      <a:pt x="1032" y="120"/>
                    </a:lnTo>
                    <a:lnTo>
                      <a:pt x="1048" y="109"/>
                    </a:lnTo>
                    <a:lnTo>
                      <a:pt x="1068" y="97"/>
                    </a:lnTo>
                    <a:lnTo>
                      <a:pt x="1059" y="76"/>
                    </a:lnTo>
                    <a:lnTo>
                      <a:pt x="1039" y="26"/>
                    </a:lnTo>
                    <a:lnTo>
                      <a:pt x="1029" y="0"/>
                    </a:lnTo>
                    <a:lnTo>
                      <a:pt x="1003" y="11"/>
                    </a:lnTo>
                    <a:lnTo>
                      <a:pt x="447" y="257"/>
                    </a:lnTo>
                    <a:lnTo>
                      <a:pt x="378" y="257"/>
                    </a:lnTo>
                    <a:lnTo>
                      <a:pt x="378" y="470"/>
                    </a:lnTo>
                    <a:lnTo>
                      <a:pt x="415" y="470"/>
                    </a:lnTo>
                    <a:lnTo>
                      <a:pt x="415" y="861"/>
                    </a:lnTo>
                    <a:lnTo>
                      <a:pt x="0" y="861"/>
                    </a:lnTo>
                    <a:lnTo>
                      <a:pt x="0" y="947"/>
                    </a:lnTo>
                    <a:lnTo>
                      <a:pt x="1357" y="947"/>
                    </a:lnTo>
                    <a:lnTo>
                      <a:pt x="1357" y="861"/>
                    </a:lnTo>
                    <a:lnTo>
                      <a:pt x="541" y="861"/>
                    </a:lnTo>
                    <a:lnTo>
                      <a:pt x="541" y="470"/>
                    </a:lnTo>
                    <a:lnTo>
                      <a:pt x="581" y="470"/>
                    </a:lnTo>
                    <a:lnTo>
                      <a:pt x="581" y="408"/>
                    </a:lnTo>
                    <a:lnTo>
                      <a:pt x="1006" y="136"/>
                    </a:lnTo>
                    <a:lnTo>
                      <a:pt x="1006" y="374"/>
                    </a:lnTo>
                    <a:lnTo>
                      <a:pt x="911" y="374"/>
                    </a:lnTo>
                    <a:lnTo>
                      <a:pt x="911" y="531"/>
                    </a:lnTo>
                    <a:lnTo>
                      <a:pt x="1128" y="531"/>
                    </a:lnTo>
                    <a:lnTo>
                      <a:pt x="1128" y="374"/>
                    </a:lnTo>
                    <a:lnTo>
                      <a:pt x="1128" y="374"/>
                    </a:lnTo>
                    <a:close/>
                    <a:moveTo>
                      <a:pt x="295" y="288"/>
                    </a:moveTo>
                    <a:lnTo>
                      <a:pt x="319" y="288"/>
                    </a:lnTo>
                    <a:lnTo>
                      <a:pt x="319" y="310"/>
                    </a:lnTo>
                    <a:lnTo>
                      <a:pt x="319" y="512"/>
                    </a:lnTo>
                    <a:lnTo>
                      <a:pt x="319" y="536"/>
                    </a:lnTo>
                    <a:lnTo>
                      <a:pt x="295" y="536"/>
                    </a:lnTo>
                    <a:lnTo>
                      <a:pt x="25" y="536"/>
                    </a:lnTo>
                    <a:lnTo>
                      <a:pt x="1" y="536"/>
                    </a:lnTo>
                    <a:lnTo>
                      <a:pt x="1" y="512"/>
                    </a:lnTo>
                    <a:lnTo>
                      <a:pt x="1" y="310"/>
                    </a:lnTo>
                    <a:lnTo>
                      <a:pt x="1" y="288"/>
                    </a:lnTo>
                    <a:lnTo>
                      <a:pt x="25" y="288"/>
                    </a:lnTo>
                    <a:lnTo>
                      <a:pt x="295" y="288"/>
                    </a:lnTo>
                    <a:lnTo>
                      <a:pt x="295" y="288"/>
                    </a:lnTo>
                    <a:close/>
                    <a:moveTo>
                      <a:pt x="221" y="334"/>
                    </a:moveTo>
                    <a:lnTo>
                      <a:pt x="272" y="485"/>
                    </a:lnTo>
                    <a:lnTo>
                      <a:pt x="272" y="489"/>
                    </a:lnTo>
                    <a:lnTo>
                      <a:pt x="245" y="489"/>
                    </a:lnTo>
                    <a:lnTo>
                      <a:pt x="194" y="334"/>
                    </a:lnTo>
                    <a:lnTo>
                      <a:pt x="221" y="334"/>
                    </a:lnTo>
                    <a:lnTo>
                      <a:pt x="221" y="334"/>
                    </a:lnTo>
                    <a:close/>
                    <a:moveTo>
                      <a:pt x="272" y="411"/>
                    </a:moveTo>
                    <a:lnTo>
                      <a:pt x="246" y="334"/>
                    </a:lnTo>
                    <a:lnTo>
                      <a:pt x="272" y="334"/>
                    </a:lnTo>
                    <a:lnTo>
                      <a:pt x="272" y="411"/>
                    </a:lnTo>
                    <a:lnTo>
                      <a:pt x="272" y="411"/>
                    </a:lnTo>
                    <a:close/>
                    <a:moveTo>
                      <a:pt x="65" y="334"/>
                    </a:moveTo>
                    <a:lnTo>
                      <a:pt x="117" y="489"/>
                    </a:lnTo>
                    <a:lnTo>
                      <a:pt x="90" y="489"/>
                    </a:lnTo>
                    <a:lnTo>
                      <a:pt x="48" y="365"/>
                    </a:lnTo>
                    <a:lnTo>
                      <a:pt x="48" y="334"/>
                    </a:lnTo>
                    <a:lnTo>
                      <a:pt x="65" y="334"/>
                    </a:lnTo>
                    <a:lnTo>
                      <a:pt x="65" y="334"/>
                    </a:lnTo>
                    <a:close/>
                    <a:moveTo>
                      <a:pt x="142" y="489"/>
                    </a:moveTo>
                    <a:lnTo>
                      <a:pt x="90" y="334"/>
                    </a:lnTo>
                    <a:lnTo>
                      <a:pt x="117" y="334"/>
                    </a:lnTo>
                    <a:lnTo>
                      <a:pt x="169" y="489"/>
                    </a:lnTo>
                    <a:lnTo>
                      <a:pt x="142" y="489"/>
                    </a:lnTo>
                    <a:lnTo>
                      <a:pt x="142" y="489"/>
                    </a:lnTo>
                    <a:close/>
                    <a:moveTo>
                      <a:pt x="194" y="489"/>
                    </a:moveTo>
                    <a:lnTo>
                      <a:pt x="142" y="334"/>
                    </a:lnTo>
                    <a:lnTo>
                      <a:pt x="169" y="334"/>
                    </a:lnTo>
                    <a:lnTo>
                      <a:pt x="221" y="489"/>
                    </a:lnTo>
                    <a:lnTo>
                      <a:pt x="194" y="489"/>
                    </a:lnTo>
                    <a:lnTo>
                      <a:pt x="194" y="489"/>
                    </a:lnTo>
                    <a:close/>
                    <a:moveTo>
                      <a:pt x="48" y="438"/>
                    </a:moveTo>
                    <a:lnTo>
                      <a:pt x="65" y="489"/>
                    </a:lnTo>
                    <a:lnTo>
                      <a:pt x="48" y="489"/>
                    </a:lnTo>
                    <a:lnTo>
                      <a:pt x="48" y="438"/>
                    </a:lnTo>
                    <a:lnTo>
                      <a:pt x="48" y="438"/>
                    </a:lnTo>
                    <a:close/>
                    <a:moveTo>
                      <a:pt x="295" y="574"/>
                    </a:moveTo>
                    <a:lnTo>
                      <a:pt x="319" y="574"/>
                    </a:lnTo>
                    <a:lnTo>
                      <a:pt x="319" y="597"/>
                    </a:lnTo>
                    <a:lnTo>
                      <a:pt x="319" y="799"/>
                    </a:lnTo>
                    <a:lnTo>
                      <a:pt x="319" y="822"/>
                    </a:lnTo>
                    <a:lnTo>
                      <a:pt x="295" y="822"/>
                    </a:lnTo>
                    <a:lnTo>
                      <a:pt x="25" y="822"/>
                    </a:lnTo>
                    <a:lnTo>
                      <a:pt x="1" y="822"/>
                    </a:lnTo>
                    <a:lnTo>
                      <a:pt x="1" y="799"/>
                    </a:lnTo>
                    <a:lnTo>
                      <a:pt x="1" y="597"/>
                    </a:lnTo>
                    <a:lnTo>
                      <a:pt x="1" y="574"/>
                    </a:lnTo>
                    <a:lnTo>
                      <a:pt x="25" y="574"/>
                    </a:lnTo>
                    <a:lnTo>
                      <a:pt x="295" y="574"/>
                    </a:lnTo>
                    <a:lnTo>
                      <a:pt x="295" y="574"/>
                    </a:lnTo>
                    <a:close/>
                    <a:moveTo>
                      <a:pt x="221" y="621"/>
                    </a:moveTo>
                    <a:lnTo>
                      <a:pt x="272" y="772"/>
                    </a:lnTo>
                    <a:lnTo>
                      <a:pt x="272" y="776"/>
                    </a:lnTo>
                    <a:lnTo>
                      <a:pt x="245" y="776"/>
                    </a:lnTo>
                    <a:lnTo>
                      <a:pt x="194" y="621"/>
                    </a:lnTo>
                    <a:lnTo>
                      <a:pt x="221" y="621"/>
                    </a:lnTo>
                    <a:lnTo>
                      <a:pt x="221" y="621"/>
                    </a:lnTo>
                    <a:close/>
                    <a:moveTo>
                      <a:pt x="272" y="699"/>
                    </a:moveTo>
                    <a:lnTo>
                      <a:pt x="246" y="621"/>
                    </a:lnTo>
                    <a:lnTo>
                      <a:pt x="272" y="621"/>
                    </a:lnTo>
                    <a:lnTo>
                      <a:pt x="272" y="699"/>
                    </a:lnTo>
                    <a:lnTo>
                      <a:pt x="272" y="699"/>
                    </a:lnTo>
                    <a:close/>
                    <a:moveTo>
                      <a:pt x="65" y="621"/>
                    </a:moveTo>
                    <a:lnTo>
                      <a:pt x="117" y="776"/>
                    </a:lnTo>
                    <a:lnTo>
                      <a:pt x="90" y="776"/>
                    </a:lnTo>
                    <a:lnTo>
                      <a:pt x="48" y="652"/>
                    </a:lnTo>
                    <a:lnTo>
                      <a:pt x="48" y="621"/>
                    </a:lnTo>
                    <a:lnTo>
                      <a:pt x="65" y="621"/>
                    </a:lnTo>
                    <a:lnTo>
                      <a:pt x="65" y="621"/>
                    </a:lnTo>
                    <a:close/>
                    <a:moveTo>
                      <a:pt x="142" y="776"/>
                    </a:moveTo>
                    <a:lnTo>
                      <a:pt x="90" y="621"/>
                    </a:lnTo>
                    <a:lnTo>
                      <a:pt x="117" y="621"/>
                    </a:lnTo>
                    <a:lnTo>
                      <a:pt x="169" y="776"/>
                    </a:lnTo>
                    <a:lnTo>
                      <a:pt x="142" y="776"/>
                    </a:lnTo>
                    <a:lnTo>
                      <a:pt x="142" y="776"/>
                    </a:lnTo>
                    <a:close/>
                    <a:moveTo>
                      <a:pt x="194" y="776"/>
                    </a:moveTo>
                    <a:lnTo>
                      <a:pt x="142" y="621"/>
                    </a:lnTo>
                    <a:lnTo>
                      <a:pt x="169" y="621"/>
                    </a:lnTo>
                    <a:lnTo>
                      <a:pt x="221" y="776"/>
                    </a:lnTo>
                    <a:lnTo>
                      <a:pt x="194" y="776"/>
                    </a:lnTo>
                    <a:lnTo>
                      <a:pt x="194" y="776"/>
                    </a:lnTo>
                    <a:close/>
                    <a:moveTo>
                      <a:pt x="48" y="726"/>
                    </a:moveTo>
                    <a:lnTo>
                      <a:pt x="65" y="776"/>
                    </a:lnTo>
                    <a:lnTo>
                      <a:pt x="48" y="776"/>
                    </a:lnTo>
                    <a:lnTo>
                      <a:pt x="48" y="726"/>
                    </a:lnTo>
                    <a:lnTo>
                      <a:pt x="48" y="726"/>
                    </a:lnTo>
                    <a:close/>
                    <a:moveTo>
                      <a:pt x="948" y="574"/>
                    </a:moveTo>
                    <a:lnTo>
                      <a:pt x="971" y="574"/>
                    </a:lnTo>
                    <a:lnTo>
                      <a:pt x="971" y="597"/>
                    </a:lnTo>
                    <a:lnTo>
                      <a:pt x="971" y="799"/>
                    </a:lnTo>
                    <a:lnTo>
                      <a:pt x="971" y="822"/>
                    </a:lnTo>
                    <a:lnTo>
                      <a:pt x="948" y="822"/>
                    </a:lnTo>
                    <a:lnTo>
                      <a:pt x="678" y="822"/>
                    </a:lnTo>
                    <a:lnTo>
                      <a:pt x="654" y="822"/>
                    </a:lnTo>
                    <a:lnTo>
                      <a:pt x="654" y="799"/>
                    </a:lnTo>
                    <a:lnTo>
                      <a:pt x="654" y="597"/>
                    </a:lnTo>
                    <a:lnTo>
                      <a:pt x="654" y="574"/>
                    </a:lnTo>
                    <a:lnTo>
                      <a:pt x="678" y="574"/>
                    </a:lnTo>
                    <a:lnTo>
                      <a:pt x="948" y="574"/>
                    </a:lnTo>
                    <a:lnTo>
                      <a:pt x="948" y="574"/>
                    </a:lnTo>
                    <a:close/>
                    <a:moveTo>
                      <a:pt x="874" y="621"/>
                    </a:moveTo>
                    <a:lnTo>
                      <a:pt x="925" y="772"/>
                    </a:lnTo>
                    <a:lnTo>
                      <a:pt x="925" y="776"/>
                    </a:lnTo>
                    <a:lnTo>
                      <a:pt x="898" y="776"/>
                    </a:lnTo>
                    <a:lnTo>
                      <a:pt x="847" y="621"/>
                    </a:lnTo>
                    <a:lnTo>
                      <a:pt x="874" y="621"/>
                    </a:lnTo>
                    <a:lnTo>
                      <a:pt x="874" y="621"/>
                    </a:lnTo>
                    <a:close/>
                    <a:moveTo>
                      <a:pt x="925" y="699"/>
                    </a:moveTo>
                    <a:lnTo>
                      <a:pt x="899" y="621"/>
                    </a:lnTo>
                    <a:lnTo>
                      <a:pt x="925" y="621"/>
                    </a:lnTo>
                    <a:lnTo>
                      <a:pt x="925" y="699"/>
                    </a:lnTo>
                    <a:lnTo>
                      <a:pt x="925" y="699"/>
                    </a:lnTo>
                    <a:close/>
                    <a:moveTo>
                      <a:pt x="718" y="621"/>
                    </a:moveTo>
                    <a:lnTo>
                      <a:pt x="770" y="776"/>
                    </a:lnTo>
                    <a:lnTo>
                      <a:pt x="743" y="776"/>
                    </a:lnTo>
                    <a:lnTo>
                      <a:pt x="702" y="652"/>
                    </a:lnTo>
                    <a:lnTo>
                      <a:pt x="702" y="621"/>
                    </a:lnTo>
                    <a:lnTo>
                      <a:pt x="718" y="621"/>
                    </a:lnTo>
                    <a:lnTo>
                      <a:pt x="718" y="621"/>
                    </a:lnTo>
                    <a:close/>
                    <a:moveTo>
                      <a:pt x="795" y="776"/>
                    </a:moveTo>
                    <a:lnTo>
                      <a:pt x="743" y="621"/>
                    </a:lnTo>
                    <a:lnTo>
                      <a:pt x="770" y="621"/>
                    </a:lnTo>
                    <a:lnTo>
                      <a:pt x="822" y="776"/>
                    </a:lnTo>
                    <a:lnTo>
                      <a:pt x="795" y="776"/>
                    </a:lnTo>
                    <a:lnTo>
                      <a:pt x="795" y="776"/>
                    </a:lnTo>
                    <a:close/>
                    <a:moveTo>
                      <a:pt x="847" y="776"/>
                    </a:moveTo>
                    <a:lnTo>
                      <a:pt x="795" y="621"/>
                    </a:lnTo>
                    <a:lnTo>
                      <a:pt x="822" y="621"/>
                    </a:lnTo>
                    <a:lnTo>
                      <a:pt x="874" y="776"/>
                    </a:lnTo>
                    <a:lnTo>
                      <a:pt x="847" y="776"/>
                    </a:lnTo>
                    <a:lnTo>
                      <a:pt x="847" y="776"/>
                    </a:lnTo>
                    <a:close/>
                    <a:moveTo>
                      <a:pt x="702" y="726"/>
                    </a:moveTo>
                    <a:lnTo>
                      <a:pt x="718" y="776"/>
                    </a:lnTo>
                    <a:lnTo>
                      <a:pt x="702" y="776"/>
                    </a:lnTo>
                    <a:lnTo>
                      <a:pt x="702" y="726"/>
                    </a:lnTo>
                    <a:lnTo>
                      <a:pt x="702" y="726"/>
                    </a:lnTo>
                    <a:close/>
                    <a:moveTo>
                      <a:pt x="1334" y="574"/>
                    </a:moveTo>
                    <a:lnTo>
                      <a:pt x="1356" y="574"/>
                    </a:lnTo>
                    <a:lnTo>
                      <a:pt x="1356" y="597"/>
                    </a:lnTo>
                    <a:lnTo>
                      <a:pt x="1356" y="799"/>
                    </a:lnTo>
                    <a:lnTo>
                      <a:pt x="1356" y="822"/>
                    </a:lnTo>
                    <a:lnTo>
                      <a:pt x="1334" y="822"/>
                    </a:lnTo>
                    <a:lnTo>
                      <a:pt x="1063" y="822"/>
                    </a:lnTo>
                    <a:lnTo>
                      <a:pt x="1040" y="822"/>
                    </a:lnTo>
                    <a:lnTo>
                      <a:pt x="1040" y="799"/>
                    </a:lnTo>
                    <a:lnTo>
                      <a:pt x="1040" y="597"/>
                    </a:lnTo>
                    <a:lnTo>
                      <a:pt x="1040" y="574"/>
                    </a:lnTo>
                    <a:lnTo>
                      <a:pt x="1063" y="574"/>
                    </a:lnTo>
                    <a:lnTo>
                      <a:pt x="1334" y="574"/>
                    </a:lnTo>
                    <a:lnTo>
                      <a:pt x="1334" y="574"/>
                    </a:lnTo>
                    <a:close/>
                    <a:moveTo>
                      <a:pt x="1259" y="621"/>
                    </a:moveTo>
                    <a:lnTo>
                      <a:pt x="1310" y="772"/>
                    </a:lnTo>
                    <a:lnTo>
                      <a:pt x="1310" y="776"/>
                    </a:lnTo>
                    <a:lnTo>
                      <a:pt x="1284" y="776"/>
                    </a:lnTo>
                    <a:lnTo>
                      <a:pt x="1232" y="621"/>
                    </a:lnTo>
                    <a:lnTo>
                      <a:pt x="1259" y="621"/>
                    </a:lnTo>
                    <a:lnTo>
                      <a:pt x="1259" y="621"/>
                    </a:lnTo>
                    <a:close/>
                    <a:moveTo>
                      <a:pt x="1310" y="699"/>
                    </a:moveTo>
                    <a:lnTo>
                      <a:pt x="1284" y="621"/>
                    </a:lnTo>
                    <a:lnTo>
                      <a:pt x="1310" y="621"/>
                    </a:lnTo>
                    <a:lnTo>
                      <a:pt x="1310" y="699"/>
                    </a:lnTo>
                    <a:lnTo>
                      <a:pt x="1310" y="699"/>
                    </a:lnTo>
                    <a:close/>
                    <a:moveTo>
                      <a:pt x="1104" y="621"/>
                    </a:moveTo>
                    <a:lnTo>
                      <a:pt x="1155" y="776"/>
                    </a:lnTo>
                    <a:lnTo>
                      <a:pt x="1128" y="776"/>
                    </a:lnTo>
                    <a:lnTo>
                      <a:pt x="1086" y="652"/>
                    </a:lnTo>
                    <a:lnTo>
                      <a:pt x="1086" y="621"/>
                    </a:lnTo>
                    <a:lnTo>
                      <a:pt x="1104" y="621"/>
                    </a:lnTo>
                    <a:lnTo>
                      <a:pt x="1104" y="621"/>
                    </a:lnTo>
                    <a:close/>
                    <a:moveTo>
                      <a:pt x="1180" y="776"/>
                    </a:moveTo>
                    <a:lnTo>
                      <a:pt x="1128" y="621"/>
                    </a:lnTo>
                    <a:lnTo>
                      <a:pt x="1155" y="621"/>
                    </a:lnTo>
                    <a:lnTo>
                      <a:pt x="1207" y="776"/>
                    </a:lnTo>
                    <a:lnTo>
                      <a:pt x="1180" y="776"/>
                    </a:lnTo>
                    <a:lnTo>
                      <a:pt x="1180" y="776"/>
                    </a:lnTo>
                    <a:close/>
                    <a:moveTo>
                      <a:pt x="1232" y="776"/>
                    </a:moveTo>
                    <a:lnTo>
                      <a:pt x="1180" y="621"/>
                    </a:lnTo>
                    <a:lnTo>
                      <a:pt x="1207" y="621"/>
                    </a:lnTo>
                    <a:lnTo>
                      <a:pt x="1259" y="776"/>
                    </a:lnTo>
                    <a:lnTo>
                      <a:pt x="1232" y="776"/>
                    </a:lnTo>
                    <a:lnTo>
                      <a:pt x="1232" y="776"/>
                    </a:lnTo>
                    <a:close/>
                    <a:moveTo>
                      <a:pt x="1086" y="726"/>
                    </a:moveTo>
                    <a:lnTo>
                      <a:pt x="1103" y="776"/>
                    </a:lnTo>
                    <a:lnTo>
                      <a:pt x="1086" y="776"/>
                    </a:lnTo>
                    <a:lnTo>
                      <a:pt x="1086" y="726"/>
                    </a:lnTo>
                    <a:lnTo>
                      <a:pt x="1086" y="726"/>
                    </a:lnTo>
                    <a:close/>
                    <a:moveTo>
                      <a:pt x="782" y="170"/>
                    </a:moveTo>
                    <a:lnTo>
                      <a:pt x="841" y="143"/>
                    </a:lnTo>
                    <a:lnTo>
                      <a:pt x="831" y="184"/>
                    </a:lnTo>
                    <a:lnTo>
                      <a:pt x="820" y="190"/>
                    </a:lnTo>
                    <a:lnTo>
                      <a:pt x="782" y="170"/>
                    </a:lnTo>
                    <a:lnTo>
                      <a:pt x="782" y="170"/>
                    </a:lnTo>
                    <a:close/>
                    <a:moveTo>
                      <a:pt x="678" y="216"/>
                    </a:moveTo>
                    <a:lnTo>
                      <a:pt x="728" y="193"/>
                    </a:lnTo>
                    <a:lnTo>
                      <a:pt x="726" y="245"/>
                    </a:lnTo>
                    <a:lnTo>
                      <a:pt x="678" y="216"/>
                    </a:lnTo>
                    <a:lnTo>
                      <a:pt x="678" y="216"/>
                    </a:lnTo>
                    <a:close/>
                    <a:moveTo>
                      <a:pt x="602" y="250"/>
                    </a:moveTo>
                    <a:lnTo>
                      <a:pt x="634" y="236"/>
                    </a:lnTo>
                    <a:lnTo>
                      <a:pt x="632" y="278"/>
                    </a:lnTo>
                    <a:lnTo>
                      <a:pt x="602" y="250"/>
                    </a:lnTo>
                    <a:lnTo>
                      <a:pt x="602" y="250"/>
                    </a:lnTo>
                    <a:close/>
                    <a:moveTo>
                      <a:pt x="628" y="313"/>
                    </a:moveTo>
                    <a:lnTo>
                      <a:pt x="581" y="343"/>
                    </a:lnTo>
                    <a:lnTo>
                      <a:pt x="581" y="268"/>
                    </a:lnTo>
                    <a:lnTo>
                      <a:pt x="628" y="313"/>
                    </a:lnTo>
                    <a:lnTo>
                      <a:pt x="628" y="313"/>
                    </a:lnTo>
                    <a:close/>
                    <a:moveTo>
                      <a:pt x="704" y="264"/>
                    </a:moveTo>
                    <a:lnTo>
                      <a:pt x="659" y="293"/>
                    </a:lnTo>
                    <a:lnTo>
                      <a:pt x="661" y="239"/>
                    </a:lnTo>
                    <a:lnTo>
                      <a:pt x="704" y="264"/>
                    </a:lnTo>
                    <a:lnTo>
                      <a:pt x="704" y="264"/>
                    </a:lnTo>
                    <a:close/>
                    <a:moveTo>
                      <a:pt x="794" y="207"/>
                    </a:moveTo>
                    <a:lnTo>
                      <a:pt x="754" y="232"/>
                    </a:lnTo>
                    <a:lnTo>
                      <a:pt x="755" y="187"/>
                    </a:lnTo>
                    <a:lnTo>
                      <a:pt x="794" y="207"/>
                    </a:lnTo>
                    <a:lnTo>
                      <a:pt x="794" y="207"/>
                    </a:lnTo>
                    <a:close/>
                    <a:moveTo>
                      <a:pt x="885" y="149"/>
                    </a:moveTo>
                    <a:lnTo>
                      <a:pt x="865" y="161"/>
                    </a:lnTo>
                    <a:lnTo>
                      <a:pt x="872" y="139"/>
                    </a:lnTo>
                    <a:lnTo>
                      <a:pt x="885" y="149"/>
                    </a:lnTo>
                    <a:lnTo>
                      <a:pt x="885" y="149"/>
                    </a:lnTo>
                    <a:close/>
                    <a:moveTo>
                      <a:pt x="938" y="115"/>
                    </a:moveTo>
                    <a:lnTo>
                      <a:pt x="910" y="133"/>
                    </a:lnTo>
                    <a:lnTo>
                      <a:pt x="910" y="133"/>
                    </a:lnTo>
                    <a:lnTo>
                      <a:pt x="892" y="121"/>
                    </a:lnTo>
                    <a:lnTo>
                      <a:pt x="935" y="102"/>
                    </a:lnTo>
                    <a:lnTo>
                      <a:pt x="935" y="102"/>
                    </a:lnTo>
                    <a:lnTo>
                      <a:pt x="938" y="115"/>
                    </a:lnTo>
                    <a:lnTo>
                      <a:pt x="938" y="115"/>
                    </a:lnTo>
                    <a:close/>
                    <a:moveTo>
                      <a:pt x="955" y="93"/>
                    </a:moveTo>
                    <a:lnTo>
                      <a:pt x="999" y="74"/>
                    </a:lnTo>
                    <a:lnTo>
                      <a:pt x="1000" y="75"/>
                    </a:lnTo>
                    <a:lnTo>
                      <a:pt x="953" y="104"/>
                    </a:lnTo>
                    <a:lnTo>
                      <a:pt x="953" y="104"/>
                    </a:lnTo>
                    <a:lnTo>
                      <a:pt x="955" y="93"/>
                    </a:lnTo>
                    <a:lnTo>
                      <a:pt x="955" y="93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64657" tIns="32328" rIns="64657" bIns="323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7640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 293">
                <a:extLst>
                  <a:ext uri="{FF2B5EF4-FFF2-40B4-BE49-F238E27FC236}">
                    <a16:creationId xmlns:a16="http://schemas.microsoft.com/office/drawing/2014/main" id="{7BAA86B9-CEB9-4224-9994-05E22821B7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24895" y="4216156"/>
                <a:ext cx="240162" cy="176695"/>
              </a:xfrm>
              <a:custGeom>
                <a:avLst/>
                <a:gdLst>
                  <a:gd name="T0" fmla="*/ 1068 w 1357"/>
                  <a:gd name="T1" fmla="*/ 97 h 947"/>
                  <a:gd name="T2" fmla="*/ 447 w 1357"/>
                  <a:gd name="T3" fmla="*/ 257 h 947"/>
                  <a:gd name="T4" fmla="*/ 0 w 1357"/>
                  <a:gd name="T5" fmla="*/ 861 h 947"/>
                  <a:gd name="T6" fmla="*/ 541 w 1357"/>
                  <a:gd name="T7" fmla="*/ 470 h 947"/>
                  <a:gd name="T8" fmla="*/ 911 w 1357"/>
                  <a:gd name="T9" fmla="*/ 374 h 947"/>
                  <a:gd name="T10" fmla="*/ 295 w 1357"/>
                  <a:gd name="T11" fmla="*/ 288 h 947"/>
                  <a:gd name="T12" fmla="*/ 295 w 1357"/>
                  <a:gd name="T13" fmla="*/ 536 h 947"/>
                  <a:gd name="T14" fmla="*/ 1 w 1357"/>
                  <a:gd name="T15" fmla="*/ 288 h 947"/>
                  <a:gd name="T16" fmla="*/ 272 w 1357"/>
                  <a:gd name="T17" fmla="*/ 485 h 947"/>
                  <a:gd name="T18" fmla="*/ 221 w 1357"/>
                  <a:gd name="T19" fmla="*/ 334 h 947"/>
                  <a:gd name="T20" fmla="*/ 272 w 1357"/>
                  <a:gd name="T21" fmla="*/ 411 h 947"/>
                  <a:gd name="T22" fmla="*/ 48 w 1357"/>
                  <a:gd name="T23" fmla="*/ 334 h 947"/>
                  <a:gd name="T24" fmla="*/ 117 w 1357"/>
                  <a:gd name="T25" fmla="*/ 334 h 947"/>
                  <a:gd name="T26" fmla="*/ 142 w 1357"/>
                  <a:gd name="T27" fmla="*/ 334 h 947"/>
                  <a:gd name="T28" fmla="*/ 48 w 1357"/>
                  <a:gd name="T29" fmla="*/ 438 h 947"/>
                  <a:gd name="T30" fmla="*/ 295 w 1357"/>
                  <a:gd name="T31" fmla="*/ 574 h 947"/>
                  <a:gd name="T32" fmla="*/ 295 w 1357"/>
                  <a:gd name="T33" fmla="*/ 822 h 947"/>
                  <a:gd name="T34" fmla="*/ 1 w 1357"/>
                  <a:gd name="T35" fmla="*/ 574 h 947"/>
                  <a:gd name="T36" fmla="*/ 272 w 1357"/>
                  <a:gd name="T37" fmla="*/ 772 h 947"/>
                  <a:gd name="T38" fmla="*/ 221 w 1357"/>
                  <a:gd name="T39" fmla="*/ 621 h 947"/>
                  <a:gd name="T40" fmla="*/ 272 w 1357"/>
                  <a:gd name="T41" fmla="*/ 699 h 947"/>
                  <a:gd name="T42" fmla="*/ 48 w 1357"/>
                  <a:gd name="T43" fmla="*/ 621 h 947"/>
                  <a:gd name="T44" fmla="*/ 117 w 1357"/>
                  <a:gd name="T45" fmla="*/ 621 h 947"/>
                  <a:gd name="T46" fmla="*/ 142 w 1357"/>
                  <a:gd name="T47" fmla="*/ 621 h 947"/>
                  <a:gd name="T48" fmla="*/ 48 w 1357"/>
                  <a:gd name="T49" fmla="*/ 726 h 947"/>
                  <a:gd name="T50" fmla="*/ 948 w 1357"/>
                  <a:gd name="T51" fmla="*/ 574 h 947"/>
                  <a:gd name="T52" fmla="*/ 948 w 1357"/>
                  <a:gd name="T53" fmla="*/ 822 h 947"/>
                  <a:gd name="T54" fmla="*/ 654 w 1357"/>
                  <a:gd name="T55" fmla="*/ 574 h 947"/>
                  <a:gd name="T56" fmla="*/ 925 w 1357"/>
                  <a:gd name="T57" fmla="*/ 772 h 947"/>
                  <a:gd name="T58" fmla="*/ 874 w 1357"/>
                  <a:gd name="T59" fmla="*/ 621 h 947"/>
                  <a:gd name="T60" fmla="*/ 925 w 1357"/>
                  <a:gd name="T61" fmla="*/ 699 h 947"/>
                  <a:gd name="T62" fmla="*/ 702 w 1357"/>
                  <a:gd name="T63" fmla="*/ 621 h 947"/>
                  <a:gd name="T64" fmla="*/ 770 w 1357"/>
                  <a:gd name="T65" fmla="*/ 621 h 947"/>
                  <a:gd name="T66" fmla="*/ 795 w 1357"/>
                  <a:gd name="T67" fmla="*/ 621 h 947"/>
                  <a:gd name="T68" fmla="*/ 702 w 1357"/>
                  <a:gd name="T69" fmla="*/ 726 h 947"/>
                  <a:gd name="T70" fmla="*/ 1334 w 1357"/>
                  <a:gd name="T71" fmla="*/ 574 h 947"/>
                  <a:gd name="T72" fmla="*/ 1334 w 1357"/>
                  <a:gd name="T73" fmla="*/ 822 h 947"/>
                  <a:gd name="T74" fmla="*/ 1040 w 1357"/>
                  <a:gd name="T75" fmla="*/ 574 h 947"/>
                  <a:gd name="T76" fmla="*/ 1310 w 1357"/>
                  <a:gd name="T77" fmla="*/ 772 h 947"/>
                  <a:gd name="T78" fmla="*/ 1259 w 1357"/>
                  <a:gd name="T79" fmla="*/ 621 h 947"/>
                  <a:gd name="T80" fmla="*/ 1310 w 1357"/>
                  <a:gd name="T81" fmla="*/ 699 h 947"/>
                  <a:gd name="T82" fmla="*/ 1086 w 1357"/>
                  <a:gd name="T83" fmla="*/ 621 h 947"/>
                  <a:gd name="T84" fmla="*/ 1155 w 1357"/>
                  <a:gd name="T85" fmla="*/ 621 h 947"/>
                  <a:gd name="T86" fmla="*/ 1180 w 1357"/>
                  <a:gd name="T87" fmla="*/ 621 h 947"/>
                  <a:gd name="T88" fmla="*/ 1086 w 1357"/>
                  <a:gd name="T89" fmla="*/ 726 h 947"/>
                  <a:gd name="T90" fmla="*/ 782 w 1357"/>
                  <a:gd name="T91" fmla="*/ 170 h 947"/>
                  <a:gd name="T92" fmla="*/ 782 w 1357"/>
                  <a:gd name="T93" fmla="*/ 170 h 947"/>
                  <a:gd name="T94" fmla="*/ 678 w 1357"/>
                  <a:gd name="T95" fmla="*/ 216 h 947"/>
                  <a:gd name="T96" fmla="*/ 602 w 1357"/>
                  <a:gd name="T97" fmla="*/ 250 h 947"/>
                  <a:gd name="T98" fmla="*/ 628 w 1357"/>
                  <a:gd name="T99" fmla="*/ 313 h 947"/>
                  <a:gd name="T100" fmla="*/ 704 w 1357"/>
                  <a:gd name="T101" fmla="*/ 264 h 947"/>
                  <a:gd name="T102" fmla="*/ 794 w 1357"/>
                  <a:gd name="T103" fmla="*/ 207 h 947"/>
                  <a:gd name="T104" fmla="*/ 885 w 1357"/>
                  <a:gd name="T105" fmla="*/ 149 h 947"/>
                  <a:gd name="T106" fmla="*/ 935 w 1357"/>
                  <a:gd name="T107" fmla="*/ 102 h 947"/>
                  <a:gd name="T108" fmla="*/ 999 w 1357"/>
                  <a:gd name="T109" fmla="*/ 74 h 947"/>
                  <a:gd name="T110" fmla="*/ 955 w 1357"/>
                  <a:gd name="T111" fmla="*/ 93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57" h="947">
                    <a:moveTo>
                      <a:pt x="1128" y="374"/>
                    </a:moveTo>
                    <a:lnTo>
                      <a:pt x="1032" y="374"/>
                    </a:lnTo>
                    <a:lnTo>
                      <a:pt x="1032" y="120"/>
                    </a:lnTo>
                    <a:lnTo>
                      <a:pt x="1048" y="109"/>
                    </a:lnTo>
                    <a:lnTo>
                      <a:pt x="1068" y="97"/>
                    </a:lnTo>
                    <a:lnTo>
                      <a:pt x="1059" y="76"/>
                    </a:lnTo>
                    <a:lnTo>
                      <a:pt x="1039" y="26"/>
                    </a:lnTo>
                    <a:lnTo>
                      <a:pt x="1029" y="0"/>
                    </a:lnTo>
                    <a:lnTo>
                      <a:pt x="1003" y="11"/>
                    </a:lnTo>
                    <a:lnTo>
                      <a:pt x="447" y="257"/>
                    </a:lnTo>
                    <a:lnTo>
                      <a:pt x="378" y="257"/>
                    </a:lnTo>
                    <a:lnTo>
                      <a:pt x="378" y="470"/>
                    </a:lnTo>
                    <a:lnTo>
                      <a:pt x="415" y="470"/>
                    </a:lnTo>
                    <a:lnTo>
                      <a:pt x="415" y="861"/>
                    </a:lnTo>
                    <a:lnTo>
                      <a:pt x="0" y="861"/>
                    </a:lnTo>
                    <a:lnTo>
                      <a:pt x="0" y="947"/>
                    </a:lnTo>
                    <a:lnTo>
                      <a:pt x="1357" y="947"/>
                    </a:lnTo>
                    <a:lnTo>
                      <a:pt x="1357" y="861"/>
                    </a:lnTo>
                    <a:lnTo>
                      <a:pt x="541" y="861"/>
                    </a:lnTo>
                    <a:lnTo>
                      <a:pt x="541" y="470"/>
                    </a:lnTo>
                    <a:lnTo>
                      <a:pt x="581" y="470"/>
                    </a:lnTo>
                    <a:lnTo>
                      <a:pt x="581" y="408"/>
                    </a:lnTo>
                    <a:lnTo>
                      <a:pt x="1006" y="136"/>
                    </a:lnTo>
                    <a:lnTo>
                      <a:pt x="1006" y="374"/>
                    </a:lnTo>
                    <a:lnTo>
                      <a:pt x="911" y="374"/>
                    </a:lnTo>
                    <a:lnTo>
                      <a:pt x="911" y="531"/>
                    </a:lnTo>
                    <a:lnTo>
                      <a:pt x="1128" y="531"/>
                    </a:lnTo>
                    <a:lnTo>
                      <a:pt x="1128" y="374"/>
                    </a:lnTo>
                    <a:lnTo>
                      <a:pt x="1128" y="374"/>
                    </a:lnTo>
                    <a:close/>
                    <a:moveTo>
                      <a:pt x="295" y="288"/>
                    </a:moveTo>
                    <a:lnTo>
                      <a:pt x="319" y="288"/>
                    </a:lnTo>
                    <a:lnTo>
                      <a:pt x="319" y="310"/>
                    </a:lnTo>
                    <a:lnTo>
                      <a:pt x="319" y="512"/>
                    </a:lnTo>
                    <a:lnTo>
                      <a:pt x="319" y="536"/>
                    </a:lnTo>
                    <a:lnTo>
                      <a:pt x="295" y="536"/>
                    </a:lnTo>
                    <a:lnTo>
                      <a:pt x="25" y="536"/>
                    </a:lnTo>
                    <a:lnTo>
                      <a:pt x="1" y="536"/>
                    </a:lnTo>
                    <a:lnTo>
                      <a:pt x="1" y="512"/>
                    </a:lnTo>
                    <a:lnTo>
                      <a:pt x="1" y="310"/>
                    </a:lnTo>
                    <a:lnTo>
                      <a:pt x="1" y="288"/>
                    </a:lnTo>
                    <a:lnTo>
                      <a:pt x="25" y="288"/>
                    </a:lnTo>
                    <a:lnTo>
                      <a:pt x="295" y="288"/>
                    </a:lnTo>
                    <a:lnTo>
                      <a:pt x="295" y="288"/>
                    </a:lnTo>
                    <a:close/>
                    <a:moveTo>
                      <a:pt x="221" y="334"/>
                    </a:moveTo>
                    <a:lnTo>
                      <a:pt x="272" y="485"/>
                    </a:lnTo>
                    <a:lnTo>
                      <a:pt x="272" y="489"/>
                    </a:lnTo>
                    <a:lnTo>
                      <a:pt x="245" y="489"/>
                    </a:lnTo>
                    <a:lnTo>
                      <a:pt x="194" y="334"/>
                    </a:lnTo>
                    <a:lnTo>
                      <a:pt x="221" y="334"/>
                    </a:lnTo>
                    <a:lnTo>
                      <a:pt x="221" y="334"/>
                    </a:lnTo>
                    <a:close/>
                    <a:moveTo>
                      <a:pt x="272" y="411"/>
                    </a:moveTo>
                    <a:lnTo>
                      <a:pt x="246" y="334"/>
                    </a:lnTo>
                    <a:lnTo>
                      <a:pt x="272" y="334"/>
                    </a:lnTo>
                    <a:lnTo>
                      <a:pt x="272" y="411"/>
                    </a:lnTo>
                    <a:lnTo>
                      <a:pt x="272" y="411"/>
                    </a:lnTo>
                    <a:close/>
                    <a:moveTo>
                      <a:pt x="65" y="334"/>
                    </a:moveTo>
                    <a:lnTo>
                      <a:pt x="117" y="489"/>
                    </a:lnTo>
                    <a:lnTo>
                      <a:pt x="90" y="489"/>
                    </a:lnTo>
                    <a:lnTo>
                      <a:pt x="48" y="365"/>
                    </a:lnTo>
                    <a:lnTo>
                      <a:pt x="48" y="334"/>
                    </a:lnTo>
                    <a:lnTo>
                      <a:pt x="65" y="334"/>
                    </a:lnTo>
                    <a:lnTo>
                      <a:pt x="65" y="334"/>
                    </a:lnTo>
                    <a:close/>
                    <a:moveTo>
                      <a:pt x="142" y="489"/>
                    </a:moveTo>
                    <a:lnTo>
                      <a:pt x="90" y="334"/>
                    </a:lnTo>
                    <a:lnTo>
                      <a:pt x="117" y="334"/>
                    </a:lnTo>
                    <a:lnTo>
                      <a:pt x="169" y="489"/>
                    </a:lnTo>
                    <a:lnTo>
                      <a:pt x="142" y="489"/>
                    </a:lnTo>
                    <a:lnTo>
                      <a:pt x="142" y="489"/>
                    </a:lnTo>
                    <a:close/>
                    <a:moveTo>
                      <a:pt x="194" y="489"/>
                    </a:moveTo>
                    <a:lnTo>
                      <a:pt x="142" y="334"/>
                    </a:lnTo>
                    <a:lnTo>
                      <a:pt x="169" y="334"/>
                    </a:lnTo>
                    <a:lnTo>
                      <a:pt x="221" y="489"/>
                    </a:lnTo>
                    <a:lnTo>
                      <a:pt x="194" y="489"/>
                    </a:lnTo>
                    <a:lnTo>
                      <a:pt x="194" y="489"/>
                    </a:lnTo>
                    <a:close/>
                    <a:moveTo>
                      <a:pt x="48" y="438"/>
                    </a:moveTo>
                    <a:lnTo>
                      <a:pt x="65" y="489"/>
                    </a:lnTo>
                    <a:lnTo>
                      <a:pt x="48" y="489"/>
                    </a:lnTo>
                    <a:lnTo>
                      <a:pt x="48" y="438"/>
                    </a:lnTo>
                    <a:lnTo>
                      <a:pt x="48" y="438"/>
                    </a:lnTo>
                    <a:close/>
                    <a:moveTo>
                      <a:pt x="295" y="574"/>
                    </a:moveTo>
                    <a:lnTo>
                      <a:pt x="319" y="574"/>
                    </a:lnTo>
                    <a:lnTo>
                      <a:pt x="319" y="597"/>
                    </a:lnTo>
                    <a:lnTo>
                      <a:pt x="319" y="799"/>
                    </a:lnTo>
                    <a:lnTo>
                      <a:pt x="319" y="822"/>
                    </a:lnTo>
                    <a:lnTo>
                      <a:pt x="295" y="822"/>
                    </a:lnTo>
                    <a:lnTo>
                      <a:pt x="25" y="822"/>
                    </a:lnTo>
                    <a:lnTo>
                      <a:pt x="1" y="822"/>
                    </a:lnTo>
                    <a:lnTo>
                      <a:pt x="1" y="799"/>
                    </a:lnTo>
                    <a:lnTo>
                      <a:pt x="1" y="597"/>
                    </a:lnTo>
                    <a:lnTo>
                      <a:pt x="1" y="574"/>
                    </a:lnTo>
                    <a:lnTo>
                      <a:pt x="25" y="574"/>
                    </a:lnTo>
                    <a:lnTo>
                      <a:pt x="295" y="574"/>
                    </a:lnTo>
                    <a:lnTo>
                      <a:pt x="295" y="574"/>
                    </a:lnTo>
                    <a:close/>
                    <a:moveTo>
                      <a:pt x="221" y="621"/>
                    </a:moveTo>
                    <a:lnTo>
                      <a:pt x="272" y="772"/>
                    </a:lnTo>
                    <a:lnTo>
                      <a:pt x="272" y="776"/>
                    </a:lnTo>
                    <a:lnTo>
                      <a:pt x="245" y="776"/>
                    </a:lnTo>
                    <a:lnTo>
                      <a:pt x="194" y="621"/>
                    </a:lnTo>
                    <a:lnTo>
                      <a:pt x="221" y="621"/>
                    </a:lnTo>
                    <a:lnTo>
                      <a:pt x="221" y="621"/>
                    </a:lnTo>
                    <a:close/>
                    <a:moveTo>
                      <a:pt x="272" y="699"/>
                    </a:moveTo>
                    <a:lnTo>
                      <a:pt x="246" y="621"/>
                    </a:lnTo>
                    <a:lnTo>
                      <a:pt x="272" y="621"/>
                    </a:lnTo>
                    <a:lnTo>
                      <a:pt x="272" y="699"/>
                    </a:lnTo>
                    <a:lnTo>
                      <a:pt x="272" y="699"/>
                    </a:lnTo>
                    <a:close/>
                    <a:moveTo>
                      <a:pt x="65" y="621"/>
                    </a:moveTo>
                    <a:lnTo>
                      <a:pt x="117" y="776"/>
                    </a:lnTo>
                    <a:lnTo>
                      <a:pt x="90" y="776"/>
                    </a:lnTo>
                    <a:lnTo>
                      <a:pt x="48" y="652"/>
                    </a:lnTo>
                    <a:lnTo>
                      <a:pt x="48" y="621"/>
                    </a:lnTo>
                    <a:lnTo>
                      <a:pt x="65" y="621"/>
                    </a:lnTo>
                    <a:lnTo>
                      <a:pt x="65" y="621"/>
                    </a:lnTo>
                    <a:close/>
                    <a:moveTo>
                      <a:pt x="142" y="776"/>
                    </a:moveTo>
                    <a:lnTo>
                      <a:pt x="90" y="621"/>
                    </a:lnTo>
                    <a:lnTo>
                      <a:pt x="117" y="621"/>
                    </a:lnTo>
                    <a:lnTo>
                      <a:pt x="169" y="776"/>
                    </a:lnTo>
                    <a:lnTo>
                      <a:pt x="142" y="776"/>
                    </a:lnTo>
                    <a:lnTo>
                      <a:pt x="142" y="776"/>
                    </a:lnTo>
                    <a:close/>
                    <a:moveTo>
                      <a:pt x="194" y="776"/>
                    </a:moveTo>
                    <a:lnTo>
                      <a:pt x="142" y="621"/>
                    </a:lnTo>
                    <a:lnTo>
                      <a:pt x="169" y="621"/>
                    </a:lnTo>
                    <a:lnTo>
                      <a:pt x="221" y="776"/>
                    </a:lnTo>
                    <a:lnTo>
                      <a:pt x="194" y="776"/>
                    </a:lnTo>
                    <a:lnTo>
                      <a:pt x="194" y="776"/>
                    </a:lnTo>
                    <a:close/>
                    <a:moveTo>
                      <a:pt x="48" y="726"/>
                    </a:moveTo>
                    <a:lnTo>
                      <a:pt x="65" y="776"/>
                    </a:lnTo>
                    <a:lnTo>
                      <a:pt x="48" y="776"/>
                    </a:lnTo>
                    <a:lnTo>
                      <a:pt x="48" y="726"/>
                    </a:lnTo>
                    <a:lnTo>
                      <a:pt x="48" y="726"/>
                    </a:lnTo>
                    <a:close/>
                    <a:moveTo>
                      <a:pt x="948" y="574"/>
                    </a:moveTo>
                    <a:lnTo>
                      <a:pt x="971" y="574"/>
                    </a:lnTo>
                    <a:lnTo>
                      <a:pt x="971" y="597"/>
                    </a:lnTo>
                    <a:lnTo>
                      <a:pt x="971" y="799"/>
                    </a:lnTo>
                    <a:lnTo>
                      <a:pt x="971" y="822"/>
                    </a:lnTo>
                    <a:lnTo>
                      <a:pt x="948" y="822"/>
                    </a:lnTo>
                    <a:lnTo>
                      <a:pt x="678" y="822"/>
                    </a:lnTo>
                    <a:lnTo>
                      <a:pt x="654" y="822"/>
                    </a:lnTo>
                    <a:lnTo>
                      <a:pt x="654" y="799"/>
                    </a:lnTo>
                    <a:lnTo>
                      <a:pt x="654" y="597"/>
                    </a:lnTo>
                    <a:lnTo>
                      <a:pt x="654" y="574"/>
                    </a:lnTo>
                    <a:lnTo>
                      <a:pt x="678" y="574"/>
                    </a:lnTo>
                    <a:lnTo>
                      <a:pt x="948" y="574"/>
                    </a:lnTo>
                    <a:lnTo>
                      <a:pt x="948" y="574"/>
                    </a:lnTo>
                    <a:close/>
                    <a:moveTo>
                      <a:pt x="874" y="621"/>
                    </a:moveTo>
                    <a:lnTo>
                      <a:pt x="925" y="772"/>
                    </a:lnTo>
                    <a:lnTo>
                      <a:pt x="925" y="776"/>
                    </a:lnTo>
                    <a:lnTo>
                      <a:pt x="898" y="776"/>
                    </a:lnTo>
                    <a:lnTo>
                      <a:pt x="847" y="621"/>
                    </a:lnTo>
                    <a:lnTo>
                      <a:pt x="874" y="621"/>
                    </a:lnTo>
                    <a:lnTo>
                      <a:pt x="874" y="621"/>
                    </a:lnTo>
                    <a:close/>
                    <a:moveTo>
                      <a:pt x="925" y="699"/>
                    </a:moveTo>
                    <a:lnTo>
                      <a:pt x="899" y="621"/>
                    </a:lnTo>
                    <a:lnTo>
                      <a:pt x="925" y="621"/>
                    </a:lnTo>
                    <a:lnTo>
                      <a:pt x="925" y="699"/>
                    </a:lnTo>
                    <a:lnTo>
                      <a:pt x="925" y="699"/>
                    </a:lnTo>
                    <a:close/>
                    <a:moveTo>
                      <a:pt x="718" y="621"/>
                    </a:moveTo>
                    <a:lnTo>
                      <a:pt x="770" y="776"/>
                    </a:lnTo>
                    <a:lnTo>
                      <a:pt x="743" y="776"/>
                    </a:lnTo>
                    <a:lnTo>
                      <a:pt x="702" y="652"/>
                    </a:lnTo>
                    <a:lnTo>
                      <a:pt x="702" y="621"/>
                    </a:lnTo>
                    <a:lnTo>
                      <a:pt x="718" y="621"/>
                    </a:lnTo>
                    <a:lnTo>
                      <a:pt x="718" y="621"/>
                    </a:lnTo>
                    <a:close/>
                    <a:moveTo>
                      <a:pt x="795" y="776"/>
                    </a:moveTo>
                    <a:lnTo>
                      <a:pt x="743" y="621"/>
                    </a:lnTo>
                    <a:lnTo>
                      <a:pt x="770" y="621"/>
                    </a:lnTo>
                    <a:lnTo>
                      <a:pt x="822" y="776"/>
                    </a:lnTo>
                    <a:lnTo>
                      <a:pt x="795" y="776"/>
                    </a:lnTo>
                    <a:lnTo>
                      <a:pt x="795" y="776"/>
                    </a:lnTo>
                    <a:close/>
                    <a:moveTo>
                      <a:pt x="847" y="776"/>
                    </a:moveTo>
                    <a:lnTo>
                      <a:pt x="795" y="621"/>
                    </a:lnTo>
                    <a:lnTo>
                      <a:pt x="822" y="621"/>
                    </a:lnTo>
                    <a:lnTo>
                      <a:pt x="874" y="776"/>
                    </a:lnTo>
                    <a:lnTo>
                      <a:pt x="847" y="776"/>
                    </a:lnTo>
                    <a:lnTo>
                      <a:pt x="847" y="776"/>
                    </a:lnTo>
                    <a:close/>
                    <a:moveTo>
                      <a:pt x="702" y="726"/>
                    </a:moveTo>
                    <a:lnTo>
                      <a:pt x="718" y="776"/>
                    </a:lnTo>
                    <a:lnTo>
                      <a:pt x="702" y="776"/>
                    </a:lnTo>
                    <a:lnTo>
                      <a:pt x="702" y="726"/>
                    </a:lnTo>
                    <a:lnTo>
                      <a:pt x="702" y="726"/>
                    </a:lnTo>
                    <a:close/>
                    <a:moveTo>
                      <a:pt x="1334" y="574"/>
                    </a:moveTo>
                    <a:lnTo>
                      <a:pt x="1356" y="574"/>
                    </a:lnTo>
                    <a:lnTo>
                      <a:pt x="1356" y="597"/>
                    </a:lnTo>
                    <a:lnTo>
                      <a:pt x="1356" y="799"/>
                    </a:lnTo>
                    <a:lnTo>
                      <a:pt x="1356" y="822"/>
                    </a:lnTo>
                    <a:lnTo>
                      <a:pt x="1334" y="822"/>
                    </a:lnTo>
                    <a:lnTo>
                      <a:pt x="1063" y="822"/>
                    </a:lnTo>
                    <a:lnTo>
                      <a:pt x="1040" y="822"/>
                    </a:lnTo>
                    <a:lnTo>
                      <a:pt x="1040" y="799"/>
                    </a:lnTo>
                    <a:lnTo>
                      <a:pt x="1040" y="597"/>
                    </a:lnTo>
                    <a:lnTo>
                      <a:pt x="1040" y="574"/>
                    </a:lnTo>
                    <a:lnTo>
                      <a:pt x="1063" y="574"/>
                    </a:lnTo>
                    <a:lnTo>
                      <a:pt x="1334" y="574"/>
                    </a:lnTo>
                    <a:lnTo>
                      <a:pt x="1334" y="574"/>
                    </a:lnTo>
                    <a:close/>
                    <a:moveTo>
                      <a:pt x="1259" y="621"/>
                    </a:moveTo>
                    <a:lnTo>
                      <a:pt x="1310" y="772"/>
                    </a:lnTo>
                    <a:lnTo>
                      <a:pt x="1310" y="776"/>
                    </a:lnTo>
                    <a:lnTo>
                      <a:pt x="1284" y="776"/>
                    </a:lnTo>
                    <a:lnTo>
                      <a:pt x="1232" y="621"/>
                    </a:lnTo>
                    <a:lnTo>
                      <a:pt x="1259" y="621"/>
                    </a:lnTo>
                    <a:lnTo>
                      <a:pt x="1259" y="621"/>
                    </a:lnTo>
                    <a:close/>
                    <a:moveTo>
                      <a:pt x="1310" y="699"/>
                    </a:moveTo>
                    <a:lnTo>
                      <a:pt x="1284" y="621"/>
                    </a:lnTo>
                    <a:lnTo>
                      <a:pt x="1310" y="621"/>
                    </a:lnTo>
                    <a:lnTo>
                      <a:pt x="1310" y="699"/>
                    </a:lnTo>
                    <a:lnTo>
                      <a:pt x="1310" y="699"/>
                    </a:lnTo>
                    <a:close/>
                    <a:moveTo>
                      <a:pt x="1104" y="621"/>
                    </a:moveTo>
                    <a:lnTo>
                      <a:pt x="1155" y="776"/>
                    </a:lnTo>
                    <a:lnTo>
                      <a:pt x="1128" y="776"/>
                    </a:lnTo>
                    <a:lnTo>
                      <a:pt x="1086" y="652"/>
                    </a:lnTo>
                    <a:lnTo>
                      <a:pt x="1086" y="621"/>
                    </a:lnTo>
                    <a:lnTo>
                      <a:pt x="1104" y="621"/>
                    </a:lnTo>
                    <a:lnTo>
                      <a:pt x="1104" y="621"/>
                    </a:lnTo>
                    <a:close/>
                    <a:moveTo>
                      <a:pt x="1180" y="776"/>
                    </a:moveTo>
                    <a:lnTo>
                      <a:pt x="1128" y="621"/>
                    </a:lnTo>
                    <a:lnTo>
                      <a:pt x="1155" y="621"/>
                    </a:lnTo>
                    <a:lnTo>
                      <a:pt x="1207" y="776"/>
                    </a:lnTo>
                    <a:lnTo>
                      <a:pt x="1180" y="776"/>
                    </a:lnTo>
                    <a:lnTo>
                      <a:pt x="1180" y="776"/>
                    </a:lnTo>
                    <a:close/>
                    <a:moveTo>
                      <a:pt x="1232" y="776"/>
                    </a:moveTo>
                    <a:lnTo>
                      <a:pt x="1180" y="621"/>
                    </a:lnTo>
                    <a:lnTo>
                      <a:pt x="1207" y="621"/>
                    </a:lnTo>
                    <a:lnTo>
                      <a:pt x="1259" y="776"/>
                    </a:lnTo>
                    <a:lnTo>
                      <a:pt x="1232" y="776"/>
                    </a:lnTo>
                    <a:lnTo>
                      <a:pt x="1232" y="776"/>
                    </a:lnTo>
                    <a:close/>
                    <a:moveTo>
                      <a:pt x="1086" y="726"/>
                    </a:moveTo>
                    <a:lnTo>
                      <a:pt x="1103" y="776"/>
                    </a:lnTo>
                    <a:lnTo>
                      <a:pt x="1086" y="776"/>
                    </a:lnTo>
                    <a:lnTo>
                      <a:pt x="1086" y="726"/>
                    </a:lnTo>
                    <a:lnTo>
                      <a:pt x="1086" y="726"/>
                    </a:lnTo>
                    <a:close/>
                    <a:moveTo>
                      <a:pt x="782" y="170"/>
                    </a:moveTo>
                    <a:lnTo>
                      <a:pt x="841" y="143"/>
                    </a:lnTo>
                    <a:lnTo>
                      <a:pt x="831" y="184"/>
                    </a:lnTo>
                    <a:lnTo>
                      <a:pt x="820" y="190"/>
                    </a:lnTo>
                    <a:lnTo>
                      <a:pt x="782" y="170"/>
                    </a:lnTo>
                    <a:lnTo>
                      <a:pt x="782" y="170"/>
                    </a:lnTo>
                    <a:close/>
                    <a:moveTo>
                      <a:pt x="678" y="216"/>
                    </a:moveTo>
                    <a:lnTo>
                      <a:pt x="728" y="193"/>
                    </a:lnTo>
                    <a:lnTo>
                      <a:pt x="726" y="245"/>
                    </a:lnTo>
                    <a:lnTo>
                      <a:pt x="678" y="216"/>
                    </a:lnTo>
                    <a:lnTo>
                      <a:pt x="678" y="216"/>
                    </a:lnTo>
                    <a:close/>
                    <a:moveTo>
                      <a:pt x="602" y="250"/>
                    </a:moveTo>
                    <a:lnTo>
                      <a:pt x="634" y="236"/>
                    </a:lnTo>
                    <a:lnTo>
                      <a:pt x="632" y="278"/>
                    </a:lnTo>
                    <a:lnTo>
                      <a:pt x="602" y="250"/>
                    </a:lnTo>
                    <a:lnTo>
                      <a:pt x="602" y="250"/>
                    </a:lnTo>
                    <a:close/>
                    <a:moveTo>
                      <a:pt x="628" y="313"/>
                    </a:moveTo>
                    <a:lnTo>
                      <a:pt x="581" y="343"/>
                    </a:lnTo>
                    <a:lnTo>
                      <a:pt x="581" y="268"/>
                    </a:lnTo>
                    <a:lnTo>
                      <a:pt x="628" y="313"/>
                    </a:lnTo>
                    <a:lnTo>
                      <a:pt x="628" y="313"/>
                    </a:lnTo>
                    <a:close/>
                    <a:moveTo>
                      <a:pt x="704" y="264"/>
                    </a:moveTo>
                    <a:lnTo>
                      <a:pt x="659" y="293"/>
                    </a:lnTo>
                    <a:lnTo>
                      <a:pt x="661" y="239"/>
                    </a:lnTo>
                    <a:lnTo>
                      <a:pt x="704" y="264"/>
                    </a:lnTo>
                    <a:lnTo>
                      <a:pt x="704" y="264"/>
                    </a:lnTo>
                    <a:close/>
                    <a:moveTo>
                      <a:pt x="794" y="207"/>
                    </a:moveTo>
                    <a:lnTo>
                      <a:pt x="754" y="232"/>
                    </a:lnTo>
                    <a:lnTo>
                      <a:pt x="755" y="187"/>
                    </a:lnTo>
                    <a:lnTo>
                      <a:pt x="794" y="207"/>
                    </a:lnTo>
                    <a:lnTo>
                      <a:pt x="794" y="207"/>
                    </a:lnTo>
                    <a:close/>
                    <a:moveTo>
                      <a:pt x="885" y="149"/>
                    </a:moveTo>
                    <a:lnTo>
                      <a:pt x="865" y="161"/>
                    </a:lnTo>
                    <a:lnTo>
                      <a:pt x="872" y="139"/>
                    </a:lnTo>
                    <a:lnTo>
                      <a:pt x="885" y="149"/>
                    </a:lnTo>
                    <a:lnTo>
                      <a:pt x="885" y="149"/>
                    </a:lnTo>
                    <a:close/>
                    <a:moveTo>
                      <a:pt x="938" y="115"/>
                    </a:moveTo>
                    <a:lnTo>
                      <a:pt x="910" y="133"/>
                    </a:lnTo>
                    <a:lnTo>
                      <a:pt x="910" y="133"/>
                    </a:lnTo>
                    <a:lnTo>
                      <a:pt x="892" y="121"/>
                    </a:lnTo>
                    <a:lnTo>
                      <a:pt x="935" y="102"/>
                    </a:lnTo>
                    <a:lnTo>
                      <a:pt x="935" y="102"/>
                    </a:lnTo>
                    <a:lnTo>
                      <a:pt x="938" y="115"/>
                    </a:lnTo>
                    <a:lnTo>
                      <a:pt x="938" y="115"/>
                    </a:lnTo>
                    <a:close/>
                    <a:moveTo>
                      <a:pt x="955" y="93"/>
                    </a:moveTo>
                    <a:lnTo>
                      <a:pt x="999" y="74"/>
                    </a:lnTo>
                    <a:lnTo>
                      <a:pt x="1000" y="75"/>
                    </a:lnTo>
                    <a:lnTo>
                      <a:pt x="953" y="104"/>
                    </a:lnTo>
                    <a:lnTo>
                      <a:pt x="953" y="104"/>
                    </a:lnTo>
                    <a:lnTo>
                      <a:pt x="955" y="93"/>
                    </a:lnTo>
                    <a:lnTo>
                      <a:pt x="955" y="93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accent1"/>
                </a:solidFill>
              </a:ln>
            </p:spPr>
            <p:txBody>
              <a:bodyPr vert="horz" wrap="square" lIns="64657" tIns="32328" rIns="64657" bIns="3232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7640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3" name="CasellaDiTesto 562">
              <a:extLst>
                <a:ext uri="{FF2B5EF4-FFF2-40B4-BE49-F238E27FC236}">
                  <a16:creationId xmlns:a16="http://schemas.microsoft.com/office/drawing/2014/main" id="{5DD5CBAA-359D-4062-9004-55ABB1CF71A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46254" y="3773541"/>
              <a:ext cx="881857" cy="1767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8364" tIns="34183" rIns="68364" bIns="34183">
              <a:spAutoFit/>
            </a:bodyPr>
            <a:lstStyle/>
            <a:p>
              <a:pPr marL="0" marR="0" lvl="0" indent="0" algn="l" defTabSz="685783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a Spezia Migliarina</a:t>
              </a:r>
            </a:p>
          </p:txBody>
        </p:sp>
        <p:sp>
          <p:nvSpPr>
            <p:cNvPr id="84" name="Freeform 293">
              <a:extLst>
                <a:ext uri="{FF2B5EF4-FFF2-40B4-BE49-F238E27FC236}">
                  <a16:creationId xmlns:a16="http://schemas.microsoft.com/office/drawing/2014/main" id="{DB50EB7A-095A-41C7-85A0-E0B67DCE29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6285" y="3661766"/>
              <a:ext cx="180035" cy="131140"/>
            </a:xfrm>
            <a:custGeom>
              <a:avLst/>
              <a:gdLst>
                <a:gd name="T0" fmla="*/ 1068 w 1357"/>
                <a:gd name="T1" fmla="*/ 97 h 947"/>
                <a:gd name="T2" fmla="*/ 447 w 1357"/>
                <a:gd name="T3" fmla="*/ 257 h 947"/>
                <a:gd name="T4" fmla="*/ 0 w 1357"/>
                <a:gd name="T5" fmla="*/ 861 h 947"/>
                <a:gd name="T6" fmla="*/ 541 w 1357"/>
                <a:gd name="T7" fmla="*/ 470 h 947"/>
                <a:gd name="T8" fmla="*/ 911 w 1357"/>
                <a:gd name="T9" fmla="*/ 374 h 947"/>
                <a:gd name="T10" fmla="*/ 295 w 1357"/>
                <a:gd name="T11" fmla="*/ 288 h 947"/>
                <a:gd name="T12" fmla="*/ 295 w 1357"/>
                <a:gd name="T13" fmla="*/ 536 h 947"/>
                <a:gd name="T14" fmla="*/ 1 w 1357"/>
                <a:gd name="T15" fmla="*/ 288 h 947"/>
                <a:gd name="T16" fmla="*/ 272 w 1357"/>
                <a:gd name="T17" fmla="*/ 485 h 947"/>
                <a:gd name="T18" fmla="*/ 221 w 1357"/>
                <a:gd name="T19" fmla="*/ 334 h 947"/>
                <a:gd name="T20" fmla="*/ 272 w 1357"/>
                <a:gd name="T21" fmla="*/ 411 h 947"/>
                <a:gd name="T22" fmla="*/ 48 w 1357"/>
                <a:gd name="T23" fmla="*/ 334 h 947"/>
                <a:gd name="T24" fmla="*/ 117 w 1357"/>
                <a:gd name="T25" fmla="*/ 334 h 947"/>
                <a:gd name="T26" fmla="*/ 142 w 1357"/>
                <a:gd name="T27" fmla="*/ 334 h 947"/>
                <a:gd name="T28" fmla="*/ 48 w 1357"/>
                <a:gd name="T29" fmla="*/ 438 h 947"/>
                <a:gd name="T30" fmla="*/ 295 w 1357"/>
                <a:gd name="T31" fmla="*/ 574 h 947"/>
                <a:gd name="T32" fmla="*/ 295 w 1357"/>
                <a:gd name="T33" fmla="*/ 822 h 947"/>
                <a:gd name="T34" fmla="*/ 1 w 1357"/>
                <a:gd name="T35" fmla="*/ 574 h 947"/>
                <a:gd name="T36" fmla="*/ 272 w 1357"/>
                <a:gd name="T37" fmla="*/ 772 h 947"/>
                <a:gd name="T38" fmla="*/ 221 w 1357"/>
                <a:gd name="T39" fmla="*/ 621 h 947"/>
                <a:gd name="T40" fmla="*/ 272 w 1357"/>
                <a:gd name="T41" fmla="*/ 699 h 947"/>
                <a:gd name="T42" fmla="*/ 48 w 1357"/>
                <a:gd name="T43" fmla="*/ 621 h 947"/>
                <a:gd name="T44" fmla="*/ 117 w 1357"/>
                <a:gd name="T45" fmla="*/ 621 h 947"/>
                <a:gd name="T46" fmla="*/ 142 w 1357"/>
                <a:gd name="T47" fmla="*/ 621 h 947"/>
                <a:gd name="T48" fmla="*/ 48 w 1357"/>
                <a:gd name="T49" fmla="*/ 726 h 947"/>
                <a:gd name="T50" fmla="*/ 948 w 1357"/>
                <a:gd name="T51" fmla="*/ 574 h 947"/>
                <a:gd name="T52" fmla="*/ 948 w 1357"/>
                <a:gd name="T53" fmla="*/ 822 h 947"/>
                <a:gd name="T54" fmla="*/ 654 w 1357"/>
                <a:gd name="T55" fmla="*/ 574 h 947"/>
                <a:gd name="T56" fmla="*/ 925 w 1357"/>
                <a:gd name="T57" fmla="*/ 772 h 947"/>
                <a:gd name="T58" fmla="*/ 874 w 1357"/>
                <a:gd name="T59" fmla="*/ 621 h 947"/>
                <a:gd name="T60" fmla="*/ 925 w 1357"/>
                <a:gd name="T61" fmla="*/ 699 h 947"/>
                <a:gd name="T62" fmla="*/ 702 w 1357"/>
                <a:gd name="T63" fmla="*/ 621 h 947"/>
                <a:gd name="T64" fmla="*/ 770 w 1357"/>
                <a:gd name="T65" fmla="*/ 621 h 947"/>
                <a:gd name="T66" fmla="*/ 795 w 1357"/>
                <a:gd name="T67" fmla="*/ 621 h 947"/>
                <a:gd name="T68" fmla="*/ 702 w 1357"/>
                <a:gd name="T69" fmla="*/ 726 h 947"/>
                <a:gd name="T70" fmla="*/ 1334 w 1357"/>
                <a:gd name="T71" fmla="*/ 574 h 947"/>
                <a:gd name="T72" fmla="*/ 1334 w 1357"/>
                <a:gd name="T73" fmla="*/ 822 h 947"/>
                <a:gd name="T74" fmla="*/ 1040 w 1357"/>
                <a:gd name="T75" fmla="*/ 574 h 947"/>
                <a:gd name="T76" fmla="*/ 1310 w 1357"/>
                <a:gd name="T77" fmla="*/ 772 h 947"/>
                <a:gd name="T78" fmla="*/ 1259 w 1357"/>
                <a:gd name="T79" fmla="*/ 621 h 947"/>
                <a:gd name="T80" fmla="*/ 1310 w 1357"/>
                <a:gd name="T81" fmla="*/ 699 h 947"/>
                <a:gd name="T82" fmla="*/ 1086 w 1357"/>
                <a:gd name="T83" fmla="*/ 621 h 947"/>
                <a:gd name="T84" fmla="*/ 1155 w 1357"/>
                <a:gd name="T85" fmla="*/ 621 h 947"/>
                <a:gd name="T86" fmla="*/ 1180 w 1357"/>
                <a:gd name="T87" fmla="*/ 621 h 947"/>
                <a:gd name="T88" fmla="*/ 1086 w 1357"/>
                <a:gd name="T89" fmla="*/ 726 h 947"/>
                <a:gd name="T90" fmla="*/ 782 w 1357"/>
                <a:gd name="T91" fmla="*/ 170 h 947"/>
                <a:gd name="T92" fmla="*/ 782 w 1357"/>
                <a:gd name="T93" fmla="*/ 170 h 947"/>
                <a:gd name="T94" fmla="*/ 678 w 1357"/>
                <a:gd name="T95" fmla="*/ 216 h 947"/>
                <a:gd name="T96" fmla="*/ 602 w 1357"/>
                <a:gd name="T97" fmla="*/ 250 h 947"/>
                <a:gd name="T98" fmla="*/ 628 w 1357"/>
                <a:gd name="T99" fmla="*/ 313 h 947"/>
                <a:gd name="T100" fmla="*/ 704 w 1357"/>
                <a:gd name="T101" fmla="*/ 264 h 947"/>
                <a:gd name="T102" fmla="*/ 794 w 1357"/>
                <a:gd name="T103" fmla="*/ 207 h 947"/>
                <a:gd name="T104" fmla="*/ 885 w 1357"/>
                <a:gd name="T105" fmla="*/ 149 h 947"/>
                <a:gd name="T106" fmla="*/ 935 w 1357"/>
                <a:gd name="T107" fmla="*/ 102 h 947"/>
                <a:gd name="T108" fmla="*/ 999 w 1357"/>
                <a:gd name="T109" fmla="*/ 74 h 947"/>
                <a:gd name="T110" fmla="*/ 955 w 1357"/>
                <a:gd name="T111" fmla="*/ 93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57" h="947">
                  <a:moveTo>
                    <a:pt x="1128" y="374"/>
                  </a:moveTo>
                  <a:lnTo>
                    <a:pt x="1032" y="374"/>
                  </a:lnTo>
                  <a:lnTo>
                    <a:pt x="1032" y="120"/>
                  </a:lnTo>
                  <a:lnTo>
                    <a:pt x="1048" y="109"/>
                  </a:lnTo>
                  <a:lnTo>
                    <a:pt x="1068" y="97"/>
                  </a:lnTo>
                  <a:lnTo>
                    <a:pt x="1059" y="76"/>
                  </a:lnTo>
                  <a:lnTo>
                    <a:pt x="1039" y="26"/>
                  </a:lnTo>
                  <a:lnTo>
                    <a:pt x="1029" y="0"/>
                  </a:lnTo>
                  <a:lnTo>
                    <a:pt x="1003" y="11"/>
                  </a:lnTo>
                  <a:lnTo>
                    <a:pt x="447" y="257"/>
                  </a:lnTo>
                  <a:lnTo>
                    <a:pt x="378" y="257"/>
                  </a:lnTo>
                  <a:lnTo>
                    <a:pt x="378" y="470"/>
                  </a:lnTo>
                  <a:lnTo>
                    <a:pt x="415" y="470"/>
                  </a:lnTo>
                  <a:lnTo>
                    <a:pt x="415" y="861"/>
                  </a:lnTo>
                  <a:lnTo>
                    <a:pt x="0" y="861"/>
                  </a:lnTo>
                  <a:lnTo>
                    <a:pt x="0" y="947"/>
                  </a:lnTo>
                  <a:lnTo>
                    <a:pt x="1357" y="947"/>
                  </a:lnTo>
                  <a:lnTo>
                    <a:pt x="1357" y="861"/>
                  </a:lnTo>
                  <a:lnTo>
                    <a:pt x="541" y="861"/>
                  </a:lnTo>
                  <a:lnTo>
                    <a:pt x="541" y="470"/>
                  </a:lnTo>
                  <a:lnTo>
                    <a:pt x="581" y="470"/>
                  </a:lnTo>
                  <a:lnTo>
                    <a:pt x="581" y="408"/>
                  </a:lnTo>
                  <a:lnTo>
                    <a:pt x="1006" y="136"/>
                  </a:lnTo>
                  <a:lnTo>
                    <a:pt x="1006" y="374"/>
                  </a:lnTo>
                  <a:lnTo>
                    <a:pt x="911" y="374"/>
                  </a:lnTo>
                  <a:lnTo>
                    <a:pt x="911" y="531"/>
                  </a:lnTo>
                  <a:lnTo>
                    <a:pt x="1128" y="531"/>
                  </a:lnTo>
                  <a:lnTo>
                    <a:pt x="1128" y="374"/>
                  </a:lnTo>
                  <a:lnTo>
                    <a:pt x="1128" y="374"/>
                  </a:lnTo>
                  <a:close/>
                  <a:moveTo>
                    <a:pt x="295" y="288"/>
                  </a:moveTo>
                  <a:lnTo>
                    <a:pt x="319" y="288"/>
                  </a:lnTo>
                  <a:lnTo>
                    <a:pt x="319" y="310"/>
                  </a:lnTo>
                  <a:lnTo>
                    <a:pt x="319" y="512"/>
                  </a:lnTo>
                  <a:lnTo>
                    <a:pt x="319" y="536"/>
                  </a:lnTo>
                  <a:lnTo>
                    <a:pt x="295" y="536"/>
                  </a:lnTo>
                  <a:lnTo>
                    <a:pt x="25" y="536"/>
                  </a:lnTo>
                  <a:lnTo>
                    <a:pt x="1" y="536"/>
                  </a:lnTo>
                  <a:lnTo>
                    <a:pt x="1" y="512"/>
                  </a:lnTo>
                  <a:lnTo>
                    <a:pt x="1" y="310"/>
                  </a:lnTo>
                  <a:lnTo>
                    <a:pt x="1" y="288"/>
                  </a:lnTo>
                  <a:lnTo>
                    <a:pt x="25" y="288"/>
                  </a:lnTo>
                  <a:lnTo>
                    <a:pt x="295" y="288"/>
                  </a:lnTo>
                  <a:lnTo>
                    <a:pt x="295" y="288"/>
                  </a:lnTo>
                  <a:close/>
                  <a:moveTo>
                    <a:pt x="221" y="334"/>
                  </a:moveTo>
                  <a:lnTo>
                    <a:pt x="272" y="485"/>
                  </a:lnTo>
                  <a:lnTo>
                    <a:pt x="272" y="489"/>
                  </a:lnTo>
                  <a:lnTo>
                    <a:pt x="245" y="489"/>
                  </a:lnTo>
                  <a:lnTo>
                    <a:pt x="194" y="334"/>
                  </a:lnTo>
                  <a:lnTo>
                    <a:pt x="221" y="334"/>
                  </a:lnTo>
                  <a:lnTo>
                    <a:pt x="221" y="334"/>
                  </a:lnTo>
                  <a:close/>
                  <a:moveTo>
                    <a:pt x="272" y="411"/>
                  </a:moveTo>
                  <a:lnTo>
                    <a:pt x="246" y="334"/>
                  </a:lnTo>
                  <a:lnTo>
                    <a:pt x="272" y="334"/>
                  </a:lnTo>
                  <a:lnTo>
                    <a:pt x="272" y="411"/>
                  </a:lnTo>
                  <a:lnTo>
                    <a:pt x="272" y="411"/>
                  </a:lnTo>
                  <a:close/>
                  <a:moveTo>
                    <a:pt x="65" y="334"/>
                  </a:moveTo>
                  <a:lnTo>
                    <a:pt x="117" y="489"/>
                  </a:lnTo>
                  <a:lnTo>
                    <a:pt x="90" y="489"/>
                  </a:lnTo>
                  <a:lnTo>
                    <a:pt x="48" y="365"/>
                  </a:lnTo>
                  <a:lnTo>
                    <a:pt x="48" y="334"/>
                  </a:lnTo>
                  <a:lnTo>
                    <a:pt x="65" y="334"/>
                  </a:lnTo>
                  <a:lnTo>
                    <a:pt x="65" y="334"/>
                  </a:lnTo>
                  <a:close/>
                  <a:moveTo>
                    <a:pt x="142" y="489"/>
                  </a:moveTo>
                  <a:lnTo>
                    <a:pt x="90" y="334"/>
                  </a:lnTo>
                  <a:lnTo>
                    <a:pt x="117" y="334"/>
                  </a:lnTo>
                  <a:lnTo>
                    <a:pt x="169" y="489"/>
                  </a:lnTo>
                  <a:lnTo>
                    <a:pt x="142" y="489"/>
                  </a:lnTo>
                  <a:lnTo>
                    <a:pt x="142" y="489"/>
                  </a:lnTo>
                  <a:close/>
                  <a:moveTo>
                    <a:pt x="194" y="489"/>
                  </a:moveTo>
                  <a:lnTo>
                    <a:pt x="142" y="334"/>
                  </a:lnTo>
                  <a:lnTo>
                    <a:pt x="169" y="334"/>
                  </a:lnTo>
                  <a:lnTo>
                    <a:pt x="221" y="489"/>
                  </a:lnTo>
                  <a:lnTo>
                    <a:pt x="194" y="489"/>
                  </a:lnTo>
                  <a:lnTo>
                    <a:pt x="194" y="489"/>
                  </a:lnTo>
                  <a:close/>
                  <a:moveTo>
                    <a:pt x="48" y="438"/>
                  </a:moveTo>
                  <a:lnTo>
                    <a:pt x="65" y="489"/>
                  </a:lnTo>
                  <a:lnTo>
                    <a:pt x="48" y="489"/>
                  </a:lnTo>
                  <a:lnTo>
                    <a:pt x="48" y="438"/>
                  </a:lnTo>
                  <a:lnTo>
                    <a:pt x="48" y="438"/>
                  </a:lnTo>
                  <a:close/>
                  <a:moveTo>
                    <a:pt x="295" y="574"/>
                  </a:moveTo>
                  <a:lnTo>
                    <a:pt x="319" y="574"/>
                  </a:lnTo>
                  <a:lnTo>
                    <a:pt x="319" y="597"/>
                  </a:lnTo>
                  <a:lnTo>
                    <a:pt x="319" y="799"/>
                  </a:lnTo>
                  <a:lnTo>
                    <a:pt x="319" y="822"/>
                  </a:lnTo>
                  <a:lnTo>
                    <a:pt x="295" y="822"/>
                  </a:lnTo>
                  <a:lnTo>
                    <a:pt x="25" y="822"/>
                  </a:lnTo>
                  <a:lnTo>
                    <a:pt x="1" y="822"/>
                  </a:lnTo>
                  <a:lnTo>
                    <a:pt x="1" y="799"/>
                  </a:lnTo>
                  <a:lnTo>
                    <a:pt x="1" y="597"/>
                  </a:lnTo>
                  <a:lnTo>
                    <a:pt x="1" y="574"/>
                  </a:lnTo>
                  <a:lnTo>
                    <a:pt x="25" y="574"/>
                  </a:lnTo>
                  <a:lnTo>
                    <a:pt x="295" y="574"/>
                  </a:lnTo>
                  <a:lnTo>
                    <a:pt x="295" y="574"/>
                  </a:lnTo>
                  <a:close/>
                  <a:moveTo>
                    <a:pt x="221" y="621"/>
                  </a:moveTo>
                  <a:lnTo>
                    <a:pt x="272" y="772"/>
                  </a:lnTo>
                  <a:lnTo>
                    <a:pt x="272" y="776"/>
                  </a:lnTo>
                  <a:lnTo>
                    <a:pt x="245" y="776"/>
                  </a:lnTo>
                  <a:lnTo>
                    <a:pt x="194" y="621"/>
                  </a:lnTo>
                  <a:lnTo>
                    <a:pt x="221" y="621"/>
                  </a:lnTo>
                  <a:lnTo>
                    <a:pt x="221" y="621"/>
                  </a:lnTo>
                  <a:close/>
                  <a:moveTo>
                    <a:pt x="272" y="699"/>
                  </a:moveTo>
                  <a:lnTo>
                    <a:pt x="246" y="621"/>
                  </a:lnTo>
                  <a:lnTo>
                    <a:pt x="272" y="621"/>
                  </a:lnTo>
                  <a:lnTo>
                    <a:pt x="272" y="699"/>
                  </a:lnTo>
                  <a:lnTo>
                    <a:pt x="272" y="699"/>
                  </a:lnTo>
                  <a:close/>
                  <a:moveTo>
                    <a:pt x="65" y="621"/>
                  </a:moveTo>
                  <a:lnTo>
                    <a:pt x="117" y="776"/>
                  </a:lnTo>
                  <a:lnTo>
                    <a:pt x="90" y="776"/>
                  </a:lnTo>
                  <a:lnTo>
                    <a:pt x="48" y="652"/>
                  </a:lnTo>
                  <a:lnTo>
                    <a:pt x="48" y="621"/>
                  </a:lnTo>
                  <a:lnTo>
                    <a:pt x="65" y="621"/>
                  </a:lnTo>
                  <a:lnTo>
                    <a:pt x="65" y="621"/>
                  </a:lnTo>
                  <a:close/>
                  <a:moveTo>
                    <a:pt x="142" y="776"/>
                  </a:moveTo>
                  <a:lnTo>
                    <a:pt x="90" y="621"/>
                  </a:lnTo>
                  <a:lnTo>
                    <a:pt x="117" y="621"/>
                  </a:lnTo>
                  <a:lnTo>
                    <a:pt x="169" y="776"/>
                  </a:lnTo>
                  <a:lnTo>
                    <a:pt x="142" y="776"/>
                  </a:lnTo>
                  <a:lnTo>
                    <a:pt x="142" y="776"/>
                  </a:lnTo>
                  <a:close/>
                  <a:moveTo>
                    <a:pt x="194" y="776"/>
                  </a:moveTo>
                  <a:lnTo>
                    <a:pt x="142" y="621"/>
                  </a:lnTo>
                  <a:lnTo>
                    <a:pt x="169" y="621"/>
                  </a:lnTo>
                  <a:lnTo>
                    <a:pt x="221" y="776"/>
                  </a:lnTo>
                  <a:lnTo>
                    <a:pt x="194" y="776"/>
                  </a:lnTo>
                  <a:lnTo>
                    <a:pt x="194" y="776"/>
                  </a:lnTo>
                  <a:close/>
                  <a:moveTo>
                    <a:pt x="48" y="726"/>
                  </a:moveTo>
                  <a:lnTo>
                    <a:pt x="65" y="776"/>
                  </a:lnTo>
                  <a:lnTo>
                    <a:pt x="48" y="776"/>
                  </a:lnTo>
                  <a:lnTo>
                    <a:pt x="48" y="726"/>
                  </a:lnTo>
                  <a:lnTo>
                    <a:pt x="48" y="726"/>
                  </a:lnTo>
                  <a:close/>
                  <a:moveTo>
                    <a:pt x="948" y="574"/>
                  </a:moveTo>
                  <a:lnTo>
                    <a:pt x="971" y="574"/>
                  </a:lnTo>
                  <a:lnTo>
                    <a:pt x="971" y="597"/>
                  </a:lnTo>
                  <a:lnTo>
                    <a:pt x="971" y="799"/>
                  </a:lnTo>
                  <a:lnTo>
                    <a:pt x="971" y="822"/>
                  </a:lnTo>
                  <a:lnTo>
                    <a:pt x="948" y="822"/>
                  </a:lnTo>
                  <a:lnTo>
                    <a:pt x="678" y="822"/>
                  </a:lnTo>
                  <a:lnTo>
                    <a:pt x="654" y="822"/>
                  </a:lnTo>
                  <a:lnTo>
                    <a:pt x="654" y="799"/>
                  </a:lnTo>
                  <a:lnTo>
                    <a:pt x="654" y="597"/>
                  </a:lnTo>
                  <a:lnTo>
                    <a:pt x="654" y="574"/>
                  </a:lnTo>
                  <a:lnTo>
                    <a:pt x="678" y="574"/>
                  </a:lnTo>
                  <a:lnTo>
                    <a:pt x="948" y="574"/>
                  </a:lnTo>
                  <a:lnTo>
                    <a:pt x="948" y="574"/>
                  </a:lnTo>
                  <a:close/>
                  <a:moveTo>
                    <a:pt x="874" y="621"/>
                  </a:moveTo>
                  <a:lnTo>
                    <a:pt x="925" y="772"/>
                  </a:lnTo>
                  <a:lnTo>
                    <a:pt x="925" y="776"/>
                  </a:lnTo>
                  <a:lnTo>
                    <a:pt x="898" y="776"/>
                  </a:lnTo>
                  <a:lnTo>
                    <a:pt x="847" y="621"/>
                  </a:lnTo>
                  <a:lnTo>
                    <a:pt x="874" y="621"/>
                  </a:lnTo>
                  <a:lnTo>
                    <a:pt x="874" y="621"/>
                  </a:lnTo>
                  <a:close/>
                  <a:moveTo>
                    <a:pt x="925" y="699"/>
                  </a:moveTo>
                  <a:lnTo>
                    <a:pt x="899" y="621"/>
                  </a:lnTo>
                  <a:lnTo>
                    <a:pt x="925" y="621"/>
                  </a:lnTo>
                  <a:lnTo>
                    <a:pt x="925" y="699"/>
                  </a:lnTo>
                  <a:lnTo>
                    <a:pt x="925" y="699"/>
                  </a:lnTo>
                  <a:close/>
                  <a:moveTo>
                    <a:pt x="718" y="621"/>
                  </a:moveTo>
                  <a:lnTo>
                    <a:pt x="770" y="776"/>
                  </a:lnTo>
                  <a:lnTo>
                    <a:pt x="743" y="776"/>
                  </a:lnTo>
                  <a:lnTo>
                    <a:pt x="702" y="652"/>
                  </a:lnTo>
                  <a:lnTo>
                    <a:pt x="702" y="621"/>
                  </a:lnTo>
                  <a:lnTo>
                    <a:pt x="718" y="621"/>
                  </a:lnTo>
                  <a:lnTo>
                    <a:pt x="718" y="621"/>
                  </a:lnTo>
                  <a:close/>
                  <a:moveTo>
                    <a:pt x="795" y="776"/>
                  </a:moveTo>
                  <a:lnTo>
                    <a:pt x="743" y="621"/>
                  </a:lnTo>
                  <a:lnTo>
                    <a:pt x="770" y="621"/>
                  </a:lnTo>
                  <a:lnTo>
                    <a:pt x="822" y="776"/>
                  </a:lnTo>
                  <a:lnTo>
                    <a:pt x="795" y="776"/>
                  </a:lnTo>
                  <a:lnTo>
                    <a:pt x="795" y="776"/>
                  </a:lnTo>
                  <a:close/>
                  <a:moveTo>
                    <a:pt x="847" y="776"/>
                  </a:moveTo>
                  <a:lnTo>
                    <a:pt x="795" y="621"/>
                  </a:lnTo>
                  <a:lnTo>
                    <a:pt x="822" y="621"/>
                  </a:lnTo>
                  <a:lnTo>
                    <a:pt x="874" y="776"/>
                  </a:lnTo>
                  <a:lnTo>
                    <a:pt x="847" y="776"/>
                  </a:lnTo>
                  <a:lnTo>
                    <a:pt x="847" y="776"/>
                  </a:lnTo>
                  <a:close/>
                  <a:moveTo>
                    <a:pt x="702" y="726"/>
                  </a:moveTo>
                  <a:lnTo>
                    <a:pt x="718" y="776"/>
                  </a:lnTo>
                  <a:lnTo>
                    <a:pt x="702" y="776"/>
                  </a:lnTo>
                  <a:lnTo>
                    <a:pt x="702" y="726"/>
                  </a:lnTo>
                  <a:lnTo>
                    <a:pt x="702" y="726"/>
                  </a:lnTo>
                  <a:close/>
                  <a:moveTo>
                    <a:pt x="1334" y="574"/>
                  </a:moveTo>
                  <a:lnTo>
                    <a:pt x="1356" y="574"/>
                  </a:lnTo>
                  <a:lnTo>
                    <a:pt x="1356" y="597"/>
                  </a:lnTo>
                  <a:lnTo>
                    <a:pt x="1356" y="799"/>
                  </a:lnTo>
                  <a:lnTo>
                    <a:pt x="1356" y="822"/>
                  </a:lnTo>
                  <a:lnTo>
                    <a:pt x="1334" y="822"/>
                  </a:lnTo>
                  <a:lnTo>
                    <a:pt x="1063" y="822"/>
                  </a:lnTo>
                  <a:lnTo>
                    <a:pt x="1040" y="822"/>
                  </a:lnTo>
                  <a:lnTo>
                    <a:pt x="1040" y="799"/>
                  </a:lnTo>
                  <a:lnTo>
                    <a:pt x="1040" y="597"/>
                  </a:lnTo>
                  <a:lnTo>
                    <a:pt x="1040" y="574"/>
                  </a:lnTo>
                  <a:lnTo>
                    <a:pt x="1063" y="574"/>
                  </a:lnTo>
                  <a:lnTo>
                    <a:pt x="1334" y="574"/>
                  </a:lnTo>
                  <a:lnTo>
                    <a:pt x="1334" y="574"/>
                  </a:lnTo>
                  <a:close/>
                  <a:moveTo>
                    <a:pt x="1259" y="621"/>
                  </a:moveTo>
                  <a:lnTo>
                    <a:pt x="1310" y="772"/>
                  </a:lnTo>
                  <a:lnTo>
                    <a:pt x="1310" y="776"/>
                  </a:lnTo>
                  <a:lnTo>
                    <a:pt x="1284" y="776"/>
                  </a:lnTo>
                  <a:lnTo>
                    <a:pt x="1232" y="621"/>
                  </a:lnTo>
                  <a:lnTo>
                    <a:pt x="1259" y="621"/>
                  </a:lnTo>
                  <a:lnTo>
                    <a:pt x="1259" y="621"/>
                  </a:lnTo>
                  <a:close/>
                  <a:moveTo>
                    <a:pt x="1310" y="699"/>
                  </a:moveTo>
                  <a:lnTo>
                    <a:pt x="1284" y="621"/>
                  </a:lnTo>
                  <a:lnTo>
                    <a:pt x="1310" y="621"/>
                  </a:lnTo>
                  <a:lnTo>
                    <a:pt x="1310" y="699"/>
                  </a:lnTo>
                  <a:lnTo>
                    <a:pt x="1310" y="699"/>
                  </a:lnTo>
                  <a:close/>
                  <a:moveTo>
                    <a:pt x="1104" y="621"/>
                  </a:moveTo>
                  <a:lnTo>
                    <a:pt x="1155" y="776"/>
                  </a:lnTo>
                  <a:lnTo>
                    <a:pt x="1128" y="776"/>
                  </a:lnTo>
                  <a:lnTo>
                    <a:pt x="1086" y="652"/>
                  </a:lnTo>
                  <a:lnTo>
                    <a:pt x="1086" y="621"/>
                  </a:lnTo>
                  <a:lnTo>
                    <a:pt x="1104" y="621"/>
                  </a:lnTo>
                  <a:lnTo>
                    <a:pt x="1104" y="621"/>
                  </a:lnTo>
                  <a:close/>
                  <a:moveTo>
                    <a:pt x="1180" y="776"/>
                  </a:moveTo>
                  <a:lnTo>
                    <a:pt x="1128" y="621"/>
                  </a:lnTo>
                  <a:lnTo>
                    <a:pt x="1155" y="621"/>
                  </a:lnTo>
                  <a:lnTo>
                    <a:pt x="1207" y="776"/>
                  </a:lnTo>
                  <a:lnTo>
                    <a:pt x="1180" y="776"/>
                  </a:lnTo>
                  <a:lnTo>
                    <a:pt x="1180" y="776"/>
                  </a:lnTo>
                  <a:close/>
                  <a:moveTo>
                    <a:pt x="1232" y="776"/>
                  </a:moveTo>
                  <a:lnTo>
                    <a:pt x="1180" y="621"/>
                  </a:lnTo>
                  <a:lnTo>
                    <a:pt x="1207" y="621"/>
                  </a:lnTo>
                  <a:lnTo>
                    <a:pt x="1259" y="776"/>
                  </a:lnTo>
                  <a:lnTo>
                    <a:pt x="1232" y="776"/>
                  </a:lnTo>
                  <a:lnTo>
                    <a:pt x="1232" y="776"/>
                  </a:lnTo>
                  <a:close/>
                  <a:moveTo>
                    <a:pt x="1086" y="726"/>
                  </a:moveTo>
                  <a:lnTo>
                    <a:pt x="1103" y="776"/>
                  </a:lnTo>
                  <a:lnTo>
                    <a:pt x="1086" y="776"/>
                  </a:lnTo>
                  <a:lnTo>
                    <a:pt x="1086" y="726"/>
                  </a:lnTo>
                  <a:lnTo>
                    <a:pt x="1086" y="726"/>
                  </a:lnTo>
                  <a:close/>
                  <a:moveTo>
                    <a:pt x="782" y="170"/>
                  </a:moveTo>
                  <a:lnTo>
                    <a:pt x="841" y="143"/>
                  </a:lnTo>
                  <a:lnTo>
                    <a:pt x="831" y="184"/>
                  </a:lnTo>
                  <a:lnTo>
                    <a:pt x="820" y="190"/>
                  </a:lnTo>
                  <a:lnTo>
                    <a:pt x="782" y="170"/>
                  </a:lnTo>
                  <a:lnTo>
                    <a:pt x="782" y="170"/>
                  </a:lnTo>
                  <a:close/>
                  <a:moveTo>
                    <a:pt x="678" y="216"/>
                  </a:moveTo>
                  <a:lnTo>
                    <a:pt x="728" y="193"/>
                  </a:lnTo>
                  <a:lnTo>
                    <a:pt x="726" y="245"/>
                  </a:lnTo>
                  <a:lnTo>
                    <a:pt x="678" y="216"/>
                  </a:lnTo>
                  <a:lnTo>
                    <a:pt x="678" y="216"/>
                  </a:lnTo>
                  <a:close/>
                  <a:moveTo>
                    <a:pt x="602" y="250"/>
                  </a:moveTo>
                  <a:lnTo>
                    <a:pt x="634" y="236"/>
                  </a:lnTo>
                  <a:lnTo>
                    <a:pt x="632" y="278"/>
                  </a:lnTo>
                  <a:lnTo>
                    <a:pt x="602" y="250"/>
                  </a:lnTo>
                  <a:lnTo>
                    <a:pt x="602" y="250"/>
                  </a:lnTo>
                  <a:close/>
                  <a:moveTo>
                    <a:pt x="628" y="313"/>
                  </a:moveTo>
                  <a:lnTo>
                    <a:pt x="581" y="343"/>
                  </a:lnTo>
                  <a:lnTo>
                    <a:pt x="581" y="268"/>
                  </a:lnTo>
                  <a:lnTo>
                    <a:pt x="628" y="313"/>
                  </a:lnTo>
                  <a:lnTo>
                    <a:pt x="628" y="313"/>
                  </a:lnTo>
                  <a:close/>
                  <a:moveTo>
                    <a:pt x="704" y="264"/>
                  </a:moveTo>
                  <a:lnTo>
                    <a:pt x="659" y="293"/>
                  </a:lnTo>
                  <a:lnTo>
                    <a:pt x="661" y="239"/>
                  </a:lnTo>
                  <a:lnTo>
                    <a:pt x="704" y="264"/>
                  </a:lnTo>
                  <a:lnTo>
                    <a:pt x="704" y="264"/>
                  </a:lnTo>
                  <a:close/>
                  <a:moveTo>
                    <a:pt x="794" y="207"/>
                  </a:moveTo>
                  <a:lnTo>
                    <a:pt x="754" y="232"/>
                  </a:lnTo>
                  <a:lnTo>
                    <a:pt x="755" y="187"/>
                  </a:lnTo>
                  <a:lnTo>
                    <a:pt x="794" y="207"/>
                  </a:lnTo>
                  <a:lnTo>
                    <a:pt x="794" y="207"/>
                  </a:lnTo>
                  <a:close/>
                  <a:moveTo>
                    <a:pt x="885" y="149"/>
                  </a:moveTo>
                  <a:lnTo>
                    <a:pt x="865" y="161"/>
                  </a:lnTo>
                  <a:lnTo>
                    <a:pt x="872" y="139"/>
                  </a:lnTo>
                  <a:lnTo>
                    <a:pt x="885" y="149"/>
                  </a:lnTo>
                  <a:lnTo>
                    <a:pt x="885" y="149"/>
                  </a:lnTo>
                  <a:close/>
                  <a:moveTo>
                    <a:pt x="938" y="115"/>
                  </a:moveTo>
                  <a:lnTo>
                    <a:pt x="910" y="133"/>
                  </a:lnTo>
                  <a:lnTo>
                    <a:pt x="910" y="133"/>
                  </a:lnTo>
                  <a:lnTo>
                    <a:pt x="892" y="121"/>
                  </a:lnTo>
                  <a:lnTo>
                    <a:pt x="935" y="102"/>
                  </a:lnTo>
                  <a:lnTo>
                    <a:pt x="935" y="102"/>
                  </a:lnTo>
                  <a:lnTo>
                    <a:pt x="938" y="115"/>
                  </a:lnTo>
                  <a:lnTo>
                    <a:pt x="938" y="115"/>
                  </a:lnTo>
                  <a:close/>
                  <a:moveTo>
                    <a:pt x="955" y="93"/>
                  </a:moveTo>
                  <a:lnTo>
                    <a:pt x="999" y="74"/>
                  </a:lnTo>
                  <a:lnTo>
                    <a:pt x="1000" y="75"/>
                  </a:lnTo>
                  <a:lnTo>
                    <a:pt x="953" y="104"/>
                  </a:lnTo>
                  <a:lnTo>
                    <a:pt x="953" y="104"/>
                  </a:lnTo>
                  <a:lnTo>
                    <a:pt x="955" y="93"/>
                  </a:lnTo>
                  <a:lnTo>
                    <a:pt x="955" y="93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accent1"/>
              </a:solidFill>
            </a:ln>
          </p:spPr>
          <p:txBody>
            <a:bodyPr vert="horz" wrap="square" lIns="64657" tIns="32328" rIns="64657" bIns="3232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640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asellaDiTesto 558">
              <a:extLst>
                <a:ext uri="{FF2B5EF4-FFF2-40B4-BE49-F238E27FC236}">
                  <a16:creationId xmlns:a16="http://schemas.microsoft.com/office/drawing/2014/main" id="{0DBEE247-3D4C-43F8-A481-B1449C1330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02577" y="3217729"/>
              <a:ext cx="698985" cy="1767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364" tIns="34183" rIns="68364" bIns="34183">
              <a:spAutoFit/>
            </a:bodyPr>
            <a:lstStyle/>
            <a:p>
              <a:pPr marL="0" marR="0" lvl="0" indent="0" algn="r" defTabSz="685783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vara</a:t>
              </a:r>
            </a:p>
          </p:txBody>
        </p:sp>
        <p:sp>
          <p:nvSpPr>
            <p:cNvPr id="86" name="Freeform 293">
              <a:extLst>
                <a:ext uri="{FF2B5EF4-FFF2-40B4-BE49-F238E27FC236}">
                  <a16:creationId xmlns:a16="http://schemas.microsoft.com/office/drawing/2014/main" id="{F0049521-F0E7-45EF-A427-9D7CB19889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8960" y="3236527"/>
              <a:ext cx="180035" cy="131140"/>
            </a:xfrm>
            <a:custGeom>
              <a:avLst/>
              <a:gdLst>
                <a:gd name="T0" fmla="*/ 1068 w 1357"/>
                <a:gd name="T1" fmla="*/ 97 h 947"/>
                <a:gd name="T2" fmla="*/ 447 w 1357"/>
                <a:gd name="T3" fmla="*/ 257 h 947"/>
                <a:gd name="T4" fmla="*/ 0 w 1357"/>
                <a:gd name="T5" fmla="*/ 861 h 947"/>
                <a:gd name="T6" fmla="*/ 541 w 1357"/>
                <a:gd name="T7" fmla="*/ 470 h 947"/>
                <a:gd name="T8" fmla="*/ 911 w 1357"/>
                <a:gd name="T9" fmla="*/ 374 h 947"/>
                <a:gd name="T10" fmla="*/ 295 w 1357"/>
                <a:gd name="T11" fmla="*/ 288 h 947"/>
                <a:gd name="T12" fmla="*/ 295 w 1357"/>
                <a:gd name="T13" fmla="*/ 536 h 947"/>
                <a:gd name="T14" fmla="*/ 1 w 1357"/>
                <a:gd name="T15" fmla="*/ 288 h 947"/>
                <a:gd name="T16" fmla="*/ 272 w 1357"/>
                <a:gd name="T17" fmla="*/ 485 h 947"/>
                <a:gd name="T18" fmla="*/ 221 w 1357"/>
                <a:gd name="T19" fmla="*/ 334 h 947"/>
                <a:gd name="T20" fmla="*/ 272 w 1357"/>
                <a:gd name="T21" fmla="*/ 411 h 947"/>
                <a:gd name="T22" fmla="*/ 48 w 1357"/>
                <a:gd name="T23" fmla="*/ 334 h 947"/>
                <a:gd name="T24" fmla="*/ 117 w 1357"/>
                <a:gd name="T25" fmla="*/ 334 h 947"/>
                <a:gd name="T26" fmla="*/ 142 w 1357"/>
                <a:gd name="T27" fmla="*/ 334 h 947"/>
                <a:gd name="T28" fmla="*/ 48 w 1357"/>
                <a:gd name="T29" fmla="*/ 438 h 947"/>
                <a:gd name="T30" fmla="*/ 295 w 1357"/>
                <a:gd name="T31" fmla="*/ 574 h 947"/>
                <a:gd name="T32" fmla="*/ 295 w 1357"/>
                <a:gd name="T33" fmla="*/ 822 h 947"/>
                <a:gd name="T34" fmla="*/ 1 w 1357"/>
                <a:gd name="T35" fmla="*/ 574 h 947"/>
                <a:gd name="T36" fmla="*/ 272 w 1357"/>
                <a:gd name="T37" fmla="*/ 772 h 947"/>
                <a:gd name="T38" fmla="*/ 221 w 1357"/>
                <a:gd name="T39" fmla="*/ 621 h 947"/>
                <a:gd name="T40" fmla="*/ 272 w 1357"/>
                <a:gd name="T41" fmla="*/ 699 h 947"/>
                <a:gd name="T42" fmla="*/ 48 w 1357"/>
                <a:gd name="T43" fmla="*/ 621 h 947"/>
                <a:gd name="T44" fmla="*/ 117 w 1357"/>
                <a:gd name="T45" fmla="*/ 621 h 947"/>
                <a:gd name="T46" fmla="*/ 142 w 1357"/>
                <a:gd name="T47" fmla="*/ 621 h 947"/>
                <a:gd name="T48" fmla="*/ 48 w 1357"/>
                <a:gd name="T49" fmla="*/ 726 h 947"/>
                <a:gd name="T50" fmla="*/ 948 w 1357"/>
                <a:gd name="T51" fmla="*/ 574 h 947"/>
                <a:gd name="T52" fmla="*/ 948 w 1357"/>
                <a:gd name="T53" fmla="*/ 822 h 947"/>
                <a:gd name="T54" fmla="*/ 654 w 1357"/>
                <a:gd name="T55" fmla="*/ 574 h 947"/>
                <a:gd name="T56" fmla="*/ 925 w 1357"/>
                <a:gd name="T57" fmla="*/ 772 h 947"/>
                <a:gd name="T58" fmla="*/ 874 w 1357"/>
                <a:gd name="T59" fmla="*/ 621 h 947"/>
                <a:gd name="T60" fmla="*/ 925 w 1357"/>
                <a:gd name="T61" fmla="*/ 699 h 947"/>
                <a:gd name="T62" fmla="*/ 702 w 1357"/>
                <a:gd name="T63" fmla="*/ 621 h 947"/>
                <a:gd name="T64" fmla="*/ 770 w 1357"/>
                <a:gd name="T65" fmla="*/ 621 h 947"/>
                <a:gd name="T66" fmla="*/ 795 w 1357"/>
                <a:gd name="T67" fmla="*/ 621 h 947"/>
                <a:gd name="T68" fmla="*/ 702 w 1357"/>
                <a:gd name="T69" fmla="*/ 726 h 947"/>
                <a:gd name="T70" fmla="*/ 1334 w 1357"/>
                <a:gd name="T71" fmla="*/ 574 h 947"/>
                <a:gd name="T72" fmla="*/ 1334 w 1357"/>
                <a:gd name="T73" fmla="*/ 822 h 947"/>
                <a:gd name="T74" fmla="*/ 1040 w 1357"/>
                <a:gd name="T75" fmla="*/ 574 h 947"/>
                <a:gd name="T76" fmla="*/ 1310 w 1357"/>
                <a:gd name="T77" fmla="*/ 772 h 947"/>
                <a:gd name="T78" fmla="*/ 1259 w 1357"/>
                <a:gd name="T79" fmla="*/ 621 h 947"/>
                <a:gd name="T80" fmla="*/ 1310 w 1357"/>
                <a:gd name="T81" fmla="*/ 699 h 947"/>
                <a:gd name="T82" fmla="*/ 1086 w 1357"/>
                <a:gd name="T83" fmla="*/ 621 h 947"/>
                <a:gd name="T84" fmla="*/ 1155 w 1357"/>
                <a:gd name="T85" fmla="*/ 621 h 947"/>
                <a:gd name="T86" fmla="*/ 1180 w 1357"/>
                <a:gd name="T87" fmla="*/ 621 h 947"/>
                <a:gd name="T88" fmla="*/ 1086 w 1357"/>
                <a:gd name="T89" fmla="*/ 726 h 947"/>
                <a:gd name="T90" fmla="*/ 782 w 1357"/>
                <a:gd name="T91" fmla="*/ 170 h 947"/>
                <a:gd name="T92" fmla="*/ 782 w 1357"/>
                <a:gd name="T93" fmla="*/ 170 h 947"/>
                <a:gd name="T94" fmla="*/ 678 w 1357"/>
                <a:gd name="T95" fmla="*/ 216 h 947"/>
                <a:gd name="T96" fmla="*/ 602 w 1357"/>
                <a:gd name="T97" fmla="*/ 250 h 947"/>
                <a:gd name="T98" fmla="*/ 628 w 1357"/>
                <a:gd name="T99" fmla="*/ 313 h 947"/>
                <a:gd name="T100" fmla="*/ 704 w 1357"/>
                <a:gd name="T101" fmla="*/ 264 h 947"/>
                <a:gd name="T102" fmla="*/ 794 w 1357"/>
                <a:gd name="T103" fmla="*/ 207 h 947"/>
                <a:gd name="T104" fmla="*/ 885 w 1357"/>
                <a:gd name="T105" fmla="*/ 149 h 947"/>
                <a:gd name="T106" fmla="*/ 935 w 1357"/>
                <a:gd name="T107" fmla="*/ 102 h 947"/>
                <a:gd name="T108" fmla="*/ 999 w 1357"/>
                <a:gd name="T109" fmla="*/ 74 h 947"/>
                <a:gd name="T110" fmla="*/ 955 w 1357"/>
                <a:gd name="T111" fmla="*/ 93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57" h="947">
                  <a:moveTo>
                    <a:pt x="1128" y="374"/>
                  </a:moveTo>
                  <a:lnTo>
                    <a:pt x="1032" y="374"/>
                  </a:lnTo>
                  <a:lnTo>
                    <a:pt x="1032" y="120"/>
                  </a:lnTo>
                  <a:lnTo>
                    <a:pt x="1048" y="109"/>
                  </a:lnTo>
                  <a:lnTo>
                    <a:pt x="1068" y="97"/>
                  </a:lnTo>
                  <a:lnTo>
                    <a:pt x="1059" y="76"/>
                  </a:lnTo>
                  <a:lnTo>
                    <a:pt x="1039" y="26"/>
                  </a:lnTo>
                  <a:lnTo>
                    <a:pt x="1029" y="0"/>
                  </a:lnTo>
                  <a:lnTo>
                    <a:pt x="1003" y="11"/>
                  </a:lnTo>
                  <a:lnTo>
                    <a:pt x="447" y="257"/>
                  </a:lnTo>
                  <a:lnTo>
                    <a:pt x="378" y="257"/>
                  </a:lnTo>
                  <a:lnTo>
                    <a:pt x="378" y="470"/>
                  </a:lnTo>
                  <a:lnTo>
                    <a:pt x="415" y="470"/>
                  </a:lnTo>
                  <a:lnTo>
                    <a:pt x="415" y="861"/>
                  </a:lnTo>
                  <a:lnTo>
                    <a:pt x="0" y="861"/>
                  </a:lnTo>
                  <a:lnTo>
                    <a:pt x="0" y="947"/>
                  </a:lnTo>
                  <a:lnTo>
                    <a:pt x="1357" y="947"/>
                  </a:lnTo>
                  <a:lnTo>
                    <a:pt x="1357" y="861"/>
                  </a:lnTo>
                  <a:lnTo>
                    <a:pt x="541" y="861"/>
                  </a:lnTo>
                  <a:lnTo>
                    <a:pt x="541" y="470"/>
                  </a:lnTo>
                  <a:lnTo>
                    <a:pt x="581" y="470"/>
                  </a:lnTo>
                  <a:lnTo>
                    <a:pt x="581" y="408"/>
                  </a:lnTo>
                  <a:lnTo>
                    <a:pt x="1006" y="136"/>
                  </a:lnTo>
                  <a:lnTo>
                    <a:pt x="1006" y="374"/>
                  </a:lnTo>
                  <a:lnTo>
                    <a:pt x="911" y="374"/>
                  </a:lnTo>
                  <a:lnTo>
                    <a:pt x="911" y="531"/>
                  </a:lnTo>
                  <a:lnTo>
                    <a:pt x="1128" y="531"/>
                  </a:lnTo>
                  <a:lnTo>
                    <a:pt x="1128" y="374"/>
                  </a:lnTo>
                  <a:lnTo>
                    <a:pt x="1128" y="374"/>
                  </a:lnTo>
                  <a:close/>
                  <a:moveTo>
                    <a:pt x="295" y="288"/>
                  </a:moveTo>
                  <a:lnTo>
                    <a:pt x="319" y="288"/>
                  </a:lnTo>
                  <a:lnTo>
                    <a:pt x="319" y="310"/>
                  </a:lnTo>
                  <a:lnTo>
                    <a:pt x="319" y="512"/>
                  </a:lnTo>
                  <a:lnTo>
                    <a:pt x="319" y="536"/>
                  </a:lnTo>
                  <a:lnTo>
                    <a:pt x="295" y="536"/>
                  </a:lnTo>
                  <a:lnTo>
                    <a:pt x="25" y="536"/>
                  </a:lnTo>
                  <a:lnTo>
                    <a:pt x="1" y="536"/>
                  </a:lnTo>
                  <a:lnTo>
                    <a:pt x="1" y="512"/>
                  </a:lnTo>
                  <a:lnTo>
                    <a:pt x="1" y="310"/>
                  </a:lnTo>
                  <a:lnTo>
                    <a:pt x="1" y="288"/>
                  </a:lnTo>
                  <a:lnTo>
                    <a:pt x="25" y="288"/>
                  </a:lnTo>
                  <a:lnTo>
                    <a:pt x="295" y="288"/>
                  </a:lnTo>
                  <a:lnTo>
                    <a:pt x="295" y="288"/>
                  </a:lnTo>
                  <a:close/>
                  <a:moveTo>
                    <a:pt x="221" y="334"/>
                  </a:moveTo>
                  <a:lnTo>
                    <a:pt x="272" y="485"/>
                  </a:lnTo>
                  <a:lnTo>
                    <a:pt x="272" y="489"/>
                  </a:lnTo>
                  <a:lnTo>
                    <a:pt x="245" y="489"/>
                  </a:lnTo>
                  <a:lnTo>
                    <a:pt x="194" y="334"/>
                  </a:lnTo>
                  <a:lnTo>
                    <a:pt x="221" y="334"/>
                  </a:lnTo>
                  <a:lnTo>
                    <a:pt x="221" y="334"/>
                  </a:lnTo>
                  <a:close/>
                  <a:moveTo>
                    <a:pt x="272" y="411"/>
                  </a:moveTo>
                  <a:lnTo>
                    <a:pt x="246" y="334"/>
                  </a:lnTo>
                  <a:lnTo>
                    <a:pt x="272" y="334"/>
                  </a:lnTo>
                  <a:lnTo>
                    <a:pt x="272" y="411"/>
                  </a:lnTo>
                  <a:lnTo>
                    <a:pt x="272" y="411"/>
                  </a:lnTo>
                  <a:close/>
                  <a:moveTo>
                    <a:pt x="65" y="334"/>
                  </a:moveTo>
                  <a:lnTo>
                    <a:pt x="117" y="489"/>
                  </a:lnTo>
                  <a:lnTo>
                    <a:pt x="90" y="489"/>
                  </a:lnTo>
                  <a:lnTo>
                    <a:pt x="48" y="365"/>
                  </a:lnTo>
                  <a:lnTo>
                    <a:pt x="48" y="334"/>
                  </a:lnTo>
                  <a:lnTo>
                    <a:pt x="65" y="334"/>
                  </a:lnTo>
                  <a:lnTo>
                    <a:pt x="65" y="334"/>
                  </a:lnTo>
                  <a:close/>
                  <a:moveTo>
                    <a:pt x="142" y="489"/>
                  </a:moveTo>
                  <a:lnTo>
                    <a:pt x="90" y="334"/>
                  </a:lnTo>
                  <a:lnTo>
                    <a:pt x="117" y="334"/>
                  </a:lnTo>
                  <a:lnTo>
                    <a:pt x="169" y="489"/>
                  </a:lnTo>
                  <a:lnTo>
                    <a:pt x="142" y="489"/>
                  </a:lnTo>
                  <a:lnTo>
                    <a:pt x="142" y="489"/>
                  </a:lnTo>
                  <a:close/>
                  <a:moveTo>
                    <a:pt x="194" y="489"/>
                  </a:moveTo>
                  <a:lnTo>
                    <a:pt x="142" y="334"/>
                  </a:lnTo>
                  <a:lnTo>
                    <a:pt x="169" y="334"/>
                  </a:lnTo>
                  <a:lnTo>
                    <a:pt x="221" y="489"/>
                  </a:lnTo>
                  <a:lnTo>
                    <a:pt x="194" y="489"/>
                  </a:lnTo>
                  <a:lnTo>
                    <a:pt x="194" y="489"/>
                  </a:lnTo>
                  <a:close/>
                  <a:moveTo>
                    <a:pt x="48" y="438"/>
                  </a:moveTo>
                  <a:lnTo>
                    <a:pt x="65" y="489"/>
                  </a:lnTo>
                  <a:lnTo>
                    <a:pt x="48" y="489"/>
                  </a:lnTo>
                  <a:lnTo>
                    <a:pt x="48" y="438"/>
                  </a:lnTo>
                  <a:lnTo>
                    <a:pt x="48" y="438"/>
                  </a:lnTo>
                  <a:close/>
                  <a:moveTo>
                    <a:pt x="295" y="574"/>
                  </a:moveTo>
                  <a:lnTo>
                    <a:pt x="319" y="574"/>
                  </a:lnTo>
                  <a:lnTo>
                    <a:pt x="319" y="597"/>
                  </a:lnTo>
                  <a:lnTo>
                    <a:pt x="319" y="799"/>
                  </a:lnTo>
                  <a:lnTo>
                    <a:pt x="319" y="822"/>
                  </a:lnTo>
                  <a:lnTo>
                    <a:pt x="295" y="822"/>
                  </a:lnTo>
                  <a:lnTo>
                    <a:pt x="25" y="822"/>
                  </a:lnTo>
                  <a:lnTo>
                    <a:pt x="1" y="822"/>
                  </a:lnTo>
                  <a:lnTo>
                    <a:pt x="1" y="799"/>
                  </a:lnTo>
                  <a:lnTo>
                    <a:pt x="1" y="597"/>
                  </a:lnTo>
                  <a:lnTo>
                    <a:pt x="1" y="574"/>
                  </a:lnTo>
                  <a:lnTo>
                    <a:pt x="25" y="574"/>
                  </a:lnTo>
                  <a:lnTo>
                    <a:pt x="295" y="574"/>
                  </a:lnTo>
                  <a:lnTo>
                    <a:pt x="295" y="574"/>
                  </a:lnTo>
                  <a:close/>
                  <a:moveTo>
                    <a:pt x="221" y="621"/>
                  </a:moveTo>
                  <a:lnTo>
                    <a:pt x="272" y="772"/>
                  </a:lnTo>
                  <a:lnTo>
                    <a:pt x="272" y="776"/>
                  </a:lnTo>
                  <a:lnTo>
                    <a:pt x="245" y="776"/>
                  </a:lnTo>
                  <a:lnTo>
                    <a:pt x="194" y="621"/>
                  </a:lnTo>
                  <a:lnTo>
                    <a:pt x="221" y="621"/>
                  </a:lnTo>
                  <a:lnTo>
                    <a:pt x="221" y="621"/>
                  </a:lnTo>
                  <a:close/>
                  <a:moveTo>
                    <a:pt x="272" y="699"/>
                  </a:moveTo>
                  <a:lnTo>
                    <a:pt x="246" y="621"/>
                  </a:lnTo>
                  <a:lnTo>
                    <a:pt x="272" y="621"/>
                  </a:lnTo>
                  <a:lnTo>
                    <a:pt x="272" y="699"/>
                  </a:lnTo>
                  <a:lnTo>
                    <a:pt x="272" y="699"/>
                  </a:lnTo>
                  <a:close/>
                  <a:moveTo>
                    <a:pt x="65" y="621"/>
                  </a:moveTo>
                  <a:lnTo>
                    <a:pt x="117" y="776"/>
                  </a:lnTo>
                  <a:lnTo>
                    <a:pt x="90" y="776"/>
                  </a:lnTo>
                  <a:lnTo>
                    <a:pt x="48" y="652"/>
                  </a:lnTo>
                  <a:lnTo>
                    <a:pt x="48" y="621"/>
                  </a:lnTo>
                  <a:lnTo>
                    <a:pt x="65" y="621"/>
                  </a:lnTo>
                  <a:lnTo>
                    <a:pt x="65" y="621"/>
                  </a:lnTo>
                  <a:close/>
                  <a:moveTo>
                    <a:pt x="142" y="776"/>
                  </a:moveTo>
                  <a:lnTo>
                    <a:pt x="90" y="621"/>
                  </a:lnTo>
                  <a:lnTo>
                    <a:pt x="117" y="621"/>
                  </a:lnTo>
                  <a:lnTo>
                    <a:pt x="169" y="776"/>
                  </a:lnTo>
                  <a:lnTo>
                    <a:pt x="142" y="776"/>
                  </a:lnTo>
                  <a:lnTo>
                    <a:pt x="142" y="776"/>
                  </a:lnTo>
                  <a:close/>
                  <a:moveTo>
                    <a:pt x="194" y="776"/>
                  </a:moveTo>
                  <a:lnTo>
                    <a:pt x="142" y="621"/>
                  </a:lnTo>
                  <a:lnTo>
                    <a:pt x="169" y="621"/>
                  </a:lnTo>
                  <a:lnTo>
                    <a:pt x="221" y="776"/>
                  </a:lnTo>
                  <a:lnTo>
                    <a:pt x="194" y="776"/>
                  </a:lnTo>
                  <a:lnTo>
                    <a:pt x="194" y="776"/>
                  </a:lnTo>
                  <a:close/>
                  <a:moveTo>
                    <a:pt x="48" y="726"/>
                  </a:moveTo>
                  <a:lnTo>
                    <a:pt x="65" y="776"/>
                  </a:lnTo>
                  <a:lnTo>
                    <a:pt x="48" y="776"/>
                  </a:lnTo>
                  <a:lnTo>
                    <a:pt x="48" y="726"/>
                  </a:lnTo>
                  <a:lnTo>
                    <a:pt x="48" y="726"/>
                  </a:lnTo>
                  <a:close/>
                  <a:moveTo>
                    <a:pt x="948" y="574"/>
                  </a:moveTo>
                  <a:lnTo>
                    <a:pt x="971" y="574"/>
                  </a:lnTo>
                  <a:lnTo>
                    <a:pt x="971" y="597"/>
                  </a:lnTo>
                  <a:lnTo>
                    <a:pt x="971" y="799"/>
                  </a:lnTo>
                  <a:lnTo>
                    <a:pt x="971" y="822"/>
                  </a:lnTo>
                  <a:lnTo>
                    <a:pt x="948" y="822"/>
                  </a:lnTo>
                  <a:lnTo>
                    <a:pt x="678" y="822"/>
                  </a:lnTo>
                  <a:lnTo>
                    <a:pt x="654" y="822"/>
                  </a:lnTo>
                  <a:lnTo>
                    <a:pt x="654" y="799"/>
                  </a:lnTo>
                  <a:lnTo>
                    <a:pt x="654" y="597"/>
                  </a:lnTo>
                  <a:lnTo>
                    <a:pt x="654" y="574"/>
                  </a:lnTo>
                  <a:lnTo>
                    <a:pt x="678" y="574"/>
                  </a:lnTo>
                  <a:lnTo>
                    <a:pt x="948" y="574"/>
                  </a:lnTo>
                  <a:lnTo>
                    <a:pt x="948" y="574"/>
                  </a:lnTo>
                  <a:close/>
                  <a:moveTo>
                    <a:pt x="874" y="621"/>
                  </a:moveTo>
                  <a:lnTo>
                    <a:pt x="925" y="772"/>
                  </a:lnTo>
                  <a:lnTo>
                    <a:pt x="925" y="776"/>
                  </a:lnTo>
                  <a:lnTo>
                    <a:pt x="898" y="776"/>
                  </a:lnTo>
                  <a:lnTo>
                    <a:pt x="847" y="621"/>
                  </a:lnTo>
                  <a:lnTo>
                    <a:pt x="874" y="621"/>
                  </a:lnTo>
                  <a:lnTo>
                    <a:pt x="874" y="621"/>
                  </a:lnTo>
                  <a:close/>
                  <a:moveTo>
                    <a:pt x="925" y="699"/>
                  </a:moveTo>
                  <a:lnTo>
                    <a:pt x="899" y="621"/>
                  </a:lnTo>
                  <a:lnTo>
                    <a:pt x="925" y="621"/>
                  </a:lnTo>
                  <a:lnTo>
                    <a:pt x="925" y="699"/>
                  </a:lnTo>
                  <a:lnTo>
                    <a:pt x="925" y="699"/>
                  </a:lnTo>
                  <a:close/>
                  <a:moveTo>
                    <a:pt x="718" y="621"/>
                  </a:moveTo>
                  <a:lnTo>
                    <a:pt x="770" y="776"/>
                  </a:lnTo>
                  <a:lnTo>
                    <a:pt x="743" y="776"/>
                  </a:lnTo>
                  <a:lnTo>
                    <a:pt x="702" y="652"/>
                  </a:lnTo>
                  <a:lnTo>
                    <a:pt x="702" y="621"/>
                  </a:lnTo>
                  <a:lnTo>
                    <a:pt x="718" y="621"/>
                  </a:lnTo>
                  <a:lnTo>
                    <a:pt x="718" y="621"/>
                  </a:lnTo>
                  <a:close/>
                  <a:moveTo>
                    <a:pt x="795" y="776"/>
                  </a:moveTo>
                  <a:lnTo>
                    <a:pt x="743" y="621"/>
                  </a:lnTo>
                  <a:lnTo>
                    <a:pt x="770" y="621"/>
                  </a:lnTo>
                  <a:lnTo>
                    <a:pt x="822" y="776"/>
                  </a:lnTo>
                  <a:lnTo>
                    <a:pt x="795" y="776"/>
                  </a:lnTo>
                  <a:lnTo>
                    <a:pt x="795" y="776"/>
                  </a:lnTo>
                  <a:close/>
                  <a:moveTo>
                    <a:pt x="847" y="776"/>
                  </a:moveTo>
                  <a:lnTo>
                    <a:pt x="795" y="621"/>
                  </a:lnTo>
                  <a:lnTo>
                    <a:pt x="822" y="621"/>
                  </a:lnTo>
                  <a:lnTo>
                    <a:pt x="874" y="776"/>
                  </a:lnTo>
                  <a:lnTo>
                    <a:pt x="847" y="776"/>
                  </a:lnTo>
                  <a:lnTo>
                    <a:pt x="847" y="776"/>
                  </a:lnTo>
                  <a:close/>
                  <a:moveTo>
                    <a:pt x="702" y="726"/>
                  </a:moveTo>
                  <a:lnTo>
                    <a:pt x="718" y="776"/>
                  </a:lnTo>
                  <a:lnTo>
                    <a:pt x="702" y="776"/>
                  </a:lnTo>
                  <a:lnTo>
                    <a:pt x="702" y="726"/>
                  </a:lnTo>
                  <a:lnTo>
                    <a:pt x="702" y="726"/>
                  </a:lnTo>
                  <a:close/>
                  <a:moveTo>
                    <a:pt x="1334" y="574"/>
                  </a:moveTo>
                  <a:lnTo>
                    <a:pt x="1356" y="574"/>
                  </a:lnTo>
                  <a:lnTo>
                    <a:pt x="1356" y="597"/>
                  </a:lnTo>
                  <a:lnTo>
                    <a:pt x="1356" y="799"/>
                  </a:lnTo>
                  <a:lnTo>
                    <a:pt x="1356" y="822"/>
                  </a:lnTo>
                  <a:lnTo>
                    <a:pt x="1334" y="822"/>
                  </a:lnTo>
                  <a:lnTo>
                    <a:pt x="1063" y="822"/>
                  </a:lnTo>
                  <a:lnTo>
                    <a:pt x="1040" y="822"/>
                  </a:lnTo>
                  <a:lnTo>
                    <a:pt x="1040" y="799"/>
                  </a:lnTo>
                  <a:lnTo>
                    <a:pt x="1040" y="597"/>
                  </a:lnTo>
                  <a:lnTo>
                    <a:pt x="1040" y="574"/>
                  </a:lnTo>
                  <a:lnTo>
                    <a:pt x="1063" y="574"/>
                  </a:lnTo>
                  <a:lnTo>
                    <a:pt x="1334" y="574"/>
                  </a:lnTo>
                  <a:lnTo>
                    <a:pt x="1334" y="574"/>
                  </a:lnTo>
                  <a:close/>
                  <a:moveTo>
                    <a:pt x="1259" y="621"/>
                  </a:moveTo>
                  <a:lnTo>
                    <a:pt x="1310" y="772"/>
                  </a:lnTo>
                  <a:lnTo>
                    <a:pt x="1310" y="776"/>
                  </a:lnTo>
                  <a:lnTo>
                    <a:pt x="1284" y="776"/>
                  </a:lnTo>
                  <a:lnTo>
                    <a:pt x="1232" y="621"/>
                  </a:lnTo>
                  <a:lnTo>
                    <a:pt x="1259" y="621"/>
                  </a:lnTo>
                  <a:lnTo>
                    <a:pt x="1259" y="621"/>
                  </a:lnTo>
                  <a:close/>
                  <a:moveTo>
                    <a:pt x="1310" y="699"/>
                  </a:moveTo>
                  <a:lnTo>
                    <a:pt x="1284" y="621"/>
                  </a:lnTo>
                  <a:lnTo>
                    <a:pt x="1310" y="621"/>
                  </a:lnTo>
                  <a:lnTo>
                    <a:pt x="1310" y="699"/>
                  </a:lnTo>
                  <a:lnTo>
                    <a:pt x="1310" y="699"/>
                  </a:lnTo>
                  <a:close/>
                  <a:moveTo>
                    <a:pt x="1104" y="621"/>
                  </a:moveTo>
                  <a:lnTo>
                    <a:pt x="1155" y="776"/>
                  </a:lnTo>
                  <a:lnTo>
                    <a:pt x="1128" y="776"/>
                  </a:lnTo>
                  <a:lnTo>
                    <a:pt x="1086" y="652"/>
                  </a:lnTo>
                  <a:lnTo>
                    <a:pt x="1086" y="621"/>
                  </a:lnTo>
                  <a:lnTo>
                    <a:pt x="1104" y="621"/>
                  </a:lnTo>
                  <a:lnTo>
                    <a:pt x="1104" y="621"/>
                  </a:lnTo>
                  <a:close/>
                  <a:moveTo>
                    <a:pt x="1180" y="776"/>
                  </a:moveTo>
                  <a:lnTo>
                    <a:pt x="1128" y="621"/>
                  </a:lnTo>
                  <a:lnTo>
                    <a:pt x="1155" y="621"/>
                  </a:lnTo>
                  <a:lnTo>
                    <a:pt x="1207" y="776"/>
                  </a:lnTo>
                  <a:lnTo>
                    <a:pt x="1180" y="776"/>
                  </a:lnTo>
                  <a:lnTo>
                    <a:pt x="1180" y="776"/>
                  </a:lnTo>
                  <a:close/>
                  <a:moveTo>
                    <a:pt x="1232" y="776"/>
                  </a:moveTo>
                  <a:lnTo>
                    <a:pt x="1180" y="621"/>
                  </a:lnTo>
                  <a:lnTo>
                    <a:pt x="1207" y="621"/>
                  </a:lnTo>
                  <a:lnTo>
                    <a:pt x="1259" y="776"/>
                  </a:lnTo>
                  <a:lnTo>
                    <a:pt x="1232" y="776"/>
                  </a:lnTo>
                  <a:lnTo>
                    <a:pt x="1232" y="776"/>
                  </a:lnTo>
                  <a:close/>
                  <a:moveTo>
                    <a:pt x="1086" y="726"/>
                  </a:moveTo>
                  <a:lnTo>
                    <a:pt x="1103" y="776"/>
                  </a:lnTo>
                  <a:lnTo>
                    <a:pt x="1086" y="776"/>
                  </a:lnTo>
                  <a:lnTo>
                    <a:pt x="1086" y="726"/>
                  </a:lnTo>
                  <a:lnTo>
                    <a:pt x="1086" y="726"/>
                  </a:lnTo>
                  <a:close/>
                  <a:moveTo>
                    <a:pt x="782" y="170"/>
                  </a:moveTo>
                  <a:lnTo>
                    <a:pt x="841" y="143"/>
                  </a:lnTo>
                  <a:lnTo>
                    <a:pt x="831" y="184"/>
                  </a:lnTo>
                  <a:lnTo>
                    <a:pt x="820" y="190"/>
                  </a:lnTo>
                  <a:lnTo>
                    <a:pt x="782" y="170"/>
                  </a:lnTo>
                  <a:lnTo>
                    <a:pt x="782" y="170"/>
                  </a:lnTo>
                  <a:close/>
                  <a:moveTo>
                    <a:pt x="678" y="216"/>
                  </a:moveTo>
                  <a:lnTo>
                    <a:pt x="728" y="193"/>
                  </a:lnTo>
                  <a:lnTo>
                    <a:pt x="726" y="245"/>
                  </a:lnTo>
                  <a:lnTo>
                    <a:pt x="678" y="216"/>
                  </a:lnTo>
                  <a:lnTo>
                    <a:pt x="678" y="216"/>
                  </a:lnTo>
                  <a:close/>
                  <a:moveTo>
                    <a:pt x="602" y="250"/>
                  </a:moveTo>
                  <a:lnTo>
                    <a:pt x="634" y="236"/>
                  </a:lnTo>
                  <a:lnTo>
                    <a:pt x="632" y="278"/>
                  </a:lnTo>
                  <a:lnTo>
                    <a:pt x="602" y="250"/>
                  </a:lnTo>
                  <a:lnTo>
                    <a:pt x="602" y="250"/>
                  </a:lnTo>
                  <a:close/>
                  <a:moveTo>
                    <a:pt x="628" y="313"/>
                  </a:moveTo>
                  <a:lnTo>
                    <a:pt x="581" y="343"/>
                  </a:lnTo>
                  <a:lnTo>
                    <a:pt x="581" y="268"/>
                  </a:lnTo>
                  <a:lnTo>
                    <a:pt x="628" y="313"/>
                  </a:lnTo>
                  <a:lnTo>
                    <a:pt x="628" y="313"/>
                  </a:lnTo>
                  <a:close/>
                  <a:moveTo>
                    <a:pt x="704" y="264"/>
                  </a:moveTo>
                  <a:lnTo>
                    <a:pt x="659" y="293"/>
                  </a:lnTo>
                  <a:lnTo>
                    <a:pt x="661" y="239"/>
                  </a:lnTo>
                  <a:lnTo>
                    <a:pt x="704" y="264"/>
                  </a:lnTo>
                  <a:lnTo>
                    <a:pt x="704" y="264"/>
                  </a:lnTo>
                  <a:close/>
                  <a:moveTo>
                    <a:pt x="794" y="207"/>
                  </a:moveTo>
                  <a:lnTo>
                    <a:pt x="754" y="232"/>
                  </a:lnTo>
                  <a:lnTo>
                    <a:pt x="755" y="187"/>
                  </a:lnTo>
                  <a:lnTo>
                    <a:pt x="794" y="207"/>
                  </a:lnTo>
                  <a:lnTo>
                    <a:pt x="794" y="207"/>
                  </a:lnTo>
                  <a:close/>
                  <a:moveTo>
                    <a:pt x="885" y="149"/>
                  </a:moveTo>
                  <a:lnTo>
                    <a:pt x="865" y="161"/>
                  </a:lnTo>
                  <a:lnTo>
                    <a:pt x="872" y="139"/>
                  </a:lnTo>
                  <a:lnTo>
                    <a:pt x="885" y="149"/>
                  </a:lnTo>
                  <a:lnTo>
                    <a:pt x="885" y="149"/>
                  </a:lnTo>
                  <a:close/>
                  <a:moveTo>
                    <a:pt x="938" y="115"/>
                  </a:moveTo>
                  <a:lnTo>
                    <a:pt x="910" y="133"/>
                  </a:lnTo>
                  <a:lnTo>
                    <a:pt x="910" y="133"/>
                  </a:lnTo>
                  <a:lnTo>
                    <a:pt x="892" y="121"/>
                  </a:lnTo>
                  <a:lnTo>
                    <a:pt x="935" y="102"/>
                  </a:lnTo>
                  <a:lnTo>
                    <a:pt x="935" y="102"/>
                  </a:lnTo>
                  <a:lnTo>
                    <a:pt x="938" y="115"/>
                  </a:lnTo>
                  <a:lnTo>
                    <a:pt x="938" y="115"/>
                  </a:lnTo>
                  <a:close/>
                  <a:moveTo>
                    <a:pt x="955" y="93"/>
                  </a:moveTo>
                  <a:lnTo>
                    <a:pt x="999" y="74"/>
                  </a:lnTo>
                  <a:lnTo>
                    <a:pt x="1000" y="75"/>
                  </a:lnTo>
                  <a:lnTo>
                    <a:pt x="953" y="104"/>
                  </a:lnTo>
                  <a:lnTo>
                    <a:pt x="953" y="104"/>
                  </a:lnTo>
                  <a:lnTo>
                    <a:pt x="955" y="93"/>
                  </a:lnTo>
                  <a:lnTo>
                    <a:pt x="955" y="93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accent1"/>
              </a:solidFill>
            </a:ln>
          </p:spPr>
          <p:txBody>
            <a:bodyPr vert="horz" wrap="square" lIns="64657" tIns="32328" rIns="64657" bIns="3232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640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CasellaDiTesto 558">
              <a:extLst>
                <a:ext uri="{FF2B5EF4-FFF2-40B4-BE49-F238E27FC236}">
                  <a16:creationId xmlns:a16="http://schemas.microsoft.com/office/drawing/2014/main" id="{8103A6CE-45C7-4A9E-9EAB-875D2C0E67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77955" y="3107644"/>
              <a:ext cx="890761" cy="1767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364" tIns="34183" rIns="68364" bIns="34183">
              <a:spAutoFit/>
            </a:bodyPr>
            <a:lstStyle/>
            <a:p>
              <a:pPr marL="0" marR="0" lvl="0" indent="0" algn="r" defTabSz="685783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ervignano</a:t>
              </a:r>
            </a:p>
          </p:txBody>
        </p:sp>
        <p:sp>
          <p:nvSpPr>
            <p:cNvPr id="88" name="Freeform 293">
              <a:extLst>
                <a:ext uri="{FF2B5EF4-FFF2-40B4-BE49-F238E27FC236}">
                  <a16:creationId xmlns:a16="http://schemas.microsoft.com/office/drawing/2014/main" id="{F49002D7-013D-4BEE-8780-3C03420B3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17158" y="3109610"/>
              <a:ext cx="180035" cy="131140"/>
            </a:xfrm>
            <a:custGeom>
              <a:avLst/>
              <a:gdLst>
                <a:gd name="T0" fmla="*/ 1068 w 1357"/>
                <a:gd name="T1" fmla="*/ 97 h 947"/>
                <a:gd name="T2" fmla="*/ 447 w 1357"/>
                <a:gd name="T3" fmla="*/ 257 h 947"/>
                <a:gd name="T4" fmla="*/ 0 w 1357"/>
                <a:gd name="T5" fmla="*/ 861 h 947"/>
                <a:gd name="T6" fmla="*/ 541 w 1357"/>
                <a:gd name="T7" fmla="*/ 470 h 947"/>
                <a:gd name="T8" fmla="*/ 911 w 1357"/>
                <a:gd name="T9" fmla="*/ 374 h 947"/>
                <a:gd name="T10" fmla="*/ 295 w 1357"/>
                <a:gd name="T11" fmla="*/ 288 h 947"/>
                <a:gd name="T12" fmla="*/ 295 w 1357"/>
                <a:gd name="T13" fmla="*/ 536 h 947"/>
                <a:gd name="T14" fmla="*/ 1 w 1357"/>
                <a:gd name="T15" fmla="*/ 288 h 947"/>
                <a:gd name="T16" fmla="*/ 272 w 1357"/>
                <a:gd name="T17" fmla="*/ 485 h 947"/>
                <a:gd name="T18" fmla="*/ 221 w 1357"/>
                <a:gd name="T19" fmla="*/ 334 h 947"/>
                <a:gd name="T20" fmla="*/ 272 w 1357"/>
                <a:gd name="T21" fmla="*/ 411 h 947"/>
                <a:gd name="T22" fmla="*/ 48 w 1357"/>
                <a:gd name="T23" fmla="*/ 334 h 947"/>
                <a:gd name="T24" fmla="*/ 117 w 1357"/>
                <a:gd name="T25" fmla="*/ 334 h 947"/>
                <a:gd name="T26" fmla="*/ 142 w 1357"/>
                <a:gd name="T27" fmla="*/ 334 h 947"/>
                <a:gd name="T28" fmla="*/ 48 w 1357"/>
                <a:gd name="T29" fmla="*/ 438 h 947"/>
                <a:gd name="T30" fmla="*/ 295 w 1357"/>
                <a:gd name="T31" fmla="*/ 574 h 947"/>
                <a:gd name="T32" fmla="*/ 295 w 1357"/>
                <a:gd name="T33" fmla="*/ 822 h 947"/>
                <a:gd name="T34" fmla="*/ 1 w 1357"/>
                <a:gd name="T35" fmla="*/ 574 h 947"/>
                <a:gd name="T36" fmla="*/ 272 w 1357"/>
                <a:gd name="T37" fmla="*/ 772 h 947"/>
                <a:gd name="T38" fmla="*/ 221 w 1357"/>
                <a:gd name="T39" fmla="*/ 621 h 947"/>
                <a:gd name="T40" fmla="*/ 272 w 1357"/>
                <a:gd name="T41" fmla="*/ 699 h 947"/>
                <a:gd name="T42" fmla="*/ 48 w 1357"/>
                <a:gd name="T43" fmla="*/ 621 h 947"/>
                <a:gd name="T44" fmla="*/ 117 w 1357"/>
                <a:gd name="T45" fmla="*/ 621 h 947"/>
                <a:gd name="T46" fmla="*/ 142 w 1357"/>
                <a:gd name="T47" fmla="*/ 621 h 947"/>
                <a:gd name="T48" fmla="*/ 48 w 1357"/>
                <a:gd name="T49" fmla="*/ 726 h 947"/>
                <a:gd name="T50" fmla="*/ 948 w 1357"/>
                <a:gd name="T51" fmla="*/ 574 h 947"/>
                <a:gd name="T52" fmla="*/ 948 w 1357"/>
                <a:gd name="T53" fmla="*/ 822 h 947"/>
                <a:gd name="T54" fmla="*/ 654 w 1357"/>
                <a:gd name="T55" fmla="*/ 574 h 947"/>
                <a:gd name="T56" fmla="*/ 925 w 1357"/>
                <a:gd name="T57" fmla="*/ 772 h 947"/>
                <a:gd name="T58" fmla="*/ 874 w 1357"/>
                <a:gd name="T59" fmla="*/ 621 h 947"/>
                <a:gd name="T60" fmla="*/ 925 w 1357"/>
                <a:gd name="T61" fmla="*/ 699 h 947"/>
                <a:gd name="T62" fmla="*/ 702 w 1357"/>
                <a:gd name="T63" fmla="*/ 621 h 947"/>
                <a:gd name="T64" fmla="*/ 770 w 1357"/>
                <a:gd name="T65" fmla="*/ 621 h 947"/>
                <a:gd name="T66" fmla="*/ 795 w 1357"/>
                <a:gd name="T67" fmla="*/ 621 h 947"/>
                <a:gd name="T68" fmla="*/ 702 w 1357"/>
                <a:gd name="T69" fmla="*/ 726 h 947"/>
                <a:gd name="T70" fmla="*/ 1334 w 1357"/>
                <a:gd name="T71" fmla="*/ 574 h 947"/>
                <a:gd name="T72" fmla="*/ 1334 w 1357"/>
                <a:gd name="T73" fmla="*/ 822 h 947"/>
                <a:gd name="T74" fmla="*/ 1040 w 1357"/>
                <a:gd name="T75" fmla="*/ 574 h 947"/>
                <a:gd name="T76" fmla="*/ 1310 w 1357"/>
                <a:gd name="T77" fmla="*/ 772 h 947"/>
                <a:gd name="T78" fmla="*/ 1259 w 1357"/>
                <a:gd name="T79" fmla="*/ 621 h 947"/>
                <a:gd name="T80" fmla="*/ 1310 w 1357"/>
                <a:gd name="T81" fmla="*/ 699 h 947"/>
                <a:gd name="T82" fmla="*/ 1086 w 1357"/>
                <a:gd name="T83" fmla="*/ 621 h 947"/>
                <a:gd name="T84" fmla="*/ 1155 w 1357"/>
                <a:gd name="T85" fmla="*/ 621 h 947"/>
                <a:gd name="T86" fmla="*/ 1180 w 1357"/>
                <a:gd name="T87" fmla="*/ 621 h 947"/>
                <a:gd name="T88" fmla="*/ 1086 w 1357"/>
                <a:gd name="T89" fmla="*/ 726 h 947"/>
                <a:gd name="T90" fmla="*/ 782 w 1357"/>
                <a:gd name="T91" fmla="*/ 170 h 947"/>
                <a:gd name="T92" fmla="*/ 782 w 1357"/>
                <a:gd name="T93" fmla="*/ 170 h 947"/>
                <a:gd name="T94" fmla="*/ 678 w 1357"/>
                <a:gd name="T95" fmla="*/ 216 h 947"/>
                <a:gd name="T96" fmla="*/ 602 w 1357"/>
                <a:gd name="T97" fmla="*/ 250 h 947"/>
                <a:gd name="T98" fmla="*/ 628 w 1357"/>
                <a:gd name="T99" fmla="*/ 313 h 947"/>
                <a:gd name="T100" fmla="*/ 704 w 1357"/>
                <a:gd name="T101" fmla="*/ 264 h 947"/>
                <a:gd name="T102" fmla="*/ 794 w 1357"/>
                <a:gd name="T103" fmla="*/ 207 h 947"/>
                <a:gd name="T104" fmla="*/ 885 w 1357"/>
                <a:gd name="T105" fmla="*/ 149 h 947"/>
                <a:gd name="T106" fmla="*/ 935 w 1357"/>
                <a:gd name="T107" fmla="*/ 102 h 947"/>
                <a:gd name="T108" fmla="*/ 999 w 1357"/>
                <a:gd name="T109" fmla="*/ 74 h 947"/>
                <a:gd name="T110" fmla="*/ 955 w 1357"/>
                <a:gd name="T111" fmla="*/ 93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57" h="947">
                  <a:moveTo>
                    <a:pt x="1128" y="374"/>
                  </a:moveTo>
                  <a:lnTo>
                    <a:pt x="1032" y="374"/>
                  </a:lnTo>
                  <a:lnTo>
                    <a:pt x="1032" y="120"/>
                  </a:lnTo>
                  <a:lnTo>
                    <a:pt x="1048" y="109"/>
                  </a:lnTo>
                  <a:lnTo>
                    <a:pt x="1068" y="97"/>
                  </a:lnTo>
                  <a:lnTo>
                    <a:pt x="1059" y="76"/>
                  </a:lnTo>
                  <a:lnTo>
                    <a:pt x="1039" y="26"/>
                  </a:lnTo>
                  <a:lnTo>
                    <a:pt x="1029" y="0"/>
                  </a:lnTo>
                  <a:lnTo>
                    <a:pt x="1003" y="11"/>
                  </a:lnTo>
                  <a:lnTo>
                    <a:pt x="447" y="257"/>
                  </a:lnTo>
                  <a:lnTo>
                    <a:pt x="378" y="257"/>
                  </a:lnTo>
                  <a:lnTo>
                    <a:pt x="378" y="470"/>
                  </a:lnTo>
                  <a:lnTo>
                    <a:pt x="415" y="470"/>
                  </a:lnTo>
                  <a:lnTo>
                    <a:pt x="415" y="861"/>
                  </a:lnTo>
                  <a:lnTo>
                    <a:pt x="0" y="861"/>
                  </a:lnTo>
                  <a:lnTo>
                    <a:pt x="0" y="947"/>
                  </a:lnTo>
                  <a:lnTo>
                    <a:pt x="1357" y="947"/>
                  </a:lnTo>
                  <a:lnTo>
                    <a:pt x="1357" y="861"/>
                  </a:lnTo>
                  <a:lnTo>
                    <a:pt x="541" y="861"/>
                  </a:lnTo>
                  <a:lnTo>
                    <a:pt x="541" y="470"/>
                  </a:lnTo>
                  <a:lnTo>
                    <a:pt x="581" y="470"/>
                  </a:lnTo>
                  <a:lnTo>
                    <a:pt x="581" y="408"/>
                  </a:lnTo>
                  <a:lnTo>
                    <a:pt x="1006" y="136"/>
                  </a:lnTo>
                  <a:lnTo>
                    <a:pt x="1006" y="374"/>
                  </a:lnTo>
                  <a:lnTo>
                    <a:pt x="911" y="374"/>
                  </a:lnTo>
                  <a:lnTo>
                    <a:pt x="911" y="531"/>
                  </a:lnTo>
                  <a:lnTo>
                    <a:pt x="1128" y="531"/>
                  </a:lnTo>
                  <a:lnTo>
                    <a:pt x="1128" y="374"/>
                  </a:lnTo>
                  <a:lnTo>
                    <a:pt x="1128" y="374"/>
                  </a:lnTo>
                  <a:close/>
                  <a:moveTo>
                    <a:pt x="295" y="288"/>
                  </a:moveTo>
                  <a:lnTo>
                    <a:pt x="319" y="288"/>
                  </a:lnTo>
                  <a:lnTo>
                    <a:pt x="319" y="310"/>
                  </a:lnTo>
                  <a:lnTo>
                    <a:pt x="319" y="512"/>
                  </a:lnTo>
                  <a:lnTo>
                    <a:pt x="319" y="536"/>
                  </a:lnTo>
                  <a:lnTo>
                    <a:pt x="295" y="536"/>
                  </a:lnTo>
                  <a:lnTo>
                    <a:pt x="25" y="536"/>
                  </a:lnTo>
                  <a:lnTo>
                    <a:pt x="1" y="536"/>
                  </a:lnTo>
                  <a:lnTo>
                    <a:pt x="1" y="512"/>
                  </a:lnTo>
                  <a:lnTo>
                    <a:pt x="1" y="310"/>
                  </a:lnTo>
                  <a:lnTo>
                    <a:pt x="1" y="288"/>
                  </a:lnTo>
                  <a:lnTo>
                    <a:pt x="25" y="288"/>
                  </a:lnTo>
                  <a:lnTo>
                    <a:pt x="295" y="288"/>
                  </a:lnTo>
                  <a:lnTo>
                    <a:pt x="295" y="288"/>
                  </a:lnTo>
                  <a:close/>
                  <a:moveTo>
                    <a:pt x="221" y="334"/>
                  </a:moveTo>
                  <a:lnTo>
                    <a:pt x="272" y="485"/>
                  </a:lnTo>
                  <a:lnTo>
                    <a:pt x="272" y="489"/>
                  </a:lnTo>
                  <a:lnTo>
                    <a:pt x="245" y="489"/>
                  </a:lnTo>
                  <a:lnTo>
                    <a:pt x="194" y="334"/>
                  </a:lnTo>
                  <a:lnTo>
                    <a:pt x="221" y="334"/>
                  </a:lnTo>
                  <a:lnTo>
                    <a:pt x="221" y="334"/>
                  </a:lnTo>
                  <a:close/>
                  <a:moveTo>
                    <a:pt x="272" y="411"/>
                  </a:moveTo>
                  <a:lnTo>
                    <a:pt x="246" y="334"/>
                  </a:lnTo>
                  <a:lnTo>
                    <a:pt x="272" y="334"/>
                  </a:lnTo>
                  <a:lnTo>
                    <a:pt x="272" y="411"/>
                  </a:lnTo>
                  <a:lnTo>
                    <a:pt x="272" y="411"/>
                  </a:lnTo>
                  <a:close/>
                  <a:moveTo>
                    <a:pt x="65" y="334"/>
                  </a:moveTo>
                  <a:lnTo>
                    <a:pt x="117" y="489"/>
                  </a:lnTo>
                  <a:lnTo>
                    <a:pt x="90" y="489"/>
                  </a:lnTo>
                  <a:lnTo>
                    <a:pt x="48" y="365"/>
                  </a:lnTo>
                  <a:lnTo>
                    <a:pt x="48" y="334"/>
                  </a:lnTo>
                  <a:lnTo>
                    <a:pt x="65" y="334"/>
                  </a:lnTo>
                  <a:lnTo>
                    <a:pt x="65" y="334"/>
                  </a:lnTo>
                  <a:close/>
                  <a:moveTo>
                    <a:pt x="142" y="489"/>
                  </a:moveTo>
                  <a:lnTo>
                    <a:pt x="90" y="334"/>
                  </a:lnTo>
                  <a:lnTo>
                    <a:pt x="117" y="334"/>
                  </a:lnTo>
                  <a:lnTo>
                    <a:pt x="169" y="489"/>
                  </a:lnTo>
                  <a:lnTo>
                    <a:pt x="142" y="489"/>
                  </a:lnTo>
                  <a:lnTo>
                    <a:pt x="142" y="489"/>
                  </a:lnTo>
                  <a:close/>
                  <a:moveTo>
                    <a:pt x="194" y="489"/>
                  </a:moveTo>
                  <a:lnTo>
                    <a:pt x="142" y="334"/>
                  </a:lnTo>
                  <a:lnTo>
                    <a:pt x="169" y="334"/>
                  </a:lnTo>
                  <a:lnTo>
                    <a:pt x="221" y="489"/>
                  </a:lnTo>
                  <a:lnTo>
                    <a:pt x="194" y="489"/>
                  </a:lnTo>
                  <a:lnTo>
                    <a:pt x="194" y="489"/>
                  </a:lnTo>
                  <a:close/>
                  <a:moveTo>
                    <a:pt x="48" y="438"/>
                  </a:moveTo>
                  <a:lnTo>
                    <a:pt x="65" y="489"/>
                  </a:lnTo>
                  <a:lnTo>
                    <a:pt x="48" y="489"/>
                  </a:lnTo>
                  <a:lnTo>
                    <a:pt x="48" y="438"/>
                  </a:lnTo>
                  <a:lnTo>
                    <a:pt x="48" y="438"/>
                  </a:lnTo>
                  <a:close/>
                  <a:moveTo>
                    <a:pt x="295" y="574"/>
                  </a:moveTo>
                  <a:lnTo>
                    <a:pt x="319" y="574"/>
                  </a:lnTo>
                  <a:lnTo>
                    <a:pt x="319" y="597"/>
                  </a:lnTo>
                  <a:lnTo>
                    <a:pt x="319" y="799"/>
                  </a:lnTo>
                  <a:lnTo>
                    <a:pt x="319" y="822"/>
                  </a:lnTo>
                  <a:lnTo>
                    <a:pt x="295" y="822"/>
                  </a:lnTo>
                  <a:lnTo>
                    <a:pt x="25" y="822"/>
                  </a:lnTo>
                  <a:lnTo>
                    <a:pt x="1" y="822"/>
                  </a:lnTo>
                  <a:lnTo>
                    <a:pt x="1" y="799"/>
                  </a:lnTo>
                  <a:lnTo>
                    <a:pt x="1" y="597"/>
                  </a:lnTo>
                  <a:lnTo>
                    <a:pt x="1" y="574"/>
                  </a:lnTo>
                  <a:lnTo>
                    <a:pt x="25" y="574"/>
                  </a:lnTo>
                  <a:lnTo>
                    <a:pt x="295" y="574"/>
                  </a:lnTo>
                  <a:lnTo>
                    <a:pt x="295" y="574"/>
                  </a:lnTo>
                  <a:close/>
                  <a:moveTo>
                    <a:pt x="221" y="621"/>
                  </a:moveTo>
                  <a:lnTo>
                    <a:pt x="272" y="772"/>
                  </a:lnTo>
                  <a:lnTo>
                    <a:pt x="272" y="776"/>
                  </a:lnTo>
                  <a:lnTo>
                    <a:pt x="245" y="776"/>
                  </a:lnTo>
                  <a:lnTo>
                    <a:pt x="194" y="621"/>
                  </a:lnTo>
                  <a:lnTo>
                    <a:pt x="221" y="621"/>
                  </a:lnTo>
                  <a:lnTo>
                    <a:pt x="221" y="621"/>
                  </a:lnTo>
                  <a:close/>
                  <a:moveTo>
                    <a:pt x="272" y="699"/>
                  </a:moveTo>
                  <a:lnTo>
                    <a:pt x="246" y="621"/>
                  </a:lnTo>
                  <a:lnTo>
                    <a:pt x="272" y="621"/>
                  </a:lnTo>
                  <a:lnTo>
                    <a:pt x="272" y="699"/>
                  </a:lnTo>
                  <a:lnTo>
                    <a:pt x="272" y="699"/>
                  </a:lnTo>
                  <a:close/>
                  <a:moveTo>
                    <a:pt x="65" y="621"/>
                  </a:moveTo>
                  <a:lnTo>
                    <a:pt x="117" y="776"/>
                  </a:lnTo>
                  <a:lnTo>
                    <a:pt x="90" y="776"/>
                  </a:lnTo>
                  <a:lnTo>
                    <a:pt x="48" y="652"/>
                  </a:lnTo>
                  <a:lnTo>
                    <a:pt x="48" y="621"/>
                  </a:lnTo>
                  <a:lnTo>
                    <a:pt x="65" y="621"/>
                  </a:lnTo>
                  <a:lnTo>
                    <a:pt x="65" y="621"/>
                  </a:lnTo>
                  <a:close/>
                  <a:moveTo>
                    <a:pt x="142" y="776"/>
                  </a:moveTo>
                  <a:lnTo>
                    <a:pt x="90" y="621"/>
                  </a:lnTo>
                  <a:lnTo>
                    <a:pt x="117" y="621"/>
                  </a:lnTo>
                  <a:lnTo>
                    <a:pt x="169" y="776"/>
                  </a:lnTo>
                  <a:lnTo>
                    <a:pt x="142" y="776"/>
                  </a:lnTo>
                  <a:lnTo>
                    <a:pt x="142" y="776"/>
                  </a:lnTo>
                  <a:close/>
                  <a:moveTo>
                    <a:pt x="194" y="776"/>
                  </a:moveTo>
                  <a:lnTo>
                    <a:pt x="142" y="621"/>
                  </a:lnTo>
                  <a:lnTo>
                    <a:pt x="169" y="621"/>
                  </a:lnTo>
                  <a:lnTo>
                    <a:pt x="221" y="776"/>
                  </a:lnTo>
                  <a:lnTo>
                    <a:pt x="194" y="776"/>
                  </a:lnTo>
                  <a:lnTo>
                    <a:pt x="194" y="776"/>
                  </a:lnTo>
                  <a:close/>
                  <a:moveTo>
                    <a:pt x="48" y="726"/>
                  </a:moveTo>
                  <a:lnTo>
                    <a:pt x="65" y="776"/>
                  </a:lnTo>
                  <a:lnTo>
                    <a:pt x="48" y="776"/>
                  </a:lnTo>
                  <a:lnTo>
                    <a:pt x="48" y="726"/>
                  </a:lnTo>
                  <a:lnTo>
                    <a:pt x="48" y="726"/>
                  </a:lnTo>
                  <a:close/>
                  <a:moveTo>
                    <a:pt x="948" y="574"/>
                  </a:moveTo>
                  <a:lnTo>
                    <a:pt x="971" y="574"/>
                  </a:lnTo>
                  <a:lnTo>
                    <a:pt x="971" y="597"/>
                  </a:lnTo>
                  <a:lnTo>
                    <a:pt x="971" y="799"/>
                  </a:lnTo>
                  <a:lnTo>
                    <a:pt x="971" y="822"/>
                  </a:lnTo>
                  <a:lnTo>
                    <a:pt x="948" y="822"/>
                  </a:lnTo>
                  <a:lnTo>
                    <a:pt x="678" y="822"/>
                  </a:lnTo>
                  <a:lnTo>
                    <a:pt x="654" y="822"/>
                  </a:lnTo>
                  <a:lnTo>
                    <a:pt x="654" y="799"/>
                  </a:lnTo>
                  <a:lnTo>
                    <a:pt x="654" y="597"/>
                  </a:lnTo>
                  <a:lnTo>
                    <a:pt x="654" y="574"/>
                  </a:lnTo>
                  <a:lnTo>
                    <a:pt x="678" y="574"/>
                  </a:lnTo>
                  <a:lnTo>
                    <a:pt x="948" y="574"/>
                  </a:lnTo>
                  <a:lnTo>
                    <a:pt x="948" y="574"/>
                  </a:lnTo>
                  <a:close/>
                  <a:moveTo>
                    <a:pt x="874" y="621"/>
                  </a:moveTo>
                  <a:lnTo>
                    <a:pt x="925" y="772"/>
                  </a:lnTo>
                  <a:lnTo>
                    <a:pt x="925" y="776"/>
                  </a:lnTo>
                  <a:lnTo>
                    <a:pt x="898" y="776"/>
                  </a:lnTo>
                  <a:lnTo>
                    <a:pt x="847" y="621"/>
                  </a:lnTo>
                  <a:lnTo>
                    <a:pt x="874" y="621"/>
                  </a:lnTo>
                  <a:lnTo>
                    <a:pt x="874" y="621"/>
                  </a:lnTo>
                  <a:close/>
                  <a:moveTo>
                    <a:pt x="925" y="699"/>
                  </a:moveTo>
                  <a:lnTo>
                    <a:pt x="899" y="621"/>
                  </a:lnTo>
                  <a:lnTo>
                    <a:pt x="925" y="621"/>
                  </a:lnTo>
                  <a:lnTo>
                    <a:pt x="925" y="699"/>
                  </a:lnTo>
                  <a:lnTo>
                    <a:pt x="925" y="699"/>
                  </a:lnTo>
                  <a:close/>
                  <a:moveTo>
                    <a:pt x="718" y="621"/>
                  </a:moveTo>
                  <a:lnTo>
                    <a:pt x="770" y="776"/>
                  </a:lnTo>
                  <a:lnTo>
                    <a:pt x="743" y="776"/>
                  </a:lnTo>
                  <a:lnTo>
                    <a:pt x="702" y="652"/>
                  </a:lnTo>
                  <a:lnTo>
                    <a:pt x="702" y="621"/>
                  </a:lnTo>
                  <a:lnTo>
                    <a:pt x="718" y="621"/>
                  </a:lnTo>
                  <a:lnTo>
                    <a:pt x="718" y="621"/>
                  </a:lnTo>
                  <a:close/>
                  <a:moveTo>
                    <a:pt x="795" y="776"/>
                  </a:moveTo>
                  <a:lnTo>
                    <a:pt x="743" y="621"/>
                  </a:lnTo>
                  <a:lnTo>
                    <a:pt x="770" y="621"/>
                  </a:lnTo>
                  <a:lnTo>
                    <a:pt x="822" y="776"/>
                  </a:lnTo>
                  <a:lnTo>
                    <a:pt x="795" y="776"/>
                  </a:lnTo>
                  <a:lnTo>
                    <a:pt x="795" y="776"/>
                  </a:lnTo>
                  <a:close/>
                  <a:moveTo>
                    <a:pt x="847" y="776"/>
                  </a:moveTo>
                  <a:lnTo>
                    <a:pt x="795" y="621"/>
                  </a:lnTo>
                  <a:lnTo>
                    <a:pt x="822" y="621"/>
                  </a:lnTo>
                  <a:lnTo>
                    <a:pt x="874" y="776"/>
                  </a:lnTo>
                  <a:lnTo>
                    <a:pt x="847" y="776"/>
                  </a:lnTo>
                  <a:lnTo>
                    <a:pt x="847" y="776"/>
                  </a:lnTo>
                  <a:close/>
                  <a:moveTo>
                    <a:pt x="702" y="726"/>
                  </a:moveTo>
                  <a:lnTo>
                    <a:pt x="718" y="776"/>
                  </a:lnTo>
                  <a:lnTo>
                    <a:pt x="702" y="776"/>
                  </a:lnTo>
                  <a:lnTo>
                    <a:pt x="702" y="726"/>
                  </a:lnTo>
                  <a:lnTo>
                    <a:pt x="702" y="726"/>
                  </a:lnTo>
                  <a:close/>
                  <a:moveTo>
                    <a:pt x="1334" y="574"/>
                  </a:moveTo>
                  <a:lnTo>
                    <a:pt x="1356" y="574"/>
                  </a:lnTo>
                  <a:lnTo>
                    <a:pt x="1356" y="597"/>
                  </a:lnTo>
                  <a:lnTo>
                    <a:pt x="1356" y="799"/>
                  </a:lnTo>
                  <a:lnTo>
                    <a:pt x="1356" y="822"/>
                  </a:lnTo>
                  <a:lnTo>
                    <a:pt x="1334" y="822"/>
                  </a:lnTo>
                  <a:lnTo>
                    <a:pt x="1063" y="822"/>
                  </a:lnTo>
                  <a:lnTo>
                    <a:pt x="1040" y="822"/>
                  </a:lnTo>
                  <a:lnTo>
                    <a:pt x="1040" y="799"/>
                  </a:lnTo>
                  <a:lnTo>
                    <a:pt x="1040" y="597"/>
                  </a:lnTo>
                  <a:lnTo>
                    <a:pt x="1040" y="574"/>
                  </a:lnTo>
                  <a:lnTo>
                    <a:pt x="1063" y="574"/>
                  </a:lnTo>
                  <a:lnTo>
                    <a:pt x="1334" y="574"/>
                  </a:lnTo>
                  <a:lnTo>
                    <a:pt x="1334" y="574"/>
                  </a:lnTo>
                  <a:close/>
                  <a:moveTo>
                    <a:pt x="1259" y="621"/>
                  </a:moveTo>
                  <a:lnTo>
                    <a:pt x="1310" y="772"/>
                  </a:lnTo>
                  <a:lnTo>
                    <a:pt x="1310" y="776"/>
                  </a:lnTo>
                  <a:lnTo>
                    <a:pt x="1284" y="776"/>
                  </a:lnTo>
                  <a:lnTo>
                    <a:pt x="1232" y="621"/>
                  </a:lnTo>
                  <a:lnTo>
                    <a:pt x="1259" y="621"/>
                  </a:lnTo>
                  <a:lnTo>
                    <a:pt x="1259" y="621"/>
                  </a:lnTo>
                  <a:close/>
                  <a:moveTo>
                    <a:pt x="1310" y="699"/>
                  </a:moveTo>
                  <a:lnTo>
                    <a:pt x="1284" y="621"/>
                  </a:lnTo>
                  <a:lnTo>
                    <a:pt x="1310" y="621"/>
                  </a:lnTo>
                  <a:lnTo>
                    <a:pt x="1310" y="699"/>
                  </a:lnTo>
                  <a:lnTo>
                    <a:pt x="1310" y="699"/>
                  </a:lnTo>
                  <a:close/>
                  <a:moveTo>
                    <a:pt x="1104" y="621"/>
                  </a:moveTo>
                  <a:lnTo>
                    <a:pt x="1155" y="776"/>
                  </a:lnTo>
                  <a:lnTo>
                    <a:pt x="1128" y="776"/>
                  </a:lnTo>
                  <a:lnTo>
                    <a:pt x="1086" y="652"/>
                  </a:lnTo>
                  <a:lnTo>
                    <a:pt x="1086" y="621"/>
                  </a:lnTo>
                  <a:lnTo>
                    <a:pt x="1104" y="621"/>
                  </a:lnTo>
                  <a:lnTo>
                    <a:pt x="1104" y="621"/>
                  </a:lnTo>
                  <a:close/>
                  <a:moveTo>
                    <a:pt x="1180" y="776"/>
                  </a:moveTo>
                  <a:lnTo>
                    <a:pt x="1128" y="621"/>
                  </a:lnTo>
                  <a:lnTo>
                    <a:pt x="1155" y="621"/>
                  </a:lnTo>
                  <a:lnTo>
                    <a:pt x="1207" y="776"/>
                  </a:lnTo>
                  <a:lnTo>
                    <a:pt x="1180" y="776"/>
                  </a:lnTo>
                  <a:lnTo>
                    <a:pt x="1180" y="776"/>
                  </a:lnTo>
                  <a:close/>
                  <a:moveTo>
                    <a:pt x="1232" y="776"/>
                  </a:moveTo>
                  <a:lnTo>
                    <a:pt x="1180" y="621"/>
                  </a:lnTo>
                  <a:lnTo>
                    <a:pt x="1207" y="621"/>
                  </a:lnTo>
                  <a:lnTo>
                    <a:pt x="1259" y="776"/>
                  </a:lnTo>
                  <a:lnTo>
                    <a:pt x="1232" y="776"/>
                  </a:lnTo>
                  <a:lnTo>
                    <a:pt x="1232" y="776"/>
                  </a:lnTo>
                  <a:close/>
                  <a:moveTo>
                    <a:pt x="1086" y="726"/>
                  </a:moveTo>
                  <a:lnTo>
                    <a:pt x="1103" y="776"/>
                  </a:lnTo>
                  <a:lnTo>
                    <a:pt x="1086" y="776"/>
                  </a:lnTo>
                  <a:lnTo>
                    <a:pt x="1086" y="726"/>
                  </a:lnTo>
                  <a:lnTo>
                    <a:pt x="1086" y="726"/>
                  </a:lnTo>
                  <a:close/>
                  <a:moveTo>
                    <a:pt x="782" y="170"/>
                  </a:moveTo>
                  <a:lnTo>
                    <a:pt x="841" y="143"/>
                  </a:lnTo>
                  <a:lnTo>
                    <a:pt x="831" y="184"/>
                  </a:lnTo>
                  <a:lnTo>
                    <a:pt x="820" y="190"/>
                  </a:lnTo>
                  <a:lnTo>
                    <a:pt x="782" y="170"/>
                  </a:lnTo>
                  <a:lnTo>
                    <a:pt x="782" y="170"/>
                  </a:lnTo>
                  <a:close/>
                  <a:moveTo>
                    <a:pt x="678" y="216"/>
                  </a:moveTo>
                  <a:lnTo>
                    <a:pt x="728" y="193"/>
                  </a:lnTo>
                  <a:lnTo>
                    <a:pt x="726" y="245"/>
                  </a:lnTo>
                  <a:lnTo>
                    <a:pt x="678" y="216"/>
                  </a:lnTo>
                  <a:lnTo>
                    <a:pt x="678" y="216"/>
                  </a:lnTo>
                  <a:close/>
                  <a:moveTo>
                    <a:pt x="602" y="250"/>
                  </a:moveTo>
                  <a:lnTo>
                    <a:pt x="634" y="236"/>
                  </a:lnTo>
                  <a:lnTo>
                    <a:pt x="632" y="278"/>
                  </a:lnTo>
                  <a:lnTo>
                    <a:pt x="602" y="250"/>
                  </a:lnTo>
                  <a:lnTo>
                    <a:pt x="602" y="250"/>
                  </a:lnTo>
                  <a:close/>
                  <a:moveTo>
                    <a:pt x="628" y="313"/>
                  </a:moveTo>
                  <a:lnTo>
                    <a:pt x="581" y="343"/>
                  </a:lnTo>
                  <a:lnTo>
                    <a:pt x="581" y="268"/>
                  </a:lnTo>
                  <a:lnTo>
                    <a:pt x="628" y="313"/>
                  </a:lnTo>
                  <a:lnTo>
                    <a:pt x="628" y="313"/>
                  </a:lnTo>
                  <a:close/>
                  <a:moveTo>
                    <a:pt x="704" y="264"/>
                  </a:moveTo>
                  <a:lnTo>
                    <a:pt x="659" y="293"/>
                  </a:lnTo>
                  <a:lnTo>
                    <a:pt x="661" y="239"/>
                  </a:lnTo>
                  <a:lnTo>
                    <a:pt x="704" y="264"/>
                  </a:lnTo>
                  <a:lnTo>
                    <a:pt x="704" y="264"/>
                  </a:lnTo>
                  <a:close/>
                  <a:moveTo>
                    <a:pt x="794" y="207"/>
                  </a:moveTo>
                  <a:lnTo>
                    <a:pt x="754" y="232"/>
                  </a:lnTo>
                  <a:lnTo>
                    <a:pt x="755" y="187"/>
                  </a:lnTo>
                  <a:lnTo>
                    <a:pt x="794" y="207"/>
                  </a:lnTo>
                  <a:lnTo>
                    <a:pt x="794" y="207"/>
                  </a:lnTo>
                  <a:close/>
                  <a:moveTo>
                    <a:pt x="885" y="149"/>
                  </a:moveTo>
                  <a:lnTo>
                    <a:pt x="865" y="161"/>
                  </a:lnTo>
                  <a:lnTo>
                    <a:pt x="872" y="139"/>
                  </a:lnTo>
                  <a:lnTo>
                    <a:pt x="885" y="149"/>
                  </a:lnTo>
                  <a:lnTo>
                    <a:pt x="885" y="149"/>
                  </a:lnTo>
                  <a:close/>
                  <a:moveTo>
                    <a:pt x="938" y="115"/>
                  </a:moveTo>
                  <a:lnTo>
                    <a:pt x="910" y="133"/>
                  </a:lnTo>
                  <a:lnTo>
                    <a:pt x="910" y="133"/>
                  </a:lnTo>
                  <a:lnTo>
                    <a:pt x="892" y="121"/>
                  </a:lnTo>
                  <a:lnTo>
                    <a:pt x="935" y="102"/>
                  </a:lnTo>
                  <a:lnTo>
                    <a:pt x="935" y="102"/>
                  </a:lnTo>
                  <a:lnTo>
                    <a:pt x="938" y="115"/>
                  </a:lnTo>
                  <a:lnTo>
                    <a:pt x="938" y="115"/>
                  </a:lnTo>
                  <a:close/>
                  <a:moveTo>
                    <a:pt x="955" y="93"/>
                  </a:moveTo>
                  <a:lnTo>
                    <a:pt x="999" y="74"/>
                  </a:lnTo>
                  <a:lnTo>
                    <a:pt x="1000" y="75"/>
                  </a:lnTo>
                  <a:lnTo>
                    <a:pt x="953" y="104"/>
                  </a:lnTo>
                  <a:lnTo>
                    <a:pt x="953" y="104"/>
                  </a:lnTo>
                  <a:lnTo>
                    <a:pt x="955" y="93"/>
                  </a:lnTo>
                  <a:lnTo>
                    <a:pt x="955" y="93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accent1"/>
              </a:solidFill>
            </a:ln>
          </p:spPr>
          <p:txBody>
            <a:bodyPr vert="horz" wrap="square" lIns="64657" tIns="32328" rIns="64657" bIns="3232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640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CasellaDiTesto 558">
              <a:extLst>
                <a:ext uri="{FF2B5EF4-FFF2-40B4-BE49-F238E27FC236}">
                  <a16:creationId xmlns:a16="http://schemas.microsoft.com/office/drawing/2014/main" id="{9B343916-8EE1-400E-A928-1BB7AB5AA4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09142" y="5843393"/>
              <a:ext cx="698985" cy="1767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364" tIns="34183" rIns="68364" bIns="34183">
              <a:spAutoFit/>
            </a:bodyPr>
            <a:lstStyle/>
            <a:p>
              <a:pPr marL="0" marR="0" lvl="0" indent="0" algn="r" defTabSz="685783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7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cocca</a:t>
              </a:r>
            </a:p>
          </p:txBody>
        </p:sp>
        <p:sp>
          <p:nvSpPr>
            <p:cNvPr id="90" name="Freeform 293">
              <a:extLst>
                <a:ext uri="{FF2B5EF4-FFF2-40B4-BE49-F238E27FC236}">
                  <a16:creationId xmlns:a16="http://schemas.microsoft.com/office/drawing/2014/main" id="{A9614E5E-CB12-4480-8267-D0D33EAF6F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96084" y="5843997"/>
              <a:ext cx="180035" cy="131140"/>
            </a:xfrm>
            <a:custGeom>
              <a:avLst/>
              <a:gdLst>
                <a:gd name="T0" fmla="*/ 1068 w 1357"/>
                <a:gd name="T1" fmla="*/ 97 h 947"/>
                <a:gd name="T2" fmla="*/ 447 w 1357"/>
                <a:gd name="T3" fmla="*/ 257 h 947"/>
                <a:gd name="T4" fmla="*/ 0 w 1357"/>
                <a:gd name="T5" fmla="*/ 861 h 947"/>
                <a:gd name="T6" fmla="*/ 541 w 1357"/>
                <a:gd name="T7" fmla="*/ 470 h 947"/>
                <a:gd name="T8" fmla="*/ 911 w 1357"/>
                <a:gd name="T9" fmla="*/ 374 h 947"/>
                <a:gd name="T10" fmla="*/ 295 w 1357"/>
                <a:gd name="T11" fmla="*/ 288 h 947"/>
                <a:gd name="T12" fmla="*/ 295 w 1357"/>
                <a:gd name="T13" fmla="*/ 536 h 947"/>
                <a:gd name="T14" fmla="*/ 1 w 1357"/>
                <a:gd name="T15" fmla="*/ 288 h 947"/>
                <a:gd name="T16" fmla="*/ 272 w 1357"/>
                <a:gd name="T17" fmla="*/ 485 h 947"/>
                <a:gd name="T18" fmla="*/ 221 w 1357"/>
                <a:gd name="T19" fmla="*/ 334 h 947"/>
                <a:gd name="T20" fmla="*/ 272 w 1357"/>
                <a:gd name="T21" fmla="*/ 411 h 947"/>
                <a:gd name="T22" fmla="*/ 48 w 1357"/>
                <a:gd name="T23" fmla="*/ 334 h 947"/>
                <a:gd name="T24" fmla="*/ 117 w 1357"/>
                <a:gd name="T25" fmla="*/ 334 h 947"/>
                <a:gd name="T26" fmla="*/ 142 w 1357"/>
                <a:gd name="T27" fmla="*/ 334 h 947"/>
                <a:gd name="T28" fmla="*/ 48 w 1357"/>
                <a:gd name="T29" fmla="*/ 438 h 947"/>
                <a:gd name="T30" fmla="*/ 295 w 1357"/>
                <a:gd name="T31" fmla="*/ 574 h 947"/>
                <a:gd name="T32" fmla="*/ 295 w 1357"/>
                <a:gd name="T33" fmla="*/ 822 h 947"/>
                <a:gd name="T34" fmla="*/ 1 w 1357"/>
                <a:gd name="T35" fmla="*/ 574 h 947"/>
                <a:gd name="T36" fmla="*/ 272 w 1357"/>
                <a:gd name="T37" fmla="*/ 772 h 947"/>
                <a:gd name="T38" fmla="*/ 221 w 1357"/>
                <a:gd name="T39" fmla="*/ 621 h 947"/>
                <a:gd name="T40" fmla="*/ 272 w 1357"/>
                <a:gd name="T41" fmla="*/ 699 h 947"/>
                <a:gd name="T42" fmla="*/ 48 w 1357"/>
                <a:gd name="T43" fmla="*/ 621 h 947"/>
                <a:gd name="T44" fmla="*/ 117 w 1357"/>
                <a:gd name="T45" fmla="*/ 621 h 947"/>
                <a:gd name="T46" fmla="*/ 142 w 1357"/>
                <a:gd name="T47" fmla="*/ 621 h 947"/>
                <a:gd name="T48" fmla="*/ 48 w 1357"/>
                <a:gd name="T49" fmla="*/ 726 h 947"/>
                <a:gd name="T50" fmla="*/ 948 w 1357"/>
                <a:gd name="T51" fmla="*/ 574 h 947"/>
                <a:gd name="T52" fmla="*/ 948 w 1357"/>
                <a:gd name="T53" fmla="*/ 822 h 947"/>
                <a:gd name="T54" fmla="*/ 654 w 1357"/>
                <a:gd name="T55" fmla="*/ 574 h 947"/>
                <a:gd name="T56" fmla="*/ 925 w 1357"/>
                <a:gd name="T57" fmla="*/ 772 h 947"/>
                <a:gd name="T58" fmla="*/ 874 w 1357"/>
                <a:gd name="T59" fmla="*/ 621 h 947"/>
                <a:gd name="T60" fmla="*/ 925 w 1357"/>
                <a:gd name="T61" fmla="*/ 699 h 947"/>
                <a:gd name="T62" fmla="*/ 702 w 1357"/>
                <a:gd name="T63" fmla="*/ 621 h 947"/>
                <a:gd name="T64" fmla="*/ 770 w 1357"/>
                <a:gd name="T65" fmla="*/ 621 h 947"/>
                <a:gd name="T66" fmla="*/ 795 w 1357"/>
                <a:gd name="T67" fmla="*/ 621 h 947"/>
                <a:gd name="T68" fmla="*/ 702 w 1357"/>
                <a:gd name="T69" fmla="*/ 726 h 947"/>
                <a:gd name="T70" fmla="*/ 1334 w 1357"/>
                <a:gd name="T71" fmla="*/ 574 h 947"/>
                <a:gd name="T72" fmla="*/ 1334 w 1357"/>
                <a:gd name="T73" fmla="*/ 822 h 947"/>
                <a:gd name="T74" fmla="*/ 1040 w 1357"/>
                <a:gd name="T75" fmla="*/ 574 h 947"/>
                <a:gd name="T76" fmla="*/ 1310 w 1357"/>
                <a:gd name="T77" fmla="*/ 772 h 947"/>
                <a:gd name="T78" fmla="*/ 1259 w 1357"/>
                <a:gd name="T79" fmla="*/ 621 h 947"/>
                <a:gd name="T80" fmla="*/ 1310 w 1357"/>
                <a:gd name="T81" fmla="*/ 699 h 947"/>
                <a:gd name="T82" fmla="*/ 1086 w 1357"/>
                <a:gd name="T83" fmla="*/ 621 h 947"/>
                <a:gd name="T84" fmla="*/ 1155 w 1357"/>
                <a:gd name="T85" fmla="*/ 621 h 947"/>
                <a:gd name="T86" fmla="*/ 1180 w 1357"/>
                <a:gd name="T87" fmla="*/ 621 h 947"/>
                <a:gd name="T88" fmla="*/ 1086 w 1357"/>
                <a:gd name="T89" fmla="*/ 726 h 947"/>
                <a:gd name="T90" fmla="*/ 782 w 1357"/>
                <a:gd name="T91" fmla="*/ 170 h 947"/>
                <a:gd name="T92" fmla="*/ 782 w 1357"/>
                <a:gd name="T93" fmla="*/ 170 h 947"/>
                <a:gd name="T94" fmla="*/ 678 w 1357"/>
                <a:gd name="T95" fmla="*/ 216 h 947"/>
                <a:gd name="T96" fmla="*/ 602 w 1357"/>
                <a:gd name="T97" fmla="*/ 250 h 947"/>
                <a:gd name="T98" fmla="*/ 628 w 1357"/>
                <a:gd name="T99" fmla="*/ 313 h 947"/>
                <a:gd name="T100" fmla="*/ 704 w 1357"/>
                <a:gd name="T101" fmla="*/ 264 h 947"/>
                <a:gd name="T102" fmla="*/ 794 w 1357"/>
                <a:gd name="T103" fmla="*/ 207 h 947"/>
                <a:gd name="T104" fmla="*/ 885 w 1357"/>
                <a:gd name="T105" fmla="*/ 149 h 947"/>
                <a:gd name="T106" fmla="*/ 935 w 1357"/>
                <a:gd name="T107" fmla="*/ 102 h 947"/>
                <a:gd name="T108" fmla="*/ 999 w 1357"/>
                <a:gd name="T109" fmla="*/ 74 h 947"/>
                <a:gd name="T110" fmla="*/ 955 w 1357"/>
                <a:gd name="T111" fmla="*/ 93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57" h="947">
                  <a:moveTo>
                    <a:pt x="1128" y="374"/>
                  </a:moveTo>
                  <a:lnTo>
                    <a:pt x="1032" y="374"/>
                  </a:lnTo>
                  <a:lnTo>
                    <a:pt x="1032" y="120"/>
                  </a:lnTo>
                  <a:lnTo>
                    <a:pt x="1048" y="109"/>
                  </a:lnTo>
                  <a:lnTo>
                    <a:pt x="1068" y="97"/>
                  </a:lnTo>
                  <a:lnTo>
                    <a:pt x="1059" y="76"/>
                  </a:lnTo>
                  <a:lnTo>
                    <a:pt x="1039" y="26"/>
                  </a:lnTo>
                  <a:lnTo>
                    <a:pt x="1029" y="0"/>
                  </a:lnTo>
                  <a:lnTo>
                    <a:pt x="1003" y="11"/>
                  </a:lnTo>
                  <a:lnTo>
                    <a:pt x="447" y="257"/>
                  </a:lnTo>
                  <a:lnTo>
                    <a:pt x="378" y="257"/>
                  </a:lnTo>
                  <a:lnTo>
                    <a:pt x="378" y="470"/>
                  </a:lnTo>
                  <a:lnTo>
                    <a:pt x="415" y="470"/>
                  </a:lnTo>
                  <a:lnTo>
                    <a:pt x="415" y="861"/>
                  </a:lnTo>
                  <a:lnTo>
                    <a:pt x="0" y="861"/>
                  </a:lnTo>
                  <a:lnTo>
                    <a:pt x="0" y="947"/>
                  </a:lnTo>
                  <a:lnTo>
                    <a:pt x="1357" y="947"/>
                  </a:lnTo>
                  <a:lnTo>
                    <a:pt x="1357" y="861"/>
                  </a:lnTo>
                  <a:lnTo>
                    <a:pt x="541" y="861"/>
                  </a:lnTo>
                  <a:lnTo>
                    <a:pt x="541" y="470"/>
                  </a:lnTo>
                  <a:lnTo>
                    <a:pt x="581" y="470"/>
                  </a:lnTo>
                  <a:lnTo>
                    <a:pt x="581" y="408"/>
                  </a:lnTo>
                  <a:lnTo>
                    <a:pt x="1006" y="136"/>
                  </a:lnTo>
                  <a:lnTo>
                    <a:pt x="1006" y="374"/>
                  </a:lnTo>
                  <a:lnTo>
                    <a:pt x="911" y="374"/>
                  </a:lnTo>
                  <a:lnTo>
                    <a:pt x="911" y="531"/>
                  </a:lnTo>
                  <a:lnTo>
                    <a:pt x="1128" y="531"/>
                  </a:lnTo>
                  <a:lnTo>
                    <a:pt x="1128" y="374"/>
                  </a:lnTo>
                  <a:lnTo>
                    <a:pt x="1128" y="374"/>
                  </a:lnTo>
                  <a:close/>
                  <a:moveTo>
                    <a:pt x="295" y="288"/>
                  </a:moveTo>
                  <a:lnTo>
                    <a:pt x="319" y="288"/>
                  </a:lnTo>
                  <a:lnTo>
                    <a:pt x="319" y="310"/>
                  </a:lnTo>
                  <a:lnTo>
                    <a:pt x="319" y="512"/>
                  </a:lnTo>
                  <a:lnTo>
                    <a:pt x="319" y="536"/>
                  </a:lnTo>
                  <a:lnTo>
                    <a:pt x="295" y="536"/>
                  </a:lnTo>
                  <a:lnTo>
                    <a:pt x="25" y="536"/>
                  </a:lnTo>
                  <a:lnTo>
                    <a:pt x="1" y="536"/>
                  </a:lnTo>
                  <a:lnTo>
                    <a:pt x="1" y="512"/>
                  </a:lnTo>
                  <a:lnTo>
                    <a:pt x="1" y="310"/>
                  </a:lnTo>
                  <a:lnTo>
                    <a:pt x="1" y="288"/>
                  </a:lnTo>
                  <a:lnTo>
                    <a:pt x="25" y="288"/>
                  </a:lnTo>
                  <a:lnTo>
                    <a:pt x="295" y="288"/>
                  </a:lnTo>
                  <a:lnTo>
                    <a:pt x="295" y="288"/>
                  </a:lnTo>
                  <a:close/>
                  <a:moveTo>
                    <a:pt x="221" y="334"/>
                  </a:moveTo>
                  <a:lnTo>
                    <a:pt x="272" y="485"/>
                  </a:lnTo>
                  <a:lnTo>
                    <a:pt x="272" y="489"/>
                  </a:lnTo>
                  <a:lnTo>
                    <a:pt x="245" y="489"/>
                  </a:lnTo>
                  <a:lnTo>
                    <a:pt x="194" y="334"/>
                  </a:lnTo>
                  <a:lnTo>
                    <a:pt x="221" y="334"/>
                  </a:lnTo>
                  <a:lnTo>
                    <a:pt x="221" y="334"/>
                  </a:lnTo>
                  <a:close/>
                  <a:moveTo>
                    <a:pt x="272" y="411"/>
                  </a:moveTo>
                  <a:lnTo>
                    <a:pt x="246" y="334"/>
                  </a:lnTo>
                  <a:lnTo>
                    <a:pt x="272" y="334"/>
                  </a:lnTo>
                  <a:lnTo>
                    <a:pt x="272" y="411"/>
                  </a:lnTo>
                  <a:lnTo>
                    <a:pt x="272" y="411"/>
                  </a:lnTo>
                  <a:close/>
                  <a:moveTo>
                    <a:pt x="65" y="334"/>
                  </a:moveTo>
                  <a:lnTo>
                    <a:pt x="117" y="489"/>
                  </a:lnTo>
                  <a:lnTo>
                    <a:pt x="90" y="489"/>
                  </a:lnTo>
                  <a:lnTo>
                    <a:pt x="48" y="365"/>
                  </a:lnTo>
                  <a:lnTo>
                    <a:pt x="48" y="334"/>
                  </a:lnTo>
                  <a:lnTo>
                    <a:pt x="65" y="334"/>
                  </a:lnTo>
                  <a:lnTo>
                    <a:pt x="65" y="334"/>
                  </a:lnTo>
                  <a:close/>
                  <a:moveTo>
                    <a:pt x="142" y="489"/>
                  </a:moveTo>
                  <a:lnTo>
                    <a:pt x="90" y="334"/>
                  </a:lnTo>
                  <a:lnTo>
                    <a:pt x="117" y="334"/>
                  </a:lnTo>
                  <a:lnTo>
                    <a:pt x="169" y="489"/>
                  </a:lnTo>
                  <a:lnTo>
                    <a:pt x="142" y="489"/>
                  </a:lnTo>
                  <a:lnTo>
                    <a:pt x="142" y="489"/>
                  </a:lnTo>
                  <a:close/>
                  <a:moveTo>
                    <a:pt x="194" y="489"/>
                  </a:moveTo>
                  <a:lnTo>
                    <a:pt x="142" y="334"/>
                  </a:lnTo>
                  <a:lnTo>
                    <a:pt x="169" y="334"/>
                  </a:lnTo>
                  <a:lnTo>
                    <a:pt x="221" y="489"/>
                  </a:lnTo>
                  <a:lnTo>
                    <a:pt x="194" y="489"/>
                  </a:lnTo>
                  <a:lnTo>
                    <a:pt x="194" y="489"/>
                  </a:lnTo>
                  <a:close/>
                  <a:moveTo>
                    <a:pt x="48" y="438"/>
                  </a:moveTo>
                  <a:lnTo>
                    <a:pt x="65" y="489"/>
                  </a:lnTo>
                  <a:lnTo>
                    <a:pt x="48" y="489"/>
                  </a:lnTo>
                  <a:lnTo>
                    <a:pt x="48" y="438"/>
                  </a:lnTo>
                  <a:lnTo>
                    <a:pt x="48" y="438"/>
                  </a:lnTo>
                  <a:close/>
                  <a:moveTo>
                    <a:pt x="295" y="574"/>
                  </a:moveTo>
                  <a:lnTo>
                    <a:pt x="319" y="574"/>
                  </a:lnTo>
                  <a:lnTo>
                    <a:pt x="319" y="597"/>
                  </a:lnTo>
                  <a:lnTo>
                    <a:pt x="319" y="799"/>
                  </a:lnTo>
                  <a:lnTo>
                    <a:pt x="319" y="822"/>
                  </a:lnTo>
                  <a:lnTo>
                    <a:pt x="295" y="822"/>
                  </a:lnTo>
                  <a:lnTo>
                    <a:pt x="25" y="822"/>
                  </a:lnTo>
                  <a:lnTo>
                    <a:pt x="1" y="822"/>
                  </a:lnTo>
                  <a:lnTo>
                    <a:pt x="1" y="799"/>
                  </a:lnTo>
                  <a:lnTo>
                    <a:pt x="1" y="597"/>
                  </a:lnTo>
                  <a:lnTo>
                    <a:pt x="1" y="574"/>
                  </a:lnTo>
                  <a:lnTo>
                    <a:pt x="25" y="574"/>
                  </a:lnTo>
                  <a:lnTo>
                    <a:pt x="295" y="574"/>
                  </a:lnTo>
                  <a:lnTo>
                    <a:pt x="295" y="574"/>
                  </a:lnTo>
                  <a:close/>
                  <a:moveTo>
                    <a:pt x="221" y="621"/>
                  </a:moveTo>
                  <a:lnTo>
                    <a:pt x="272" y="772"/>
                  </a:lnTo>
                  <a:lnTo>
                    <a:pt x="272" y="776"/>
                  </a:lnTo>
                  <a:lnTo>
                    <a:pt x="245" y="776"/>
                  </a:lnTo>
                  <a:lnTo>
                    <a:pt x="194" y="621"/>
                  </a:lnTo>
                  <a:lnTo>
                    <a:pt x="221" y="621"/>
                  </a:lnTo>
                  <a:lnTo>
                    <a:pt x="221" y="621"/>
                  </a:lnTo>
                  <a:close/>
                  <a:moveTo>
                    <a:pt x="272" y="699"/>
                  </a:moveTo>
                  <a:lnTo>
                    <a:pt x="246" y="621"/>
                  </a:lnTo>
                  <a:lnTo>
                    <a:pt x="272" y="621"/>
                  </a:lnTo>
                  <a:lnTo>
                    <a:pt x="272" y="699"/>
                  </a:lnTo>
                  <a:lnTo>
                    <a:pt x="272" y="699"/>
                  </a:lnTo>
                  <a:close/>
                  <a:moveTo>
                    <a:pt x="65" y="621"/>
                  </a:moveTo>
                  <a:lnTo>
                    <a:pt x="117" y="776"/>
                  </a:lnTo>
                  <a:lnTo>
                    <a:pt x="90" y="776"/>
                  </a:lnTo>
                  <a:lnTo>
                    <a:pt x="48" y="652"/>
                  </a:lnTo>
                  <a:lnTo>
                    <a:pt x="48" y="621"/>
                  </a:lnTo>
                  <a:lnTo>
                    <a:pt x="65" y="621"/>
                  </a:lnTo>
                  <a:lnTo>
                    <a:pt x="65" y="621"/>
                  </a:lnTo>
                  <a:close/>
                  <a:moveTo>
                    <a:pt x="142" y="776"/>
                  </a:moveTo>
                  <a:lnTo>
                    <a:pt x="90" y="621"/>
                  </a:lnTo>
                  <a:lnTo>
                    <a:pt x="117" y="621"/>
                  </a:lnTo>
                  <a:lnTo>
                    <a:pt x="169" y="776"/>
                  </a:lnTo>
                  <a:lnTo>
                    <a:pt x="142" y="776"/>
                  </a:lnTo>
                  <a:lnTo>
                    <a:pt x="142" y="776"/>
                  </a:lnTo>
                  <a:close/>
                  <a:moveTo>
                    <a:pt x="194" y="776"/>
                  </a:moveTo>
                  <a:lnTo>
                    <a:pt x="142" y="621"/>
                  </a:lnTo>
                  <a:lnTo>
                    <a:pt x="169" y="621"/>
                  </a:lnTo>
                  <a:lnTo>
                    <a:pt x="221" y="776"/>
                  </a:lnTo>
                  <a:lnTo>
                    <a:pt x="194" y="776"/>
                  </a:lnTo>
                  <a:lnTo>
                    <a:pt x="194" y="776"/>
                  </a:lnTo>
                  <a:close/>
                  <a:moveTo>
                    <a:pt x="48" y="726"/>
                  </a:moveTo>
                  <a:lnTo>
                    <a:pt x="65" y="776"/>
                  </a:lnTo>
                  <a:lnTo>
                    <a:pt x="48" y="776"/>
                  </a:lnTo>
                  <a:lnTo>
                    <a:pt x="48" y="726"/>
                  </a:lnTo>
                  <a:lnTo>
                    <a:pt x="48" y="726"/>
                  </a:lnTo>
                  <a:close/>
                  <a:moveTo>
                    <a:pt x="948" y="574"/>
                  </a:moveTo>
                  <a:lnTo>
                    <a:pt x="971" y="574"/>
                  </a:lnTo>
                  <a:lnTo>
                    <a:pt x="971" y="597"/>
                  </a:lnTo>
                  <a:lnTo>
                    <a:pt x="971" y="799"/>
                  </a:lnTo>
                  <a:lnTo>
                    <a:pt x="971" y="822"/>
                  </a:lnTo>
                  <a:lnTo>
                    <a:pt x="948" y="822"/>
                  </a:lnTo>
                  <a:lnTo>
                    <a:pt x="678" y="822"/>
                  </a:lnTo>
                  <a:lnTo>
                    <a:pt x="654" y="822"/>
                  </a:lnTo>
                  <a:lnTo>
                    <a:pt x="654" y="799"/>
                  </a:lnTo>
                  <a:lnTo>
                    <a:pt x="654" y="597"/>
                  </a:lnTo>
                  <a:lnTo>
                    <a:pt x="654" y="574"/>
                  </a:lnTo>
                  <a:lnTo>
                    <a:pt x="678" y="574"/>
                  </a:lnTo>
                  <a:lnTo>
                    <a:pt x="948" y="574"/>
                  </a:lnTo>
                  <a:lnTo>
                    <a:pt x="948" y="574"/>
                  </a:lnTo>
                  <a:close/>
                  <a:moveTo>
                    <a:pt x="874" y="621"/>
                  </a:moveTo>
                  <a:lnTo>
                    <a:pt x="925" y="772"/>
                  </a:lnTo>
                  <a:lnTo>
                    <a:pt x="925" y="776"/>
                  </a:lnTo>
                  <a:lnTo>
                    <a:pt x="898" y="776"/>
                  </a:lnTo>
                  <a:lnTo>
                    <a:pt x="847" y="621"/>
                  </a:lnTo>
                  <a:lnTo>
                    <a:pt x="874" y="621"/>
                  </a:lnTo>
                  <a:lnTo>
                    <a:pt x="874" y="621"/>
                  </a:lnTo>
                  <a:close/>
                  <a:moveTo>
                    <a:pt x="925" y="699"/>
                  </a:moveTo>
                  <a:lnTo>
                    <a:pt x="899" y="621"/>
                  </a:lnTo>
                  <a:lnTo>
                    <a:pt x="925" y="621"/>
                  </a:lnTo>
                  <a:lnTo>
                    <a:pt x="925" y="699"/>
                  </a:lnTo>
                  <a:lnTo>
                    <a:pt x="925" y="699"/>
                  </a:lnTo>
                  <a:close/>
                  <a:moveTo>
                    <a:pt x="718" y="621"/>
                  </a:moveTo>
                  <a:lnTo>
                    <a:pt x="770" y="776"/>
                  </a:lnTo>
                  <a:lnTo>
                    <a:pt x="743" y="776"/>
                  </a:lnTo>
                  <a:lnTo>
                    <a:pt x="702" y="652"/>
                  </a:lnTo>
                  <a:lnTo>
                    <a:pt x="702" y="621"/>
                  </a:lnTo>
                  <a:lnTo>
                    <a:pt x="718" y="621"/>
                  </a:lnTo>
                  <a:lnTo>
                    <a:pt x="718" y="621"/>
                  </a:lnTo>
                  <a:close/>
                  <a:moveTo>
                    <a:pt x="795" y="776"/>
                  </a:moveTo>
                  <a:lnTo>
                    <a:pt x="743" y="621"/>
                  </a:lnTo>
                  <a:lnTo>
                    <a:pt x="770" y="621"/>
                  </a:lnTo>
                  <a:lnTo>
                    <a:pt x="822" y="776"/>
                  </a:lnTo>
                  <a:lnTo>
                    <a:pt x="795" y="776"/>
                  </a:lnTo>
                  <a:lnTo>
                    <a:pt x="795" y="776"/>
                  </a:lnTo>
                  <a:close/>
                  <a:moveTo>
                    <a:pt x="847" y="776"/>
                  </a:moveTo>
                  <a:lnTo>
                    <a:pt x="795" y="621"/>
                  </a:lnTo>
                  <a:lnTo>
                    <a:pt x="822" y="621"/>
                  </a:lnTo>
                  <a:lnTo>
                    <a:pt x="874" y="776"/>
                  </a:lnTo>
                  <a:lnTo>
                    <a:pt x="847" y="776"/>
                  </a:lnTo>
                  <a:lnTo>
                    <a:pt x="847" y="776"/>
                  </a:lnTo>
                  <a:close/>
                  <a:moveTo>
                    <a:pt x="702" y="726"/>
                  </a:moveTo>
                  <a:lnTo>
                    <a:pt x="718" y="776"/>
                  </a:lnTo>
                  <a:lnTo>
                    <a:pt x="702" y="776"/>
                  </a:lnTo>
                  <a:lnTo>
                    <a:pt x="702" y="726"/>
                  </a:lnTo>
                  <a:lnTo>
                    <a:pt x="702" y="726"/>
                  </a:lnTo>
                  <a:close/>
                  <a:moveTo>
                    <a:pt x="1334" y="574"/>
                  </a:moveTo>
                  <a:lnTo>
                    <a:pt x="1356" y="574"/>
                  </a:lnTo>
                  <a:lnTo>
                    <a:pt x="1356" y="597"/>
                  </a:lnTo>
                  <a:lnTo>
                    <a:pt x="1356" y="799"/>
                  </a:lnTo>
                  <a:lnTo>
                    <a:pt x="1356" y="822"/>
                  </a:lnTo>
                  <a:lnTo>
                    <a:pt x="1334" y="822"/>
                  </a:lnTo>
                  <a:lnTo>
                    <a:pt x="1063" y="822"/>
                  </a:lnTo>
                  <a:lnTo>
                    <a:pt x="1040" y="822"/>
                  </a:lnTo>
                  <a:lnTo>
                    <a:pt x="1040" y="799"/>
                  </a:lnTo>
                  <a:lnTo>
                    <a:pt x="1040" y="597"/>
                  </a:lnTo>
                  <a:lnTo>
                    <a:pt x="1040" y="574"/>
                  </a:lnTo>
                  <a:lnTo>
                    <a:pt x="1063" y="574"/>
                  </a:lnTo>
                  <a:lnTo>
                    <a:pt x="1334" y="574"/>
                  </a:lnTo>
                  <a:lnTo>
                    <a:pt x="1334" y="574"/>
                  </a:lnTo>
                  <a:close/>
                  <a:moveTo>
                    <a:pt x="1259" y="621"/>
                  </a:moveTo>
                  <a:lnTo>
                    <a:pt x="1310" y="772"/>
                  </a:lnTo>
                  <a:lnTo>
                    <a:pt x="1310" y="776"/>
                  </a:lnTo>
                  <a:lnTo>
                    <a:pt x="1284" y="776"/>
                  </a:lnTo>
                  <a:lnTo>
                    <a:pt x="1232" y="621"/>
                  </a:lnTo>
                  <a:lnTo>
                    <a:pt x="1259" y="621"/>
                  </a:lnTo>
                  <a:lnTo>
                    <a:pt x="1259" y="621"/>
                  </a:lnTo>
                  <a:close/>
                  <a:moveTo>
                    <a:pt x="1310" y="699"/>
                  </a:moveTo>
                  <a:lnTo>
                    <a:pt x="1284" y="621"/>
                  </a:lnTo>
                  <a:lnTo>
                    <a:pt x="1310" y="621"/>
                  </a:lnTo>
                  <a:lnTo>
                    <a:pt x="1310" y="699"/>
                  </a:lnTo>
                  <a:lnTo>
                    <a:pt x="1310" y="699"/>
                  </a:lnTo>
                  <a:close/>
                  <a:moveTo>
                    <a:pt x="1104" y="621"/>
                  </a:moveTo>
                  <a:lnTo>
                    <a:pt x="1155" y="776"/>
                  </a:lnTo>
                  <a:lnTo>
                    <a:pt x="1128" y="776"/>
                  </a:lnTo>
                  <a:lnTo>
                    <a:pt x="1086" y="652"/>
                  </a:lnTo>
                  <a:lnTo>
                    <a:pt x="1086" y="621"/>
                  </a:lnTo>
                  <a:lnTo>
                    <a:pt x="1104" y="621"/>
                  </a:lnTo>
                  <a:lnTo>
                    <a:pt x="1104" y="621"/>
                  </a:lnTo>
                  <a:close/>
                  <a:moveTo>
                    <a:pt x="1180" y="776"/>
                  </a:moveTo>
                  <a:lnTo>
                    <a:pt x="1128" y="621"/>
                  </a:lnTo>
                  <a:lnTo>
                    <a:pt x="1155" y="621"/>
                  </a:lnTo>
                  <a:lnTo>
                    <a:pt x="1207" y="776"/>
                  </a:lnTo>
                  <a:lnTo>
                    <a:pt x="1180" y="776"/>
                  </a:lnTo>
                  <a:lnTo>
                    <a:pt x="1180" y="776"/>
                  </a:lnTo>
                  <a:close/>
                  <a:moveTo>
                    <a:pt x="1232" y="776"/>
                  </a:moveTo>
                  <a:lnTo>
                    <a:pt x="1180" y="621"/>
                  </a:lnTo>
                  <a:lnTo>
                    <a:pt x="1207" y="621"/>
                  </a:lnTo>
                  <a:lnTo>
                    <a:pt x="1259" y="776"/>
                  </a:lnTo>
                  <a:lnTo>
                    <a:pt x="1232" y="776"/>
                  </a:lnTo>
                  <a:lnTo>
                    <a:pt x="1232" y="776"/>
                  </a:lnTo>
                  <a:close/>
                  <a:moveTo>
                    <a:pt x="1086" y="726"/>
                  </a:moveTo>
                  <a:lnTo>
                    <a:pt x="1103" y="776"/>
                  </a:lnTo>
                  <a:lnTo>
                    <a:pt x="1086" y="776"/>
                  </a:lnTo>
                  <a:lnTo>
                    <a:pt x="1086" y="726"/>
                  </a:lnTo>
                  <a:lnTo>
                    <a:pt x="1086" y="726"/>
                  </a:lnTo>
                  <a:close/>
                  <a:moveTo>
                    <a:pt x="782" y="170"/>
                  </a:moveTo>
                  <a:lnTo>
                    <a:pt x="841" y="143"/>
                  </a:lnTo>
                  <a:lnTo>
                    <a:pt x="831" y="184"/>
                  </a:lnTo>
                  <a:lnTo>
                    <a:pt x="820" y="190"/>
                  </a:lnTo>
                  <a:lnTo>
                    <a:pt x="782" y="170"/>
                  </a:lnTo>
                  <a:lnTo>
                    <a:pt x="782" y="170"/>
                  </a:lnTo>
                  <a:close/>
                  <a:moveTo>
                    <a:pt x="678" y="216"/>
                  </a:moveTo>
                  <a:lnTo>
                    <a:pt x="728" y="193"/>
                  </a:lnTo>
                  <a:lnTo>
                    <a:pt x="726" y="245"/>
                  </a:lnTo>
                  <a:lnTo>
                    <a:pt x="678" y="216"/>
                  </a:lnTo>
                  <a:lnTo>
                    <a:pt x="678" y="216"/>
                  </a:lnTo>
                  <a:close/>
                  <a:moveTo>
                    <a:pt x="602" y="250"/>
                  </a:moveTo>
                  <a:lnTo>
                    <a:pt x="634" y="236"/>
                  </a:lnTo>
                  <a:lnTo>
                    <a:pt x="632" y="278"/>
                  </a:lnTo>
                  <a:lnTo>
                    <a:pt x="602" y="250"/>
                  </a:lnTo>
                  <a:lnTo>
                    <a:pt x="602" y="250"/>
                  </a:lnTo>
                  <a:close/>
                  <a:moveTo>
                    <a:pt x="628" y="313"/>
                  </a:moveTo>
                  <a:lnTo>
                    <a:pt x="581" y="343"/>
                  </a:lnTo>
                  <a:lnTo>
                    <a:pt x="581" y="268"/>
                  </a:lnTo>
                  <a:lnTo>
                    <a:pt x="628" y="313"/>
                  </a:lnTo>
                  <a:lnTo>
                    <a:pt x="628" y="313"/>
                  </a:lnTo>
                  <a:close/>
                  <a:moveTo>
                    <a:pt x="704" y="264"/>
                  </a:moveTo>
                  <a:lnTo>
                    <a:pt x="659" y="293"/>
                  </a:lnTo>
                  <a:lnTo>
                    <a:pt x="661" y="239"/>
                  </a:lnTo>
                  <a:lnTo>
                    <a:pt x="704" y="264"/>
                  </a:lnTo>
                  <a:lnTo>
                    <a:pt x="704" y="264"/>
                  </a:lnTo>
                  <a:close/>
                  <a:moveTo>
                    <a:pt x="794" y="207"/>
                  </a:moveTo>
                  <a:lnTo>
                    <a:pt x="754" y="232"/>
                  </a:lnTo>
                  <a:lnTo>
                    <a:pt x="755" y="187"/>
                  </a:lnTo>
                  <a:lnTo>
                    <a:pt x="794" y="207"/>
                  </a:lnTo>
                  <a:lnTo>
                    <a:pt x="794" y="207"/>
                  </a:lnTo>
                  <a:close/>
                  <a:moveTo>
                    <a:pt x="885" y="149"/>
                  </a:moveTo>
                  <a:lnTo>
                    <a:pt x="865" y="161"/>
                  </a:lnTo>
                  <a:lnTo>
                    <a:pt x="872" y="139"/>
                  </a:lnTo>
                  <a:lnTo>
                    <a:pt x="885" y="149"/>
                  </a:lnTo>
                  <a:lnTo>
                    <a:pt x="885" y="149"/>
                  </a:lnTo>
                  <a:close/>
                  <a:moveTo>
                    <a:pt x="938" y="115"/>
                  </a:moveTo>
                  <a:lnTo>
                    <a:pt x="910" y="133"/>
                  </a:lnTo>
                  <a:lnTo>
                    <a:pt x="910" y="133"/>
                  </a:lnTo>
                  <a:lnTo>
                    <a:pt x="892" y="121"/>
                  </a:lnTo>
                  <a:lnTo>
                    <a:pt x="935" y="102"/>
                  </a:lnTo>
                  <a:lnTo>
                    <a:pt x="935" y="102"/>
                  </a:lnTo>
                  <a:lnTo>
                    <a:pt x="938" y="115"/>
                  </a:lnTo>
                  <a:lnTo>
                    <a:pt x="938" y="115"/>
                  </a:lnTo>
                  <a:close/>
                  <a:moveTo>
                    <a:pt x="955" y="93"/>
                  </a:moveTo>
                  <a:lnTo>
                    <a:pt x="999" y="74"/>
                  </a:lnTo>
                  <a:lnTo>
                    <a:pt x="1000" y="75"/>
                  </a:lnTo>
                  <a:lnTo>
                    <a:pt x="953" y="104"/>
                  </a:lnTo>
                  <a:lnTo>
                    <a:pt x="953" y="104"/>
                  </a:lnTo>
                  <a:lnTo>
                    <a:pt x="955" y="93"/>
                  </a:lnTo>
                  <a:lnTo>
                    <a:pt x="955" y="93"/>
                  </a:lnTo>
                  <a:close/>
                </a:path>
              </a:pathLst>
            </a:custGeom>
            <a:solidFill>
              <a:srgbClr val="0A2966"/>
            </a:solidFill>
            <a:ln>
              <a:solidFill>
                <a:srgbClr val="0A2966"/>
              </a:solidFill>
            </a:ln>
          </p:spPr>
          <p:txBody>
            <a:bodyPr vert="horz" wrap="square" lIns="64657" tIns="32328" rIns="64657" bIns="3232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640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293">
              <a:extLst>
                <a:ext uri="{FF2B5EF4-FFF2-40B4-BE49-F238E27FC236}">
                  <a16:creationId xmlns:a16="http://schemas.microsoft.com/office/drawing/2014/main" id="{185C59FC-DDC5-4AED-B7B6-F90099880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03711" y="3276916"/>
              <a:ext cx="180035" cy="131140"/>
            </a:xfrm>
            <a:custGeom>
              <a:avLst/>
              <a:gdLst>
                <a:gd name="T0" fmla="*/ 1068 w 1357"/>
                <a:gd name="T1" fmla="*/ 97 h 947"/>
                <a:gd name="T2" fmla="*/ 447 w 1357"/>
                <a:gd name="T3" fmla="*/ 257 h 947"/>
                <a:gd name="T4" fmla="*/ 0 w 1357"/>
                <a:gd name="T5" fmla="*/ 861 h 947"/>
                <a:gd name="T6" fmla="*/ 541 w 1357"/>
                <a:gd name="T7" fmla="*/ 470 h 947"/>
                <a:gd name="T8" fmla="*/ 911 w 1357"/>
                <a:gd name="T9" fmla="*/ 374 h 947"/>
                <a:gd name="T10" fmla="*/ 295 w 1357"/>
                <a:gd name="T11" fmla="*/ 288 h 947"/>
                <a:gd name="T12" fmla="*/ 295 w 1357"/>
                <a:gd name="T13" fmla="*/ 536 h 947"/>
                <a:gd name="T14" fmla="*/ 1 w 1357"/>
                <a:gd name="T15" fmla="*/ 288 h 947"/>
                <a:gd name="T16" fmla="*/ 272 w 1357"/>
                <a:gd name="T17" fmla="*/ 485 h 947"/>
                <a:gd name="T18" fmla="*/ 221 w 1357"/>
                <a:gd name="T19" fmla="*/ 334 h 947"/>
                <a:gd name="T20" fmla="*/ 272 w 1357"/>
                <a:gd name="T21" fmla="*/ 411 h 947"/>
                <a:gd name="T22" fmla="*/ 48 w 1357"/>
                <a:gd name="T23" fmla="*/ 334 h 947"/>
                <a:gd name="T24" fmla="*/ 117 w 1357"/>
                <a:gd name="T25" fmla="*/ 334 h 947"/>
                <a:gd name="T26" fmla="*/ 142 w 1357"/>
                <a:gd name="T27" fmla="*/ 334 h 947"/>
                <a:gd name="T28" fmla="*/ 48 w 1357"/>
                <a:gd name="T29" fmla="*/ 438 h 947"/>
                <a:gd name="T30" fmla="*/ 295 w 1357"/>
                <a:gd name="T31" fmla="*/ 574 h 947"/>
                <a:gd name="T32" fmla="*/ 295 w 1357"/>
                <a:gd name="T33" fmla="*/ 822 h 947"/>
                <a:gd name="T34" fmla="*/ 1 w 1357"/>
                <a:gd name="T35" fmla="*/ 574 h 947"/>
                <a:gd name="T36" fmla="*/ 272 w 1357"/>
                <a:gd name="T37" fmla="*/ 772 h 947"/>
                <a:gd name="T38" fmla="*/ 221 w 1357"/>
                <a:gd name="T39" fmla="*/ 621 h 947"/>
                <a:gd name="T40" fmla="*/ 272 w 1357"/>
                <a:gd name="T41" fmla="*/ 699 h 947"/>
                <a:gd name="T42" fmla="*/ 48 w 1357"/>
                <a:gd name="T43" fmla="*/ 621 h 947"/>
                <a:gd name="T44" fmla="*/ 117 w 1357"/>
                <a:gd name="T45" fmla="*/ 621 h 947"/>
                <a:gd name="T46" fmla="*/ 142 w 1357"/>
                <a:gd name="T47" fmla="*/ 621 h 947"/>
                <a:gd name="T48" fmla="*/ 48 w 1357"/>
                <a:gd name="T49" fmla="*/ 726 h 947"/>
                <a:gd name="T50" fmla="*/ 948 w 1357"/>
                <a:gd name="T51" fmla="*/ 574 h 947"/>
                <a:gd name="T52" fmla="*/ 948 w 1357"/>
                <a:gd name="T53" fmla="*/ 822 h 947"/>
                <a:gd name="T54" fmla="*/ 654 w 1357"/>
                <a:gd name="T55" fmla="*/ 574 h 947"/>
                <a:gd name="T56" fmla="*/ 925 w 1357"/>
                <a:gd name="T57" fmla="*/ 772 h 947"/>
                <a:gd name="T58" fmla="*/ 874 w 1357"/>
                <a:gd name="T59" fmla="*/ 621 h 947"/>
                <a:gd name="T60" fmla="*/ 925 w 1357"/>
                <a:gd name="T61" fmla="*/ 699 h 947"/>
                <a:gd name="T62" fmla="*/ 702 w 1357"/>
                <a:gd name="T63" fmla="*/ 621 h 947"/>
                <a:gd name="T64" fmla="*/ 770 w 1357"/>
                <a:gd name="T65" fmla="*/ 621 h 947"/>
                <a:gd name="T66" fmla="*/ 795 w 1357"/>
                <a:gd name="T67" fmla="*/ 621 h 947"/>
                <a:gd name="T68" fmla="*/ 702 w 1357"/>
                <a:gd name="T69" fmla="*/ 726 h 947"/>
                <a:gd name="T70" fmla="*/ 1334 w 1357"/>
                <a:gd name="T71" fmla="*/ 574 h 947"/>
                <a:gd name="T72" fmla="*/ 1334 w 1357"/>
                <a:gd name="T73" fmla="*/ 822 h 947"/>
                <a:gd name="T74" fmla="*/ 1040 w 1357"/>
                <a:gd name="T75" fmla="*/ 574 h 947"/>
                <a:gd name="T76" fmla="*/ 1310 w 1357"/>
                <a:gd name="T77" fmla="*/ 772 h 947"/>
                <a:gd name="T78" fmla="*/ 1259 w 1357"/>
                <a:gd name="T79" fmla="*/ 621 h 947"/>
                <a:gd name="T80" fmla="*/ 1310 w 1357"/>
                <a:gd name="T81" fmla="*/ 699 h 947"/>
                <a:gd name="T82" fmla="*/ 1086 w 1357"/>
                <a:gd name="T83" fmla="*/ 621 h 947"/>
                <a:gd name="T84" fmla="*/ 1155 w 1357"/>
                <a:gd name="T85" fmla="*/ 621 h 947"/>
                <a:gd name="T86" fmla="*/ 1180 w 1357"/>
                <a:gd name="T87" fmla="*/ 621 h 947"/>
                <a:gd name="T88" fmla="*/ 1086 w 1357"/>
                <a:gd name="T89" fmla="*/ 726 h 947"/>
                <a:gd name="T90" fmla="*/ 782 w 1357"/>
                <a:gd name="T91" fmla="*/ 170 h 947"/>
                <a:gd name="T92" fmla="*/ 782 w 1357"/>
                <a:gd name="T93" fmla="*/ 170 h 947"/>
                <a:gd name="T94" fmla="*/ 678 w 1357"/>
                <a:gd name="T95" fmla="*/ 216 h 947"/>
                <a:gd name="T96" fmla="*/ 602 w 1357"/>
                <a:gd name="T97" fmla="*/ 250 h 947"/>
                <a:gd name="T98" fmla="*/ 628 w 1357"/>
                <a:gd name="T99" fmla="*/ 313 h 947"/>
                <a:gd name="T100" fmla="*/ 704 w 1357"/>
                <a:gd name="T101" fmla="*/ 264 h 947"/>
                <a:gd name="T102" fmla="*/ 794 w 1357"/>
                <a:gd name="T103" fmla="*/ 207 h 947"/>
                <a:gd name="T104" fmla="*/ 885 w 1357"/>
                <a:gd name="T105" fmla="*/ 149 h 947"/>
                <a:gd name="T106" fmla="*/ 935 w 1357"/>
                <a:gd name="T107" fmla="*/ 102 h 947"/>
                <a:gd name="T108" fmla="*/ 999 w 1357"/>
                <a:gd name="T109" fmla="*/ 74 h 947"/>
                <a:gd name="T110" fmla="*/ 955 w 1357"/>
                <a:gd name="T111" fmla="*/ 93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57" h="947">
                  <a:moveTo>
                    <a:pt x="1128" y="374"/>
                  </a:moveTo>
                  <a:lnTo>
                    <a:pt x="1032" y="374"/>
                  </a:lnTo>
                  <a:lnTo>
                    <a:pt x="1032" y="120"/>
                  </a:lnTo>
                  <a:lnTo>
                    <a:pt x="1048" y="109"/>
                  </a:lnTo>
                  <a:lnTo>
                    <a:pt x="1068" y="97"/>
                  </a:lnTo>
                  <a:lnTo>
                    <a:pt x="1059" y="76"/>
                  </a:lnTo>
                  <a:lnTo>
                    <a:pt x="1039" y="26"/>
                  </a:lnTo>
                  <a:lnTo>
                    <a:pt x="1029" y="0"/>
                  </a:lnTo>
                  <a:lnTo>
                    <a:pt x="1003" y="11"/>
                  </a:lnTo>
                  <a:lnTo>
                    <a:pt x="447" y="257"/>
                  </a:lnTo>
                  <a:lnTo>
                    <a:pt x="378" y="257"/>
                  </a:lnTo>
                  <a:lnTo>
                    <a:pt x="378" y="470"/>
                  </a:lnTo>
                  <a:lnTo>
                    <a:pt x="415" y="470"/>
                  </a:lnTo>
                  <a:lnTo>
                    <a:pt x="415" y="861"/>
                  </a:lnTo>
                  <a:lnTo>
                    <a:pt x="0" y="861"/>
                  </a:lnTo>
                  <a:lnTo>
                    <a:pt x="0" y="947"/>
                  </a:lnTo>
                  <a:lnTo>
                    <a:pt x="1357" y="947"/>
                  </a:lnTo>
                  <a:lnTo>
                    <a:pt x="1357" y="861"/>
                  </a:lnTo>
                  <a:lnTo>
                    <a:pt x="541" y="861"/>
                  </a:lnTo>
                  <a:lnTo>
                    <a:pt x="541" y="470"/>
                  </a:lnTo>
                  <a:lnTo>
                    <a:pt x="581" y="470"/>
                  </a:lnTo>
                  <a:lnTo>
                    <a:pt x="581" y="408"/>
                  </a:lnTo>
                  <a:lnTo>
                    <a:pt x="1006" y="136"/>
                  </a:lnTo>
                  <a:lnTo>
                    <a:pt x="1006" y="374"/>
                  </a:lnTo>
                  <a:lnTo>
                    <a:pt x="911" y="374"/>
                  </a:lnTo>
                  <a:lnTo>
                    <a:pt x="911" y="531"/>
                  </a:lnTo>
                  <a:lnTo>
                    <a:pt x="1128" y="531"/>
                  </a:lnTo>
                  <a:lnTo>
                    <a:pt x="1128" y="374"/>
                  </a:lnTo>
                  <a:lnTo>
                    <a:pt x="1128" y="374"/>
                  </a:lnTo>
                  <a:close/>
                  <a:moveTo>
                    <a:pt x="295" y="288"/>
                  </a:moveTo>
                  <a:lnTo>
                    <a:pt x="319" y="288"/>
                  </a:lnTo>
                  <a:lnTo>
                    <a:pt x="319" y="310"/>
                  </a:lnTo>
                  <a:lnTo>
                    <a:pt x="319" y="512"/>
                  </a:lnTo>
                  <a:lnTo>
                    <a:pt x="319" y="536"/>
                  </a:lnTo>
                  <a:lnTo>
                    <a:pt x="295" y="536"/>
                  </a:lnTo>
                  <a:lnTo>
                    <a:pt x="25" y="536"/>
                  </a:lnTo>
                  <a:lnTo>
                    <a:pt x="1" y="536"/>
                  </a:lnTo>
                  <a:lnTo>
                    <a:pt x="1" y="512"/>
                  </a:lnTo>
                  <a:lnTo>
                    <a:pt x="1" y="310"/>
                  </a:lnTo>
                  <a:lnTo>
                    <a:pt x="1" y="288"/>
                  </a:lnTo>
                  <a:lnTo>
                    <a:pt x="25" y="288"/>
                  </a:lnTo>
                  <a:lnTo>
                    <a:pt x="295" y="288"/>
                  </a:lnTo>
                  <a:lnTo>
                    <a:pt x="295" y="288"/>
                  </a:lnTo>
                  <a:close/>
                  <a:moveTo>
                    <a:pt x="221" y="334"/>
                  </a:moveTo>
                  <a:lnTo>
                    <a:pt x="272" y="485"/>
                  </a:lnTo>
                  <a:lnTo>
                    <a:pt x="272" y="489"/>
                  </a:lnTo>
                  <a:lnTo>
                    <a:pt x="245" y="489"/>
                  </a:lnTo>
                  <a:lnTo>
                    <a:pt x="194" y="334"/>
                  </a:lnTo>
                  <a:lnTo>
                    <a:pt x="221" y="334"/>
                  </a:lnTo>
                  <a:lnTo>
                    <a:pt x="221" y="334"/>
                  </a:lnTo>
                  <a:close/>
                  <a:moveTo>
                    <a:pt x="272" y="411"/>
                  </a:moveTo>
                  <a:lnTo>
                    <a:pt x="246" y="334"/>
                  </a:lnTo>
                  <a:lnTo>
                    <a:pt x="272" y="334"/>
                  </a:lnTo>
                  <a:lnTo>
                    <a:pt x="272" y="411"/>
                  </a:lnTo>
                  <a:lnTo>
                    <a:pt x="272" y="411"/>
                  </a:lnTo>
                  <a:close/>
                  <a:moveTo>
                    <a:pt x="65" y="334"/>
                  </a:moveTo>
                  <a:lnTo>
                    <a:pt x="117" y="489"/>
                  </a:lnTo>
                  <a:lnTo>
                    <a:pt x="90" y="489"/>
                  </a:lnTo>
                  <a:lnTo>
                    <a:pt x="48" y="365"/>
                  </a:lnTo>
                  <a:lnTo>
                    <a:pt x="48" y="334"/>
                  </a:lnTo>
                  <a:lnTo>
                    <a:pt x="65" y="334"/>
                  </a:lnTo>
                  <a:lnTo>
                    <a:pt x="65" y="334"/>
                  </a:lnTo>
                  <a:close/>
                  <a:moveTo>
                    <a:pt x="142" y="489"/>
                  </a:moveTo>
                  <a:lnTo>
                    <a:pt x="90" y="334"/>
                  </a:lnTo>
                  <a:lnTo>
                    <a:pt x="117" y="334"/>
                  </a:lnTo>
                  <a:lnTo>
                    <a:pt x="169" y="489"/>
                  </a:lnTo>
                  <a:lnTo>
                    <a:pt x="142" y="489"/>
                  </a:lnTo>
                  <a:lnTo>
                    <a:pt x="142" y="489"/>
                  </a:lnTo>
                  <a:close/>
                  <a:moveTo>
                    <a:pt x="194" y="489"/>
                  </a:moveTo>
                  <a:lnTo>
                    <a:pt x="142" y="334"/>
                  </a:lnTo>
                  <a:lnTo>
                    <a:pt x="169" y="334"/>
                  </a:lnTo>
                  <a:lnTo>
                    <a:pt x="221" y="489"/>
                  </a:lnTo>
                  <a:lnTo>
                    <a:pt x="194" y="489"/>
                  </a:lnTo>
                  <a:lnTo>
                    <a:pt x="194" y="489"/>
                  </a:lnTo>
                  <a:close/>
                  <a:moveTo>
                    <a:pt x="48" y="438"/>
                  </a:moveTo>
                  <a:lnTo>
                    <a:pt x="65" y="489"/>
                  </a:lnTo>
                  <a:lnTo>
                    <a:pt x="48" y="489"/>
                  </a:lnTo>
                  <a:lnTo>
                    <a:pt x="48" y="438"/>
                  </a:lnTo>
                  <a:lnTo>
                    <a:pt x="48" y="438"/>
                  </a:lnTo>
                  <a:close/>
                  <a:moveTo>
                    <a:pt x="295" y="574"/>
                  </a:moveTo>
                  <a:lnTo>
                    <a:pt x="319" y="574"/>
                  </a:lnTo>
                  <a:lnTo>
                    <a:pt x="319" y="597"/>
                  </a:lnTo>
                  <a:lnTo>
                    <a:pt x="319" y="799"/>
                  </a:lnTo>
                  <a:lnTo>
                    <a:pt x="319" y="822"/>
                  </a:lnTo>
                  <a:lnTo>
                    <a:pt x="295" y="822"/>
                  </a:lnTo>
                  <a:lnTo>
                    <a:pt x="25" y="822"/>
                  </a:lnTo>
                  <a:lnTo>
                    <a:pt x="1" y="822"/>
                  </a:lnTo>
                  <a:lnTo>
                    <a:pt x="1" y="799"/>
                  </a:lnTo>
                  <a:lnTo>
                    <a:pt x="1" y="597"/>
                  </a:lnTo>
                  <a:lnTo>
                    <a:pt x="1" y="574"/>
                  </a:lnTo>
                  <a:lnTo>
                    <a:pt x="25" y="574"/>
                  </a:lnTo>
                  <a:lnTo>
                    <a:pt x="295" y="574"/>
                  </a:lnTo>
                  <a:lnTo>
                    <a:pt x="295" y="574"/>
                  </a:lnTo>
                  <a:close/>
                  <a:moveTo>
                    <a:pt x="221" y="621"/>
                  </a:moveTo>
                  <a:lnTo>
                    <a:pt x="272" y="772"/>
                  </a:lnTo>
                  <a:lnTo>
                    <a:pt x="272" y="776"/>
                  </a:lnTo>
                  <a:lnTo>
                    <a:pt x="245" y="776"/>
                  </a:lnTo>
                  <a:lnTo>
                    <a:pt x="194" y="621"/>
                  </a:lnTo>
                  <a:lnTo>
                    <a:pt x="221" y="621"/>
                  </a:lnTo>
                  <a:lnTo>
                    <a:pt x="221" y="621"/>
                  </a:lnTo>
                  <a:close/>
                  <a:moveTo>
                    <a:pt x="272" y="699"/>
                  </a:moveTo>
                  <a:lnTo>
                    <a:pt x="246" y="621"/>
                  </a:lnTo>
                  <a:lnTo>
                    <a:pt x="272" y="621"/>
                  </a:lnTo>
                  <a:lnTo>
                    <a:pt x="272" y="699"/>
                  </a:lnTo>
                  <a:lnTo>
                    <a:pt x="272" y="699"/>
                  </a:lnTo>
                  <a:close/>
                  <a:moveTo>
                    <a:pt x="65" y="621"/>
                  </a:moveTo>
                  <a:lnTo>
                    <a:pt x="117" y="776"/>
                  </a:lnTo>
                  <a:lnTo>
                    <a:pt x="90" y="776"/>
                  </a:lnTo>
                  <a:lnTo>
                    <a:pt x="48" y="652"/>
                  </a:lnTo>
                  <a:lnTo>
                    <a:pt x="48" y="621"/>
                  </a:lnTo>
                  <a:lnTo>
                    <a:pt x="65" y="621"/>
                  </a:lnTo>
                  <a:lnTo>
                    <a:pt x="65" y="621"/>
                  </a:lnTo>
                  <a:close/>
                  <a:moveTo>
                    <a:pt x="142" y="776"/>
                  </a:moveTo>
                  <a:lnTo>
                    <a:pt x="90" y="621"/>
                  </a:lnTo>
                  <a:lnTo>
                    <a:pt x="117" y="621"/>
                  </a:lnTo>
                  <a:lnTo>
                    <a:pt x="169" y="776"/>
                  </a:lnTo>
                  <a:lnTo>
                    <a:pt x="142" y="776"/>
                  </a:lnTo>
                  <a:lnTo>
                    <a:pt x="142" y="776"/>
                  </a:lnTo>
                  <a:close/>
                  <a:moveTo>
                    <a:pt x="194" y="776"/>
                  </a:moveTo>
                  <a:lnTo>
                    <a:pt x="142" y="621"/>
                  </a:lnTo>
                  <a:lnTo>
                    <a:pt x="169" y="621"/>
                  </a:lnTo>
                  <a:lnTo>
                    <a:pt x="221" y="776"/>
                  </a:lnTo>
                  <a:lnTo>
                    <a:pt x="194" y="776"/>
                  </a:lnTo>
                  <a:lnTo>
                    <a:pt x="194" y="776"/>
                  </a:lnTo>
                  <a:close/>
                  <a:moveTo>
                    <a:pt x="48" y="726"/>
                  </a:moveTo>
                  <a:lnTo>
                    <a:pt x="65" y="776"/>
                  </a:lnTo>
                  <a:lnTo>
                    <a:pt x="48" y="776"/>
                  </a:lnTo>
                  <a:lnTo>
                    <a:pt x="48" y="726"/>
                  </a:lnTo>
                  <a:lnTo>
                    <a:pt x="48" y="726"/>
                  </a:lnTo>
                  <a:close/>
                  <a:moveTo>
                    <a:pt x="948" y="574"/>
                  </a:moveTo>
                  <a:lnTo>
                    <a:pt x="971" y="574"/>
                  </a:lnTo>
                  <a:lnTo>
                    <a:pt x="971" y="597"/>
                  </a:lnTo>
                  <a:lnTo>
                    <a:pt x="971" y="799"/>
                  </a:lnTo>
                  <a:lnTo>
                    <a:pt x="971" y="822"/>
                  </a:lnTo>
                  <a:lnTo>
                    <a:pt x="948" y="822"/>
                  </a:lnTo>
                  <a:lnTo>
                    <a:pt x="678" y="822"/>
                  </a:lnTo>
                  <a:lnTo>
                    <a:pt x="654" y="822"/>
                  </a:lnTo>
                  <a:lnTo>
                    <a:pt x="654" y="799"/>
                  </a:lnTo>
                  <a:lnTo>
                    <a:pt x="654" y="597"/>
                  </a:lnTo>
                  <a:lnTo>
                    <a:pt x="654" y="574"/>
                  </a:lnTo>
                  <a:lnTo>
                    <a:pt x="678" y="574"/>
                  </a:lnTo>
                  <a:lnTo>
                    <a:pt x="948" y="574"/>
                  </a:lnTo>
                  <a:lnTo>
                    <a:pt x="948" y="574"/>
                  </a:lnTo>
                  <a:close/>
                  <a:moveTo>
                    <a:pt x="874" y="621"/>
                  </a:moveTo>
                  <a:lnTo>
                    <a:pt x="925" y="772"/>
                  </a:lnTo>
                  <a:lnTo>
                    <a:pt x="925" y="776"/>
                  </a:lnTo>
                  <a:lnTo>
                    <a:pt x="898" y="776"/>
                  </a:lnTo>
                  <a:lnTo>
                    <a:pt x="847" y="621"/>
                  </a:lnTo>
                  <a:lnTo>
                    <a:pt x="874" y="621"/>
                  </a:lnTo>
                  <a:lnTo>
                    <a:pt x="874" y="621"/>
                  </a:lnTo>
                  <a:close/>
                  <a:moveTo>
                    <a:pt x="925" y="699"/>
                  </a:moveTo>
                  <a:lnTo>
                    <a:pt x="899" y="621"/>
                  </a:lnTo>
                  <a:lnTo>
                    <a:pt x="925" y="621"/>
                  </a:lnTo>
                  <a:lnTo>
                    <a:pt x="925" y="699"/>
                  </a:lnTo>
                  <a:lnTo>
                    <a:pt x="925" y="699"/>
                  </a:lnTo>
                  <a:close/>
                  <a:moveTo>
                    <a:pt x="718" y="621"/>
                  </a:moveTo>
                  <a:lnTo>
                    <a:pt x="770" y="776"/>
                  </a:lnTo>
                  <a:lnTo>
                    <a:pt x="743" y="776"/>
                  </a:lnTo>
                  <a:lnTo>
                    <a:pt x="702" y="652"/>
                  </a:lnTo>
                  <a:lnTo>
                    <a:pt x="702" y="621"/>
                  </a:lnTo>
                  <a:lnTo>
                    <a:pt x="718" y="621"/>
                  </a:lnTo>
                  <a:lnTo>
                    <a:pt x="718" y="621"/>
                  </a:lnTo>
                  <a:close/>
                  <a:moveTo>
                    <a:pt x="795" y="776"/>
                  </a:moveTo>
                  <a:lnTo>
                    <a:pt x="743" y="621"/>
                  </a:lnTo>
                  <a:lnTo>
                    <a:pt x="770" y="621"/>
                  </a:lnTo>
                  <a:lnTo>
                    <a:pt x="822" y="776"/>
                  </a:lnTo>
                  <a:lnTo>
                    <a:pt x="795" y="776"/>
                  </a:lnTo>
                  <a:lnTo>
                    <a:pt x="795" y="776"/>
                  </a:lnTo>
                  <a:close/>
                  <a:moveTo>
                    <a:pt x="847" y="776"/>
                  </a:moveTo>
                  <a:lnTo>
                    <a:pt x="795" y="621"/>
                  </a:lnTo>
                  <a:lnTo>
                    <a:pt x="822" y="621"/>
                  </a:lnTo>
                  <a:lnTo>
                    <a:pt x="874" y="776"/>
                  </a:lnTo>
                  <a:lnTo>
                    <a:pt x="847" y="776"/>
                  </a:lnTo>
                  <a:lnTo>
                    <a:pt x="847" y="776"/>
                  </a:lnTo>
                  <a:close/>
                  <a:moveTo>
                    <a:pt x="702" y="726"/>
                  </a:moveTo>
                  <a:lnTo>
                    <a:pt x="718" y="776"/>
                  </a:lnTo>
                  <a:lnTo>
                    <a:pt x="702" y="776"/>
                  </a:lnTo>
                  <a:lnTo>
                    <a:pt x="702" y="726"/>
                  </a:lnTo>
                  <a:lnTo>
                    <a:pt x="702" y="726"/>
                  </a:lnTo>
                  <a:close/>
                  <a:moveTo>
                    <a:pt x="1334" y="574"/>
                  </a:moveTo>
                  <a:lnTo>
                    <a:pt x="1356" y="574"/>
                  </a:lnTo>
                  <a:lnTo>
                    <a:pt x="1356" y="597"/>
                  </a:lnTo>
                  <a:lnTo>
                    <a:pt x="1356" y="799"/>
                  </a:lnTo>
                  <a:lnTo>
                    <a:pt x="1356" y="822"/>
                  </a:lnTo>
                  <a:lnTo>
                    <a:pt x="1334" y="822"/>
                  </a:lnTo>
                  <a:lnTo>
                    <a:pt x="1063" y="822"/>
                  </a:lnTo>
                  <a:lnTo>
                    <a:pt x="1040" y="822"/>
                  </a:lnTo>
                  <a:lnTo>
                    <a:pt x="1040" y="799"/>
                  </a:lnTo>
                  <a:lnTo>
                    <a:pt x="1040" y="597"/>
                  </a:lnTo>
                  <a:lnTo>
                    <a:pt x="1040" y="574"/>
                  </a:lnTo>
                  <a:lnTo>
                    <a:pt x="1063" y="574"/>
                  </a:lnTo>
                  <a:lnTo>
                    <a:pt x="1334" y="574"/>
                  </a:lnTo>
                  <a:lnTo>
                    <a:pt x="1334" y="574"/>
                  </a:lnTo>
                  <a:close/>
                  <a:moveTo>
                    <a:pt x="1259" y="621"/>
                  </a:moveTo>
                  <a:lnTo>
                    <a:pt x="1310" y="772"/>
                  </a:lnTo>
                  <a:lnTo>
                    <a:pt x="1310" y="776"/>
                  </a:lnTo>
                  <a:lnTo>
                    <a:pt x="1284" y="776"/>
                  </a:lnTo>
                  <a:lnTo>
                    <a:pt x="1232" y="621"/>
                  </a:lnTo>
                  <a:lnTo>
                    <a:pt x="1259" y="621"/>
                  </a:lnTo>
                  <a:lnTo>
                    <a:pt x="1259" y="621"/>
                  </a:lnTo>
                  <a:close/>
                  <a:moveTo>
                    <a:pt x="1310" y="699"/>
                  </a:moveTo>
                  <a:lnTo>
                    <a:pt x="1284" y="621"/>
                  </a:lnTo>
                  <a:lnTo>
                    <a:pt x="1310" y="621"/>
                  </a:lnTo>
                  <a:lnTo>
                    <a:pt x="1310" y="699"/>
                  </a:lnTo>
                  <a:lnTo>
                    <a:pt x="1310" y="699"/>
                  </a:lnTo>
                  <a:close/>
                  <a:moveTo>
                    <a:pt x="1104" y="621"/>
                  </a:moveTo>
                  <a:lnTo>
                    <a:pt x="1155" y="776"/>
                  </a:lnTo>
                  <a:lnTo>
                    <a:pt x="1128" y="776"/>
                  </a:lnTo>
                  <a:lnTo>
                    <a:pt x="1086" y="652"/>
                  </a:lnTo>
                  <a:lnTo>
                    <a:pt x="1086" y="621"/>
                  </a:lnTo>
                  <a:lnTo>
                    <a:pt x="1104" y="621"/>
                  </a:lnTo>
                  <a:lnTo>
                    <a:pt x="1104" y="621"/>
                  </a:lnTo>
                  <a:close/>
                  <a:moveTo>
                    <a:pt x="1180" y="776"/>
                  </a:moveTo>
                  <a:lnTo>
                    <a:pt x="1128" y="621"/>
                  </a:lnTo>
                  <a:lnTo>
                    <a:pt x="1155" y="621"/>
                  </a:lnTo>
                  <a:lnTo>
                    <a:pt x="1207" y="776"/>
                  </a:lnTo>
                  <a:lnTo>
                    <a:pt x="1180" y="776"/>
                  </a:lnTo>
                  <a:lnTo>
                    <a:pt x="1180" y="776"/>
                  </a:lnTo>
                  <a:close/>
                  <a:moveTo>
                    <a:pt x="1232" y="776"/>
                  </a:moveTo>
                  <a:lnTo>
                    <a:pt x="1180" y="621"/>
                  </a:lnTo>
                  <a:lnTo>
                    <a:pt x="1207" y="621"/>
                  </a:lnTo>
                  <a:lnTo>
                    <a:pt x="1259" y="776"/>
                  </a:lnTo>
                  <a:lnTo>
                    <a:pt x="1232" y="776"/>
                  </a:lnTo>
                  <a:lnTo>
                    <a:pt x="1232" y="776"/>
                  </a:lnTo>
                  <a:close/>
                  <a:moveTo>
                    <a:pt x="1086" y="726"/>
                  </a:moveTo>
                  <a:lnTo>
                    <a:pt x="1103" y="776"/>
                  </a:lnTo>
                  <a:lnTo>
                    <a:pt x="1086" y="776"/>
                  </a:lnTo>
                  <a:lnTo>
                    <a:pt x="1086" y="726"/>
                  </a:lnTo>
                  <a:lnTo>
                    <a:pt x="1086" y="726"/>
                  </a:lnTo>
                  <a:close/>
                  <a:moveTo>
                    <a:pt x="782" y="170"/>
                  </a:moveTo>
                  <a:lnTo>
                    <a:pt x="841" y="143"/>
                  </a:lnTo>
                  <a:lnTo>
                    <a:pt x="831" y="184"/>
                  </a:lnTo>
                  <a:lnTo>
                    <a:pt x="820" y="190"/>
                  </a:lnTo>
                  <a:lnTo>
                    <a:pt x="782" y="170"/>
                  </a:lnTo>
                  <a:lnTo>
                    <a:pt x="782" y="170"/>
                  </a:lnTo>
                  <a:close/>
                  <a:moveTo>
                    <a:pt x="678" y="216"/>
                  </a:moveTo>
                  <a:lnTo>
                    <a:pt x="728" y="193"/>
                  </a:lnTo>
                  <a:lnTo>
                    <a:pt x="726" y="245"/>
                  </a:lnTo>
                  <a:lnTo>
                    <a:pt x="678" y="216"/>
                  </a:lnTo>
                  <a:lnTo>
                    <a:pt x="678" y="216"/>
                  </a:lnTo>
                  <a:close/>
                  <a:moveTo>
                    <a:pt x="602" y="250"/>
                  </a:moveTo>
                  <a:lnTo>
                    <a:pt x="634" y="236"/>
                  </a:lnTo>
                  <a:lnTo>
                    <a:pt x="632" y="278"/>
                  </a:lnTo>
                  <a:lnTo>
                    <a:pt x="602" y="250"/>
                  </a:lnTo>
                  <a:lnTo>
                    <a:pt x="602" y="250"/>
                  </a:lnTo>
                  <a:close/>
                  <a:moveTo>
                    <a:pt x="628" y="313"/>
                  </a:moveTo>
                  <a:lnTo>
                    <a:pt x="581" y="343"/>
                  </a:lnTo>
                  <a:lnTo>
                    <a:pt x="581" y="268"/>
                  </a:lnTo>
                  <a:lnTo>
                    <a:pt x="628" y="313"/>
                  </a:lnTo>
                  <a:lnTo>
                    <a:pt x="628" y="313"/>
                  </a:lnTo>
                  <a:close/>
                  <a:moveTo>
                    <a:pt x="704" y="264"/>
                  </a:moveTo>
                  <a:lnTo>
                    <a:pt x="659" y="293"/>
                  </a:lnTo>
                  <a:lnTo>
                    <a:pt x="661" y="239"/>
                  </a:lnTo>
                  <a:lnTo>
                    <a:pt x="704" y="264"/>
                  </a:lnTo>
                  <a:lnTo>
                    <a:pt x="704" y="264"/>
                  </a:lnTo>
                  <a:close/>
                  <a:moveTo>
                    <a:pt x="794" y="207"/>
                  </a:moveTo>
                  <a:lnTo>
                    <a:pt x="754" y="232"/>
                  </a:lnTo>
                  <a:lnTo>
                    <a:pt x="755" y="187"/>
                  </a:lnTo>
                  <a:lnTo>
                    <a:pt x="794" y="207"/>
                  </a:lnTo>
                  <a:lnTo>
                    <a:pt x="794" y="207"/>
                  </a:lnTo>
                  <a:close/>
                  <a:moveTo>
                    <a:pt x="885" y="149"/>
                  </a:moveTo>
                  <a:lnTo>
                    <a:pt x="865" y="161"/>
                  </a:lnTo>
                  <a:lnTo>
                    <a:pt x="872" y="139"/>
                  </a:lnTo>
                  <a:lnTo>
                    <a:pt x="885" y="149"/>
                  </a:lnTo>
                  <a:lnTo>
                    <a:pt x="885" y="149"/>
                  </a:lnTo>
                  <a:close/>
                  <a:moveTo>
                    <a:pt x="938" y="115"/>
                  </a:moveTo>
                  <a:lnTo>
                    <a:pt x="910" y="133"/>
                  </a:lnTo>
                  <a:lnTo>
                    <a:pt x="910" y="133"/>
                  </a:lnTo>
                  <a:lnTo>
                    <a:pt x="892" y="121"/>
                  </a:lnTo>
                  <a:lnTo>
                    <a:pt x="935" y="102"/>
                  </a:lnTo>
                  <a:lnTo>
                    <a:pt x="935" y="102"/>
                  </a:lnTo>
                  <a:lnTo>
                    <a:pt x="938" y="115"/>
                  </a:lnTo>
                  <a:lnTo>
                    <a:pt x="938" y="115"/>
                  </a:lnTo>
                  <a:close/>
                  <a:moveTo>
                    <a:pt x="955" y="93"/>
                  </a:moveTo>
                  <a:lnTo>
                    <a:pt x="999" y="74"/>
                  </a:lnTo>
                  <a:lnTo>
                    <a:pt x="1000" y="75"/>
                  </a:lnTo>
                  <a:lnTo>
                    <a:pt x="953" y="104"/>
                  </a:lnTo>
                  <a:lnTo>
                    <a:pt x="953" y="104"/>
                  </a:lnTo>
                  <a:lnTo>
                    <a:pt x="955" y="93"/>
                  </a:lnTo>
                  <a:lnTo>
                    <a:pt x="955" y="93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accent1"/>
              </a:solidFill>
            </a:ln>
          </p:spPr>
          <p:txBody>
            <a:bodyPr vert="horz" wrap="square" lIns="64657" tIns="32328" rIns="64657" bIns="3232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640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CasellaDiTesto 568">
              <a:extLst>
                <a:ext uri="{FF2B5EF4-FFF2-40B4-BE49-F238E27FC236}">
                  <a16:creationId xmlns:a16="http://schemas.microsoft.com/office/drawing/2014/main" id="{81459E3C-0260-4679-90AA-2E19EDDC7EE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25266" y="3281131"/>
              <a:ext cx="582240" cy="1767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364" tIns="34183" rIns="68364" bIns="34183">
              <a:spAutoFit/>
            </a:bodyPr>
            <a:lstStyle/>
            <a:p>
              <a:pPr marL="0" marR="0" lvl="0" indent="0" algn="l" defTabSz="685783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7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adova Int.</a:t>
              </a:r>
            </a:p>
          </p:txBody>
        </p:sp>
      </p:grpSp>
      <p:pic>
        <p:nvPicPr>
          <p:cNvPr id="6" name="Immagine 5">
            <a:extLst>
              <a:ext uri="{FF2B5EF4-FFF2-40B4-BE49-F238E27FC236}">
                <a16:creationId xmlns:a16="http://schemas.microsoft.com/office/drawing/2014/main" id="{3D232E20-7441-4597-8C4A-CA5D7C35C6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2773"/>
          <a:stretch/>
        </p:blipFill>
        <p:spPr>
          <a:xfrm>
            <a:off x="4589860" y="2727367"/>
            <a:ext cx="3454209" cy="3361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3951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ollegamenti ferroviari agli aeroporti</a:t>
            </a:r>
          </a:p>
        </p:txBody>
      </p:sp>
      <p:sp>
        <p:nvSpPr>
          <p:cNvPr id="66" name="Rettangolo 65">
            <a:extLst>
              <a:ext uri="{FF2B5EF4-FFF2-40B4-BE49-F238E27FC236}">
                <a16:creationId xmlns:a16="http://schemas.microsoft.com/office/drawing/2014/main" id="{DBD255B6-AE0E-453A-B02A-244C2E2958A1}"/>
              </a:ext>
            </a:extLst>
          </p:cNvPr>
          <p:cNvSpPr/>
          <p:nvPr/>
        </p:nvSpPr>
        <p:spPr>
          <a:xfrm>
            <a:off x="4557885" y="1855828"/>
            <a:ext cx="3503420" cy="400355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0" name="Rettangolo 169">
            <a:extLst>
              <a:ext uri="{FF2B5EF4-FFF2-40B4-BE49-F238E27FC236}">
                <a16:creationId xmlns:a16="http://schemas.microsoft.com/office/drawing/2014/main" id="{DBD255B6-AE0E-453A-B02A-244C2E2958A1}"/>
              </a:ext>
            </a:extLst>
          </p:cNvPr>
          <p:cNvSpPr/>
          <p:nvPr/>
        </p:nvSpPr>
        <p:spPr>
          <a:xfrm>
            <a:off x="538334" y="1855828"/>
            <a:ext cx="3937585" cy="400355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6" name="TextBox 70">
            <a:extLst>
              <a:ext uri="{FF2B5EF4-FFF2-40B4-BE49-F238E27FC236}">
                <a16:creationId xmlns:a16="http://schemas.microsoft.com/office/drawing/2014/main" id="{D1E75DEF-A6AA-4848-8B36-2173C385F444}"/>
              </a:ext>
            </a:extLst>
          </p:cNvPr>
          <p:cNvSpPr txBox="1">
            <a:spLocks/>
          </p:cNvSpPr>
          <p:nvPr/>
        </p:nvSpPr>
        <p:spPr>
          <a:xfrm>
            <a:off x="510520" y="951754"/>
            <a:ext cx="3929838" cy="818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Attualmente, in Italia ci sono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42 aeroporti attivi al servizio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di circa 65 milioni di passeggeri (domestici), con un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 tasso di utilizzo dell'aereo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 e una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densità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infrastruttural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tra le maggiori in Europa</a:t>
            </a:r>
          </a:p>
        </p:txBody>
      </p:sp>
      <p:cxnSp>
        <p:nvCxnSpPr>
          <p:cNvPr id="227" name="Connettore diritto 1270">
            <a:extLst>
              <a:ext uri="{FF2B5EF4-FFF2-40B4-BE49-F238E27FC236}">
                <a16:creationId xmlns:a16="http://schemas.microsoft.com/office/drawing/2014/main" id="{FD4B5944-38EF-43FC-9AB1-0D946EE11976}"/>
              </a:ext>
            </a:extLst>
          </p:cNvPr>
          <p:cNvCxnSpPr>
            <a:cxnSpLocks/>
          </p:cNvCxnSpPr>
          <p:nvPr/>
        </p:nvCxnSpPr>
        <p:spPr bwMode="gray">
          <a:xfrm>
            <a:off x="515504" y="1780055"/>
            <a:ext cx="396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TextBox 72">
            <a:extLst>
              <a:ext uri="{FF2B5EF4-FFF2-40B4-BE49-F238E27FC236}">
                <a16:creationId xmlns:a16="http://schemas.microsoft.com/office/drawing/2014/main" id="{442C4793-6120-4311-A5D0-707DF716BEAA}"/>
              </a:ext>
            </a:extLst>
          </p:cNvPr>
          <p:cNvSpPr txBox="1">
            <a:spLocks/>
          </p:cNvSpPr>
          <p:nvPr/>
        </p:nvSpPr>
        <p:spPr>
          <a:xfrm>
            <a:off x="4529843" y="982643"/>
            <a:ext cx="3391602" cy="614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L'accessibilità aeroportuale su ferro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 può esser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migliorata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facendo leva su diversi fattori che influenzano il contesto…</a:t>
            </a:r>
          </a:p>
        </p:txBody>
      </p:sp>
      <p:cxnSp>
        <p:nvCxnSpPr>
          <p:cNvPr id="229" name="Connettore diritto 1270">
            <a:extLst>
              <a:ext uri="{FF2B5EF4-FFF2-40B4-BE49-F238E27FC236}">
                <a16:creationId xmlns:a16="http://schemas.microsoft.com/office/drawing/2014/main" id="{81AB0169-D338-46F6-83A6-13F8F7F39DC2}"/>
              </a:ext>
            </a:extLst>
          </p:cNvPr>
          <p:cNvCxnSpPr>
            <a:cxnSpLocks/>
          </p:cNvCxnSpPr>
          <p:nvPr/>
        </p:nvCxnSpPr>
        <p:spPr bwMode="gray">
          <a:xfrm>
            <a:off x="4583288" y="1784380"/>
            <a:ext cx="345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Connettore diritto 1270">
            <a:extLst>
              <a:ext uri="{FF2B5EF4-FFF2-40B4-BE49-F238E27FC236}">
                <a16:creationId xmlns:a16="http://schemas.microsoft.com/office/drawing/2014/main" id="{81AB0169-D338-46F6-83A6-13F8F7F39DC2}"/>
              </a:ext>
            </a:extLst>
          </p:cNvPr>
          <p:cNvCxnSpPr>
            <a:cxnSpLocks/>
          </p:cNvCxnSpPr>
          <p:nvPr/>
        </p:nvCxnSpPr>
        <p:spPr bwMode="gray">
          <a:xfrm>
            <a:off x="8191034" y="1780573"/>
            <a:ext cx="3420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TextBox 72">
            <a:extLst>
              <a:ext uri="{FF2B5EF4-FFF2-40B4-BE49-F238E27FC236}">
                <a16:creationId xmlns:a16="http://schemas.microsoft.com/office/drawing/2014/main" id="{442C4793-6120-4311-A5D0-707DF716BEAA}"/>
              </a:ext>
            </a:extLst>
          </p:cNvPr>
          <p:cNvSpPr txBox="1">
            <a:spLocks/>
          </p:cNvSpPr>
          <p:nvPr/>
        </p:nvSpPr>
        <p:spPr>
          <a:xfrm>
            <a:off x="8347449" y="948141"/>
            <a:ext cx="2772991" cy="409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…e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realizzando nuovi collegamenti ferroviari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 panose="020F0502020204030204" pitchFamily="34" charset="0"/>
              </a:rPr>
              <a:t> con gli aeroporti</a:t>
            </a:r>
          </a:p>
        </p:txBody>
      </p:sp>
      <p:pic>
        <p:nvPicPr>
          <p:cNvPr id="239" name="Immagine 238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3322" y="4225325"/>
            <a:ext cx="553857" cy="6749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0" name="object 12"/>
          <p:cNvSpPr/>
          <p:nvPr/>
        </p:nvSpPr>
        <p:spPr>
          <a:xfrm>
            <a:off x="5145685" y="3060899"/>
            <a:ext cx="2750916" cy="404870"/>
          </a:xfrm>
          <a:custGeom>
            <a:avLst/>
            <a:gdLst/>
            <a:ahLst/>
            <a:cxnLst/>
            <a:rect l="l" t="t" r="r" b="b"/>
            <a:pathLst>
              <a:path w="1685925" h="2893060">
                <a:moveTo>
                  <a:pt x="1685543" y="0"/>
                </a:moveTo>
                <a:lnTo>
                  <a:pt x="0" y="0"/>
                </a:lnTo>
                <a:lnTo>
                  <a:pt x="0" y="2892552"/>
                </a:lnTo>
                <a:lnTo>
                  <a:pt x="1685543" y="2892552"/>
                </a:lnTo>
                <a:lnTo>
                  <a:pt x="168554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marL="92075" marR="120650" lvl="0" indent="0" algn="l" defTabSz="9144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ift modale 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favore di modalità di trasporto di massa sostenibile</a:t>
            </a:r>
            <a:endParaRPr kumimoji="0" lang="it-IT" sz="1100" b="0" i="0" u="none" strike="noStrike" kern="1200" cap="none" spc="-1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241" name="Immagine 240">
            <a:extLst>
              <a:ext uri="{FF2B5EF4-FFF2-40B4-BE49-F238E27FC236}">
                <a16:creationId xmlns:a16="http://schemas.microsoft.com/office/drawing/2014/main" id="{9E5A6B5D-506B-41F5-9E6A-B51C5E54FD35}"/>
              </a:ext>
            </a:extLst>
          </p:cNvPr>
          <p:cNvPicPr>
            <a:picLocks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19"/>
          <a:stretch/>
        </p:blipFill>
        <p:spPr>
          <a:xfrm>
            <a:off x="4671262" y="3564826"/>
            <a:ext cx="477976" cy="56531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2" name="object 11">
            <a:extLst>
              <a:ext uri="{FF2B5EF4-FFF2-40B4-BE49-F238E27FC236}">
                <a16:creationId xmlns:a16="http://schemas.microsoft.com/office/drawing/2014/main" id="{A86DC02E-E452-49D6-85B5-142C3800A134}"/>
              </a:ext>
            </a:extLst>
          </p:cNvPr>
          <p:cNvSpPr txBox="1"/>
          <p:nvPr/>
        </p:nvSpPr>
        <p:spPr>
          <a:xfrm>
            <a:off x="5170529" y="2341208"/>
            <a:ext cx="2750916" cy="54181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3655" rIns="0" bIns="0" rtlCol="0">
            <a:spAutoFit/>
          </a:bodyPr>
          <a:lstStyle/>
          <a:p>
            <a:pPr marL="91440" marR="207645" lvl="0" indent="0" algn="just" defTabSz="9144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olare la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orrenza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e produce comportamenti opportunistici da parte di alcuni vettori aerei low cost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243" name="Immagine 242">
            <a:extLst>
              <a:ext uri="{FF2B5EF4-FFF2-40B4-BE49-F238E27FC236}">
                <a16:creationId xmlns:a16="http://schemas.microsoft.com/office/drawing/2014/main" id="{39DFB3ED-925B-449D-9B8C-2CD8DF7831CE}"/>
              </a:ext>
            </a:extLst>
          </p:cNvPr>
          <p:cNvPicPr>
            <a:picLocks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902"/>
          <a:stretch/>
        </p:blipFill>
        <p:spPr>
          <a:xfrm>
            <a:off x="4611827" y="2278140"/>
            <a:ext cx="596847" cy="70800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244" name="object 15"/>
          <p:cNvGrpSpPr/>
          <p:nvPr/>
        </p:nvGrpSpPr>
        <p:grpSpPr>
          <a:xfrm>
            <a:off x="4581355" y="4995407"/>
            <a:ext cx="657791" cy="588470"/>
            <a:chOff x="7301468" y="984489"/>
            <a:chExt cx="1630045" cy="1200785"/>
          </a:xfrm>
        </p:grpSpPr>
        <p:pic>
          <p:nvPicPr>
            <p:cNvPr id="245" name="object 16"/>
            <p:cNvPicPr/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01468" y="984489"/>
              <a:ext cx="1079785" cy="1162079"/>
            </a:xfrm>
            <a:prstGeom prst="ellipse">
              <a:avLst/>
            </a:prstGeom>
          </p:spPr>
        </p:pic>
        <p:pic>
          <p:nvPicPr>
            <p:cNvPr id="246" name="object 17"/>
            <p:cNvPicPr/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9456" y="1072895"/>
              <a:ext cx="1091946" cy="1111758"/>
            </a:xfrm>
            <a:prstGeom prst="ellipse">
              <a:avLst/>
            </a:prstGeom>
          </p:spPr>
        </p:pic>
      </p:grpSp>
      <p:pic>
        <p:nvPicPr>
          <p:cNvPr id="247" name="Immagine 2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7852" y="3081326"/>
            <a:ext cx="464796" cy="38831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8" name="object 12"/>
          <p:cNvSpPr/>
          <p:nvPr/>
        </p:nvSpPr>
        <p:spPr>
          <a:xfrm>
            <a:off x="5145685" y="3666728"/>
            <a:ext cx="2750916" cy="519152"/>
          </a:xfrm>
          <a:custGeom>
            <a:avLst/>
            <a:gdLst/>
            <a:ahLst/>
            <a:cxnLst/>
            <a:rect l="l" t="t" r="r" b="b"/>
            <a:pathLst>
              <a:path w="1685925" h="2893060">
                <a:moveTo>
                  <a:pt x="1685543" y="0"/>
                </a:moveTo>
                <a:lnTo>
                  <a:pt x="0" y="0"/>
                </a:lnTo>
                <a:lnTo>
                  <a:pt x="0" y="2892552"/>
                </a:lnTo>
                <a:lnTo>
                  <a:pt x="1685543" y="2892552"/>
                </a:lnTo>
                <a:lnTo>
                  <a:pt x="168554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pPr marL="92075" marR="120650" lvl="0" indent="0" algn="l" defTabSz="9144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durre il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p di connettività </a:t>
            </a: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 modalità aerea e ferroviaria che limita l’integrazione tra i diversi sistemi di mobilità</a:t>
            </a:r>
            <a:endParaRPr kumimoji="0" lang="it-IT" sz="1100" b="0" i="0" u="none" strike="noStrike" kern="1200" cap="none" spc="-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49" name="object 8"/>
          <p:cNvSpPr txBox="1"/>
          <p:nvPr/>
        </p:nvSpPr>
        <p:spPr>
          <a:xfrm>
            <a:off x="5134148" y="4944945"/>
            <a:ext cx="2750916" cy="711092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3655" rIns="0" bIns="0" rtlCol="0">
            <a:spAutoFit/>
          </a:bodyPr>
          <a:lstStyle/>
          <a:p>
            <a:pPr marL="92075" marR="92075" lvl="0" indent="0" algn="l" defTabSz="914400" rtl="0" eaLnBrk="1" fontAlgn="auto" latinLnBrk="0" hangingPunct="1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rantire la 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erenza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lle 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litiche a servizio degli 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eroporti rispetto agli obiettivi europei e nazionali che puntano ad una mobilità più sostenibile</a:t>
            </a:r>
            <a:endParaRPr kumimoji="0" lang="it-IT" sz="1100" b="0" i="0" u="none" strike="noStrike" kern="1200" cap="none" spc="-1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5565" y="2704584"/>
            <a:ext cx="3834792" cy="2469332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1966FD55-43B2-485C-AC13-6047B24EC1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45034" y="1966486"/>
            <a:ext cx="3312000" cy="389622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50" name="CasellaDiTesto 249">
            <a:extLst>
              <a:ext uri="{FF2B5EF4-FFF2-40B4-BE49-F238E27FC236}">
                <a16:creationId xmlns:a16="http://schemas.microsoft.com/office/drawing/2014/main" id="{EF15DA6E-81CC-4F6E-A226-C232955D33F7}"/>
              </a:ext>
            </a:extLst>
          </p:cNvPr>
          <p:cNvSpPr txBox="1"/>
          <p:nvPr/>
        </p:nvSpPr>
        <p:spPr>
          <a:xfrm>
            <a:off x="10522634" y="1963151"/>
            <a:ext cx="116792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 2032, saranno realizzati </a:t>
            </a: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 nuovi collegamenti</a:t>
            </a: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 </a:t>
            </a:r>
            <a:r>
              <a:rPr kumimoji="0" lang="it-IT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enziati 2 collegament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RM Fiumicino e Catania Fontana Rossa) </a:t>
            </a:r>
          </a:p>
        </p:txBody>
      </p:sp>
      <p:sp>
        <p:nvSpPr>
          <p:cNvPr id="122" name="Rettangolo 121">
            <a:extLst>
              <a:ext uri="{FF2B5EF4-FFF2-40B4-BE49-F238E27FC236}">
                <a16:creationId xmlns:a16="http://schemas.microsoft.com/office/drawing/2014/main" id="{DBD255B6-AE0E-453A-B02A-244C2E2958A1}"/>
              </a:ext>
            </a:extLst>
          </p:cNvPr>
          <p:cNvSpPr/>
          <p:nvPr/>
        </p:nvSpPr>
        <p:spPr>
          <a:xfrm>
            <a:off x="8171917" y="1855828"/>
            <a:ext cx="3503420" cy="40035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65" t="17300" r="32072" b="17298"/>
          <a:stretch/>
        </p:blipFill>
        <p:spPr>
          <a:xfrm>
            <a:off x="9652981" y="5097717"/>
            <a:ext cx="108000" cy="102316"/>
          </a:xfrm>
          <a:prstGeom prst="rect">
            <a:avLst/>
          </a:prstGeom>
        </p:spPr>
      </p:pic>
      <p:sp>
        <p:nvSpPr>
          <p:cNvPr id="28" name="object 8"/>
          <p:cNvSpPr txBox="1"/>
          <p:nvPr/>
        </p:nvSpPr>
        <p:spPr>
          <a:xfrm>
            <a:off x="5134148" y="4386839"/>
            <a:ext cx="2750916" cy="54181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3655" rIns="0" bIns="0" rtlCol="0">
            <a:spAutoFit/>
          </a:bodyPr>
          <a:lstStyle/>
          <a:p>
            <a:pPr marL="92075" marR="192405" lvl="0" indent="0" algn="l" defTabSz="9144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incentivare l'utilizzo della modalità privata in accesso ed egresso da/verso l’aeroporto;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74049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1008">
            <a:extLst>
              <a:ext uri="{FF2B5EF4-FFF2-40B4-BE49-F238E27FC236}">
                <a16:creationId xmlns:a16="http://schemas.microsoft.com/office/drawing/2014/main" id="{9D26D3CD-9536-058B-E903-3A9E6D564598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-193241" y="0"/>
            <a:ext cx="360" cy="360"/>
          </a:xfrm>
          <a:prstGeom prst="rect">
            <a:avLst/>
          </a:prstGeom>
          <a:ln>
            <a:noFill/>
          </a:ln>
        </p:spPr>
      </p:pic>
      <p:grpSp>
        <p:nvGrpSpPr>
          <p:cNvPr id="55" name="Gruppo 384">
            <a:extLst>
              <a:ext uri="{FF2B5EF4-FFF2-40B4-BE49-F238E27FC236}">
                <a16:creationId xmlns:a16="http://schemas.microsoft.com/office/drawing/2014/main" id="{2BDF413E-5EFF-2082-81FC-AA6DD83AB548}"/>
              </a:ext>
            </a:extLst>
          </p:cNvPr>
          <p:cNvGrpSpPr>
            <a:grpSpLocks/>
          </p:cNvGrpSpPr>
          <p:nvPr/>
        </p:nvGrpSpPr>
        <p:grpSpPr bwMode="auto">
          <a:xfrm>
            <a:off x="4630259" y="856247"/>
            <a:ext cx="3352778" cy="4283305"/>
            <a:chOff x="6030758" y="980464"/>
            <a:chExt cx="5107083" cy="5839233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56" name="Figura a mano libera 209">
              <a:extLst>
                <a:ext uri="{FF2B5EF4-FFF2-40B4-BE49-F238E27FC236}">
                  <a16:creationId xmlns:a16="http://schemas.microsoft.com/office/drawing/2014/main" id="{C95F6D69-AE21-7019-13B1-6005D05D8158}"/>
                </a:ext>
              </a:extLst>
            </p:cNvPr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igura a mano libera 210">
              <a:extLst>
                <a:ext uri="{FF2B5EF4-FFF2-40B4-BE49-F238E27FC236}">
                  <a16:creationId xmlns:a16="http://schemas.microsoft.com/office/drawing/2014/main" id="{24E1E73F-EEA3-8D9E-432D-281DAB023E13}"/>
                </a:ext>
              </a:extLst>
            </p:cNvPr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igura a mano libera 211">
              <a:extLst>
                <a:ext uri="{FF2B5EF4-FFF2-40B4-BE49-F238E27FC236}">
                  <a16:creationId xmlns:a16="http://schemas.microsoft.com/office/drawing/2014/main" id="{DD4A5667-A328-9E92-B8A2-0E504B59F0F5}"/>
                </a:ext>
              </a:extLst>
            </p:cNvPr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igura a mano libera 212">
              <a:extLst>
                <a:ext uri="{FF2B5EF4-FFF2-40B4-BE49-F238E27FC236}">
                  <a16:creationId xmlns:a16="http://schemas.microsoft.com/office/drawing/2014/main" id="{EE61FF5D-D301-CE6D-5B55-FD87A7CE5A87}"/>
                </a:ext>
              </a:extLst>
            </p:cNvPr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igura a mano libera 213">
              <a:extLst>
                <a:ext uri="{FF2B5EF4-FFF2-40B4-BE49-F238E27FC236}">
                  <a16:creationId xmlns:a16="http://schemas.microsoft.com/office/drawing/2014/main" id="{383E097C-9E90-F5EC-ADA5-25DC38B413C7}"/>
                </a:ext>
              </a:extLst>
            </p:cNvPr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igura a mano libera 214">
              <a:extLst>
                <a:ext uri="{FF2B5EF4-FFF2-40B4-BE49-F238E27FC236}">
                  <a16:creationId xmlns:a16="http://schemas.microsoft.com/office/drawing/2014/main" id="{E64AD9A7-8585-00BC-0ABC-B7935536060A}"/>
                </a:ext>
              </a:extLst>
            </p:cNvPr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igura a mano libera 215">
              <a:extLst>
                <a:ext uri="{FF2B5EF4-FFF2-40B4-BE49-F238E27FC236}">
                  <a16:creationId xmlns:a16="http://schemas.microsoft.com/office/drawing/2014/main" id="{9E851B96-813A-677D-F147-1F1B6B36396A}"/>
                </a:ext>
              </a:extLst>
            </p:cNvPr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igura a mano libera 216">
              <a:extLst>
                <a:ext uri="{FF2B5EF4-FFF2-40B4-BE49-F238E27FC236}">
                  <a16:creationId xmlns:a16="http://schemas.microsoft.com/office/drawing/2014/main" id="{0421C4E5-CFD9-C430-DE97-548E301A0E75}"/>
                </a:ext>
              </a:extLst>
            </p:cNvPr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igura a mano libera 217">
              <a:extLst>
                <a:ext uri="{FF2B5EF4-FFF2-40B4-BE49-F238E27FC236}">
                  <a16:creationId xmlns:a16="http://schemas.microsoft.com/office/drawing/2014/main" id="{0A25F7E2-4AF0-E5B2-F44C-25973FC76432}"/>
                </a:ext>
              </a:extLst>
            </p:cNvPr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igura a mano libera 218">
              <a:extLst>
                <a:ext uri="{FF2B5EF4-FFF2-40B4-BE49-F238E27FC236}">
                  <a16:creationId xmlns:a16="http://schemas.microsoft.com/office/drawing/2014/main" id="{485A1D8B-E988-ADC0-3774-4D4029CEDCC7}"/>
                </a:ext>
              </a:extLst>
            </p:cNvPr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igura a mano libera 219">
              <a:extLst>
                <a:ext uri="{FF2B5EF4-FFF2-40B4-BE49-F238E27FC236}">
                  <a16:creationId xmlns:a16="http://schemas.microsoft.com/office/drawing/2014/main" id="{19EB3439-2F78-8BD7-151E-7E3F213DBE4E}"/>
                </a:ext>
              </a:extLst>
            </p:cNvPr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igura a mano libera 220">
              <a:extLst>
                <a:ext uri="{FF2B5EF4-FFF2-40B4-BE49-F238E27FC236}">
                  <a16:creationId xmlns:a16="http://schemas.microsoft.com/office/drawing/2014/main" id="{A5A9ABF9-6832-6302-1753-D40B90607ED6}"/>
                </a:ext>
              </a:extLst>
            </p:cNvPr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igura a mano libera 221">
              <a:extLst>
                <a:ext uri="{FF2B5EF4-FFF2-40B4-BE49-F238E27FC236}">
                  <a16:creationId xmlns:a16="http://schemas.microsoft.com/office/drawing/2014/main" id="{8D2102B2-53CA-2644-AF82-B06BA4ADA9BA}"/>
                </a:ext>
              </a:extLst>
            </p:cNvPr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igura a mano libera 222">
              <a:extLst>
                <a:ext uri="{FF2B5EF4-FFF2-40B4-BE49-F238E27FC236}">
                  <a16:creationId xmlns:a16="http://schemas.microsoft.com/office/drawing/2014/main" id="{9DB29B61-8D76-A8D7-AF6D-44D94430A8D9}"/>
                </a:ext>
              </a:extLst>
            </p:cNvPr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igura a mano libera 223">
              <a:extLst>
                <a:ext uri="{FF2B5EF4-FFF2-40B4-BE49-F238E27FC236}">
                  <a16:creationId xmlns:a16="http://schemas.microsoft.com/office/drawing/2014/main" id="{815D66CA-B48F-D975-632F-98F8120712E1}"/>
                </a:ext>
              </a:extLst>
            </p:cNvPr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igura a mano libera 224">
              <a:extLst>
                <a:ext uri="{FF2B5EF4-FFF2-40B4-BE49-F238E27FC236}">
                  <a16:creationId xmlns:a16="http://schemas.microsoft.com/office/drawing/2014/main" id="{DAEB0EFF-3622-4376-985D-89FAF4386533}"/>
                </a:ext>
              </a:extLst>
            </p:cNvPr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igura a mano libera 225">
              <a:extLst>
                <a:ext uri="{FF2B5EF4-FFF2-40B4-BE49-F238E27FC236}">
                  <a16:creationId xmlns:a16="http://schemas.microsoft.com/office/drawing/2014/main" id="{440B359B-8964-3394-A37E-3287963B1D36}"/>
                </a:ext>
              </a:extLst>
            </p:cNvPr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igura a mano libera 226">
              <a:extLst>
                <a:ext uri="{FF2B5EF4-FFF2-40B4-BE49-F238E27FC236}">
                  <a16:creationId xmlns:a16="http://schemas.microsoft.com/office/drawing/2014/main" id="{13EEC9FD-FF3A-4F10-8CE1-7742C8C6E2CB}"/>
                </a:ext>
              </a:extLst>
            </p:cNvPr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igura a mano libera 227">
              <a:extLst>
                <a:ext uri="{FF2B5EF4-FFF2-40B4-BE49-F238E27FC236}">
                  <a16:creationId xmlns:a16="http://schemas.microsoft.com/office/drawing/2014/main" id="{CABE0619-3B2B-4A9C-BBB5-D63EB58D7097}"/>
                </a:ext>
              </a:extLst>
            </p:cNvPr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igura a mano libera 228">
              <a:extLst>
                <a:ext uri="{FF2B5EF4-FFF2-40B4-BE49-F238E27FC236}">
                  <a16:creationId xmlns:a16="http://schemas.microsoft.com/office/drawing/2014/main" id="{27F6AA9F-347F-BBB1-88B5-EE128D1EBCA3}"/>
                </a:ext>
              </a:extLst>
            </p:cNvPr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0" name="CustomShape 13">
            <a:extLst>
              <a:ext uri="{FF2B5EF4-FFF2-40B4-BE49-F238E27FC236}">
                <a16:creationId xmlns:a16="http://schemas.microsoft.com/office/drawing/2014/main" id="{CD02B94B-0471-FA0C-5650-9DBD1304EC67}"/>
              </a:ext>
            </a:extLst>
          </p:cNvPr>
          <p:cNvSpPr/>
          <p:nvPr/>
        </p:nvSpPr>
        <p:spPr>
          <a:xfrm>
            <a:off x="8051549" y="880543"/>
            <a:ext cx="3587804" cy="3491338"/>
          </a:xfrm>
          <a:prstGeom prst="rect">
            <a:avLst/>
          </a:prstGeom>
          <a:noFill/>
          <a:ln w="25400">
            <a:solidFill>
              <a:srgbClr val="C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1" name="CustomShape 14">
            <a:extLst>
              <a:ext uri="{FF2B5EF4-FFF2-40B4-BE49-F238E27FC236}">
                <a16:creationId xmlns:a16="http://schemas.microsoft.com/office/drawing/2014/main" id="{C09FAFA1-6B1D-6ED6-D127-D2E7CC97FF10}"/>
              </a:ext>
            </a:extLst>
          </p:cNvPr>
          <p:cNvSpPr/>
          <p:nvPr/>
        </p:nvSpPr>
        <p:spPr>
          <a:xfrm>
            <a:off x="8065674" y="1500919"/>
            <a:ext cx="3507001" cy="10138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Sicilia</a:t>
            </a:r>
            <a:endParaRPr kumimoji="0" lang="it-IT" sz="187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lermo-Catania: Catenanuova - Dittaino (lotto 5), Enna-Dittaino (lotto 4b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pristino linea Palermo-Trapani via Milo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pristino linea Caltagirone – Gela</a:t>
            </a:r>
            <a:endParaRPr lang="it-IT" sz="1120" spc="-1">
              <a:solidFill>
                <a:srgbClr val="000000"/>
              </a:solidFill>
              <a:latin typeface="Calibri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endParaRPr kumimoji="0" lang="it-IT" sz="1120" b="0" i="0" u="none" strike="noStrike" kern="1200" cap="none" spc="-1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Titolo 1">
            <a:extLst>
              <a:ext uri="{FF2B5EF4-FFF2-40B4-BE49-F238E27FC236}">
                <a16:creationId xmlns:a16="http://schemas.microsoft.com/office/drawing/2014/main" id="{FCB5340C-D7D1-0CA0-4A13-2F2574D5E330}"/>
              </a:ext>
            </a:extLst>
          </p:cNvPr>
          <p:cNvSpPr txBox="1">
            <a:spLocks/>
          </p:cNvSpPr>
          <p:nvPr/>
        </p:nvSpPr>
        <p:spPr bwMode="auto">
          <a:xfrm>
            <a:off x="469345" y="880543"/>
            <a:ext cx="3457850" cy="50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rea Centro-Nord</a:t>
            </a:r>
          </a:p>
        </p:txBody>
      </p:sp>
      <p:sp>
        <p:nvSpPr>
          <p:cNvPr id="93" name="Titolo 1">
            <a:extLst>
              <a:ext uri="{FF2B5EF4-FFF2-40B4-BE49-F238E27FC236}">
                <a16:creationId xmlns:a16="http://schemas.microsoft.com/office/drawing/2014/main" id="{EFD1C6E0-FA72-3664-F776-0A5534DD7842}"/>
              </a:ext>
            </a:extLst>
          </p:cNvPr>
          <p:cNvSpPr txBox="1">
            <a:spLocks/>
          </p:cNvSpPr>
          <p:nvPr/>
        </p:nvSpPr>
        <p:spPr bwMode="auto">
          <a:xfrm>
            <a:off x="8163013" y="913309"/>
            <a:ext cx="3457850" cy="50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rea Sud e Isole</a:t>
            </a:r>
          </a:p>
        </p:txBody>
      </p:sp>
      <p:cxnSp>
        <p:nvCxnSpPr>
          <p:cNvPr id="94" name="Straight Connector 24">
            <a:extLst>
              <a:ext uri="{FF2B5EF4-FFF2-40B4-BE49-F238E27FC236}">
                <a16:creationId xmlns:a16="http://schemas.microsoft.com/office/drawing/2014/main" id="{CC84AC98-6FC2-9E31-5FEA-4FCE31C14ACF}"/>
              </a:ext>
            </a:extLst>
          </p:cNvPr>
          <p:cNvCxnSpPr>
            <a:cxnSpLocks/>
          </p:cNvCxnSpPr>
          <p:nvPr/>
        </p:nvCxnSpPr>
        <p:spPr>
          <a:xfrm>
            <a:off x="428395" y="1433271"/>
            <a:ext cx="3420000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24">
            <a:extLst>
              <a:ext uri="{FF2B5EF4-FFF2-40B4-BE49-F238E27FC236}">
                <a16:creationId xmlns:a16="http://schemas.microsoft.com/office/drawing/2014/main" id="{037D5F8B-85F7-7F2D-0ABD-4CA1BF470B73}"/>
              </a:ext>
            </a:extLst>
          </p:cNvPr>
          <p:cNvCxnSpPr>
            <a:cxnSpLocks/>
          </p:cNvCxnSpPr>
          <p:nvPr/>
        </p:nvCxnSpPr>
        <p:spPr>
          <a:xfrm>
            <a:off x="8113226" y="1466037"/>
            <a:ext cx="3420000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CustomShape 14">
            <a:extLst>
              <a:ext uri="{FF2B5EF4-FFF2-40B4-BE49-F238E27FC236}">
                <a16:creationId xmlns:a16="http://schemas.microsoft.com/office/drawing/2014/main" id="{2B0EF770-24C4-31BD-DF3F-59E7CEE4F7BA}"/>
              </a:ext>
            </a:extLst>
          </p:cNvPr>
          <p:cNvSpPr/>
          <p:nvPr/>
        </p:nvSpPr>
        <p:spPr>
          <a:xfrm>
            <a:off x="357882" y="1615167"/>
            <a:ext cx="4073378" cy="7295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Lombardia</a:t>
            </a:r>
            <a:endParaRPr kumimoji="0" lang="it-IT" sz="18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ddoppio Milano – Mortara: Riqualificazione Milano P.Romana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TMS linee Milano: Monza-Molteno, Lecco-Molteno, Arona-Rho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pgrading Carnate-Monza</a:t>
            </a:r>
          </a:p>
        </p:txBody>
      </p:sp>
      <p:sp>
        <p:nvSpPr>
          <p:cNvPr id="116" name="CustomShape 14">
            <a:extLst>
              <a:ext uri="{FF2B5EF4-FFF2-40B4-BE49-F238E27FC236}">
                <a16:creationId xmlns:a16="http://schemas.microsoft.com/office/drawing/2014/main" id="{891E10AB-5EBC-5B3F-DBD5-8EC72B2579AF}"/>
              </a:ext>
            </a:extLst>
          </p:cNvPr>
          <p:cNvSpPr/>
          <p:nvPr/>
        </p:nvSpPr>
        <p:spPr>
          <a:xfrm>
            <a:off x="357882" y="2465675"/>
            <a:ext cx="3884913" cy="45386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Piemonte</a:t>
            </a:r>
            <a:endParaRPr kumimoji="0" lang="it-IT" sz="187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eguamento tratta Bussoleno-Avigliana: stazioni STI</a:t>
            </a:r>
          </a:p>
        </p:txBody>
      </p:sp>
      <p:sp>
        <p:nvSpPr>
          <p:cNvPr id="121" name="CustomShape 14">
            <a:extLst>
              <a:ext uri="{FF2B5EF4-FFF2-40B4-BE49-F238E27FC236}">
                <a16:creationId xmlns:a16="http://schemas.microsoft.com/office/drawing/2014/main" id="{9BB437CE-E2CE-824D-9691-775E67499750}"/>
              </a:ext>
            </a:extLst>
          </p:cNvPr>
          <p:cNvSpPr/>
          <p:nvPr/>
        </p:nvSpPr>
        <p:spPr>
          <a:xfrm>
            <a:off x="357882" y="4465766"/>
            <a:ext cx="4064495" cy="45386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Veneto-Emilia Romagna</a:t>
            </a:r>
            <a:endParaRPr kumimoji="0" lang="it-IT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. tecnologico. Linea Bologna- Padova  2 fase: Ferrara-Rovigo</a:t>
            </a:r>
          </a:p>
        </p:txBody>
      </p:sp>
      <p:sp>
        <p:nvSpPr>
          <p:cNvPr id="124" name="CustomShape 14">
            <a:extLst>
              <a:ext uri="{FF2B5EF4-FFF2-40B4-BE49-F238E27FC236}">
                <a16:creationId xmlns:a16="http://schemas.microsoft.com/office/drawing/2014/main" id="{A8811788-7F94-AFE8-15C9-DD72A9B8980E}"/>
              </a:ext>
            </a:extLst>
          </p:cNvPr>
          <p:cNvSpPr/>
          <p:nvPr/>
        </p:nvSpPr>
        <p:spPr>
          <a:xfrm>
            <a:off x="357882" y="5040557"/>
            <a:ext cx="3884913" cy="45386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Emilia Romagna-Marche-Abruzzo</a:t>
            </a:r>
            <a:endParaRPr kumimoji="0" lang="it-IT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eguamento sagoma P/C80 Bologna-S. Benedetto</a:t>
            </a:r>
          </a:p>
        </p:txBody>
      </p:sp>
      <p:sp>
        <p:nvSpPr>
          <p:cNvPr id="130" name="CustomShape 14">
            <a:extLst>
              <a:ext uri="{FF2B5EF4-FFF2-40B4-BE49-F238E27FC236}">
                <a16:creationId xmlns:a16="http://schemas.microsoft.com/office/drawing/2014/main" id="{FBC0C10A-BF44-C3E0-0591-678FB8EDC082}"/>
              </a:ext>
            </a:extLst>
          </p:cNvPr>
          <p:cNvSpPr/>
          <p:nvPr/>
        </p:nvSpPr>
        <p:spPr>
          <a:xfrm>
            <a:off x="357882" y="5615350"/>
            <a:ext cx="3884913" cy="59172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zio-Campania</a:t>
            </a:r>
            <a:endParaRPr kumimoji="0" lang="it-IT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. tecnologico Roma-Napoli via Formia (fase 2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M e SCCM</a:t>
            </a:r>
            <a:r>
              <a:rPr lang="it-IT" sz="1120" spc="-1">
                <a:solidFill>
                  <a:srgbClr val="000000"/>
                </a:solidFill>
                <a:latin typeface="Calibri"/>
              </a:rPr>
              <a:t> Roma-Napoli AV</a:t>
            </a:r>
            <a:endParaRPr kumimoji="0" lang="it-IT" sz="1120" b="0" i="0" u="none" strike="noStrike" kern="1200" cap="none" spc="-1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4" name="CustomShape 14">
            <a:extLst>
              <a:ext uri="{FF2B5EF4-FFF2-40B4-BE49-F238E27FC236}">
                <a16:creationId xmlns:a16="http://schemas.microsoft.com/office/drawing/2014/main" id="{E7A35C79-8F3E-C31C-1F29-3E8C497D4D0D}"/>
              </a:ext>
            </a:extLst>
          </p:cNvPr>
          <p:cNvSpPr/>
          <p:nvPr/>
        </p:nvSpPr>
        <p:spPr>
          <a:xfrm>
            <a:off x="357882" y="3753116"/>
            <a:ext cx="3884913" cy="59172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Toscana</a:t>
            </a:r>
            <a:endParaRPr kumimoji="0" lang="it-IT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enz. Tecnologico Nodo di Firenze: FI Castello-Prato, Empoli-Rifredi </a:t>
            </a:r>
          </a:p>
        </p:txBody>
      </p:sp>
      <p:cxnSp>
        <p:nvCxnSpPr>
          <p:cNvPr id="136" name="Straight Connector 24">
            <a:extLst>
              <a:ext uri="{FF2B5EF4-FFF2-40B4-BE49-F238E27FC236}">
                <a16:creationId xmlns:a16="http://schemas.microsoft.com/office/drawing/2014/main" id="{246A3632-FD18-C941-7DE4-B1576A5826D1}"/>
              </a:ext>
            </a:extLst>
          </p:cNvPr>
          <p:cNvCxnSpPr>
            <a:cxnSpLocks/>
          </p:cNvCxnSpPr>
          <p:nvPr/>
        </p:nvCxnSpPr>
        <p:spPr>
          <a:xfrm>
            <a:off x="428395" y="2363231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24">
            <a:extLst>
              <a:ext uri="{FF2B5EF4-FFF2-40B4-BE49-F238E27FC236}">
                <a16:creationId xmlns:a16="http://schemas.microsoft.com/office/drawing/2014/main" id="{17CD9237-A0CC-0D7C-B23F-268B413B6B8D}"/>
              </a:ext>
            </a:extLst>
          </p:cNvPr>
          <p:cNvCxnSpPr>
            <a:cxnSpLocks/>
          </p:cNvCxnSpPr>
          <p:nvPr/>
        </p:nvCxnSpPr>
        <p:spPr>
          <a:xfrm>
            <a:off x="428395" y="3656385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24">
            <a:extLst>
              <a:ext uri="{FF2B5EF4-FFF2-40B4-BE49-F238E27FC236}">
                <a16:creationId xmlns:a16="http://schemas.microsoft.com/office/drawing/2014/main" id="{9FB093AA-7142-E80A-C883-9A8715D20CDF}"/>
              </a:ext>
            </a:extLst>
          </p:cNvPr>
          <p:cNvCxnSpPr>
            <a:cxnSpLocks/>
          </p:cNvCxnSpPr>
          <p:nvPr/>
        </p:nvCxnSpPr>
        <p:spPr>
          <a:xfrm>
            <a:off x="428395" y="4302962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24">
            <a:extLst>
              <a:ext uri="{FF2B5EF4-FFF2-40B4-BE49-F238E27FC236}">
                <a16:creationId xmlns:a16="http://schemas.microsoft.com/office/drawing/2014/main" id="{D075473E-52EC-463A-86C2-8348165327BD}"/>
              </a:ext>
            </a:extLst>
          </p:cNvPr>
          <p:cNvCxnSpPr>
            <a:cxnSpLocks/>
          </p:cNvCxnSpPr>
          <p:nvPr/>
        </p:nvCxnSpPr>
        <p:spPr>
          <a:xfrm>
            <a:off x="428395" y="4949539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24">
            <a:extLst>
              <a:ext uri="{FF2B5EF4-FFF2-40B4-BE49-F238E27FC236}">
                <a16:creationId xmlns:a16="http://schemas.microsoft.com/office/drawing/2014/main" id="{40A0E914-40F9-7F46-096A-73DEE3FD82A6}"/>
              </a:ext>
            </a:extLst>
          </p:cNvPr>
          <p:cNvCxnSpPr>
            <a:cxnSpLocks/>
          </p:cNvCxnSpPr>
          <p:nvPr/>
        </p:nvCxnSpPr>
        <p:spPr>
          <a:xfrm>
            <a:off x="428395" y="5596116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CustomShape 14">
            <a:extLst>
              <a:ext uri="{FF2B5EF4-FFF2-40B4-BE49-F238E27FC236}">
                <a16:creationId xmlns:a16="http://schemas.microsoft.com/office/drawing/2014/main" id="{A0517419-A0AC-A93D-F179-35C57136E784}"/>
              </a:ext>
            </a:extLst>
          </p:cNvPr>
          <p:cNvSpPr/>
          <p:nvPr/>
        </p:nvSpPr>
        <p:spPr>
          <a:xfrm>
            <a:off x="8065675" y="2570970"/>
            <a:ext cx="3467552" cy="4624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Puglia</a:t>
            </a:r>
            <a:endParaRPr kumimoji="0" lang="it-IT" sz="187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M Brindisi-Lecce</a:t>
            </a:r>
          </a:p>
        </p:txBody>
      </p:sp>
      <p:sp>
        <p:nvSpPr>
          <p:cNvPr id="147" name="CustomShape 14">
            <a:extLst>
              <a:ext uri="{FF2B5EF4-FFF2-40B4-BE49-F238E27FC236}">
                <a16:creationId xmlns:a16="http://schemas.microsoft.com/office/drawing/2014/main" id="{F552E5A3-4C1C-7F64-58EE-9A59B4DA85B1}"/>
              </a:ext>
            </a:extLst>
          </p:cNvPr>
          <p:cNvSpPr/>
          <p:nvPr/>
        </p:nvSpPr>
        <p:spPr>
          <a:xfrm>
            <a:off x="8065674" y="3206389"/>
            <a:ext cx="3884913" cy="4624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Calabria</a:t>
            </a:r>
            <a:endParaRPr kumimoji="0" lang="it-IT" sz="187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TMS linee Calabria: Sibari-Catanzaro L.</a:t>
            </a:r>
          </a:p>
        </p:txBody>
      </p:sp>
      <p:cxnSp>
        <p:nvCxnSpPr>
          <p:cNvPr id="152" name="Straight Connector 24">
            <a:extLst>
              <a:ext uri="{FF2B5EF4-FFF2-40B4-BE49-F238E27FC236}">
                <a16:creationId xmlns:a16="http://schemas.microsoft.com/office/drawing/2014/main" id="{27854C59-E28C-F9FC-FC54-064781BD5364}"/>
              </a:ext>
            </a:extLst>
          </p:cNvPr>
          <p:cNvCxnSpPr>
            <a:cxnSpLocks/>
          </p:cNvCxnSpPr>
          <p:nvPr/>
        </p:nvCxnSpPr>
        <p:spPr>
          <a:xfrm>
            <a:off x="8113226" y="2417292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24">
            <a:extLst>
              <a:ext uri="{FF2B5EF4-FFF2-40B4-BE49-F238E27FC236}">
                <a16:creationId xmlns:a16="http://schemas.microsoft.com/office/drawing/2014/main" id="{3CA11A7E-E89B-28B2-0D4D-479406525A70}"/>
              </a:ext>
            </a:extLst>
          </p:cNvPr>
          <p:cNvCxnSpPr>
            <a:cxnSpLocks/>
          </p:cNvCxnSpPr>
          <p:nvPr/>
        </p:nvCxnSpPr>
        <p:spPr>
          <a:xfrm>
            <a:off x="8113226" y="3155540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CustomShape 13">
            <a:extLst>
              <a:ext uri="{FF2B5EF4-FFF2-40B4-BE49-F238E27FC236}">
                <a16:creationId xmlns:a16="http://schemas.microsoft.com/office/drawing/2014/main" id="{F0F33CCF-15B3-EE0A-B354-FDC66F63C33C}"/>
              </a:ext>
            </a:extLst>
          </p:cNvPr>
          <p:cNvSpPr/>
          <p:nvPr/>
        </p:nvSpPr>
        <p:spPr>
          <a:xfrm>
            <a:off x="375923" y="890637"/>
            <a:ext cx="4064495" cy="5316436"/>
          </a:xfrm>
          <a:prstGeom prst="rect">
            <a:avLst/>
          </a:prstGeom>
          <a:noFill/>
          <a:ln w="25400">
            <a:solidFill>
              <a:srgbClr val="C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6" name="Titolo 1">
            <a:extLst>
              <a:ext uri="{FF2B5EF4-FFF2-40B4-BE49-F238E27FC236}">
                <a16:creationId xmlns:a16="http://schemas.microsoft.com/office/drawing/2014/main" id="{2AC8FA95-E96E-BF8A-2697-A9E24388B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rincipali progettazioni esecutive anno 2022</a:t>
            </a:r>
          </a:p>
        </p:txBody>
      </p:sp>
      <p:cxnSp>
        <p:nvCxnSpPr>
          <p:cNvPr id="76" name="Straight Connector 24">
            <a:extLst>
              <a:ext uri="{FF2B5EF4-FFF2-40B4-BE49-F238E27FC236}">
                <a16:creationId xmlns:a16="http://schemas.microsoft.com/office/drawing/2014/main" id="{B2F37F30-1239-43B1-AD17-ECAF6A7BC156}"/>
              </a:ext>
            </a:extLst>
          </p:cNvPr>
          <p:cNvCxnSpPr>
            <a:cxnSpLocks/>
          </p:cNvCxnSpPr>
          <p:nvPr/>
        </p:nvCxnSpPr>
        <p:spPr>
          <a:xfrm>
            <a:off x="8152675" y="3768056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CustomShape 14">
            <a:extLst>
              <a:ext uri="{FF2B5EF4-FFF2-40B4-BE49-F238E27FC236}">
                <a16:creationId xmlns:a16="http://schemas.microsoft.com/office/drawing/2014/main" id="{9F9D6BF2-3D4B-4A50-9078-47634EF3D812}"/>
              </a:ext>
            </a:extLst>
          </p:cNvPr>
          <p:cNvSpPr/>
          <p:nvPr/>
        </p:nvSpPr>
        <p:spPr>
          <a:xfrm>
            <a:off x="8065674" y="3848577"/>
            <a:ext cx="3884913" cy="4624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Molise</a:t>
            </a:r>
            <a:endParaRPr kumimoji="0" lang="it-IT" sz="187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ddoppio Pescara-Bari: Termoli - </a:t>
            </a:r>
            <a:r>
              <a:rPr lang="it-IT" sz="1120" spc="-1">
                <a:solidFill>
                  <a:srgbClr val="000000"/>
                </a:solidFill>
                <a:latin typeface="Calibri"/>
              </a:rPr>
              <a:t>R</a:t>
            </a: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palta</a:t>
            </a:r>
          </a:p>
        </p:txBody>
      </p:sp>
      <p:sp>
        <p:nvSpPr>
          <p:cNvPr id="98" name="CustomShape 14">
            <a:extLst>
              <a:ext uri="{FF2B5EF4-FFF2-40B4-BE49-F238E27FC236}">
                <a16:creationId xmlns:a16="http://schemas.microsoft.com/office/drawing/2014/main" id="{210D2690-CBFE-48B6-9206-44ECA07407F1}"/>
              </a:ext>
            </a:extLst>
          </p:cNvPr>
          <p:cNvSpPr/>
          <p:nvPr/>
        </p:nvSpPr>
        <p:spPr>
          <a:xfrm>
            <a:off x="357882" y="3040466"/>
            <a:ext cx="3884913" cy="59172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Veneto</a:t>
            </a:r>
            <a:endParaRPr kumimoji="0" lang="it-IT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legamento ferroviario aeroporto di Venezia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tralizzazione cabine IS Verona</a:t>
            </a:r>
          </a:p>
        </p:txBody>
      </p:sp>
      <p:cxnSp>
        <p:nvCxnSpPr>
          <p:cNvPr id="99" name="Straight Connector 24">
            <a:extLst>
              <a:ext uri="{FF2B5EF4-FFF2-40B4-BE49-F238E27FC236}">
                <a16:creationId xmlns:a16="http://schemas.microsoft.com/office/drawing/2014/main" id="{0C1D496F-24F1-4A2B-A7EB-03482F8A992A}"/>
              </a:ext>
            </a:extLst>
          </p:cNvPr>
          <p:cNvCxnSpPr>
            <a:cxnSpLocks/>
          </p:cNvCxnSpPr>
          <p:nvPr/>
        </p:nvCxnSpPr>
        <p:spPr>
          <a:xfrm>
            <a:off x="428395" y="3009808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o 2">
            <a:extLst>
              <a:ext uri="{FF2B5EF4-FFF2-40B4-BE49-F238E27FC236}">
                <a16:creationId xmlns:a16="http://schemas.microsoft.com/office/drawing/2014/main" id="{34226CCC-10F6-4F72-B756-AE74F5078E09}"/>
              </a:ext>
            </a:extLst>
          </p:cNvPr>
          <p:cNvGrpSpPr/>
          <p:nvPr/>
        </p:nvGrpSpPr>
        <p:grpSpPr>
          <a:xfrm>
            <a:off x="7265717" y="5005766"/>
            <a:ext cx="4354342" cy="1092483"/>
            <a:chOff x="7265717" y="5005766"/>
            <a:chExt cx="4354342" cy="1092483"/>
          </a:xfrm>
        </p:grpSpPr>
        <p:sp>
          <p:nvSpPr>
            <p:cNvPr id="122" name="TextBox 19">
              <a:extLst>
                <a:ext uri="{FF2B5EF4-FFF2-40B4-BE49-F238E27FC236}">
                  <a16:creationId xmlns:a16="http://schemas.microsoft.com/office/drawing/2014/main" id="{E4D35E65-403F-4EEB-9D4B-2DF52157E5B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432059" y="5073552"/>
              <a:ext cx="1188000" cy="3740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4800" b="1">
                  <a:solidFill>
                    <a:schemeClr val="tx2"/>
                  </a:solidFill>
                  <a:sym typeface="Symbol" panose="05050102010706020507" pitchFamily="18" charset="2"/>
                </a:rPr>
                <a:t>~55</a:t>
              </a:r>
              <a:endParaRPr lang="it-IT" sz="2000" b="1">
                <a:latin typeface="Calibri" panose="020F0502020204030204" pitchFamily="34" charset="0"/>
                <a:ea typeface="ＭＳ Ｐゴシック"/>
                <a:sym typeface="Calibri" panose="020F0502020204030204" pitchFamily="34" charset="0"/>
              </a:endParaRPr>
            </a:p>
          </p:txBody>
        </p:sp>
        <p:cxnSp>
          <p:nvCxnSpPr>
            <p:cNvPr id="123" name="Straight Connector 24">
              <a:extLst>
                <a:ext uri="{FF2B5EF4-FFF2-40B4-BE49-F238E27FC236}">
                  <a16:creationId xmlns:a16="http://schemas.microsoft.com/office/drawing/2014/main" id="{CDC46A47-8DDA-43BC-B526-BD9ADF1DE7B2}"/>
                </a:ext>
              </a:extLst>
            </p:cNvPr>
            <p:cNvCxnSpPr>
              <a:cxnSpLocks/>
            </p:cNvCxnSpPr>
            <p:nvPr/>
          </p:nvCxnSpPr>
          <p:spPr>
            <a:xfrm>
              <a:off x="8059325" y="5447629"/>
              <a:ext cx="3492000" cy="0"/>
            </a:xfrm>
            <a:prstGeom prst="line">
              <a:avLst/>
            </a:prstGeom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Rettangolo 124">
              <a:extLst>
                <a:ext uri="{FF2B5EF4-FFF2-40B4-BE49-F238E27FC236}">
                  <a16:creationId xmlns:a16="http://schemas.microsoft.com/office/drawing/2014/main" id="{D8EA04FE-79C6-484F-AA50-D37E5844F364}"/>
                </a:ext>
              </a:extLst>
            </p:cNvPr>
            <p:cNvSpPr/>
            <p:nvPr/>
          </p:nvSpPr>
          <p:spPr>
            <a:xfrm>
              <a:off x="7265717" y="5005766"/>
              <a:ext cx="3236496" cy="3513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1400" b="1"/>
                <a:t>PROGETTAZIONI ESECUTIVE (n°)</a:t>
              </a:r>
              <a:endParaRPr lang="it-IT" sz="1200" i="1">
                <a:latin typeface="Calibri" panose="020F0502020204030204" pitchFamily="34" charset="0"/>
                <a:ea typeface="ＭＳ Ｐゴシック"/>
                <a:sym typeface="Calibri" panose="020F0502020204030204" pitchFamily="34" charset="0"/>
              </a:endParaRPr>
            </a:p>
          </p:txBody>
        </p:sp>
        <p:sp>
          <p:nvSpPr>
            <p:cNvPr id="126" name="TextBox 19">
              <a:extLst>
                <a:ext uri="{FF2B5EF4-FFF2-40B4-BE49-F238E27FC236}">
                  <a16:creationId xmlns:a16="http://schemas.microsoft.com/office/drawing/2014/main" id="{FAF6161A-1DE3-4BD0-8A39-F7E6E802876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432059" y="5724172"/>
              <a:ext cx="1188000" cy="3740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4800" b="1">
                  <a:solidFill>
                    <a:schemeClr val="tx2"/>
                  </a:solidFill>
                  <a:sym typeface="Symbol" panose="05050102010706020507" pitchFamily="18" charset="2"/>
                </a:rPr>
                <a:t>~3</a:t>
              </a:r>
              <a:endParaRPr lang="it-IT" sz="2000" b="1">
                <a:latin typeface="Calibri" panose="020F0502020204030204" pitchFamily="34" charset="0"/>
                <a:ea typeface="ＭＳ Ｐゴシック"/>
                <a:sym typeface="Calibri" panose="020F0502020204030204" pitchFamily="34" charset="0"/>
              </a:endParaRPr>
            </a:p>
          </p:txBody>
        </p:sp>
        <p:sp>
          <p:nvSpPr>
            <p:cNvPr id="127" name="Rettangolo 126">
              <a:extLst>
                <a:ext uri="{FF2B5EF4-FFF2-40B4-BE49-F238E27FC236}">
                  <a16:creationId xmlns:a16="http://schemas.microsoft.com/office/drawing/2014/main" id="{2FE16420-46D7-44CB-8F05-EA8FD34A72A9}"/>
                </a:ext>
              </a:extLst>
            </p:cNvPr>
            <p:cNvSpPr/>
            <p:nvPr/>
          </p:nvSpPr>
          <p:spPr>
            <a:xfrm>
              <a:off x="7265717" y="5573162"/>
              <a:ext cx="3236496" cy="3513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1400" b="1"/>
                <a:t>VALORE (MLD€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81090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1008">
            <a:extLst>
              <a:ext uri="{FF2B5EF4-FFF2-40B4-BE49-F238E27FC236}">
                <a16:creationId xmlns:a16="http://schemas.microsoft.com/office/drawing/2014/main" id="{9D26D3CD-9536-058B-E903-3A9E6D564598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-193241" y="0"/>
            <a:ext cx="360" cy="360"/>
          </a:xfrm>
          <a:prstGeom prst="rect">
            <a:avLst/>
          </a:prstGeom>
          <a:ln>
            <a:noFill/>
          </a:ln>
        </p:spPr>
      </p:pic>
      <p:grpSp>
        <p:nvGrpSpPr>
          <p:cNvPr id="55" name="Gruppo 384">
            <a:extLst>
              <a:ext uri="{FF2B5EF4-FFF2-40B4-BE49-F238E27FC236}">
                <a16:creationId xmlns:a16="http://schemas.microsoft.com/office/drawing/2014/main" id="{2BDF413E-5EFF-2082-81FC-AA6DD83AB548}"/>
              </a:ext>
            </a:extLst>
          </p:cNvPr>
          <p:cNvGrpSpPr>
            <a:grpSpLocks/>
          </p:cNvGrpSpPr>
          <p:nvPr/>
        </p:nvGrpSpPr>
        <p:grpSpPr bwMode="auto">
          <a:xfrm>
            <a:off x="4630259" y="856247"/>
            <a:ext cx="3352778" cy="4283305"/>
            <a:chOff x="6030758" y="980464"/>
            <a:chExt cx="5107083" cy="5839233"/>
          </a:xfrm>
          <a:solidFill>
            <a:schemeClr val="tx2"/>
          </a:solidFill>
          <a:effectLst/>
        </p:grpSpPr>
        <p:sp>
          <p:nvSpPr>
            <p:cNvPr id="56" name="Figura a mano libera 209">
              <a:extLst>
                <a:ext uri="{FF2B5EF4-FFF2-40B4-BE49-F238E27FC236}">
                  <a16:creationId xmlns:a16="http://schemas.microsoft.com/office/drawing/2014/main" id="{C95F6D69-AE21-7019-13B1-6005D05D8158}"/>
                </a:ext>
              </a:extLst>
            </p:cNvPr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igura a mano libera 210">
              <a:extLst>
                <a:ext uri="{FF2B5EF4-FFF2-40B4-BE49-F238E27FC236}">
                  <a16:creationId xmlns:a16="http://schemas.microsoft.com/office/drawing/2014/main" id="{24E1E73F-EEA3-8D9E-432D-281DAB023E13}"/>
                </a:ext>
              </a:extLst>
            </p:cNvPr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igura a mano libera 211">
              <a:extLst>
                <a:ext uri="{FF2B5EF4-FFF2-40B4-BE49-F238E27FC236}">
                  <a16:creationId xmlns:a16="http://schemas.microsoft.com/office/drawing/2014/main" id="{DD4A5667-A328-9E92-B8A2-0E504B59F0F5}"/>
                </a:ext>
              </a:extLst>
            </p:cNvPr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igura a mano libera 212">
              <a:extLst>
                <a:ext uri="{FF2B5EF4-FFF2-40B4-BE49-F238E27FC236}">
                  <a16:creationId xmlns:a16="http://schemas.microsoft.com/office/drawing/2014/main" id="{EE61FF5D-D301-CE6D-5B55-FD87A7CE5A87}"/>
                </a:ext>
              </a:extLst>
            </p:cNvPr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igura a mano libera 213">
              <a:extLst>
                <a:ext uri="{FF2B5EF4-FFF2-40B4-BE49-F238E27FC236}">
                  <a16:creationId xmlns:a16="http://schemas.microsoft.com/office/drawing/2014/main" id="{383E097C-9E90-F5EC-ADA5-25DC38B413C7}"/>
                </a:ext>
              </a:extLst>
            </p:cNvPr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igura a mano libera 214">
              <a:extLst>
                <a:ext uri="{FF2B5EF4-FFF2-40B4-BE49-F238E27FC236}">
                  <a16:creationId xmlns:a16="http://schemas.microsoft.com/office/drawing/2014/main" id="{E64AD9A7-8585-00BC-0ABC-B7935536060A}"/>
                </a:ext>
              </a:extLst>
            </p:cNvPr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igura a mano libera 215">
              <a:extLst>
                <a:ext uri="{FF2B5EF4-FFF2-40B4-BE49-F238E27FC236}">
                  <a16:creationId xmlns:a16="http://schemas.microsoft.com/office/drawing/2014/main" id="{9E851B96-813A-677D-F147-1F1B6B36396A}"/>
                </a:ext>
              </a:extLst>
            </p:cNvPr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igura a mano libera 216">
              <a:extLst>
                <a:ext uri="{FF2B5EF4-FFF2-40B4-BE49-F238E27FC236}">
                  <a16:creationId xmlns:a16="http://schemas.microsoft.com/office/drawing/2014/main" id="{0421C4E5-CFD9-C430-DE97-548E301A0E75}"/>
                </a:ext>
              </a:extLst>
            </p:cNvPr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igura a mano libera 217">
              <a:extLst>
                <a:ext uri="{FF2B5EF4-FFF2-40B4-BE49-F238E27FC236}">
                  <a16:creationId xmlns:a16="http://schemas.microsoft.com/office/drawing/2014/main" id="{0A25F7E2-4AF0-E5B2-F44C-25973FC76432}"/>
                </a:ext>
              </a:extLst>
            </p:cNvPr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igura a mano libera 218">
              <a:extLst>
                <a:ext uri="{FF2B5EF4-FFF2-40B4-BE49-F238E27FC236}">
                  <a16:creationId xmlns:a16="http://schemas.microsoft.com/office/drawing/2014/main" id="{485A1D8B-E988-ADC0-3774-4D4029CEDCC7}"/>
                </a:ext>
              </a:extLst>
            </p:cNvPr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igura a mano libera 219">
              <a:extLst>
                <a:ext uri="{FF2B5EF4-FFF2-40B4-BE49-F238E27FC236}">
                  <a16:creationId xmlns:a16="http://schemas.microsoft.com/office/drawing/2014/main" id="{19EB3439-2F78-8BD7-151E-7E3F213DBE4E}"/>
                </a:ext>
              </a:extLst>
            </p:cNvPr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igura a mano libera 220">
              <a:extLst>
                <a:ext uri="{FF2B5EF4-FFF2-40B4-BE49-F238E27FC236}">
                  <a16:creationId xmlns:a16="http://schemas.microsoft.com/office/drawing/2014/main" id="{A5A9ABF9-6832-6302-1753-D40B90607ED6}"/>
                </a:ext>
              </a:extLst>
            </p:cNvPr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grpFill/>
            <a:ln w="9525">
              <a:solidFill>
                <a:schemeClr val="bg1"/>
              </a:solidFill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igura a mano libera 221">
              <a:extLst>
                <a:ext uri="{FF2B5EF4-FFF2-40B4-BE49-F238E27FC236}">
                  <a16:creationId xmlns:a16="http://schemas.microsoft.com/office/drawing/2014/main" id="{8D2102B2-53CA-2644-AF82-B06BA4ADA9BA}"/>
                </a:ext>
              </a:extLst>
            </p:cNvPr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igura a mano libera 222">
              <a:extLst>
                <a:ext uri="{FF2B5EF4-FFF2-40B4-BE49-F238E27FC236}">
                  <a16:creationId xmlns:a16="http://schemas.microsoft.com/office/drawing/2014/main" id="{9DB29B61-8D76-A8D7-AF6D-44D94430A8D9}"/>
                </a:ext>
              </a:extLst>
            </p:cNvPr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igura a mano libera 223">
              <a:extLst>
                <a:ext uri="{FF2B5EF4-FFF2-40B4-BE49-F238E27FC236}">
                  <a16:creationId xmlns:a16="http://schemas.microsoft.com/office/drawing/2014/main" id="{815D66CA-B48F-D975-632F-98F8120712E1}"/>
                </a:ext>
              </a:extLst>
            </p:cNvPr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igura a mano libera 224">
              <a:extLst>
                <a:ext uri="{FF2B5EF4-FFF2-40B4-BE49-F238E27FC236}">
                  <a16:creationId xmlns:a16="http://schemas.microsoft.com/office/drawing/2014/main" id="{DAEB0EFF-3622-4376-985D-89FAF4386533}"/>
                </a:ext>
              </a:extLst>
            </p:cNvPr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igura a mano libera 225">
              <a:extLst>
                <a:ext uri="{FF2B5EF4-FFF2-40B4-BE49-F238E27FC236}">
                  <a16:creationId xmlns:a16="http://schemas.microsoft.com/office/drawing/2014/main" id="{440B359B-8964-3394-A37E-3287963B1D36}"/>
                </a:ext>
              </a:extLst>
            </p:cNvPr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igura a mano libera 226">
              <a:extLst>
                <a:ext uri="{FF2B5EF4-FFF2-40B4-BE49-F238E27FC236}">
                  <a16:creationId xmlns:a16="http://schemas.microsoft.com/office/drawing/2014/main" id="{13EEC9FD-FF3A-4F10-8CE1-7742C8C6E2CB}"/>
                </a:ext>
              </a:extLst>
            </p:cNvPr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igura a mano libera 227">
              <a:extLst>
                <a:ext uri="{FF2B5EF4-FFF2-40B4-BE49-F238E27FC236}">
                  <a16:creationId xmlns:a16="http://schemas.microsoft.com/office/drawing/2014/main" id="{CABE0619-3B2B-4A9C-BBB5-D63EB58D7097}"/>
                </a:ext>
              </a:extLst>
            </p:cNvPr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igura a mano libera 228">
              <a:extLst>
                <a:ext uri="{FF2B5EF4-FFF2-40B4-BE49-F238E27FC236}">
                  <a16:creationId xmlns:a16="http://schemas.microsoft.com/office/drawing/2014/main" id="{27F6AA9F-347F-BBB1-88B5-EE128D1EBCA3}"/>
                </a:ext>
              </a:extLst>
            </p:cNvPr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0" name="CustomShape 13">
            <a:extLst>
              <a:ext uri="{FF2B5EF4-FFF2-40B4-BE49-F238E27FC236}">
                <a16:creationId xmlns:a16="http://schemas.microsoft.com/office/drawing/2014/main" id="{CD02B94B-0471-FA0C-5650-9DBD1304EC67}"/>
              </a:ext>
            </a:extLst>
          </p:cNvPr>
          <p:cNvSpPr/>
          <p:nvPr/>
        </p:nvSpPr>
        <p:spPr>
          <a:xfrm>
            <a:off x="8051549" y="919043"/>
            <a:ext cx="3587804" cy="3909142"/>
          </a:xfrm>
          <a:prstGeom prst="rect">
            <a:avLst/>
          </a:prstGeom>
          <a:noFill/>
          <a:ln w="25400">
            <a:solidFill>
              <a:srgbClr val="C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2" name="Titolo 1">
            <a:extLst>
              <a:ext uri="{FF2B5EF4-FFF2-40B4-BE49-F238E27FC236}">
                <a16:creationId xmlns:a16="http://schemas.microsoft.com/office/drawing/2014/main" id="{FCB5340C-D7D1-0CA0-4A13-2F2574D5E330}"/>
              </a:ext>
            </a:extLst>
          </p:cNvPr>
          <p:cNvSpPr txBox="1">
            <a:spLocks/>
          </p:cNvSpPr>
          <p:nvPr/>
        </p:nvSpPr>
        <p:spPr bwMode="auto">
          <a:xfrm>
            <a:off x="469345" y="880543"/>
            <a:ext cx="3457850" cy="50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rea Centro-Nord</a:t>
            </a:r>
          </a:p>
        </p:txBody>
      </p:sp>
      <p:sp>
        <p:nvSpPr>
          <p:cNvPr id="93" name="Titolo 1">
            <a:extLst>
              <a:ext uri="{FF2B5EF4-FFF2-40B4-BE49-F238E27FC236}">
                <a16:creationId xmlns:a16="http://schemas.microsoft.com/office/drawing/2014/main" id="{EFD1C6E0-FA72-3664-F776-0A5534DD7842}"/>
              </a:ext>
            </a:extLst>
          </p:cNvPr>
          <p:cNvSpPr txBox="1">
            <a:spLocks/>
          </p:cNvSpPr>
          <p:nvPr/>
        </p:nvSpPr>
        <p:spPr bwMode="auto">
          <a:xfrm>
            <a:off x="8163013" y="913309"/>
            <a:ext cx="3457850" cy="50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rea Sud e Isole</a:t>
            </a:r>
          </a:p>
        </p:txBody>
      </p:sp>
      <p:cxnSp>
        <p:nvCxnSpPr>
          <p:cNvPr id="94" name="Straight Connector 24">
            <a:extLst>
              <a:ext uri="{FF2B5EF4-FFF2-40B4-BE49-F238E27FC236}">
                <a16:creationId xmlns:a16="http://schemas.microsoft.com/office/drawing/2014/main" id="{CC84AC98-6FC2-9E31-5FEA-4FCE31C14ACF}"/>
              </a:ext>
            </a:extLst>
          </p:cNvPr>
          <p:cNvCxnSpPr>
            <a:cxnSpLocks/>
          </p:cNvCxnSpPr>
          <p:nvPr/>
        </p:nvCxnSpPr>
        <p:spPr>
          <a:xfrm>
            <a:off x="428395" y="1433271"/>
            <a:ext cx="3420000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CustomShape 13">
            <a:extLst>
              <a:ext uri="{FF2B5EF4-FFF2-40B4-BE49-F238E27FC236}">
                <a16:creationId xmlns:a16="http://schemas.microsoft.com/office/drawing/2014/main" id="{F0F33CCF-15B3-EE0A-B354-FDC66F63C33C}"/>
              </a:ext>
            </a:extLst>
          </p:cNvPr>
          <p:cNvSpPr/>
          <p:nvPr/>
        </p:nvSpPr>
        <p:spPr>
          <a:xfrm>
            <a:off x="375923" y="929136"/>
            <a:ext cx="4064495" cy="5327279"/>
          </a:xfrm>
          <a:prstGeom prst="rect">
            <a:avLst/>
          </a:prstGeom>
          <a:noFill/>
          <a:ln w="25400">
            <a:solidFill>
              <a:srgbClr val="C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6" name="Titolo 1">
            <a:extLst>
              <a:ext uri="{FF2B5EF4-FFF2-40B4-BE49-F238E27FC236}">
                <a16:creationId xmlns:a16="http://schemas.microsoft.com/office/drawing/2014/main" id="{2AC8FA95-E96E-BF8A-2697-A9E24388B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rincipali gare anno 2022</a:t>
            </a:r>
          </a:p>
        </p:txBody>
      </p: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CAEB0585-15F3-48C6-BFC6-0D64DFC1BA61}"/>
              </a:ext>
            </a:extLst>
          </p:cNvPr>
          <p:cNvGrpSpPr/>
          <p:nvPr/>
        </p:nvGrpSpPr>
        <p:grpSpPr>
          <a:xfrm>
            <a:off x="7265717" y="5275273"/>
            <a:ext cx="4354342" cy="1092483"/>
            <a:chOff x="7265717" y="5005766"/>
            <a:chExt cx="4354342" cy="1092483"/>
          </a:xfrm>
        </p:grpSpPr>
        <p:sp>
          <p:nvSpPr>
            <p:cNvPr id="32" name="TextBox 19">
              <a:extLst>
                <a:ext uri="{FF2B5EF4-FFF2-40B4-BE49-F238E27FC236}">
                  <a16:creationId xmlns:a16="http://schemas.microsoft.com/office/drawing/2014/main" id="{33816C50-F33B-42BE-A448-ED46399AEE9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109200" y="5073552"/>
              <a:ext cx="1510859" cy="3740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4800" b="1" dirty="0">
                  <a:solidFill>
                    <a:schemeClr val="tx2"/>
                  </a:solidFill>
                  <a:sym typeface="Symbol" panose="05050102010706020507" pitchFamily="18" charset="2"/>
                </a:rPr>
                <a:t>~283</a:t>
              </a:r>
              <a:endParaRPr lang="it-IT" sz="2000" b="1" dirty="0">
                <a:latin typeface="Calibri" panose="020F0502020204030204" pitchFamily="34" charset="0"/>
                <a:ea typeface="ＭＳ Ｐゴシック"/>
                <a:sym typeface="Calibri" panose="020F0502020204030204" pitchFamily="34" charset="0"/>
              </a:endParaRPr>
            </a:p>
          </p:txBody>
        </p:sp>
        <p:cxnSp>
          <p:nvCxnSpPr>
            <p:cNvPr id="33" name="Straight Connector 24">
              <a:extLst>
                <a:ext uri="{FF2B5EF4-FFF2-40B4-BE49-F238E27FC236}">
                  <a16:creationId xmlns:a16="http://schemas.microsoft.com/office/drawing/2014/main" id="{D3A9B60E-9E3A-42D3-B514-338B2EF079D0}"/>
                </a:ext>
              </a:extLst>
            </p:cNvPr>
            <p:cNvCxnSpPr>
              <a:cxnSpLocks/>
            </p:cNvCxnSpPr>
            <p:nvPr/>
          </p:nvCxnSpPr>
          <p:spPr>
            <a:xfrm>
              <a:off x="8059325" y="5447629"/>
              <a:ext cx="3492000" cy="0"/>
            </a:xfrm>
            <a:prstGeom prst="line">
              <a:avLst/>
            </a:prstGeom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EC2567AD-3DCF-42E1-90A4-65ABB3D04AC8}"/>
                </a:ext>
              </a:extLst>
            </p:cNvPr>
            <p:cNvSpPr/>
            <p:nvPr/>
          </p:nvSpPr>
          <p:spPr>
            <a:xfrm>
              <a:off x="7265717" y="5005766"/>
              <a:ext cx="3236496" cy="3513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1400" b="1" dirty="0"/>
                <a:t>GARE (n°)</a:t>
              </a:r>
              <a:endParaRPr lang="it-IT" sz="1200" i="1" dirty="0">
                <a:latin typeface="Calibri" panose="020F0502020204030204" pitchFamily="34" charset="0"/>
                <a:ea typeface="ＭＳ Ｐゴシック"/>
                <a:sym typeface="Calibri" panose="020F0502020204030204" pitchFamily="34" charset="0"/>
              </a:endParaRPr>
            </a:p>
          </p:txBody>
        </p:sp>
        <p:sp>
          <p:nvSpPr>
            <p:cNvPr id="35" name="TextBox 19">
              <a:extLst>
                <a:ext uri="{FF2B5EF4-FFF2-40B4-BE49-F238E27FC236}">
                  <a16:creationId xmlns:a16="http://schemas.microsoft.com/office/drawing/2014/main" id="{33932F87-CD71-4AB9-AE82-0C74EB0FC8B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432059" y="5724172"/>
              <a:ext cx="1188000" cy="3740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4800" b="1" dirty="0">
                  <a:solidFill>
                    <a:schemeClr val="tx2"/>
                  </a:solidFill>
                  <a:sym typeface="Symbol" panose="05050102010706020507" pitchFamily="18" charset="2"/>
                </a:rPr>
                <a:t>~21</a:t>
              </a:r>
              <a:endParaRPr lang="it-IT" sz="2000" b="1" dirty="0">
                <a:latin typeface="Calibri" panose="020F0502020204030204" pitchFamily="34" charset="0"/>
                <a:ea typeface="ＭＳ Ｐゴシック"/>
                <a:sym typeface="Calibri" panose="020F0502020204030204" pitchFamily="34" charset="0"/>
              </a:endParaRPr>
            </a:p>
          </p:txBody>
        </p:sp>
        <p:sp>
          <p:nvSpPr>
            <p:cNvPr id="36" name="Rettangolo 35">
              <a:extLst>
                <a:ext uri="{FF2B5EF4-FFF2-40B4-BE49-F238E27FC236}">
                  <a16:creationId xmlns:a16="http://schemas.microsoft.com/office/drawing/2014/main" id="{D6C843E8-C81F-4A22-956C-856DCB04A2C8}"/>
                </a:ext>
              </a:extLst>
            </p:cNvPr>
            <p:cNvSpPr/>
            <p:nvPr/>
          </p:nvSpPr>
          <p:spPr>
            <a:xfrm>
              <a:off x="7265717" y="5573162"/>
              <a:ext cx="3236496" cy="3513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1400" b="1"/>
                <a:t>VALORE (MLD€)</a:t>
              </a:r>
            </a:p>
          </p:txBody>
        </p:sp>
      </p:grpSp>
      <p:sp>
        <p:nvSpPr>
          <p:cNvPr id="38" name="CustomShape 14">
            <a:extLst>
              <a:ext uri="{FF2B5EF4-FFF2-40B4-BE49-F238E27FC236}">
                <a16:creationId xmlns:a16="http://schemas.microsoft.com/office/drawing/2014/main" id="{4DA6D28F-3F66-4F89-A158-5E14729A3768}"/>
              </a:ext>
            </a:extLst>
          </p:cNvPr>
          <p:cNvSpPr/>
          <p:nvPr/>
        </p:nvSpPr>
        <p:spPr>
          <a:xfrm>
            <a:off x="422731" y="1408626"/>
            <a:ext cx="4073378" cy="265959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spc="-1" dirty="0">
                <a:solidFill>
                  <a:srgbClr val="000000"/>
                </a:solidFill>
                <a:latin typeface="Calibri"/>
              </a:rPr>
              <a:t>Nord-Ovest</a:t>
            </a:r>
            <a:endParaRPr kumimoji="0" lang="it-IT" sz="18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lvl="0" indent="-91080">
              <a:lnSpc>
                <a:spcPct val="80000"/>
              </a:lnSpc>
              <a:buClr>
                <a:srgbClr val="C00000"/>
              </a:buClr>
              <a:buFont typeface="Wingdings" charset="2"/>
              <a:buChar char=""/>
              <a:defRPr/>
            </a:pPr>
            <a:r>
              <a:rPr lang="it-IT" sz="1120" spc="-1" dirty="0">
                <a:solidFill>
                  <a:schemeClr val="tx2"/>
                </a:solidFill>
              </a:rPr>
              <a:t>Collegamento Aeroporto Bergamo (</a:t>
            </a: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ppress. PL Pizzo Recastello</a:t>
            </a:r>
            <a:r>
              <a:rPr lang="it-IT" sz="1120" spc="-1" dirty="0">
                <a:solidFill>
                  <a:schemeClr val="tx2"/>
                </a:solidFill>
                <a:latin typeface="Calibri"/>
              </a:rPr>
              <a:t>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ova fermata Torino S. Paolo SFM5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ova fermata Borgata Quaglia-Le Gru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D linea Chivasso-Aosta: stazioni Strambino e Montanaro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ttrificazione Ivrea-Aosta + stazioni Nus e Hone Bard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do Ligure - 1^ Fase - Soppressione del PL di via Sabazia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G di Bergamo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ddoppio Ponte S. Pietro-Bergamo e potenziamento Bergamo-Montello (soppressione PL)-I fase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letamento Raddoppio Ponte San Pietro Bergamo (rifacimento 2 ponti e sedi in ingresso a Bergamo lato ovest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druplicamento Milano Rogoredo-Pavia ( 1^ fase tratta Mi Rog-Pieve E.) + Velocizzazione 1^fase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D Nuovo Blocco Emulato Voghera-Tortona (PIAZZALE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se 1 tratta Piadena-Mantova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enziamento infrastrutturale dello scalo di Brescia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endParaRPr kumimoji="0" lang="it-IT" sz="1120" b="0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CustomShape 14">
            <a:extLst>
              <a:ext uri="{FF2B5EF4-FFF2-40B4-BE49-F238E27FC236}">
                <a16:creationId xmlns:a16="http://schemas.microsoft.com/office/drawing/2014/main" id="{3A75FDA0-5A51-4E4B-9E66-271B3DE8A3E7}"/>
              </a:ext>
            </a:extLst>
          </p:cNvPr>
          <p:cNvSpPr/>
          <p:nvPr/>
        </p:nvSpPr>
        <p:spPr>
          <a:xfrm>
            <a:off x="422731" y="5100100"/>
            <a:ext cx="3987896" cy="119271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Centro</a:t>
            </a:r>
            <a:endParaRPr kumimoji="0" lang="it-IT" sz="18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SCC e protezione impianti TE linea AV/AC Roma-Napoli.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Raddoppio Campoleone - Aprilia: Adeguamento PD OO.CC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ACCM Formia - Villa Literno - Interventi piazzale e cabina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Progettazione esecutiva e realizzazione raddoppio Empoli-Granaiolo (tecnologie, opere civili e armamento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Lavori Passante e Stazione AV del nodo di Firenze Belfiore</a:t>
            </a:r>
          </a:p>
        </p:txBody>
      </p:sp>
      <p:sp>
        <p:nvSpPr>
          <p:cNvPr id="40" name="CustomShape 14">
            <a:extLst>
              <a:ext uri="{FF2B5EF4-FFF2-40B4-BE49-F238E27FC236}">
                <a16:creationId xmlns:a16="http://schemas.microsoft.com/office/drawing/2014/main" id="{C42FBCA0-2512-4DE8-8147-76AD269AEB03}"/>
              </a:ext>
            </a:extLst>
          </p:cNvPr>
          <p:cNvSpPr/>
          <p:nvPr/>
        </p:nvSpPr>
        <p:spPr>
          <a:xfrm>
            <a:off x="422731" y="3868011"/>
            <a:ext cx="4073378" cy="128101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spc="-1" dirty="0">
                <a:solidFill>
                  <a:srgbClr val="000000"/>
                </a:solidFill>
                <a:latin typeface="Calibri"/>
              </a:rPr>
              <a:t>Nord-Est</a:t>
            </a:r>
            <a:endParaRPr kumimoji="0" lang="it-IT" sz="18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CCM S. Felice sul Panaro – Poggio Rusco, SCMT e SCCM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rconvallazione di Trento (Lotto 3a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eguamento PC/80 2 Appalto Pianoro - S.Benedetto V.S.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riante Val Di Riga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legamento ferroviario con Aeroporto Marco Polo di Venezia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G Bressanone fase 1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Nodo AV/AC Verona Ingresso Ovest</a:t>
            </a:r>
            <a:endParaRPr kumimoji="0" lang="it-IT" sz="1120" b="0" i="0" u="none" strike="noStrike" kern="1200" cap="none" spc="-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CustomShape 14">
            <a:extLst>
              <a:ext uri="{FF2B5EF4-FFF2-40B4-BE49-F238E27FC236}">
                <a16:creationId xmlns:a16="http://schemas.microsoft.com/office/drawing/2014/main" id="{C71E373A-F055-407D-889C-F1CF29851CCA}"/>
              </a:ext>
            </a:extLst>
          </p:cNvPr>
          <p:cNvSpPr/>
          <p:nvPr/>
        </p:nvSpPr>
        <p:spPr>
          <a:xfrm>
            <a:off x="8113226" y="1501129"/>
            <a:ext cx="3507001" cy="156532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Sud</a:t>
            </a:r>
            <a:endParaRPr kumimoji="0" lang="it-IT" sz="187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legamento aeroporto del Salento (Brindisi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lizzazione nuova linea Ferrandina- Matera La Martella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e anticipate Bari Sud: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ttovia Sant’Anna e canale idraulico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lungamento Metropolitana di Salerno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 AC SALERNO-REGGIO CALABRIA: Lotto 1a Battipaglia-Romagnano   + bretella interconnessione linea Battipaglia - Potenza </a:t>
            </a:r>
          </a:p>
        </p:txBody>
      </p:sp>
      <p:sp>
        <p:nvSpPr>
          <p:cNvPr id="42" name="CustomShape 14">
            <a:extLst>
              <a:ext uri="{FF2B5EF4-FFF2-40B4-BE49-F238E27FC236}">
                <a16:creationId xmlns:a16="http://schemas.microsoft.com/office/drawing/2014/main" id="{60D25C7B-409C-43C7-9211-C71F54B004CE}"/>
              </a:ext>
            </a:extLst>
          </p:cNvPr>
          <p:cNvSpPr/>
          <p:nvPr/>
        </p:nvSpPr>
        <p:spPr>
          <a:xfrm>
            <a:off x="8113226" y="3036018"/>
            <a:ext cx="3467552" cy="184103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Isole</a:t>
            </a:r>
            <a:endParaRPr kumimoji="0" lang="it-IT" sz="187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-CT 1^ macrofase: lotti 1,2 </a:t>
            </a: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,</a:t>
            </a: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a, 4b e 5</a:t>
            </a: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Fiumetorto</a:t>
            </a: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Lercara-Caltanissetta-Enna-Dittaino-Catenanuova</a:t>
            </a: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ramento Acquicella-Bicocca per eliminazione interferenza con pista aeroporto (Nodo di Catania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ollegamento aeroporto Catania Fontanarossa: tecnologie ed armamento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venti multidisciplinare Caltagirone-Gela (OOCC+LFM) lotto 1: Caltagirone Niscemi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ttrificazione Cinisi-Alcamo-Milo-TP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"Upgrading multi-tecnologico ERTMS Palermo - Catania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endParaRPr kumimoji="0" lang="it-IT" sz="1120" b="0" i="0" u="none" strike="noStrike" kern="1200" cap="none" spc="-1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3" name="Straight Connector 24">
            <a:extLst>
              <a:ext uri="{FF2B5EF4-FFF2-40B4-BE49-F238E27FC236}">
                <a16:creationId xmlns:a16="http://schemas.microsoft.com/office/drawing/2014/main" id="{6A907C9F-22D6-416D-B8A8-86C6EF652EA9}"/>
              </a:ext>
            </a:extLst>
          </p:cNvPr>
          <p:cNvCxnSpPr>
            <a:cxnSpLocks/>
          </p:cNvCxnSpPr>
          <p:nvPr/>
        </p:nvCxnSpPr>
        <p:spPr>
          <a:xfrm>
            <a:off x="428395" y="5139291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4">
            <a:extLst>
              <a:ext uri="{FF2B5EF4-FFF2-40B4-BE49-F238E27FC236}">
                <a16:creationId xmlns:a16="http://schemas.microsoft.com/office/drawing/2014/main" id="{53C2C219-F362-4A7B-9CFB-A9A06D96329F}"/>
              </a:ext>
            </a:extLst>
          </p:cNvPr>
          <p:cNvCxnSpPr>
            <a:cxnSpLocks/>
          </p:cNvCxnSpPr>
          <p:nvPr/>
        </p:nvCxnSpPr>
        <p:spPr>
          <a:xfrm>
            <a:off x="8113226" y="3031706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24">
            <a:extLst>
              <a:ext uri="{FF2B5EF4-FFF2-40B4-BE49-F238E27FC236}">
                <a16:creationId xmlns:a16="http://schemas.microsoft.com/office/drawing/2014/main" id="{4DFD4C20-5D54-4F64-8097-639BDE94AAF4}"/>
              </a:ext>
            </a:extLst>
          </p:cNvPr>
          <p:cNvCxnSpPr>
            <a:cxnSpLocks/>
          </p:cNvCxnSpPr>
          <p:nvPr/>
        </p:nvCxnSpPr>
        <p:spPr>
          <a:xfrm>
            <a:off x="428395" y="3876088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24">
            <a:extLst>
              <a:ext uri="{FF2B5EF4-FFF2-40B4-BE49-F238E27FC236}">
                <a16:creationId xmlns:a16="http://schemas.microsoft.com/office/drawing/2014/main" id="{B6D09DB5-7200-4B3E-A1C6-F809AC216578}"/>
              </a:ext>
            </a:extLst>
          </p:cNvPr>
          <p:cNvCxnSpPr>
            <a:cxnSpLocks/>
          </p:cNvCxnSpPr>
          <p:nvPr/>
        </p:nvCxnSpPr>
        <p:spPr>
          <a:xfrm>
            <a:off x="8113226" y="1466037"/>
            <a:ext cx="3420000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asellaDiTesto 46">
            <a:extLst>
              <a:ext uri="{FF2B5EF4-FFF2-40B4-BE49-F238E27FC236}">
                <a16:creationId xmlns:a16="http://schemas.microsoft.com/office/drawing/2014/main" id="{5F0031FD-07C2-48E2-8B89-F48FF819D6A8}"/>
              </a:ext>
            </a:extLst>
          </p:cNvPr>
          <p:cNvSpPr txBox="1"/>
          <p:nvPr/>
        </p:nvSpPr>
        <p:spPr>
          <a:xfrm>
            <a:off x="7600548" y="6201019"/>
            <a:ext cx="3980230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B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 gare bandite per investimenti PNRR ammontano a ~10 mld €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900" b="1" dirty="0">
                <a:solidFill>
                  <a:srgbClr val="000000"/>
                </a:solidFill>
                <a:latin typeface="Calibri" panose="020F0502020204030204"/>
              </a:rPr>
              <a:t>Gli investimenti non ascrivibili ad una determinata area valgono 3,2 mld €</a:t>
            </a:r>
            <a:endParaRPr kumimoji="0" lang="it-IT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CustomShape 14">
            <a:extLst>
              <a:ext uri="{FF2B5EF4-FFF2-40B4-BE49-F238E27FC236}">
                <a16:creationId xmlns:a16="http://schemas.microsoft.com/office/drawing/2014/main" id="{28A326C2-C755-4051-A7E1-725CE816BB65}"/>
              </a:ext>
            </a:extLst>
          </p:cNvPr>
          <p:cNvSpPr/>
          <p:nvPr/>
        </p:nvSpPr>
        <p:spPr>
          <a:xfrm>
            <a:off x="949229" y="6299650"/>
            <a:ext cx="3605311" cy="26753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720" marR="0" lvl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tabLst/>
              <a:defRPr/>
            </a:pPr>
            <a:r>
              <a:rPr kumimoji="0" lang="it-IT" sz="140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e PNRR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9" name="CustomShape 14">
            <a:extLst>
              <a:ext uri="{FF2B5EF4-FFF2-40B4-BE49-F238E27FC236}">
                <a16:creationId xmlns:a16="http://schemas.microsoft.com/office/drawing/2014/main" id="{68F8BA06-27EC-43AE-9577-2A2BAE16DF5D}"/>
              </a:ext>
            </a:extLst>
          </p:cNvPr>
          <p:cNvSpPr/>
          <p:nvPr/>
        </p:nvSpPr>
        <p:spPr>
          <a:xfrm>
            <a:off x="8061174" y="4849020"/>
            <a:ext cx="3605311" cy="26753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720" marR="0" lvl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tabLst/>
              <a:defRPr/>
            </a:pPr>
            <a:r>
              <a:rPr kumimoji="0" lang="it-IT" sz="140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e PNRR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4857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E5355034-5801-AF32-2F8B-7AF7880C29E3}"/>
              </a:ext>
            </a:extLst>
          </p:cNvPr>
          <p:cNvSpPr/>
          <p:nvPr/>
        </p:nvSpPr>
        <p:spPr>
          <a:xfrm>
            <a:off x="90395" y="2034691"/>
            <a:ext cx="11282330" cy="6888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4D5EA3D9-220B-49D0-99ED-55446059D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Agenda</a:t>
            </a:r>
          </a:p>
        </p:txBody>
      </p:sp>
      <p:sp>
        <p:nvSpPr>
          <p:cNvPr id="7" name="Segnaposto contenuto 1">
            <a:extLst>
              <a:ext uri="{FF2B5EF4-FFF2-40B4-BE49-F238E27FC236}">
                <a16:creationId xmlns:a16="http://schemas.microsoft.com/office/drawing/2014/main" id="{474E63C6-14CD-4B24-A0C7-9930810D10B2}"/>
              </a:ext>
            </a:extLst>
          </p:cNvPr>
          <p:cNvSpPr txBox="1">
            <a:spLocks/>
          </p:cNvSpPr>
          <p:nvPr/>
        </p:nvSpPr>
        <p:spPr>
          <a:xfrm>
            <a:off x="1218705" y="2132261"/>
            <a:ext cx="7052259" cy="1242006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Segnaposto contenuto 1">
            <a:extLst>
              <a:ext uri="{FF2B5EF4-FFF2-40B4-BE49-F238E27FC236}">
                <a16:creationId xmlns:a16="http://schemas.microsoft.com/office/drawing/2014/main" id="{5E0852D8-543C-4180-B48B-7F0896CCA38A}"/>
              </a:ext>
            </a:extLst>
          </p:cNvPr>
          <p:cNvSpPr txBox="1">
            <a:spLocks/>
          </p:cNvSpPr>
          <p:nvPr/>
        </p:nvSpPr>
        <p:spPr>
          <a:xfrm>
            <a:off x="963419" y="3063680"/>
            <a:ext cx="9445030" cy="828132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atti di Programma 2022-2026 parte Servizi e Investimenti</a:t>
            </a:r>
          </a:p>
        </p:txBody>
      </p:sp>
      <p:sp>
        <p:nvSpPr>
          <p:cNvPr id="22" name="Segnaposto contenuto 3">
            <a:extLst>
              <a:ext uri="{FF2B5EF4-FFF2-40B4-BE49-F238E27FC236}">
                <a16:creationId xmlns:a16="http://schemas.microsoft.com/office/drawing/2014/main" id="{0AD3F1CA-76C4-474A-8F46-80672306F0D2}"/>
              </a:ext>
            </a:extLst>
          </p:cNvPr>
          <p:cNvSpPr txBox="1">
            <a:spLocks/>
          </p:cNvSpPr>
          <p:nvPr/>
        </p:nvSpPr>
        <p:spPr>
          <a:xfrm>
            <a:off x="384670" y="3073997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20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2</a:t>
            </a:r>
          </a:p>
        </p:txBody>
      </p:sp>
      <p:sp>
        <p:nvSpPr>
          <p:cNvPr id="23" name="Segnaposto contenuto 1">
            <a:extLst>
              <a:ext uri="{FF2B5EF4-FFF2-40B4-BE49-F238E27FC236}">
                <a16:creationId xmlns:a16="http://schemas.microsoft.com/office/drawing/2014/main" id="{5E0852D8-543C-4180-B48B-7F0896CCA38A}"/>
              </a:ext>
            </a:extLst>
          </p:cNvPr>
          <p:cNvSpPr txBox="1">
            <a:spLocks/>
          </p:cNvSpPr>
          <p:nvPr/>
        </p:nvSpPr>
        <p:spPr>
          <a:xfrm>
            <a:off x="982390" y="2144588"/>
            <a:ext cx="9123841" cy="469026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it-IT" sz="2000" b="1" dirty="0">
                <a:solidFill>
                  <a:srgbClr val="000000"/>
                </a:solidFill>
              </a:rPr>
              <a:t>Mission, obiettivi e risultati conseguiti nel 2022</a:t>
            </a:r>
          </a:p>
        </p:txBody>
      </p:sp>
      <p:sp>
        <p:nvSpPr>
          <p:cNvPr id="24" name="Segnaposto contenuto 3">
            <a:extLst>
              <a:ext uri="{FF2B5EF4-FFF2-40B4-BE49-F238E27FC236}">
                <a16:creationId xmlns:a16="http://schemas.microsoft.com/office/drawing/2014/main" id="{0AD3F1CA-76C4-474A-8F46-80672306F0D2}"/>
              </a:ext>
            </a:extLst>
          </p:cNvPr>
          <p:cNvSpPr txBox="1">
            <a:spLocks/>
          </p:cNvSpPr>
          <p:nvPr/>
        </p:nvSpPr>
        <p:spPr>
          <a:xfrm>
            <a:off x="403641" y="2205908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20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1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12CAEA4-DFCA-64AE-C7F1-F6B8ECE793CC}"/>
              </a:ext>
            </a:extLst>
          </p:cNvPr>
          <p:cNvSpPr txBox="1">
            <a:spLocks/>
          </p:cNvSpPr>
          <p:nvPr/>
        </p:nvSpPr>
        <p:spPr>
          <a:xfrm>
            <a:off x="384670" y="3942087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20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</a:t>
            </a:r>
          </a:p>
        </p:txBody>
      </p:sp>
      <p:sp>
        <p:nvSpPr>
          <p:cNvPr id="11" name="Segnaposto contenuto 1">
            <a:extLst>
              <a:ext uri="{FF2B5EF4-FFF2-40B4-BE49-F238E27FC236}">
                <a16:creationId xmlns:a16="http://schemas.microsoft.com/office/drawing/2014/main" id="{4B4813E0-F64C-47FE-86E6-D9933487DF15}"/>
              </a:ext>
            </a:extLst>
          </p:cNvPr>
          <p:cNvSpPr txBox="1">
            <a:spLocks/>
          </p:cNvSpPr>
          <p:nvPr/>
        </p:nvSpPr>
        <p:spPr>
          <a:xfrm>
            <a:off x="982390" y="3942087"/>
            <a:ext cx="10265162" cy="977839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gge di Bilancio 2023: focus risorse </a:t>
            </a:r>
          </a:p>
        </p:txBody>
      </p:sp>
    </p:spTree>
    <p:extLst>
      <p:ext uri="{BB962C8B-B14F-4D97-AF65-F5344CB8AC3E}">
        <p14:creationId xmlns:p14="http://schemas.microsoft.com/office/powerpoint/2010/main" val="16582432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1008">
            <a:extLst>
              <a:ext uri="{FF2B5EF4-FFF2-40B4-BE49-F238E27FC236}">
                <a16:creationId xmlns:a16="http://schemas.microsoft.com/office/drawing/2014/main" id="{9D26D3CD-9536-058B-E903-3A9E6D564598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-193241" y="0"/>
            <a:ext cx="360" cy="360"/>
          </a:xfrm>
          <a:prstGeom prst="rect">
            <a:avLst/>
          </a:prstGeom>
          <a:ln>
            <a:noFill/>
          </a:ln>
        </p:spPr>
      </p:pic>
      <p:grpSp>
        <p:nvGrpSpPr>
          <p:cNvPr id="55" name="Gruppo 384">
            <a:extLst>
              <a:ext uri="{FF2B5EF4-FFF2-40B4-BE49-F238E27FC236}">
                <a16:creationId xmlns:a16="http://schemas.microsoft.com/office/drawing/2014/main" id="{2BDF413E-5EFF-2082-81FC-AA6DD83AB548}"/>
              </a:ext>
            </a:extLst>
          </p:cNvPr>
          <p:cNvGrpSpPr>
            <a:grpSpLocks/>
          </p:cNvGrpSpPr>
          <p:nvPr/>
        </p:nvGrpSpPr>
        <p:grpSpPr bwMode="auto">
          <a:xfrm>
            <a:off x="4630259" y="856247"/>
            <a:ext cx="3352778" cy="4283305"/>
            <a:chOff x="6030758" y="980464"/>
            <a:chExt cx="5107083" cy="5839233"/>
          </a:xfrm>
          <a:solidFill>
            <a:schemeClr val="tx2"/>
          </a:solidFill>
          <a:effectLst/>
        </p:grpSpPr>
        <p:sp>
          <p:nvSpPr>
            <p:cNvPr id="56" name="Figura a mano libera 209">
              <a:extLst>
                <a:ext uri="{FF2B5EF4-FFF2-40B4-BE49-F238E27FC236}">
                  <a16:creationId xmlns:a16="http://schemas.microsoft.com/office/drawing/2014/main" id="{C95F6D69-AE21-7019-13B1-6005D05D8158}"/>
                </a:ext>
              </a:extLst>
            </p:cNvPr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igura a mano libera 210">
              <a:extLst>
                <a:ext uri="{FF2B5EF4-FFF2-40B4-BE49-F238E27FC236}">
                  <a16:creationId xmlns:a16="http://schemas.microsoft.com/office/drawing/2014/main" id="{24E1E73F-EEA3-8D9E-432D-281DAB023E13}"/>
                </a:ext>
              </a:extLst>
            </p:cNvPr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igura a mano libera 211">
              <a:extLst>
                <a:ext uri="{FF2B5EF4-FFF2-40B4-BE49-F238E27FC236}">
                  <a16:creationId xmlns:a16="http://schemas.microsoft.com/office/drawing/2014/main" id="{DD4A5667-A328-9E92-B8A2-0E504B59F0F5}"/>
                </a:ext>
              </a:extLst>
            </p:cNvPr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igura a mano libera 212">
              <a:extLst>
                <a:ext uri="{FF2B5EF4-FFF2-40B4-BE49-F238E27FC236}">
                  <a16:creationId xmlns:a16="http://schemas.microsoft.com/office/drawing/2014/main" id="{EE61FF5D-D301-CE6D-5B55-FD87A7CE5A87}"/>
                </a:ext>
              </a:extLst>
            </p:cNvPr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igura a mano libera 213">
              <a:extLst>
                <a:ext uri="{FF2B5EF4-FFF2-40B4-BE49-F238E27FC236}">
                  <a16:creationId xmlns:a16="http://schemas.microsoft.com/office/drawing/2014/main" id="{383E097C-9E90-F5EC-ADA5-25DC38B413C7}"/>
                </a:ext>
              </a:extLst>
            </p:cNvPr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igura a mano libera 214">
              <a:extLst>
                <a:ext uri="{FF2B5EF4-FFF2-40B4-BE49-F238E27FC236}">
                  <a16:creationId xmlns:a16="http://schemas.microsoft.com/office/drawing/2014/main" id="{E64AD9A7-8585-00BC-0ABC-B7935536060A}"/>
                </a:ext>
              </a:extLst>
            </p:cNvPr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igura a mano libera 215">
              <a:extLst>
                <a:ext uri="{FF2B5EF4-FFF2-40B4-BE49-F238E27FC236}">
                  <a16:creationId xmlns:a16="http://schemas.microsoft.com/office/drawing/2014/main" id="{9E851B96-813A-677D-F147-1F1B6B36396A}"/>
                </a:ext>
              </a:extLst>
            </p:cNvPr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igura a mano libera 216">
              <a:extLst>
                <a:ext uri="{FF2B5EF4-FFF2-40B4-BE49-F238E27FC236}">
                  <a16:creationId xmlns:a16="http://schemas.microsoft.com/office/drawing/2014/main" id="{0421C4E5-CFD9-C430-DE97-548E301A0E75}"/>
                </a:ext>
              </a:extLst>
            </p:cNvPr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igura a mano libera 217">
              <a:extLst>
                <a:ext uri="{FF2B5EF4-FFF2-40B4-BE49-F238E27FC236}">
                  <a16:creationId xmlns:a16="http://schemas.microsoft.com/office/drawing/2014/main" id="{0A25F7E2-4AF0-E5B2-F44C-25973FC76432}"/>
                </a:ext>
              </a:extLst>
            </p:cNvPr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igura a mano libera 218">
              <a:extLst>
                <a:ext uri="{FF2B5EF4-FFF2-40B4-BE49-F238E27FC236}">
                  <a16:creationId xmlns:a16="http://schemas.microsoft.com/office/drawing/2014/main" id="{485A1D8B-E988-ADC0-3774-4D4029CEDCC7}"/>
                </a:ext>
              </a:extLst>
            </p:cNvPr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igura a mano libera 219">
              <a:extLst>
                <a:ext uri="{FF2B5EF4-FFF2-40B4-BE49-F238E27FC236}">
                  <a16:creationId xmlns:a16="http://schemas.microsoft.com/office/drawing/2014/main" id="{19EB3439-2F78-8BD7-151E-7E3F213DBE4E}"/>
                </a:ext>
              </a:extLst>
            </p:cNvPr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igura a mano libera 220">
              <a:extLst>
                <a:ext uri="{FF2B5EF4-FFF2-40B4-BE49-F238E27FC236}">
                  <a16:creationId xmlns:a16="http://schemas.microsoft.com/office/drawing/2014/main" id="{A5A9ABF9-6832-6302-1753-D40B90607ED6}"/>
                </a:ext>
              </a:extLst>
            </p:cNvPr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grpFill/>
            <a:ln w="9525">
              <a:solidFill>
                <a:schemeClr val="bg1"/>
              </a:solidFill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igura a mano libera 221">
              <a:extLst>
                <a:ext uri="{FF2B5EF4-FFF2-40B4-BE49-F238E27FC236}">
                  <a16:creationId xmlns:a16="http://schemas.microsoft.com/office/drawing/2014/main" id="{8D2102B2-53CA-2644-AF82-B06BA4ADA9BA}"/>
                </a:ext>
              </a:extLst>
            </p:cNvPr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igura a mano libera 222">
              <a:extLst>
                <a:ext uri="{FF2B5EF4-FFF2-40B4-BE49-F238E27FC236}">
                  <a16:creationId xmlns:a16="http://schemas.microsoft.com/office/drawing/2014/main" id="{9DB29B61-8D76-A8D7-AF6D-44D94430A8D9}"/>
                </a:ext>
              </a:extLst>
            </p:cNvPr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igura a mano libera 223">
              <a:extLst>
                <a:ext uri="{FF2B5EF4-FFF2-40B4-BE49-F238E27FC236}">
                  <a16:creationId xmlns:a16="http://schemas.microsoft.com/office/drawing/2014/main" id="{815D66CA-B48F-D975-632F-98F8120712E1}"/>
                </a:ext>
              </a:extLst>
            </p:cNvPr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igura a mano libera 224">
              <a:extLst>
                <a:ext uri="{FF2B5EF4-FFF2-40B4-BE49-F238E27FC236}">
                  <a16:creationId xmlns:a16="http://schemas.microsoft.com/office/drawing/2014/main" id="{DAEB0EFF-3622-4376-985D-89FAF4386533}"/>
                </a:ext>
              </a:extLst>
            </p:cNvPr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igura a mano libera 225">
              <a:extLst>
                <a:ext uri="{FF2B5EF4-FFF2-40B4-BE49-F238E27FC236}">
                  <a16:creationId xmlns:a16="http://schemas.microsoft.com/office/drawing/2014/main" id="{440B359B-8964-3394-A37E-3287963B1D36}"/>
                </a:ext>
              </a:extLst>
            </p:cNvPr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igura a mano libera 226">
              <a:extLst>
                <a:ext uri="{FF2B5EF4-FFF2-40B4-BE49-F238E27FC236}">
                  <a16:creationId xmlns:a16="http://schemas.microsoft.com/office/drawing/2014/main" id="{13EEC9FD-FF3A-4F10-8CE1-7742C8C6E2CB}"/>
                </a:ext>
              </a:extLst>
            </p:cNvPr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igura a mano libera 227">
              <a:extLst>
                <a:ext uri="{FF2B5EF4-FFF2-40B4-BE49-F238E27FC236}">
                  <a16:creationId xmlns:a16="http://schemas.microsoft.com/office/drawing/2014/main" id="{CABE0619-3B2B-4A9C-BBB5-D63EB58D7097}"/>
                </a:ext>
              </a:extLst>
            </p:cNvPr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igura a mano libera 228">
              <a:extLst>
                <a:ext uri="{FF2B5EF4-FFF2-40B4-BE49-F238E27FC236}">
                  <a16:creationId xmlns:a16="http://schemas.microsoft.com/office/drawing/2014/main" id="{27F6AA9F-347F-BBB1-88B5-EE128D1EBCA3}"/>
                </a:ext>
              </a:extLst>
            </p:cNvPr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0" name="CustomShape 13">
            <a:extLst>
              <a:ext uri="{FF2B5EF4-FFF2-40B4-BE49-F238E27FC236}">
                <a16:creationId xmlns:a16="http://schemas.microsoft.com/office/drawing/2014/main" id="{CD02B94B-0471-FA0C-5650-9DBD1304EC67}"/>
              </a:ext>
            </a:extLst>
          </p:cNvPr>
          <p:cNvSpPr/>
          <p:nvPr/>
        </p:nvSpPr>
        <p:spPr>
          <a:xfrm>
            <a:off x="8051549" y="880543"/>
            <a:ext cx="3587804" cy="3491338"/>
          </a:xfrm>
          <a:prstGeom prst="rect">
            <a:avLst/>
          </a:prstGeom>
          <a:noFill/>
          <a:ln w="25400">
            <a:solidFill>
              <a:srgbClr val="C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1" name="CustomShape 14">
            <a:extLst>
              <a:ext uri="{FF2B5EF4-FFF2-40B4-BE49-F238E27FC236}">
                <a16:creationId xmlns:a16="http://schemas.microsoft.com/office/drawing/2014/main" id="{C09FAFA1-6B1D-6ED6-D127-D2E7CC97FF10}"/>
              </a:ext>
            </a:extLst>
          </p:cNvPr>
          <p:cNvSpPr/>
          <p:nvPr/>
        </p:nvSpPr>
        <p:spPr>
          <a:xfrm>
            <a:off x="8113226" y="1461074"/>
            <a:ext cx="3507001" cy="17031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Sud</a:t>
            </a:r>
            <a:endParaRPr kumimoji="0" lang="it-IT" sz="187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Bari T.M. – Polignano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. viadotto km 58+156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TE Barletta - Trinitapoli FASE 2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M Bari T. Mare – Brindisi *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ddoppio Termoli – Ripalta *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con risanamento della massicciata Linea Battipaglia-Reggio Calabria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utenzione TM S. Antonio km 163+866 BP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linea cont. Longobardi – Amantea BT - RC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innovo binario Cancello-Sarno </a:t>
            </a:r>
          </a:p>
        </p:txBody>
      </p:sp>
      <p:sp>
        <p:nvSpPr>
          <p:cNvPr id="92" name="Titolo 1">
            <a:extLst>
              <a:ext uri="{FF2B5EF4-FFF2-40B4-BE49-F238E27FC236}">
                <a16:creationId xmlns:a16="http://schemas.microsoft.com/office/drawing/2014/main" id="{FCB5340C-D7D1-0CA0-4A13-2F2574D5E330}"/>
              </a:ext>
            </a:extLst>
          </p:cNvPr>
          <p:cNvSpPr txBox="1">
            <a:spLocks/>
          </p:cNvSpPr>
          <p:nvPr/>
        </p:nvSpPr>
        <p:spPr bwMode="auto">
          <a:xfrm>
            <a:off x="469345" y="880543"/>
            <a:ext cx="3457850" cy="50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rea Centro-Nord</a:t>
            </a:r>
          </a:p>
        </p:txBody>
      </p:sp>
      <p:sp>
        <p:nvSpPr>
          <p:cNvPr id="93" name="Titolo 1">
            <a:extLst>
              <a:ext uri="{FF2B5EF4-FFF2-40B4-BE49-F238E27FC236}">
                <a16:creationId xmlns:a16="http://schemas.microsoft.com/office/drawing/2014/main" id="{EFD1C6E0-FA72-3664-F776-0A5534DD7842}"/>
              </a:ext>
            </a:extLst>
          </p:cNvPr>
          <p:cNvSpPr txBox="1">
            <a:spLocks/>
          </p:cNvSpPr>
          <p:nvPr/>
        </p:nvSpPr>
        <p:spPr bwMode="auto">
          <a:xfrm>
            <a:off x="8163013" y="913309"/>
            <a:ext cx="3457850" cy="50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rea Sud e Isole</a:t>
            </a:r>
          </a:p>
        </p:txBody>
      </p:sp>
      <p:cxnSp>
        <p:nvCxnSpPr>
          <p:cNvPr id="94" name="Straight Connector 24">
            <a:extLst>
              <a:ext uri="{FF2B5EF4-FFF2-40B4-BE49-F238E27FC236}">
                <a16:creationId xmlns:a16="http://schemas.microsoft.com/office/drawing/2014/main" id="{CC84AC98-6FC2-9E31-5FEA-4FCE31C14ACF}"/>
              </a:ext>
            </a:extLst>
          </p:cNvPr>
          <p:cNvCxnSpPr>
            <a:cxnSpLocks/>
          </p:cNvCxnSpPr>
          <p:nvPr/>
        </p:nvCxnSpPr>
        <p:spPr>
          <a:xfrm>
            <a:off x="428395" y="1433271"/>
            <a:ext cx="3420000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24">
            <a:extLst>
              <a:ext uri="{FF2B5EF4-FFF2-40B4-BE49-F238E27FC236}">
                <a16:creationId xmlns:a16="http://schemas.microsoft.com/office/drawing/2014/main" id="{037D5F8B-85F7-7F2D-0ABD-4CA1BF470B73}"/>
              </a:ext>
            </a:extLst>
          </p:cNvPr>
          <p:cNvCxnSpPr>
            <a:cxnSpLocks/>
          </p:cNvCxnSpPr>
          <p:nvPr/>
        </p:nvCxnSpPr>
        <p:spPr>
          <a:xfrm>
            <a:off x="8113226" y="1466037"/>
            <a:ext cx="3420000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CustomShape 14">
            <a:extLst>
              <a:ext uri="{FF2B5EF4-FFF2-40B4-BE49-F238E27FC236}">
                <a16:creationId xmlns:a16="http://schemas.microsoft.com/office/drawing/2014/main" id="{2B0EF770-24C4-31BD-DF3F-59E7CEE4F7BA}"/>
              </a:ext>
            </a:extLst>
          </p:cNvPr>
          <p:cNvSpPr/>
          <p:nvPr/>
        </p:nvSpPr>
        <p:spPr>
          <a:xfrm>
            <a:off x="452522" y="1466037"/>
            <a:ext cx="4073378" cy="155672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spc="-1" dirty="0">
                <a:solidFill>
                  <a:srgbClr val="000000"/>
                </a:solidFill>
                <a:latin typeface="Calibri"/>
              </a:rPr>
              <a:t>Nord-Ovest</a:t>
            </a:r>
            <a:endParaRPr kumimoji="0" lang="it-IT" sz="18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binari San Zeno – Piadena 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adotto ponte 9 arcate km 26+916 I FASE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TE  Albairate (e)- Vigevano (i)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armamento Vignale-Domo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TE Mondovì – Ceva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olidamento Galleri Exilles pari 2022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olidamento Galleria Serre la Vuote pari 2022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binari Albisola – Varazze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TE Savona - San Giuseppe </a:t>
            </a:r>
          </a:p>
        </p:txBody>
      </p:sp>
      <p:sp>
        <p:nvSpPr>
          <p:cNvPr id="134" name="CustomShape 14">
            <a:extLst>
              <a:ext uri="{FF2B5EF4-FFF2-40B4-BE49-F238E27FC236}">
                <a16:creationId xmlns:a16="http://schemas.microsoft.com/office/drawing/2014/main" id="{E7A35C79-8F3E-C31C-1F29-3E8C497D4D0D}"/>
              </a:ext>
            </a:extLst>
          </p:cNvPr>
          <p:cNvSpPr/>
          <p:nvPr/>
        </p:nvSpPr>
        <p:spPr>
          <a:xfrm>
            <a:off x="452522" y="4868038"/>
            <a:ext cx="3884913" cy="12910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Centro</a:t>
            </a:r>
            <a:endParaRPr kumimoji="0" lang="it-IT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SSE Chiusi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amento binari tratta Pontremoli - PM Grondola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M Anagni /PC  Labico Rinnovo binario P/D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nte T.M. KM 137 linea Roma - Cassino – Napoli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TE DD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ddoppio Lunghezza – </a:t>
            </a:r>
            <a:r>
              <a:rPr lang="it-IT" sz="1120" spc="-1">
                <a:solidFill>
                  <a:schemeClr val="tx2"/>
                </a:solidFill>
                <a:latin typeface="Calibri"/>
              </a:rPr>
              <a:t>G</a:t>
            </a: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idonia * </a:t>
            </a:r>
          </a:p>
          <a:p>
            <a:pPr marL="91800" indent="-91080">
              <a:lnSpc>
                <a:spcPct val="80000"/>
              </a:lnSpc>
              <a:buClr>
                <a:srgbClr val="C00000"/>
              </a:buClr>
              <a:buFont typeface="Wingdings" charset="2"/>
              <a:buChar char=""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Rinnovo Binario Foligno Capodacqua 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38" name="Straight Connector 24">
            <a:extLst>
              <a:ext uri="{FF2B5EF4-FFF2-40B4-BE49-F238E27FC236}">
                <a16:creationId xmlns:a16="http://schemas.microsoft.com/office/drawing/2014/main" id="{9FB093AA-7142-E80A-C883-9A8715D20CDF}"/>
              </a:ext>
            </a:extLst>
          </p:cNvPr>
          <p:cNvCxnSpPr>
            <a:cxnSpLocks/>
          </p:cNvCxnSpPr>
          <p:nvPr/>
        </p:nvCxnSpPr>
        <p:spPr>
          <a:xfrm>
            <a:off x="428395" y="4831282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CustomShape 14">
            <a:extLst>
              <a:ext uri="{FF2B5EF4-FFF2-40B4-BE49-F238E27FC236}">
                <a16:creationId xmlns:a16="http://schemas.microsoft.com/office/drawing/2014/main" id="{A0517419-A0AC-A93D-F179-35C57136E784}"/>
              </a:ext>
            </a:extLst>
          </p:cNvPr>
          <p:cNvSpPr/>
          <p:nvPr/>
        </p:nvSpPr>
        <p:spPr>
          <a:xfrm>
            <a:off x="8113226" y="3099982"/>
            <a:ext cx="3467552" cy="128960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Isole</a:t>
            </a:r>
            <a:endParaRPr kumimoji="0" lang="it-IT" sz="187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Deviatoi Elmas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pristino Palermo - Trapani via Milo *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ovo Collegamento PA-CT - 1^ macrofase - Lotto 4b (Enna - Dittaino) *e Lotto 5 (Catenanuova - Dittaino)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Rinnovo Binario Messina Scalo (e) - Rometta (e)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Interventi di MS gallerie n.6, n.7 e n.9 Tratta Salemi-Castelvetrano</a:t>
            </a:r>
            <a:endParaRPr kumimoji="0" lang="it-IT" sz="1120" b="0" i="0" u="none" strike="noStrike" kern="1200" cap="none" spc="-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52" name="Straight Connector 24">
            <a:extLst>
              <a:ext uri="{FF2B5EF4-FFF2-40B4-BE49-F238E27FC236}">
                <a16:creationId xmlns:a16="http://schemas.microsoft.com/office/drawing/2014/main" id="{27854C59-E28C-F9FC-FC54-064781BD5364}"/>
              </a:ext>
            </a:extLst>
          </p:cNvPr>
          <p:cNvCxnSpPr>
            <a:cxnSpLocks/>
          </p:cNvCxnSpPr>
          <p:nvPr/>
        </p:nvCxnSpPr>
        <p:spPr>
          <a:xfrm>
            <a:off x="8113226" y="3118332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CustomShape 13">
            <a:extLst>
              <a:ext uri="{FF2B5EF4-FFF2-40B4-BE49-F238E27FC236}">
                <a16:creationId xmlns:a16="http://schemas.microsoft.com/office/drawing/2014/main" id="{F0F33CCF-15B3-EE0A-B354-FDC66F63C33C}"/>
              </a:ext>
            </a:extLst>
          </p:cNvPr>
          <p:cNvSpPr/>
          <p:nvPr/>
        </p:nvSpPr>
        <p:spPr>
          <a:xfrm>
            <a:off x="375923" y="890637"/>
            <a:ext cx="4064495" cy="5316436"/>
          </a:xfrm>
          <a:prstGeom prst="rect">
            <a:avLst/>
          </a:prstGeom>
          <a:noFill/>
          <a:ln w="25400">
            <a:solidFill>
              <a:srgbClr val="C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6" name="Titolo 1">
            <a:extLst>
              <a:ext uri="{FF2B5EF4-FFF2-40B4-BE49-F238E27FC236}">
                <a16:creationId xmlns:a16="http://schemas.microsoft.com/office/drawing/2014/main" id="{2AC8FA95-E96E-BF8A-2697-A9E24388B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rincipali cantieri avviati nel 2022</a:t>
            </a: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cxnSp>
        <p:nvCxnSpPr>
          <p:cNvPr id="99" name="Straight Connector 24">
            <a:extLst>
              <a:ext uri="{FF2B5EF4-FFF2-40B4-BE49-F238E27FC236}">
                <a16:creationId xmlns:a16="http://schemas.microsoft.com/office/drawing/2014/main" id="{0C1D496F-24F1-4A2B-A7EB-03482F8A992A}"/>
              </a:ext>
            </a:extLst>
          </p:cNvPr>
          <p:cNvCxnSpPr>
            <a:cxnSpLocks/>
          </p:cNvCxnSpPr>
          <p:nvPr/>
        </p:nvCxnSpPr>
        <p:spPr>
          <a:xfrm>
            <a:off x="428395" y="3009808"/>
            <a:ext cx="3744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2046CC16-CD0F-400F-BD45-609DDF0A56E6}"/>
              </a:ext>
            </a:extLst>
          </p:cNvPr>
          <p:cNvSpPr txBox="1"/>
          <p:nvPr/>
        </p:nvSpPr>
        <p:spPr>
          <a:xfrm>
            <a:off x="7874495" y="6487639"/>
            <a:ext cx="3699204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a: i cantieri 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ono stati individuati tramite le consegne prestazioni</a:t>
            </a:r>
          </a:p>
        </p:txBody>
      </p:sp>
      <p:sp>
        <p:nvSpPr>
          <p:cNvPr id="63" name="CustomShape 14">
            <a:extLst>
              <a:ext uri="{FF2B5EF4-FFF2-40B4-BE49-F238E27FC236}">
                <a16:creationId xmlns:a16="http://schemas.microsoft.com/office/drawing/2014/main" id="{CA0D9565-EA37-4169-A9DD-E9BF8ED8929C}"/>
              </a:ext>
            </a:extLst>
          </p:cNvPr>
          <p:cNvSpPr/>
          <p:nvPr/>
        </p:nvSpPr>
        <p:spPr>
          <a:xfrm>
            <a:off x="452522" y="3054202"/>
            <a:ext cx="4073378" cy="170446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 spc="-1">
                <a:solidFill>
                  <a:srgbClr val="000000"/>
                </a:solidFill>
                <a:latin typeface="Calibri"/>
              </a:rPr>
              <a:t>Nord-Est</a:t>
            </a:r>
            <a:endParaRPr kumimoji="0" lang="it-IT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 Udine – Gorizia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TE Bivio Aurisina-Villa Opicina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binari P+D tratta Ugovizza – Pontebba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stituzione impalcato Torrente Sonna al km 54+236/54+262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legamento ferroviario con Aeroporto di Venezia *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nia – Pontebba Sostituzione Piastre IPA con Ballast 2022</a:t>
            </a:r>
          </a:p>
          <a:p>
            <a:pPr marL="91800" indent="-91080">
              <a:lnSpc>
                <a:spcPct val="80000"/>
              </a:lnSpc>
              <a:buClr>
                <a:srgbClr val="C00000"/>
              </a:buClr>
              <a:buFont typeface="Wingdings" charset="2"/>
              <a:buChar char=""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Rinnovo Binario Brennero-Colle Isarco</a:t>
            </a:r>
          </a:p>
          <a:p>
            <a:pPr marL="91800" indent="-91080">
              <a:lnSpc>
                <a:spcPct val="80000"/>
              </a:lnSpc>
              <a:buClr>
                <a:srgbClr val="C00000"/>
              </a:buClr>
              <a:buFont typeface="Wingdings" charset="2"/>
              <a:buChar char=""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nnovo ARM Rubiera-Reggio Emilia (i) Dispari</a:t>
            </a:r>
          </a:p>
          <a:p>
            <a:pPr marL="91800" indent="-91080">
              <a:lnSpc>
                <a:spcPct val="80000"/>
              </a:lnSpc>
              <a:buClr>
                <a:srgbClr val="C00000"/>
              </a:buClr>
              <a:buFont typeface="Wingdings" charset="2"/>
              <a:buChar char=""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ermeabilizzazione ponte km 73+200</a:t>
            </a:r>
          </a:p>
          <a:p>
            <a:pPr marL="91800" indent="-91080">
              <a:lnSpc>
                <a:spcPct val="80000"/>
              </a:lnSpc>
              <a:buClr>
                <a:srgbClr val="C00000"/>
              </a:buClr>
              <a:buFont typeface="Wingdings" charset="2"/>
              <a:buChar char=""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eguamento sagoma P/C 80 Bologna-Prato (fase) *</a:t>
            </a:r>
          </a:p>
        </p:txBody>
      </p:sp>
      <p:sp>
        <p:nvSpPr>
          <p:cNvPr id="68" name="CustomShape 14">
            <a:extLst>
              <a:ext uri="{FF2B5EF4-FFF2-40B4-BE49-F238E27FC236}">
                <a16:creationId xmlns:a16="http://schemas.microsoft.com/office/drawing/2014/main" id="{08C7A67F-8A94-4100-9DBB-54C3D1940D2C}"/>
              </a:ext>
            </a:extLst>
          </p:cNvPr>
          <p:cNvSpPr/>
          <p:nvPr/>
        </p:nvSpPr>
        <p:spPr>
          <a:xfrm>
            <a:off x="8051549" y="4387008"/>
            <a:ext cx="3605311" cy="26753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720" marR="0" lvl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tabLst/>
              <a:defRPr/>
            </a:pPr>
            <a:r>
              <a:rPr kumimoji="0" lang="it-IT" sz="140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e PNRR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9" name="CustomShape 14">
            <a:extLst>
              <a:ext uri="{FF2B5EF4-FFF2-40B4-BE49-F238E27FC236}">
                <a16:creationId xmlns:a16="http://schemas.microsoft.com/office/drawing/2014/main" id="{DEFCF5C2-C23A-4D6A-8C56-3F8F7DAD8292}"/>
              </a:ext>
            </a:extLst>
          </p:cNvPr>
          <p:cNvSpPr/>
          <p:nvPr/>
        </p:nvSpPr>
        <p:spPr>
          <a:xfrm>
            <a:off x="949229" y="6299650"/>
            <a:ext cx="3605311" cy="26753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720" marR="0" lvl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tabLst/>
              <a:defRPr/>
            </a:pPr>
            <a:r>
              <a:rPr kumimoji="0" lang="it-IT" sz="140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e PNRR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47" name="Gruppo 46">
            <a:extLst>
              <a:ext uri="{FF2B5EF4-FFF2-40B4-BE49-F238E27FC236}">
                <a16:creationId xmlns:a16="http://schemas.microsoft.com/office/drawing/2014/main" id="{2FD0D85F-B744-420E-9608-396994CC4683}"/>
              </a:ext>
            </a:extLst>
          </p:cNvPr>
          <p:cNvGrpSpPr/>
          <p:nvPr/>
        </p:nvGrpSpPr>
        <p:grpSpPr>
          <a:xfrm>
            <a:off x="6416631" y="5005766"/>
            <a:ext cx="5203428" cy="1092483"/>
            <a:chOff x="6416631" y="5005766"/>
            <a:chExt cx="5203428" cy="1092483"/>
          </a:xfrm>
        </p:grpSpPr>
        <p:sp>
          <p:nvSpPr>
            <p:cNvPr id="48" name="TextBox 19">
              <a:extLst>
                <a:ext uri="{FF2B5EF4-FFF2-40B4-BE49-F238E27FC236}">
                  <a16:creationId xmlns:a16="http://schemas.microsoft.com/office/drawing/2014/main" id="{D2B01FF8-B366-494D-9131-E79DAE462A4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829800" y="5073552"/>
              <a:ext cx="1790259" cy="3740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4800" b="1">
                  <a:solidFill>
                    <a:schemeClr val="tx2"/>
                  </a:solidFill>
                  <a:sym typeface="Symbol" panose="05050102010706020507" pitchFamily="18" charset="2"/>
                </a:rPr>
                <a:t>~1.700</a:t>
              </a:r>
              <a:endParaRPr lang="it-IT" sz="2000" b="1">
                <a:latin typeface="Calibri" panose="020F0502020204030204" pitchFamily="34" charset="0"/>
                <a:ea typeface="ＭＳ Ｐゴシック"/>
                <a:sym typeface="Calibri" panose="020F0502020204030204" pitchFamily="34" charset="0"/>
              </a:endParaRPr>
            </a:p>
          </p:txBody>
        </p:sp>
        <p:cxnSp>
          <p:nvCxnSpPr>
            <p:cNvPr id="49" name="Straight Connector 24">
              <a:extLst>
                <a:ext uri="{FF2B5EF4-FFF2-40B4-BE49-F238E27FC236}">
                  <a16:creationId xmlns:a16="http://schemas.microsoft.com/office/drawing/2014/main" id="{F77494C8-40A9-40DF-B767-DDA2913C4777}"/>
                </a:ext>
              </a:extLst>
            </p:cNvPr>
            <p:cNvCxnSpPr>
              <a:cxnSpLocks/>
            </p:cNvCxnSpPr>
            <p:nvPr/>
          </p:nvCxnSpPr>
          <p:spPr>
            <a:xfrm>
              <a:off x="8059325" y="5447629"/>
              <a:ext cx="3492000" cy="0"/>
            </a:xfrm>
            <a:prstGeom prst="line">
              <a:avLst/>
            </a:prstGeom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ttangolo 49">
              <a:extLst>
                <a:ext uri="{FF2B5EF4-FFF2-40B4-BE49-F238E27FC236}">
                  <a16:creationId xmlns:a16="http://schemas.microsoft.com/office/drawing/2014/main" id="{912EB1FE-4D43-4404-A6C6-FFE72316F42C}"/>
                </a:ext>
              </a:extLst>
            </p:cNvPr>
            <p:cNvSpPr/>
            <p:nvPr/>
          </p:nvSpPr>
          <p:spPr>
            <a:xfrm>
              <a:off x="6416631" y="5005766"/>
              <a:ext cx="3236496" cy="3513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1400" b="1"/>
                <a:t>CANTIERI (n°)</a:t>
              </a:r>
              <a:endParaRPr lang="it-IT" sz="1200" i="1">
                <a:latin typeface="Calibri" panose="020F0502020204030204" pitchFamily="34" charset="0"/>
                <a:ea typeface="ＭＳ Ｐゴシック"/>
                <a:sym typeface="Calibri" panose="020F0502020204030204" pitchFamily="34" charset="0"/>
              </a:endParaRPr>
            </a:p>
          </p:txBody>
        </p:sp>
        <p:sp>
          <p:nvSpPr>
            <p:cNvPr id="51" name="TextBox 19">
              <a:extLst>
                <a:ext uri="{FF2B5EF4-FFF2-40B4-BE49-F238E27FC236}">
                  <a16:creationId xmlns:a16="http://schemas.microsoft.com/office/drawing/2014/main" id="{4385586E-8E94-412F-ADF3-32887F167E2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432059" y="5724172"/>
              <a:ext cx="1188000" cy="3740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4800" b="1">
                  <a:solidFill>
                    <a:schemeClr val="tx2"/>
                  </a:solidFill>
                  <a:sym typeface="Symbol" panose="05050102010706020507" pitchFamily="18" charset="2"/>
                </a:rPr>
                <a:t>~4</a:t>
              </a:r>
              <a:endParaRPr lang="it-IT" sz="2000" b="1">
                <a:latin typeface="Calibri" panose="020F0502020204030204" pitchFamily="34" charset="0"/>
                <a:ea typeface="ＭＳ Ｐゴシック"/>
                <a:sym typeface="Calibri" panose="020F0502020204030204" pitchFamily="34" charset="0"/>
              </a:endParaRPr>
            </a:p>
          </p:txBody>
        </p:sp>
        <p:sp>
          <p:nvSpPr>
            <p:cNvPr id="52" name="Rettangolo 51">
              <a:extLst>
                <a:ext uri="{FF2B5EF4-FFF2-40B4-BE49-F238E27FC236}">
                  <a16:creationId xmlns:a16="http://schemas.microsoft.com/office/drawing/2014/main" id="{5BCC6405-758D-4F95-9D00-4C21E3561CC9}"/>
                </a:ext>
              </a:extLst>
            </p:cNvPr>
            <p:cNvSpPr/>
            <p:nvPr/>
          </p:nvSpPr>
          <p:spPr>
            <a:xfrm>
              <a:off x="6416631" y="5573162"/>
              <a:ext cx="3236496" cy="3513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01087">
                <a:lnSpc>
                  <a:spcPts val="2200"/>
                </a:lnSpc>
                <a:buClr>
                  <a:srgbClr val="002960"/>
                </a:buClr>
                <a:defRPr/>
              </a:pPr>
              <a:r>
                <a:rPr lang="it-IT" sz="1400" b="1"/>
                <a:t>VALORE (MLD€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41720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1008">
            <a:extLst>
              <a:ext uri="{FF2B5EF4-FFF2-40B4-BE49-F238E27FC236}">
                <a16:creationId xmlns:a16="http://schemas.microsoft.com/office/drawing/2014/main" id="{9D26D3CD-9536-058B-E903-3A9E6D564598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-193241" y="0"/>
            <a:ext cx="360" cy="360"/>
          </a:xfrm>
          <a:prstGeom prst="rect">
            <a:avLst/>
          </a:prstGeom>
          <a:ln>
            <a:noFill/>
          </a:ln>
        </p:spPr>
      </p:pic>
      <p:grpSp>
        <p:nvGrpSpPr>
          <p:cNvPr id="55" name="Gruppo 384">
            <a:extLst>
              <a:ext uri="{FF2B5EF4-FFF2-40B4-BE49-F238E27FC236}">
                <a16:creationId xmlns:a16="http://schemas.microsoft.com/office/drawing/2014/main" id="{2BDF413E-5EFF-2082-81FC-AA6DD83AB548}"/>
              </a:ext>
            </a:extLst>
          </p:cNvPr>
          <p:cNvGrpSpPr>
            <a:grpSpLocks/>
          </p:cNvGrpSpPr>
          <p:nvPr/>
        </p:nvGrpSpPr>
        <p:grpSpPr bwMode="auto">
          <a:xfrm>
            <a:off x="4550072" y="1168586"/>
            <a:ext cx="3352778" cy="4283305"/>
            <a:chOff x="6030758" y="980464"/>
            <a:chExt cx="5107083" cy="5839233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56" name="Figura a mano libera 209">
              <a:extLst>
                <a:ext uri="{FF2B5EF4-FFF2-40B4-BE49-F238E27FC236}">
                  <a16:creationId xmlns:a16="http://schemas.microsoft.com/office/drawing/2014/main" id="{C95F6D69-AE21-7019-13B1-6005D05D8158}"/>
                </a:ext>
              </a:extLst>
            </p:cNvPr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igura a mano libera 210">
              <a:extLst>
                <a:ext uri="{FF2B5EF4-FFF2-40B4-BE49-F238E27FC236}">
                  <a16:creationId xmlns:a16="http://schemas.microsoft.com/office/drawing/2014/main" id="{24E1E73F-EEA3-8D9E-432D-281DAB023E13}"/>
                </a:ext>
              </a:extLst>
            </p:cNvPr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igura a mano libera 211">
              <a:extLst>
                <a:ext uri="{FF2B5EF4-FFF2-40B4-BE49-F238E27FC236}">
                  <a16:creationId xmlns:a16="http://schemas.microsoft.com/office/drawing/2014/main" id="{DD4A5667-A328-9E92-B8A2-0E504B59F0F5}"/>
                </a:ext>
              </a:extLst>
            </p:cNvPr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igura a mano libera 212">
              <a:extLst>
                <a:ext uri="{FF2B5EF4-FFF2-40B4-BE49-F238E27FC236}">
                  <a16:creationId xmlns:a16="http://schemas.microsoft.com/office/drawing/2014/main" id="{EE61FF5D-D301-CE6D-5B55-FD87A7CE5A87}"/>
                </a:ext>
              </a:extLst>
            </p:cNvPr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igura a mano libera 213">
              <a:extLst>
                <a:ext uri="{FF2B5EF4-FFF2-40B4-BE49-F238E27FC236}">
                  <a16:creationId xmlns:a16="http://schemas.microsoft.com/office/drawing/2014/main" id="{383E097C-9E90-F5EC-ADA5-25DC38B413C7}"/>
                </a:ext>
              </a:extLst>
            </p:cNvPr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igura a mano libera 214">
              <a:extLst>
                <a:ext uri="{FF2B5EF4-FFF2-40B4-BE49-F238E27FC236}">
                  <a16:creationId xmlns:a16="http://schemas.microsoft.com/office/drawing/2014/main" id="{E64AD9A7-8585-00BC-0ABC-B7935536060A}"/>
                </a:ext>
              </a:extLst>
            </p:cNvPr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igura a mano libera 215">
              <a:extLst>
                <a:ext uri="{FF2B5EF4-FFF2-40B4-BE49-F238E27FC236}">
                  <a16:creationId xmlns:a16="http://schemas.microsoft.com/office/drawing/2014/main" id="{9E851B96-813A-677D-F147-1F1B6B36396A}"/>
                </a:ext>
              </a:extLst>
            </p:cNvPr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igura a mano libera 216">
              <a:extLst>
                <a:ext uri="{FF2B5EF4-FFF2-40B4-BE49-F238E27FC236}">
                  <a16:creationId xmlns:a16="http://schemas.microsoft.com/office/drawing/2014/main" id="{0421C4E5-CFD9-C430-DE97-548E301A0E75}"/>
                </a:ext>
              </a:extLst>
            </p:cNvPr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igura a mano libera 217">
              <a:extLst>
                <a:ext uri="{FF2B5EF4-FFF2-40B4-BE49-F238E27FC236}">
                  <a16:creationId xmlns:a16="http://schemas.microsoft.com/office/drawing/2014/main" id="{0A25F7E2-4AF0-E5B2-F44C-25973FC76432}"/>
                </a:ext>
              </a:extLst>
            </p:cNvPr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igura a mano libera 218">
              <a:extLst>
                <a:ext uri="{FF2B5EF4-FFF2-40B4-BE49-F238E27FC236}">
                  <a16:creationId xmlns:a16="http://schemas.microsoft.com/office/drawing/2014/main" id="{485A1D8B-E988-ADC0-3774-4D4029CEDCC7}"/>
                </a:ext>
              </a:extLst>
            </p:cNvPr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igura a mano libera 219">
              <a:extLst>
                <a:ext uri="{FF2B5EF4-FFF2-40B4-BE49-F238E27FC236}">
                  <a16:creationId xmlns:a16="http://schemas.microsoft.com/office/drawing/2014/main" id="{19EB3439-2F78-8BD7-151E-7E3F213DBE4E}"/>
                </a:ext>
              </a:extLst>
            </p:cNvPr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igura a mano libera 220">
              <a:extLst>
                <a:ext uri="{FF2B5EF4-FFF2-40B4-BE49-F238E27FC236}">
                  <a16:creationId xmlns:a16="http://schemas.microsoft.com/office/drawing/2014/main" id="{A5A9ABF9-6832-6302-1753-D40B90607ED6}"/>
                </a:ext>
              </a:extLst>
            </p:cNvPr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igura a mano libera 221">
              <a:extLst>
                <a:ext uri="{FF2B5EF4-FFF2-40B4-BE49-F238E27FC236}">
                  <a16:creationId xmlns:a16="http://schemas.microsoft.com/office/drawing/2014/main" id="{8D2102B2-53CA-2644-AF82-B06BA4ADA9BA}"/>
                </a:ext>
              </a:extLst>
            </p:cNvPr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igura a mano libera 222">
              <a:extLst>
                <a:ext uri="{FF2B5EF4-FFF2-40B4-BE49-F238E27FC236}">
                  <a16:creationId xmlns:a16="http://schemas.microsoft.com/office/drawing/2014/main" id="{9DB29B61-8D76-A8D7-AF6D-44D94430A8D9}"/>
                </a:ext>
              </a:extLst>
            </p:cNvPr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igura a mano libera 223">
              <a:extLst>
                <a:ext uri="{FF2B5EF4-FFF2-40B4-BE49-F238E27FC236}">
                  <a16:creationId xmlns:a16="http://schemas.microsoft.com/office/drawing/2014/main" id="{815D66CA-B48F-D975-632F-98F8120712E1}"/>
                </a:ext>
              </a:extLst>
            </p:cNvPr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igura a mano libera 224">
              <a:extLst>
                <a:ext uri="{FF2B5EF4-FFF2-40B4-BE49-F238E27FC236}">
                  <a16:creationId xmlns:a16="http://schemas.microsoft.com/office/drawing/2014/main" id="{DAEB0EFF-3622-4376-985D-89FAF4386533}"/>
                </a:ext>
              </a:extLst>
            </p:cNvPr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igura a mano libera 225">
              <a:extLst>
                <a:ext uri="{FF2B5EF4-FFF2-40B4-BE49-F238E27FC236}">
                  <a16:creationId xmlns:a16="http://schemas.microsoft.com/office/drawing/2014/main" id="{440B359B-8964-3394-A37E-3287963B1D36}"/>
                </a:ext>
              </a:extLst>
            </p:cNvPr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igura a mano libera 226">
              <a:extLst>
                <a:ext uri="{FF2B5EF4-FFF2-40B4-BE49-F238E27FC236}">
                  <a16:creationId xmlns:a16="http://schemas.microsoft.com/office/drawing/2014/main" id="{13EEC9FD-FF3A-4F10-8CE1-7742C8C6E2CB}"/>
                </a:ext>
              </a:extLst>
            </p:cNvPr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igura a mano libera 227">
              <a:extLst>
                <a:ext uri="{FF2B5EF4-FFF2-40B4-BE49-F238E27FC236}">
                  <a16:creationId xmlns:a16="http://schemas.microsoft.com/office/drawing/2014/main" id="{CABE0619-3B2B-4A9C-BBB5-D63EB58D7097}"/>
                </a:ext>
              </a:extLst>
            </p:cNvPr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igura a mano libera 228">
              <a:extLst>
                <a:ext uri="{FF2B5EF4-FFF2-40B4-BE49-F238E27FC236}">
                  <a16:creationId xmlns:a16="http://schemas.microsoft.com/office/drawing/2014/main" id="{27F6AA9F-347F-BBB1-88B5-EE128D1EBCA3}"/>
                </a:ext>
              </a:extLst>
            </p:cNvPr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0" name="CustomShape 13">
            <a:extLst>
              <a:ext uri="{FF2B5EF4-FFF2-40B4-BE49-F238E27FC236}">
                <a16:creationId xmlns:a16="http://schemas.microsoft.com/office/drawing/2014/main" id="{CD02B94B-0471-FA0C-5650-9DBD1304EC67}"/>
              </a:ext>
            </a:extLst>
          </p:cNvPr>
          <p:cNvSpPr/>
          <p:nvPr/>
        </p:nvSpPr>
        <p:spPr>
          <a:xfrm>
            <a:off x="7949949" y="880543"/>
            <a:ext cx="3587804" cy="3120423"/>
          </a:xfrm>
          <a:prstGeom prst="rect">
            <a:avLst/>
          </a:prstGeom>
          <a:noFill/>
          <a:ln w="25400">
            <a:solidFill>
              <a:srgbClr val="C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91" name="CustomShape 14">
            <a:extLst>
              <a:ext uri="{FF2B5EF4-FFF2-40B4-BE49-F238E27FC236}">
                <a16:creationId xmlns:a16="http://schemas.microsoft.com/office/drawing/2014/main" id="{C09FAFA1-6B1D-6ED6-D127-D2E7CC97FF10}"/>
              </a:ext>
            </a:extLst>
          </p:cNvPr>
          <p:cNvSpPr/>
          <p:nvPr/>
        </p:nvSpPr>
        <p:spPr>
          <a:xfrm>
            <a:off x="7964074" y="1675035"/>
            <a:ext cx="3884913" cy="4624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Sicilia</a:t>
            </a:r>
            <a:endParaRPr kumimoji="0" lang="it-IT" sz="187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 Alcamo Diramazione</a:t>
            </a:r>
          </a:p>
        </p:txBody>
      </p:sp>
      <p:sp>
        <p:nvSpPr>
          <p:cNvPr id="92" name="Titolo 1">
            <a:extLst>
              <a:ext uri="{FF2B5EF4-FFF2-40B4-BE49-F238E27FC236}">
                <a16:creationId xmlns:a16="http://schemas.microsoft.com/office/drawing/2014/main" id="{FCB5340C-D7D1-0CA0-4A13-2F2574D5E330}"/>
              </a:ext>
            </a:extLst>
          </p:cNvPr>
          <p:cNvSpPr txBox="1">
            <a:spLocks/>
          </p:cNvSpPr>
          <p:nvPr/>
        </p:nvSpPr>
        <p:spPr bwMode="auto">
          <a:xfrm>
            <a:off x="469345" y="880543"/>
            <a:ext cx="3457850" cy="50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rea Centro-Nord</a:t>
            </a:r>
          </a:p>
        </p:txBody>
      </p:sp>
      <p:sp>
        <p:nvSpPr>
          <p:cNvPr id="93" name="Titolo 1">
            <a:extLst>
              <a:ext uri="{FF2B5EF4-FFF2-40B4-BE49-F238E27FC236}">
                <a16:creationId xmlns:a16="http://schemas.microsoft.com/office/drawing/2014/main" id="{EFD1C6E0-FA72-3664-F776-0A5534DD7842}"/>
              </a:ext>
            </a:extLst>
          </p:cNvPr>
          <p:cNvSpPr txBox="1">
            <a:spLocks/>
          </p:cNvSpPr>
          <p:nvPr/>
        </p:nvSpPr>
        <p:spPr bwMode="auto">
          <a:xfrm>
            <a:off x="8061413" y="913309"/>
            <a:ext cx="3457850" cy="50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rea Sud e Isole</a:t>
            </a:r>
          </a:p>
        </p:txBody>
      </p:sp>
      <p:cxnSp>
        <p:nvCxnSpPr>
          <p:cNvPr id="94" name="Straight Connector 24">
            <a:extLst>
              <a:ext uri="{FF2B5EF4-FFF2-40B4-BE49-F238E27FC236}">
                <a16:creationId xmlns:a16="http://schemas.microsoft.com/office/drawing/2014/main" id="{CC84AC98-6FC2-9E31-5FEA-4FCE31C14ACF}"/>
              </a:ext>
            </a:extLst>
          </p:cNvPr>
          <p:cNvCxnSpPr>
            <a:cxnSpLocks/>
          </p:cNvCxnSpPr>
          <p:nvPr/>
        </p:nvCxnSpPr>
        <p:spPr>
          <a:xfrm>
            <a:off x="428395" y="1433271"/>
            <a:ext cx="3420000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24">
            <a:extLst>
              <a:ext uri="{FF2B5EF4-FFF2-40B4-BE49-F238E27FC236}">
                <a16:creationId xmlns:a16="http://schemas.microsoft.com/office/drawing/2014/main" id="{037D5F8B-85F7-7F2D-0ABD-4CA1BF470B73}"/>
              </a:ext>
            </a:extLst>
          </p:cNvPr>
          <p:cNvCxnSpPr>
            <a:cxnSpLocks/>
          </p:cNvCxnSpPr>
          <p:nvPr/>
        </p:nvCxnSpPr>
        <p:spPr>
          <a:xfrm>
            <a:off x="8011626" y="1466037"/>
            <a:ext cx="3420000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asellaDiTesto 1">
            <a:extLst>
              <a:ext uri="{FF2B5EF4-FFF2-40B4-BE49-F238E27FC236}">
                <a16:creationId xmlns:a16="http://schemas.microsoft.com/office/drawing/2014/main" id="{3403FEA6-09BE-ADE3-0A84-80FCEED3C2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37587" y="5390828"/>
            <a:ext cx="213042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50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egenda:</a:t>
            </a:r>
          </a:p>
        </p:txBody>
      </p:sp>
      <p:pic>
        <p:nvPicPr>
          <p:cNvPr id="101" name="Picture 4">
            <a:extLst>
              <a:ext uri="{FF2B5EF4-FFF2-40B4-BE49-F238E27FC236}">
                <a16:creationId xmlns:a16="http://schemas.microsoft.com/office/drawing/2014/main" id="{7EED5A9A-BBF4-9D7F-EC4E-1CEC864EB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9497" y="5731707"/>
            <a:ext cx="205808" cy="26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CasellaDiTesto 1">
            <a:extLst>
              <a:ext uri="{FF2B5EF4-FFF2-40B4-BE49-F238E27FC236}">
                <a16:creationId xmlns:a16="http://schemas.microsoft.com/office/drawing/2014/main" id="{17EB2CAB-3A36-2D45-08EF-7E3E482110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7961" y="5738106"/>
            <a:ext cx="179880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levanza Commerciale</a:t>
            </a:r>
          </a:p>
        </p:txBody>
      </p:sp>
      <p:grpSp>
        <p:nvGrpSpPr>
          <p:cNvPr id="105" name="Gruppo 104">
            <a:extLst>
              <a:ext uri="{FF2B5EF4-FFF2-40B4-BE49-F238E27FC236}">
                <a16:creationId xmlns:a16="http://schemas.microsoft.com/office/drawing/2014/main" id="{17640927-E6BC-B372-4F1E-80C5512FA649}"/>
              </a:ext>
            </a:extLst>
          </p:cNvPr>
          <p:cNvGrpSpPr/>
          <p:nvPr/>
        </p:nvGrpSpPr>
        <p:grpSpPr>
          <a:xfrm>
            <a:off x="357882" y="1473013"/>
            <a:ext cx="3884913" cy="1013888"/>
            <a:chOff x="339704" y="1719139"/>
            <a:chExt cx="3884913" cy="1013888"/>
          </a:xfrm>
        </p:grpSpPr>
        <p:sp>
          <p:nvSpPr>
            <p:cNvPr id="106" name="CustomShape 14">
              <a:extLst>
                <a:ext uri="{FF2B5EF4-FFF2-40B4-BE49-F238E27FC236}">
                  <a16:creationId xmlns:a16="http://schemas.microsoft.com/office/drawing/2014/main" id="{2B0EF770-24C4-31BD-DF3F-59E7CEE4F7BA}"/>
                </a:ext>
              </a:extLst>
            </p:cNvPr>
            <p:cNvSpPr/>
            <p:nvPr/>
          </p:nvSpPr>
          <p:spPr>
            <a:xfrm>
              <a:off x="339704" y="1719139"/>
              <a:ext cx="3884913" cy="1013888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DejaVu Sans"/>
                  <a:cs typeface="+mn-cs"/>
                </a:rPr>
                <a:t>Lombardia</a:t>
              </a:r>
              <a:endParaRPr kumimoji="0" lang="it-IT" sz="18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almadrera ACC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G Lambrate (fase)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tt. Interfacciamento Chiasso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tt Interventi Direttrice Milano – Chiasso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ttivazione Tibaldi</a:t>
              </a:r>
            </a:p>
          </p:txBody>
        </p:sp>
        <p:pic>
          <p:nvPicPr>
            <p:cNvPr id="108" name="Picture 4">
              <a:extLst>
                <a:ext uri="{FF2B5EF4-FFF2-40B4-BE49-F238E27FC236}">
                  <a16:creationId xmlns:a16="http://schemas.microsoft.com/office/drawing/2014/main" id="{957AB3A0-3B16-88E7-DCBB-0E8D79B64C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5935" y="2036800"/>
              <a:ext cx="172873" cy="210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9" name="Picture 4">
              <a:extLst>
                <a:ext uri="{FF2B5EF4-FFF2-40B4-BE49-F238E27FC236}">
                  <a16:creationId xmlns:a16="http://schemas.microsoft.com/office/drawing/2014/main" id="{AECF2D85-6C62-7A4E-5DFA-D2E61CA1B4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6326" y="2156606"/>
              <a:ext cx="172873" cy="210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" name="Picture 4">
              <a:extLst>
                <a:ext uri="{FF2B5EF4-FFF2-40B4-BE49-F238E27FC236}">
                  <a16:creationId xmlns:a16="http://schemas.microsoft.com/office/drawing/2014/main" id="{CB3E2456-6C85-FFDC-ECAE-31894B9810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9862" y="2319323"/>
              <a:ext cx="172873" cy="210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Picture 4">
              <a:extLst>
                <a:ext uri="{FF2B5EF4-FFF2-40B4-BE49-F238E27FC236}">
                  <a16:creationId xmlns:a16="http://schemas.microsoft.com/office/drawing/2014/main" id="{BA4EC73E-3E28-2A18-C925-428639EF7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0568" y="2519874"/>
              <a:ext cx="172873" cy="210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5" name="Gruppo 114">
            <a:extLst>
              <a:ext uri="{FF2B5EF4-FFF2-40B4-BE49-F238E27FC236}">
                <a16:creationId xmlns:a16="http://schemas.microsoft.com/office/drawing/2014/main" id="{CCEDBB27-BB96-02B2-2A2E-F22324A3E6C8}"/>
              </a:ext>
            </a:extLst>
          </p:cNvPr>
          <p:cNvGrpSpPr/>
          <p:nvPr/>
        </p:nvGrpSpPr>
        <p:grpSpPr>
          <a:xfrm>
            <a:off x="375923" y="2640686"/>
            <a:ext cx="3884913" cy="591722"/>
            <a:chOff x="339704" y="2799975"/>
            <a:chExt cx="3884913" cy="591722"/>
          </a:xfrm>
        </p:grpSpPr>
        <p:sp>
          <p:nvSpPr>
            <p:cNvPr id="116" name="CustomShape 14">
              <a:extLst>
                <a:ext uri="{FF2B5EF4-FFF2-40B4-BE49-F238E27FC236}">
                  <a16:creationId xmlns:a16="http://schemas.microsoft.com/office/drawing/2014/main" id="{891E10AB-5EBC-5B3F-DBD5-8EC72B2579AF}"/>
                </a:ext>
              </a:extLst>
            </p:cNvPr>
            <p:cNvSpPr/>
            <p:nvPr/>
          </p:nvSpPr>
          <p:spPr>
            <a:xfrm>
              <a:off x="339704" y="2799975"/>
              <a:ext cx="3884913" cy="59172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DejaVu Sans"/>
                  <a:cs typeface="+mn-cs"/>
                </a:rPr>
                <a:t>Piemonte</a:t>
              </a:r>
              <a:endParaRPr kumimoji="0" lang="it-IT" sz="187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CC Cantalupo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lettrificazione Santhià-Biella</a:t>
              </a:r>
            </a:p>
          </p:txBody>
        </p:sp>
        <p:pic>
          <p:nvPicPr>
            <p:cNvPr id="118" name="Picture 4">
              <a:extLst>
                <a:ext uri="{FF2B5EF4-FFF2-40B4-BE49-F238E27FC236}">
                  <a16:creationId xmlns:a16="http://schemas.microsoft.com/office/drawing/2014/main" id="{204D4579-E96B-F8A4-1A75-A0F5F78FE6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3800" y="3121155"/>
              <a:ext cx="172873" cy="210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1" name="CustomShape 14">
            <a:extLst>
              <a:ext uri="{FF2B5EF4-FFF2-40B4-BE49-F238E27FC236}">
                <a16:creationId xmlns:a16="http://schemas.microsoft.com/office/drawing/2014/main" id="{9BB437CE-E2CE-824D-9691-775E67499750}"/>
              </a:ext>
            </a:extLst>
          </p:cNvPr>
          <p:cNvSpPr/>
          <p:nvPr/>
        </p:nvSpPr>
        <p:spPr>
          <a:xfrm>
            <a:off x="357882" y="3920130"/>
            <a:ext cx="3884913" cy="45386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Liguria</a:t>
            </a:r>
            <a:endParaRPr kumimoji="0" lang="it-IT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eguamento </a:t>
            </a:r>
            <a:r>
              <a:rPr kumimoji="0" lang="it-IT" sz="1120" b="0" i="0" u="none" strike="noStrike" kern="1200" cap="none" spc="-1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n</a:t>
            </a: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RG Arquata Novi Ligure</a:t>
            </a:r>
          </a:p>
        </p:txBody>
      </p:sp>
      <p:grpSp>
        <p:nvGrpSpPr>
          <p:cNvPr id="123" name="Gruppo 122">
            <a:extLst>
              <a:ext uri="{FF2B5EF4-FFF2-40B4-BE49-F238E27FC236}">
                <a16:creationId xmlns:a16="http://schemas.microsoft.com/office/drawing/2014/main" id="{49AB8DC6-547C-D768-6026-0C1BEA5673B2}"/>
              </a:ext>
            </a:extLst>
          </p:cNvPr>
          <p:cNvGrpSpPr/>
          <p:nvPr/>
        </p:nvGrpSpPr>
        <p:grpSpPr>
          <a:xfrm>
            <a:off x="384337" y="4481221"/>
            <a:ext cx="3986107" cy="1005296"/>
            <a:chOff x="406061" y="4538105"/>
            <a:chExt cx="3986107" cy="1005296"/>
          </a:xfrm>
        </p:grpSpPr>
        <p:sp>
          <p:nvSpPr>
            <p:cNvPr id="124" name="CustomShape 14">
              <a:extLst>
                <a:ext uri="{FF2B5EF4-FFF2-40B4-BE49-F238E27FC236}">
                  <a16:creationId xmlns:a16="http://schemas.microsoft.com/office/drawing/2014/main" id="{A8811788-7F94-AFE8-15C9-DD72A9B8980E}"/>
                </a:ext>
              </a:extLst>
            </p:cNvPr>
            <p:cNvSpPr/>
            <p:nvPr/>
          </p:nvSpPr>
          <p:spPr>
            <a:xfrm>
              <a:off x="406061" y="4538105"/>
              <a:ext cx="3884913" cy="1005296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DejaVu Sans"/>
                  <a:cs typeface="+mn-cs"/>
                </a:rPr>
                <a:t>Toscana-Emilia Romagna</a:t>
              </a:r>
              <a:endParaRPr kumimoji="0" lang="it-IT" sz="18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CC-M  Borgo S Lorenzo - S Piero a Sieve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plet. Raddoppio Pistoia-Montecatini-FF 6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°bivio Orvieto S. -  Arezzo sud –ERTMS e dismissione SCMT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CCM Rubiera-S. Viola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enultimo/ultimo Miglio Piacenza - nuovi deviatoi X - XI</a:t>
              </a:r>
            </a:p>
          </p:txBody>
        </p:sp>
        <p:pic>
          <p:nvPicPr>
            <p:cNvPr id="125" name="Picture 4">
              <a:extLst>
                <a:ext uri="{FF2B5EF4-FFF2-40B4-BE49-F238E27FC236}">
                  <a16:creationId xmlns:a16="http://schemas.microsoft.com/office/drawing/2014/main" id="{865B10A5-1F74-50D8-9D77-8380DEEAA0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1705" y="4710270"/>
              <a:ext cx="172873" cy="210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8" name="Picture 4">
              <a:extLst>
                <a:ext uri="{FF2B5EF4-FFF2-40B4-BE49-F238E27FC236}">
                  <a16:creationId xmlns:a16="http://schemas.microsoft.com/office/drawing/2014/main" id="{F432AF01-6C0F-0E42-F10D-5FF03EDEBF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9295" y="4956525"/>
              <a:ext cx="172873" cy="210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9" name="Gruppo 128">
            <a:extLst>
              <a:ext uri="{FF2B5EF4-FFF2-40B4-BE49-F238E27FC236}">
                <a16:creationId xmlns:a16="http://schemas.microsoft.com/office/drawing/2014/main" id="{7E65C375-8340-EED3-0F0E-3C09587EBBC1}"/>
              </a:ext>
            </a:extLst>
          </p:cNvPr>
          <p:cNvGrpSpPr/>
          <p:nvPr/>
        </p:nvGrpSpPr>
        <p:grpSpPr>
          <a:xfrm>
            <a:off x="357882" y="5615350"/>
            <a:ext cx="3884913" cy="591722"/>
            <a:chOff x="361016" y="5510497"/>
            <a:chExt cx="3884913" cy="591722"/>
          </a:xfrm>
        </p:grpSpPr>
        <p:sp>
          <p:nvSpPr>
            <p:cNvPr id="130" name="CustomShape 14">
              <a:extLst>
                <a:ext uri="{FF2B5EF4-FFF2-40B4-BE49-F238E27FC236}">
                  <a16:creationId xmlns:a16="http://schemas.microsoft.com/office/drawing/2014/main" id="{FBC0C10A-BF44-C3E0-0591-678FB8EDC082}"/>
                </a:ext>
              </a:extLst>
            </p:cNvPr>
            <p:cNvSpPr/>
            <p:nvPr/>
          </p:nvSpPr>
          <p:spPr>
            <a:xfrm>
              <a:off x="361016" y="5510497"/>
              <a:ext cx="3884913" cy="591722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azio-Marche</a:t>
              </a:r>
              <a:endParaRPr kumimoji="0" lang="it-IT" sz="18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Quadruplicamento Ciampino - Capannelle (fase)</a:t>
              </a:r>
            </a:p>
            <a:p>
              <a:pPr marL="91800" marR="0" lvl="0" indent="-9108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C00000"/>
                </a:buClr>
                <a:buSzTx/>
                <a:buFont typeface="Wingdings" charset="2"/>
                <a:buChar char=""/>
                <a:tabLst/>
                <a:defRPr/>
              </a:pPr>
              <a:r>
                <a:rPr kumimoji="0" lang="it-IT" sz="112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CC Macerata</a:t>
              </a:r>
            </a:p>
          </p:txBody>
        </p:sp>
        <p:pic>
          <p:nvPicPr>
            <p:cNvPr id="132" name="Picture 4">
              <a:extLst>
                <a:ext uri="{FF2B5EF4-FFF2-40B4-BE49-F238E27FC236}">
                  <a16:creationId xmlns:a16="http://schemas.microsoft.com/office/drawing/2014/main" id="{12C807E6-CBF9-172A-8839-1F6816160D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3636" y="5749168"/>
              <a:ext cx="172873" cy="210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4" name="CustomShape 14">
            <a:extLst>
              <a:ext uri="{FF2B5EF4-FFF2-40B4-BE49-F238E27FC236}">
                <a16:creationId xmlns:a16="http://schemas.microsoft.com/office/drawing/2014/main" id="{E7A35C79-8F3E-C31C-1F29-3E8C497D4D0D}"/>
              </a:ext>
            </a:extLst>
          </p:cNvPr>
          <p:cNvSpPr/>
          <p:nvPr/>
        </p:nvSpPr>
        <p:spPr>
          <a:xfrm>
            <a:off x="357882" y="3385869"/>
            <a:ext cx="3884913" cy="45386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Friuli Venezia Giulia</a:t>
            </a:r>
            <a:endParaRPr kumimoji="0" lang="it-IT" sz="18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do di Udine: fase</a:t>
            </a:r>
          </a:p>
        </p:txBody>
      </p:sp>
      <p:cxnSp>
        <p:nvCxnSpPr>
          <p:cNvPr id="136" name="Straight Connector 24">
            <a:extLst>
              <a:ext uri="{FF2B5EF4-FFF2-40B4-BE49-F238E27FC236}">
                <a16:creationId xmlns:a16="http://schemas.microsoft.com/office/drawing/2014/main" id="{246A3632-FD18-C941-7DE4-B1576A5826D1}"/>
              </a:ext>
            </a:extLst>
          </p:cNvPr>
          <p:cNvCxnSpPr>
            <a:cxnSpLocks/>
          </p:cNvCxnSpPr>
          <p:nvPr/>
        </p:nvCxnSpPr>
        <p:spPr>
          <a:xfrm>
            <a:off x="428395" y="2556271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24">
            <a:extLst>
              <a:ext uri="{FF2B5EF4-FFF2-40B4-BE49-F238E27FC236}">
                <a16:creationId xmlns:a16="http://schemas.microsoft.com/office/drawing/2014/main" id="{17CD9237-A0CC-0D7C-B23F-268B413B6B8D}"/>
              </a:ext>
            </a:extLst>
          </p:cNvPr>
          <p:cNvCxnSpPr>
            <a:cxnSpLocks/>
          </p:cNvCxnSpPr>
          <p:nvPr/>
        </p:nvCxnSpPr>
        <p:spPr>
          <a:xfrm>
            <a:off x="428395" y="3310239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24">
            <a:extLst>
              <a:ext uri="{FF2B5EF4-FFF2-40B4-BE49-F238E27FC236}">
                <a16:creationId xmlns:a16="http://schemas.microsoft.com/office/drawing/2014/main" id="{9FB093AA-7142-E80A-C883-9A8715D20CDF}"/>
              </a:ext>
            </a:extLst>
          </p:cNvPr>
          <p:cNvCxnSpPr>
            <a:cxnSpLocks/>
          </p:cNvCxnSpPr>
          <p:nvPr/>
        </p:nvCxnSpPr>
        <p:spPr>
          <a:xfrm>
            <a:off x="428395" y="3884209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24">
            <a:extLst>
              <a:ext uri="{FF2B5EF4-FFF2-40B4-BE49-F238E27FC236}">
                <a16:creationId xmlns:a16="http://schemas.microsoft.com/office/drawing/2014/main" id="{D075473E-52EC-463A-86C2-8348165327BD}"/>
              </a:ext>
            </a:extLst>
          </p:cNvPr>
          <p:cNvCxnSpPr>
            <a:cxnSpLocks/>
          </p:cNvCxnSpPr>
          <p:nvPr/>
        </p:nvCxnSpPr>
        <p:spPr>
          <a:xfrm>
            <a:off x="428395" y="4426383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24">
            <a:extLst>
              <a:ext uri="{FF2B5EF4-FFF2-40B4-BE49-F238E27FC236}">
                <a16:creationId xmlns:a16="http://schemas.microsoft.com/office/drawing/2014/main" id="{40A0E914-40F9-7F46-096A-73DEE3FD82A6}"/>
              </a:ext>
            </a:extLst>
          </p:cNvPr>
          <p:cNvCxnSpPr>
            <a:cxnSpLocks/>
          </p:cNvCxnSpPr>
          <p:nvPr/>
        </p:nvCxnSpPr>
        <p:spPr>
          <a:xfrm>
            <a:off x="428395" y="5596116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CustomShape 14">
            <a:extLst>
              <a:ext uri="{FF2B5EF4-FFF2-40B4-BE49-F238E27FC236}">
                <a16:creationId xmlns:a16="http://schemas.microsoft.com/office/drawing/2014/main" id="{A0517419-A0AC-A93D-F179-35C57136E784}"/>
              </a:ext>
            </a:extLst>
          </p:cNvPr>
          <p:cNvSpPr/>
          <p:nvPr/>
        </p:nvSpPr>
        <p:spPr>
          <a:xfrm>
            <a:off x="7964074" y="2570970"/>
            <a:ext cx="3884913" cy="46245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Sardegna</a:t>
            </a:r>
            <a:endParaRPr kumimoji="0" lang="it-IT" sz="187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-M Cagliari-Decimomannu</a:t>
            </a:r>
          </a:p>
        </p:txBody>
      </p:sp>
      <p:pic>
        <p:nvPicPr>
          <p:cNvPr id="145" name="Picture 4">
            <a:extLst>
              <a:ext uri="{FF2B5EF4-FFF2-40B4-BE49-F238E27FC236}">
                <a16:creationId xmlns:a16="http://schemas.microsoft.com/office/drawing/2014/main" id="{8AEA4624-C3AC-7A2B-9B6B-8E9815171C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5562" y="2890488"/>
            <a:ext cx="172873" cy="21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7" name="CustomShape 14">
            <a:extLst>
              <a:ext uri="{FF2B5EF4-FFF2-40B4-BE49-F238E27FC236}">
                <a16:creationId xmlns:a16="http://schemas.microsoft.com/office/drawing/2014/main" id="{F552E5A3-4C1C-7F64-58EE-9A59B4DA85B1}"/>
              </a:ext>
            </a:extLst>
          </p:cNvPr>
          <p:cNvSpPr/>
          <p:nvPr/>
        </p:nvSpPr>
        <p:spPr>
          <a:xfrm>
            <a:off x="7964074" y="3289860"/>
            <a:ext cx="3884913" cy="60031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Calabria</a:t>
            </a:r>
            <a:endParaRPr kumimoji="0" lang="it-IT" sz="187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ovo PRG di stazione Rossano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 Rosarno</a:t>
            </a:r>
          </a:p>
        </p:txBody>
      </p:sp>
      <p:sp>
        <p:nvSpPr>
          <p:cNvPr id="149" name="CustomShape 13">
            <a:extLst>
              <a:ext uri="{FF2B5EF4-FFF2-40B4-BE49-F238E27FC236}">
                <a16:creationId xmlns:a16="http://schemas.microsoft.com/office/drawing/2014/main" id="{6A46A7F5-EB4B-CEEF-74FA-9E3174AC9010}"/>
              </a:ext>
            </a:extLst>
          </p:cNvPr>
          <p:cNvSpPr/>
          <p:nvPr/>
        </p:nvSpPr>
        <p:spPr>
          <a:xfrm>
            <a:off x="7949949" y="4493181"/>
            <a:ext cx="3587804" cy="1740945"/>
          </a:xfrm>
          <a:prstGeom prst="rect">
            <a:avLst/>
          </a:prstGeom>
          <a:noFill/>
          <a:ln w="25400">
            <a:solidFill>
              <a:srgbClr val="C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0" name="Titolo 1">
            <a:extLst>
              <a:ext uri="{FF2B5EF4-FFF2-40B4-BE49-F238E27FC236}">
                <a16:creationId xmlns:a16="http://schemas.microsoft.com/office/drawing/2014/main" id="{AAF84D46-2CDA-A37B-C615-6A0A0286148A}"/>
              </a:ext>
            </a:extLst>
          </p:cNvPr>
          <p:cNvSpPr txBox="1">
            <a:spLocks/>
          </p:cNvSpPr>
          <p:nvPr/>
        </p:nvSpPr>
        <p:spPr bwMode="auto">
          <a:xfrm>
            <a:off x="8013225" y="4452401"/>
            <a:ext cx="3457850" cy="50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tazioni - ERTMS</a:t>
            </a:r>
          </a:p>
        </p:txBody>
      </p:sp>
      <p:cxnSp>
        <p:nvCxnSpPr>
          <p:cNvPr id="151" name="Straight Connector 24">
            <a:extLst>
              <a:ext uri="{FF2B5EF4-FFF2-40B4-BE49-F238E27FC236}">
                <a16:creationId xmlns:a16="http://schemas.microsoft.com/office/drawing/2014/main" id="{87E29218-A228-E505-0B78-A1581C4CC8DE}"/>
              </a:ext>
            </a:extLst>
          </p:cNvPr>
          <p:cNvCxnSpPr>
            <a:cxnSpLocks/>
          </p:cNvCxnSpPr>
          <p:nvPr/>
        </p:nvCxnSpPr>
        <p:spPr>
          <a:xfrm>
            <a:off x="8013225" y="5005129"/>
            <a:ext cx="3420000" cy="0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24">
            <a:extLst>
              <a:ext uri="{FF2B5EF4-FFF2-40B4-BE49-F238E27FC236}">
                <a16:creationId xmlns:a16="http://schemas.microsoft.com/office/drawing/2014/main" id="{27854C59-E28C-F9FC-FC54-064781BD5364}"/>
              </a:ext>
            </a:extLst>
          </p:cNvPr>
          <p:cNvCxnSpPr>
            <a:cxnSpLocks/>
          </p:cNvCxnSpPr>
          <p:nvPr/>
        </p:nvCxnSpPr>
        <p:spPr>
          <a:xfrm>
            <a:off x="8011626" y="2315692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24">
            <a:extLst>
              <a:ext uri="{FF2B5EF4-FFF2-40B4-BE49-F238E27FC236}">
                <a16:creationId xmlns:a16="http://schemas.microsoft.com/office/drawing/2014/main" id="{3CA11A7E-E89B-28B2-0D4D-479406525A70}"/>
              </a:ext>
            </a:extLst>
          </p:cNvPr>
          <p:cNvCxnSpPr>
            <a:cxnSpLocks/>
          </p:cNvCxnSpPr>
          <p:nvPr/>
        </p:nvCxnSpPr>
        <p:spPr>
          <a:xfrm>
            <a:off x="8011626" y="3155540"/>
            <a:ext cx="34200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CustomShape 14">
            <a:extLst>
              <a:ext uri="{FF2B5EF4-FFF2-40B4-BE49-F238E27FC236}">
                <a16:creationId xmlns:a16="http://schemas.microsoft.com/office/drawing/2014/main" id="{983D270D-3C71-CDCB-0E11-063DA5E836DE}"/>
              </a:ext>
            </a:extLst>
          </p:cNvPr>
          <p:cNvSpPr/>
          <p:nvPr/>
        </p:nvSpPr>
        <p:spPr>
          <a:xfrm>
            <a:off x="8013225" y="5041014"/>
            <a:ext cx="3884913" cy="115174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7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DejaVu Sans"/>
                <a:cs typeface="+mn-cs"/>
              </a:rPr>
              <a:t>ERTMS</a:t>
            </a:r>
            <a:endParaRPr kumimoji="0" lang="it-IT" sz="187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vara-Rho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za-Chiasso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renze  Rovezzano – Arezzo sud 1fase DD 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zzo sud – Orvieto sud 2fase DD  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escia - Verona - Padova  </a:t>
            </a:r>
          </a:p>
          <a:p>
            <a:pPr marL="91800" marR="0" lvl="0" indent="-9108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charset="2"/>
              <a:buChar char=""/>
              <a:tabLst/>
              <a:defRPr/>
            </a:pPr>
            <a:r>
              <a:rPr kumimoji="0" lang="it-IT" sz="1120" b="0" i="0" u="none" strike="noStrike" kern="1200" cap="none" spc="-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cenza - Treviso (solo Cittadella - Istrana)</a:t>
            </a:r>
          </a:p>
        </p:txBody>
      </p:sp>
      <p:sp>
        <p:nvSpPr>
          <p:cNvPr id="156" name="CasellaDiTesto 155">
            <a:extLst>
              <a:ext uri="{FF2B5EF4-FFF2-40B4-BE49-F238E27FC236}">
                <a16:creationId xmlns:a16="http://schemas.microsoft.com/office/drawing/2014/main" id="{592E614E-8D59-7DF1-AAC0-01655A92D331}"/>
              </a:ext>
            </a:extLst>
          </p:cNvPr>
          <p:cNvSpPr txBox="1"/>
          <p:nvPr/>
        </p:nvSpPr>
        <p:spPr>
          <a:xfrm>
            <a:off x="10661417" y="5533916"/>
            <a:ext cx="93763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16 Km</a:t>
            </a:r>
          </a:p>
        </p:txBody>
      </p:sp>
      <p:cxnSp>
        <p:nvCxnSpPr>
          <p:cNvPr id="157" name="Straight Connector 24">
            <a:extLst>
              <a:ext uri="{FF2B5EF4-FFF2-40B4-BE49-F238E27FC236}">
                <a16:creationId xmlns:a16="http://schemas.microsoft.com/office/drawing/2014/main" id="{A7827240-4CD2-5D53-4DF2-78C4BF808517}"/>
              </a:ext>
            </a:extLst>
          </p:cNvPr>
          <p:cNvCxnSpPr>
            <a:cxnSpLocks/>
          </p:cNvCxnSpPr>
          <p:nvPr/>
        </p:nvCxnSpPr>
        <p:spPr>
          <a:xfrm>
            <a:off x="10702322" y="5261342"/>
            <a:ext cx="0" cy="892264"/>
          </a:xfrm>
          <a:prstGeom prst="line">
            <a:avLst/>
          </a:prstGeom>
          <a:ln w="63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CustomShape 13">
            <a:extLst>
              <a:ext uri="{FF2B5EF4-FFF2-40B4-BE49-F238E27FC236}">
                <a16:creationId xmlns:a16="http://schemas.microsoft.com/office/drawing/2014/main" id="{F0F33CCF-15B3-EE0A-B354-FDC66F63C33C}"/>
              </a:ext>
            </a:extLst>
          </p:cNvPr>
          <p:cNvSpPr/>
          <p:nvPr/>
        </p:nvSpPr>
        <p:spPr>
          <a:xfrm>
            <a:off x="375923" y="890637"/>
            <a:ext cx="4064495" cy="5316436"/>
          </a:xfrm>
          <a:prstGeom prst="rect">
            <a:avLst/>
          </a:prstGeom>
          <a:noFill/>
          <a:ln w="25400">
            <a:solidFill>
              <a:srgbClr val="C0000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6" name="Titolo 1">
            <a:extLst>
              <a:ext uri="{FF2B5EF4-FFF2-40B4-BE49-F238E27FC236}">
                <a16:creationId xmlns:a16="http://schemas.microsoft.com/office/drawing/2014/main" id="{2AC8FA95-E96E-BF8A-2697-A9E24388B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rincipali attivazioni all’esercizio ferroviario 2022</a:t>
            </a:r>
          </a:p>
        </p:txBody>
      </p:sp>
      <p:sp>
        <p:nvSpPr>
          <p:cNvPr id="69" name="CustomShape 14">
            <a:extLst>
              <a:ext uri="{FF2B5EF4-FFF2-40B4-BE49-F238E27FC236}">
                <a16:creationId xmlns:a16="http://schemas.microsoft.com/office/drawing/2014/main" id="{37F6B0A4-E91C-416D-A457-19F284C7F168}"/>
              </a:ext>
            </a:extLst>
          </p:cNvPr>
          <p:cNvSpPr/>
          <p:nvPr/>
        </p:nvSpPr>
        <p:spPr>
          <a:xfrm>
            <a:off x="949229" y="6299650"/>
            <a:ext cx="3605311" cy="26753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720" marR="0" lvl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tabLst/>
              <a:defRPr/>
            </a:pPr>
            <a:r>
              <a:rPr kumimoji="0" lang="it-IT" sz="140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e PNRR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0" name="CustomShape 14">
            <a:extLst>
              <a:ext uri="{FF2B5EF4-FFF2-40B4-BE49-F238E27FC236}">
                <a16:creationId xmlns:a16="http://schemas.microsoft.com/office/drawing/2014/main" id="{C07B622C-9530-446A-9398-963C90CC2969}"/>
              </a:ext>
            </a:extLst>
          </p:cNvPr>
          <p:cNvSpPr/>
          <p:nvPr/>
        </p:nvSpPr>
        <p:spPr>
          <a:xfrm>
            <a:off x="7889416" y="4087529"/>
            <a:ext cx="3605311" cy="26753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720" marR="0" lvl="0" algn="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tabLst/>
              <a:defRPr/>
            </a:pPr>
            <a:r>
              <a:rPr kumimoji="0" lang="it-IT" sz="1400" b="0" i="0" u="none" strike="noStrike" kern="1200" cap="none" spc="-1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e PNRR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1216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155">
            <a:extLst>
              <a:ext uri="{FF2B5EF4-FFF2-40B4-BE49-F238E27FC236}">
                <a16:creationId xmlns:a16="http://schemas.microsoft.com/office/drawing/2014/main" id="{712330E6-CCC5-4942-8BF6-F774B962954C}"/>
              </a:ext>
            </a:extLst>
          </p:cNvPr>
          <p:cNvSpPr/>
          <p:nvPr/>
        </p:nvSpPr>
        <p:spPr>
          <a:xfrm>
            <a:off x="620133" y="2218708"/>
            <a:ext cx="7452000" cy="0"/>
          </a:xfrm>
          <a:custGeom>
            <a:avLst/>
            <a:gdLst/>
            <a:ahLst/>
            <a:cxnLst/>
            <a:rect l="l" t="t" r="r" b="b"/>
            <a:pathLst>
              <a:path w="5716270">
                <a:moveTo>
                  <a:pt x="0" y="0"/>
                </a:moveTo>
                <a:lnTo>
                  <a:pt x="5716016" y="0"/>
                </a:lnTo>
              </a:path>
            </a:pathLst>
          </a:custGeom>
          <a:ln w="12700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7" name="Object 56" hidden="1">
            <a:extLst>
              <a:ext uri="{FF2B5EF4-FFF2-40B4-BE49-F238E27FC236}">
                <a16:creationId xmlns:a16="http://schemas.microsoft.com/office/drawing/2014/main" id="{B2520478-0716-46BC-8A4F-66F24C33F3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52" y="215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a think-cell" r:id="rId6" imgW="306" imgH="306" progId="TCLayout.ActiveDocument.1">
                  <p:embed/>
                </p:oleObj>
              </mc:Choice>
              <mc:Fallback>
                <p:oleObj name="Diapositiva think-cell" r:id="rId6" imgW="306" imgH="306" progId="TCLayout.ActiveDocument.1">
                  <p:embed/>
                  <p:pic>
                    <p:nvPicPr>
                      <p:cNvPr id="57" name="Object 56" hidden="1">
                        <a:extLst>
                          <a:ext uri="{FF2B5EF4-FFF2-40B4-BE49-F238E27FC236}">
                            <a16:creationId xmlns:a16="http://schemas.microsoft.com/office/drawing/2014/main" id="{B2520478-0716-46BC-8A4F-66F24C33F3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52" y="215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C4A5C6D-6A03-470E-AA91-7F06B46526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31" y="531"/>
            <a:ext cx="161949" cy="16194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328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480BECEC-43AF-4390-90D0-CFF838DBE8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La spesa per investimenti è ritornata ai livelli storici dei primi anni duemila</a:t>
            </a:r>
          </a:p>
        </p:txBody>
      </p:sp>
      <p:graphicFrame>
        <p:nvGraphicFramePr>
          <p:cNvPr id="66" name="Grafico 65">
            <a:extLst>
              <a:ext uri="{FF2B5EF4-FFF2-40B4-BE49-F238E27FC236}">
                <a16:creationId xmlns:a16="http://schemas.microsoft.com/office/drawing/2014/main" id="{953C5185-EBAF-4886-92BB-90EA2CCF7BA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2224578"/>
              </p:ext>
            </p:extLst>
          </p:nvPr>
        </p:nvGraphicFramePr>
        <p:xfrm>
          <a:off x="486156" y="2209800"/>
          <a:ext cx="7575549" cy="3864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7" name="object 6">
            <a:extLst>
              <a:ext uri="{FF2B5EF4-FFF2-40B4-BE49-F238E27FC236}">
                <a16:creationId xmlns:a16="http://schemas.microsoft.com/office/drawing/2014/main" id="{F4E03300-6980-4B39-A0CE-41B5B0468A1A}"/>
              </a:ext>
            </a:extLst>
          </p:cNvPr>
          <p:cNvSpPr txBox="1"/>
          <p:nvPr/>
        </p:nvSpPr>
        <p:spPr>
          <a:xfrm>
            <a:off x="8362188" y="1408175"/>
            <a:ext cx="3251200" cy="4671535"/>
          </a:xfrm>
          <a:prstGeom prst="rect">
            <a:avLst/>
          </a:prstGeom>
          <a:solidFill>
            <a:srgbClr val="E6E6E6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600">
              <a:latin typeface="Times New Roman"/>
              <a:cs typeface="Times New Roman"/>
            </a:endParaRPr>
          </a:p>
          <a:p>
            <a:pPr marL="408940" marR="541020" indent="-291465">
              <a:lnSpc>
                <a:spcPct val="95000"/>
              </a:lnSpc>
              <a:spcBef>
                <a:spcPts val="1120"/>
              </a:spcBef>
              <a:buFont typeface="Arial MT"/>
              <a:buChar char="•"/>
              <a:tabLst>
                <a:tab pos="408940" algn="l"/>
                <a:tab pos="409575" algn="l"/>
              </a:tabLst>
            </a:pPr>
            <a:r>
              <a:rPr lang="it-IT" sz="1600" spc="-20">
                <a:latin typeface="Calibri"/>
                <a:cs typeface="Calibri"/>
              </a:rPr>
              <a:t>Dal 2007, dopo l’attivazione delle tratte AV, si è registrata una diminuzione della spesa, legata anche all’incertezza economica</a:t>
            </a:r>
          </a:p>
          <a:p>
            <a:pPr marL="408940" marR="140335" indent="-291465">
              <a:lnSpc>
                <a:spcPct val="95000"/>
              </a:lnSpc>
              <a:spcBef>
                <a:spcPts val="1200"/>
              </a:spcBef>
              <a:buFont typeface="Arial MT"/>
              <a:buChar char="•"/>
              <a:tabLst>
                <a:tab pos="408940" algn="l"/>
                <a:tab pos="409575" algn="l"/>
              </a:tabLst>
            </a:pPr>
            <a:r>
              <a:rPr lang="it-IT" sz="1600" spc="-10">
                <a:latin typeface="Calibri"/>
                <a:cs typeface="Calibri"/>
              </a:rPr>
              <a:t>Nonostante ciò nel decennio è stato completato il più importante piano di investimenti in tecnologie per la sicurezza (SCMT, SSC, GSM-R, ERTMS AV,…)</a:t>
            </a:r>
          </a:p>
          <a:p>
            <a:pPr marL="408940" marR="140335" indent="-291465">
              <a:lnSpc>
                <a:spcPct val="95000"/>
              </a:lnSpc>
              <a:spcBef>
                <a:spcPts val="1200"/>
              </a:spcBef>
              <a:buFont typeface="Arial MT"/>
              <a:buChar char="•"/>
              <a:tabLst>
                <a:tab pos="408940" algn="l"/>
                <a:tab pos="409575" algn="l"/>
              </a:tabLst>
            </a:pPr>
            <a:r>
              <a:rPr kumimoji="0" lang="it-IT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MS PGothic"/>
                <a:cs typeface="+mn-cs"/>
                <a:sym typeface="Symbol" panose="05050102010706020507" pitchFamily="18" charset="2"/>
              </a:rPr>
              <a:t>Per realizzare il PNRR e gli investimenti già finanziati, è necessario uno sforzo straordinario del sistema paese raggiungendo volumi mai così alti nella storia</a:t>
            </a:r>
          </a:p>
        </p:txBody>
      </p:sp>
      <p:sp>
        <p:nvSpPr>
          <p:cNvPr id="79" name="object 7">
            <a:extLst>
              <a:ext uri="{FF2B5EF4-FFF2-40B4-BE49-F238E27FC236}">
                <a16:creationId xmlns:a16="http://schemas.microsoft.com/office/drawing/2014/main" id="{0F2CD47D-03C8-4841-A82A-320D9336C4EE}"/>
              </a:ext>
            </a:extLst>
          </p:cNvPr>
          <p:cNvSpPr txBox="1"/>
          <p:nvPr/>
        </p:nvSpPr>
        <p:spPr>
          <a:xfrm>
            <a:off x="448055" y="1334770"/>
            <a:ext cx="4631690" cy="49466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30"/>
              </a:spcBef>
            </a:pPr>
            <a:r>
              <a:rPr lang="it-IT" sz="1600" b="1" spc="-10">
                <a:latin typeface="Calibri"/>
                <a:cs typeface="Calibri"/>
              </a:rPr>
              <a:t>Serie storica investimenti 2001-2022</a:t>
            </a:r>
          </a:p>
          <a:p>
            <a:pPr marL="38100">
              <a:lnSpc>
                <a:spcPct val="100000"/>
              </a:lnSpc>
              <a:spcBef>
                <a:spcPts val="55"/>
              </a:spcBef>
            </a:pPr>
            <a:r>
              <a:rPr lang="it-IT" sz="1400" spc="10">
                <a:latin typeface="Calibri"/>
                <a:cs typeface="Calibri"/>
              </a:rPr>
              <a:t>mld €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80" name="object 8">
            <a:extLst>
              <a:ext uri="{FF2B5EF4-FFF2-40B4-BE49-F238E27FC236}">
                <a16:creationId xmlns:a16="http://schemas.microsoft.com/office/drawing/2014/main" id="{E751E9BC-536C-484E-B6BA-5021A7FCA4AB}"/>
              </a:ext>
            </a:extLst>
          </p:cNvPr>
          <p:cNvSpPr/>
          <p:nvPr/>
        </p:nvSpPr>
        <p:spPr>
          <a:xfrm>
            <a:off x="486155" y="1853183"/>
            <a:ext cx="7704000" cy="0"/>
          </a:xfrm>
          <a:custGeom>
            <a:avLst/>
            <a:gdLst/>
            <a:ahLst/>
            <a:cxnLst/>
            <a:rect l="l" t="t" r="r" b="b"/>
            <a:pathLst>
              <a:path w="7575550">
                <a:moveTo>
                  <a:pt x="0" y="0"/>
                </a:moveTo>
                <a:lnTo>
                  <a:pt x="7575550" y="0"/>
                </a:lnTo>
              </a:path>
            </a:pathLst>
          </a:custGeom>
          <a:ln w="12700">
            <a:solidFill>
              <a:srgbClr val="44536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167">
            <a:extLst>
              <a:ext uri="{FF2B5EF4-FFF2-40B4-BE49-F238E27FC236}">
                <a16:creationId xmlns:a16="http://schemas.microsoft.com/office/drawing/2014/main" id="{0DFDC27E-967F-48FE-9738-161696D43CB0}"/>
              </a:ext>
            </a:extLst>
          </p:cNvPr>
          <p:cNvSpPr txBox="1"/>
          <p:nvPr/>
        </p:nvSpPr>
        <p:spPr>
          <a:xfrm>
            <a:off x="741852" y="1981235"/>
            <a:ext cx="3467635" cy="230832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0" lvl="0" indent="0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5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Realizzazione AV To-Mi-Na</a:t>
            </a:r>
            <a:endParaRPr kumimoji="0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cxnSp>
        <p:nvCxnSpPr>
          <p:cNvPr id="86" name="Connettore diritto 85">
            <a:extLst>
              <a:ext uri="{FF2B5EF4-FFF2-40B4-BE49-F238E27FC236}">
                <a16:creationId xmlns:a16="http://schemas.microsoft.com/office/drawing/2014/main" id="{2503CADD-9A31-4682-BE5D-45EE940BE4DF}"/>
              </a:ext>
            </a:extLst>
          </p:cNvPr>
          <p:cNvCxnSpPr>
            <a:cxnSpLocks/>
          </p:cNvCxnSpPr>
          <p:nvPr/>
        </p:nvCxnSpPr>
        <p:spPr>
          <a:xfrm>
            <a:off x="2938005" y="2206126"/>
            <a:ext cx="0" cy="3672000"/>
          </a:xfrm>
          <a:prstGeom prst="line">
            <a:avLst/>
          </a:prstGeom>
          <a:ln w="12700">
            <a:solidFill>
              <a:srgbClr val="7E7E7E"/>
            </a:solidFill>
            <a:prstDash val="dash"/>
          </a:ln>
        </p:spPr>
      </p:cxnSp>
      <p:cxnSp>
        <p:nvCxnSpPr>
          <p:cNvPr id="87" name="Connettore diritto 86">
            <a:extLst>
              <a:ext uri="{FF2B5EF4-FFF2-40B4-BE49-F238E27FC236}">
                <a16:creationId xmlns:a16="http://schemas.microsoft.com/office/drawing/2014/main" id="{D55062FF-6A85-4355-B2E9-4683E3E82149}"/>
              </a:ext>
            </a:extLst>
          </p:cNvPr>
          <p:cNvCxnSpPr>
            <a:cxnSpLocks/>
          </p:cNvCxnSpPr>
          <p:nvPr/>
        </p:nvCxnSpPr>
        <p:spPr>
          <a:xfrm>
            <a:off x="4936293" y="2206126"/>
            <a:ext cx="0" cy="3672000"/>
          </a:xfrm>
          <a:prstGeom prst="line">
            <a:avLst/>
          </a:prstGeom>
          <a:ln w="12700">
            <a:solidFill>
              <a:srgbClr val="7E7E7E"/>
            </a:solidFill>
            <a:prstDash val="dash"/>
          </a:ln>
        </p:spPr>
      </p:cxnSp>
      <p:cxnSp>
        <p:nvCxnSpPr>
          <p:cNvPr id="94" name="Connettore diritto 93">
            <a:extLst>
              <a:ext uri="{FF2B5EF4-FFF2-40B4-BE49-F238E27FC236}">
                <a16:creationId xmlns:a16="http://schemas.microsoft.com/office/drawing/2014/main" id="{FAFB3E31-5300-42CD-AD1D-76FBC5C37801}"/>
              </a:ext>
            </a:extLst>
          </p:cNvPr>
          <p:cNvCxnSpPr>
            <a:cxnSpLocks/>
          </p:cNvCxnSpPr>
          <p:nvPr/>
        </p:nvCxnSpPr>
        <p:spPr>
          <a:xfrm>
            <a:off x="620133" y="2206126"/>
            <a:ext cx="0" cy="3672000"/>
          </a:xfrm>
          <a:prstGeom prst="line">
            <a:avLst/>
          </a:prstGeom>
          <a:ln w="12700">
            <a:solidFill>
              <a:srgbClr val="7E7E7E"/>
            </a:solidFill>
            <a:prstDash val="dash"/>
          </a:ln>
        </p:spPr>
      </p:cxnSp>
      <p:sp>
        <p:nvSpPr>
          <p:cNvPr id="97" name="Ovale 96">
            <a:extLst>
              <a:ext uri="{FF2B5EF4-FFF2-40B4-BE49-F238E27FC236}">
                <a16:creationId xmlns:a16="http://schemas.microsoft.com/office/drawing/2014/main" id="{0DA5DF37-49EF-4B2E-91CA-65C8C7E93ABC}"/>
              </a:ext>
            </a:extLst>
          </p:cNvPr>
          <p:cNvSpPr/>
          <p:nvPr/>
        </p:nvSpPr>
        <p:spPr>
          <a:xfrm>
            <a:off x="578612" y="2168017"/>
            <a:ext cx="100800" cy="101382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Ovale 97">
            <a:extLst>
              <a:ext uri="{FF2B5EF4-FFF2-40B4-BE49-F238E27FC236}">
                <a16:creationId xmlns:a16="http://schemas.microsoft.com/office/drawing/2014/main" id="{A1F6EEB7-215E-4CD3-B393-F408D66547B4}"/>
              </a:ext>
            </a:extLst>
          </p:cNvPr>
          <p:cNvSpPr/>
          <p:nvPr/>
        </p:nvSpPr>
        <p:spPr>
          <a:xfrm>
            <a:off x="4885890" y="2168017"/>
            <a:ext cx="100800" cy="101382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Ovale 98">
            <a:extLst>
              <a:ext uri="{FF2B5EF4-FFF2-40B4-BE49-F238E27FC236}">
                <a16:creationId xmlns:a16="http://schemas.microsoft.com/office/drawing/2014/main" id="{0AEE9681-2DE5-4233-8DC7-9D766FE48D36}"/>
              </a:ext>
            </a:extLst>
          </p:cNvPr>
          <p:cNvSpPr/>
          <p:nvPr/>
        </p:nvSpPr>
        <p:spPr>
          <a:xfrm>
            <a:off x="2887605" y="2168017"/>
            <a:ext cx="100800" cy="101382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object 167">
            <a:extLst>
              <a:ext uri="{FF2B5EF4-FFF2-40B4-BE49-F238E27FC236}">
                <a16:creationId xmlns:a16="http://schemas.microsoft.com/office/drawing/2014/main" id="{D8921871-3483-42D2-B897-D0454CF3295F}"/>
              </a:ext>
            </a:extLst>
          </p:cNvPr>
          <p:cNvSpPr txBox="1"/>
          <p:nvPr/>
        </p:nvSpPr>
        <p:spPr>
          <a:xfrm>
            <a:off x="4899887" y="1981235"/>
            <a:ext cx="3176276" cy="230832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5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Potenziamento tecnologico/sprint PNRR</a:t>
            </a:r>
            <a:endParaRPr kumimoji="0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01" name="object 167">
            <a:extLst>
              <a:ext uri="{FF2B5EF4-FFF2-40B4-BE49-F238E27FC236}">
                <a16:creationId xmlns:a16="http://schemas.microsoft.com/office/drawing/2014/main" id="{79D10C28-03EF-4A15-BFE2-9D402A4E76BB}"/>
              </a:ext>
            </a:extLst>
          </p:cNvPr>
          <p:cNvSpPr txBox="1"/>
          <p:nvPr/>
        </p:nvSpPr>
        <p:spPr>
          <a:xfrm>
            <a:off x="3271435" y="1981235"/>
            <a:ext cx="1473412" cy="230832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0" lvl="0" indent="0" defTabSz="91440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5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Crisi finanziaria</a:t>
            </a:r>
            <a:endParaRPr kumimoji="0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cxnSp>
        <p:nvCxnSpPr>
          <p:cNvPr id="102" name="Connettore diritto 101">
            <a:extLst>
              <a:ext uri="{FF2B5EF4-FFF2-40B4-BE49-F238E27FC236}">
                <a16:creationId xmlns:a16="http://schemas.microsoft.com/office/drawing/2014/main" id="{810E9FE3-4B81-42D4-8A6F-E61C3196A03C}"/>
              </a:ext>
            </a:extLst>
          </p:cNvPr>
          <p:cNvCxnSpPr>
            <a:cxnSpLocks/>
          </p:cNvCxnSpPr>
          <p:nvPr/>
        </p:nvCxnSpPr>
        <p:spPr>
          <a:xfrm>
            <a:off x="8076232" y="2223942"/>
            <a:ext cx="0" cy="3672000"/>
          </a:xfrm>
          <a:prstGeom prst="line">
            <a:avLst/>
          </a:prstGeom>
          <a:ln w="12700">
            <a:solidFill>
              <a:srgbClr val="7E7E7E"/>
            </a:solidFill>
            <a:prstDash val="dash"/>
          </a:ln>
        </p:spPr>
      </p:cxnSp>
      <p:sp>
        <p:nvSpPr>
          <p:cNvPr id="103" name="Ovale 102">
            <a:extLst>
              <a:ext uri="{FF2B5EF4-FFF2-40B4-BE49-F238E27FC236}">
                <a16:creationId xmlns:a16="http://schemas.microsoft.com/office/drawing/2014/main" id="{05CBDB22-5475-4E86-AA05-12078D5C1964}"/>
              </a:ext>
            </a:extLst>
          </p:cNvPr>
          <p:cNvSpPr/>
          <p:nvPr/>
        </p:nvSpPr>
        <p:spPr>
          <a:xfrm>
            <a:off x="8025832" y="2168017"/>
            <a:ext cx="100800" cy="101382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74790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E5355034-5801-AF32-2F8B-7AF7880C29E3}"/>
              </a:ext>
            </a:extLst>
          </p:cNvPr>
          <p:cNvSpPr/>
          <p:nvPr/>
        </p:nvSpPr>
        <p:spPr>
          <a:xfrm>
            <a:off x="90395" y="2868877"/>
            <a:ext cx="11282330" cy="6888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4D5EA3D9-220B-49D0-99ED-55446059D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011" y="0"/>
            <a:ext cx="11696131" cy="895927"/>
          </a:xfrm>
        </p:spPr>
        <p:txBody>
          <a:bodyPr/>
          <a:lstStyle/>
          <a:p>
            <a:r>
              <a:rPr lang="it-IT"/>
              <a:t>Agenda</a:t>
            </a:r>
          </a:p>
        </p:txBody>
      </p:sp>
      <p:sp>
        <p:nvSpPr>
          <p:cNvPr id="7" name="Segnaposto contenuto 1">
            <a:extLst>
              <a:ext uri="{FF2B5EF4-FFF2-40B4-BE49-F238E27FC236}">
                <a16:creationId xmlns:a16="http://schemas.microsoft.com/office/drawing/2014/main" id="{474E63C6-14CD-4B24-A0C7-9930810D10B2}"/>
              </a:ext>
            </a:extLst>
          </p:cNvPr>
          <p:cNvSpPr txBox="1">
            <a:spLocks/>
          </p:cNvSpPr>
          <p:nvPr/>
        </p:nvSpPr>
        <p:spPr>
          <a:xfrm>
            <a:off x="1218705" y="2132261"/>
            <a:ext cx="7052259" cy="1242006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Segnaposto contenuto 1">
            <a:extLst>
              <a:ext uri="{FF2B5EF4-FFF2-40B4-BE49-F238E27FC236}">
                <a16:creationId xmlns:a16="http://schemas.microsoft.com/office/drawing/2014/main" id="{5E0852D8-543C-4180-B48B-7F0896CCA38A}"/>
              </a:ext>
            </a:extLst>
          </p:cNvPr>
          <p:cNvSpPr txBox="1">
            <a:spLocks/>
          </p:cNvSpPr>
          <p:nvPr/>
        </p:nvSpPr>
        <p:spPr>
          <a:xfrm>
            <a:off x="963419" y="3063680"/>
            <a:ext cx="9445030" cy="828132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atti di Programma 2022-2026 parte Servizi e Investimenti</a:t>
            </a:r>
          </a:p>
        </p:txBody>
      </p:sp>
      <p:sp>
        <p:nvSpPr>
          <p:cNvPr id="22" name="Segnaposto contenuto 3">
            <a:extLst>
              <a:ext uri="{FF2B5EF4-FFF2-40B4-BE49-F238E27FC236}">
                <a16:creationId xmlns:a16="http://schemas.microsoft.com/office/drawing/2014/main" id="{0AD3F1CA-76C4-474A-8F46-80672306F0D2}"/>
              </a:ext>
            </a:extLst>
          </p:cNvPr>
          <p:cNvSpPr txBox="1">
            <a:spLocks/>
          </p:cNvSpPr>
          <p:nvPr/>
        </p:nvSpPr>
        <p:spPr>
          <a:xfrm>
            <a:off x="384670" y="3073997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20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2</a:t>
            </a:r>
          </a:p>
        </p:txBody>
      </p:sp>
      <p:sp>
        <p:nvSpPr>
          <p:cNvPr id="23" name="Segnaposto contenuto 1">
            <a:extLst>
              <a:ext uri="{FF2B5EF4-FFF2-40B4-BE49-F238E27FC236}">
                <a16:creationId xmlns:a16="http://schemas.microsoft.com/office/drawing/2014/main" id="{5E0852D8-543C-4180-B48B-7F0896CCA38A}"/>
              </a:ext>
            </a:extLst>
          </p:cNvPr>
          <p:cNvSpPr txBox="1">
            <a:spLocks/>
          </p:cNvSpPr>
          <p:nvPr/>
        </p:nvSpPr>
        <p:spPr>
          <a:xfrm>
            <a:off x="982390" y="2144588"/>
            <a:ext cx="9123841" cy="469026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sion, obiettivi e risultati conseguiti nel 2022</a:t>
            </a:r>
          </a:p>
        </p:txBody>
      </p:sp>
      <p:sp>
        <p:nvSpPr>
          <p:cNvPr id="24" name="Segnaposto contenuto 3">
            <a:extLst>
              <a:ext uri="{FF2B5EF4-FFF2-40B4-BE49-F238E27FC236}">
                <a16:creationId xmlns:a16="http://schemas.microsoft.com/office/drawing/2014/main" id="{0AD3F1CA-76C4-474A-8F46-80672306F0D2}"/>
              </a:ext>
            </a:extLst>
          </p:cNvPr>
          <p:cNvSpPr txBox="1">
            <a:spLocks/>
          </p:cNvSpPr>
          <p:nvPr/>
        </p:nvSpPr>
        <p:spPr>
          <a:xfrm>
            <a:off x="403641" y="2205908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20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1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12CAEA4-DFCA-64AE-C7F1-F6B8ECE793CC}"/>
              </a:ext>
            </a:extLst>
          </p:cNvPr>
          <p:cNvSpPr txBox="1">
            <a:spLocks/>
          </p:cNvSpPr>
          <p:nvPr/>
        </p:nvSpPr>
        <p:spPr>
          <a:xfrm>
            <a:off x="384670" y="3942087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20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</a:t>
            </a:r>
          </a:p>
        </p:txBody>
      </p:sp>
      <p:sp>
        <p:nvSpPr>
          <p:cNvPr id="11" name="Segnaposto contenuto 1">
            <a:extLst>
              <a:ext uri="{FF2B5EF4-FFF2-40B4-BE49-F238E27FC236}">
                <a16:creationId xmlns:a16="http://schemas.microsoft.com/office/drawing/2014/main" id="{4B4813E0-F64C-47FE-86E6-D9933487DF15}"/>
              </a:ext>
            </a:extLst>
          </p:cNvPr>
          <p:cNvSpPr txBox="1">
            <a:spLocks/>
          </p:cNvSpPr>
          <p:nvPr/>
        </p:nvSpPr>
        <p:spPr>
          <a:xfrm>
            <a:off x="982390" y="3942087"/>
            <a:ext cx="10265162" cy="977839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gge di Bilancio 2023: focus risorse </a:t>
            </a:r>
          </a:p>
        </p:txBody>
      </p:sp>
    </p:spTree>
    <p:extLst>
      <p:ext uri="{BB962C8B-B14F-4D97-AF65-F5344CB8AC3E}">
        <p14:creationId xmlns:p14="http://schemas.microsoft.com/office/powerpoint/2010/main" val="4183280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itolo 3"/>
          <p:cNvSpPr>
            <a:spLocks noGrp="1"/>
          </p:cNvSpPr>
          <p:nvPr>
            <p:ph type="title"/>
          </p:nvPr>
        </p:nvSpPr>
        <p:spPr>
          <a:xfrm>
            <a:off x="430876" y="122154"/>
            <a:ext cx="11330248" cy="491319"/>
          </a:xfrm>
        </p:spPr>
        <p:txBody>
          <a:bodyPr/>
          <a:lstStyle/>
          <a:p>
            <a:r>
              <a:rPr lang="it-IT"/>
              <a:t>I contratti di programma vigenti hanno seguito il nuovo iter di approvazione</a:t>
            </a:r>
          </a:p>
        </p:txBody>
      </p:sp>
      <p:sp>
        <p:nvSpPr>
          <p:cNvPr id="112" name="Segnaposto contenuto 11"/>
          <p:cNvSpPr txBox="1">
            <a:spLocks/>
          </p:cNvSpPr>
          <p:nvPr/>
        </p:nvSpPr>
        <p:spPr bwMode="auto">
          <a:xfrm>
            <a:off x="216697" y="812564"/>
            <a:ext cx="5879303" cy="5512036"/>
          </a:xfrm>
          <a:prstGeom prst="rect">
            <a:avLst/>
          </a:prstGeom>
          <a:noFill/>
          <a:ln w="222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5765" marR="0" lvl="0" indent="-285750" algn="just" defTabSz="81269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attuazione della riforma 1.1 della missione 3 componente 1 del PNRR 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 DL 52/2021 ha ridefinito l’iter approvativo dei contratti di programma 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 il fine di velocizzare la progettazione e la realizzazione dei lavori</a:t>
            </a:r>
          </a:p>
          <a:p>
            <a:pPr marL="405765" marR="0" lvl="0" indent="-285750" algn="just" defTabSz="81269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 confronto con il Parlamento avviene sul</a:t>
            </a:r>
            <a:r>
              <a:rPr kumimoji="0" lang="it-IT" sz="1800" i="0" u="none" strike="noStrike" kern="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cumento Strategico della Mobilità Ferroviaria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e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ustra le esigenze di mobilità dei passeggeri e delle merci e declina gli obiettivi da perseguire</a:t>
            </a:r>
          </a:p>
          <a:p>
            <a:pPr marL="405765" marR="0" lvl="0" indent="-285750" algn="just" defTabSz="81269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</a:t>
            </a:r>
            <a:r>
              <a:rPr lang="it-IT" sz="1800" b="0" kern="0" dirty="0">
                <a:solidFill>
                  <a:schemeClr val="tx1"/>
                </a:solidFill>
                <a:latin typeface="Calibri" panose="020F0502020204030204"/>
              </a:rPr>
              <a:t>Contratti di Programma 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 i loro aggiornamenti annuali seguono un iter semplificato per consentire di accelerare l’operatività delle risorse aggiuntive recate annualmente dalle Leggi di Bilancio. </a:t>
            </a:r>
            <a:r>
              <a:rPr kumimoji="0" lang="it-IT" sz="18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l mese di dicembre scorso sono divenuti </a:t>
            </a:r>
            <a:r>
              <a:rPr lang="it-IT" sz="1800" kern="0" dirty="0">
                <a:solidFill>
                  <a:schemeClr val="tx1"/>
                </a:solidFill>
                <a:latin typeface="Calibri" panose="020F0502020204030204"/>
              </a:rPr>
              <a:t>operativi</a:t>
            </a:r>
            <a:r>
              <a:rPr kumimoji="0" lang="it-IT" sz="18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 Contratti di Programma 2022-2026, parte Servizi e parte Investimenti al momento vigenti</a:t>
            </a:r>
          </a:p>
          <a:p>
            <a:pPr marL="405765" marR="0" lvl="0" indent="-285750" algn="just" defTabSz="81269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’audizione è stata richiesta in sede di esame della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zione informativa 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messa dal MIT  alle Commissioni parlamentari, che si potranno esprimere con eventuali orientamenti o  indirizzi sull’argomento.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" name="Gruppo 9"/>
          <p:cNvGrpSpPr/>
          <p:nvPr/>
        </p:nvGrpSpPr>
        <p:grpSpPr>
          <a:xfrm>
            <a:off x="6538866" y="803898"/>
            <a:ext cx="5222258" cy="5740734"/>
            <a:chOff x="6610322" y="846810"/>
            <a:chExt cx="5222258" cy="4467813"/>
          </a:xfrm>
        </p:grpSpPr>
        <p:sp>
          <p:nvSpPr>
            <p:cNvPr id="43" name="Pentagono 45">
              <a:extLst>
                <a:ext uri="{FF2B5EF4-FFF2-40B4-BE49-F238E27FC236}">
                  <a16:creationId xmlns:a16="http://schemas.microsoft.com/office/drawing/2014/main" id="{FEBDDEEC-0C6F-B85D-8FCD-4D30D281F515}"/>
                </a:ext>
              </a:extLst>
            </p:cNvPr>
            <p:cNvSpPr/>
            <p:nvPr/>
          </p:nvSpPr>
          <p:spPr>
            <a:xfrm rot="5400000">
              <a:off x="8085844" y="3372756"/>
              <a:ext cx="466345" cy="3417389"/>
            </a:xfrm>
            <a:prstGeom prst="homePlate">
              <a:avLst>
                <a:gd name="adj" fmla="val 11345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ormativa MIMS a Camere, CIPESS e MEF contratto sottoscritto</a:t>
              </a:r>
            </a:p>
          </p:txBody>
        </p:sp>
        <p:sp>
          <p:nvSpPr>
            <p:cNvPr id="44" name="Pentagono 46">
              <a:extLst>
                <a:ext uri="{FF2B5EF4-FFF2-40B4-BE49-F238E27FC236}">
                  <a16:creationId xmlns:a16="http://schemas.microsoft.com/office/drawing/2014/main" id="{842E6B1B-F647-FC04-2600-F4328C00FD74}"/>
                </a:ext>
              </a:extLst>
            </p:cNvPr>
            <p:cNvSpPr/>
            <p:nvPr/>
          </p:nvSpPr>
          <p:spPr>
            <a:xfrm rot="5400000">
              <a:off x="8208065" y="726167"/>
              <a:ext cx="253710" cy="3415704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ormativa ART, IF e Regioni</a:t>
              </a:r>
            </a:p>
          </p:txBody>
        </p:sp>
        <p:sp>
          <p:nvSpPr>
            <p:cNvPr id="45" name="Pentagono 47">
              <a:extLst>
                <a:ext uri="{FF2B5EF4-FFF2-40B4-BE49-F238E27FC236}">
                  <a16:creationId xmlns:a16="http://schemas.microsoft.com/office/drawing/2014/main" id="{ED275689-4DD4-B969-FAC6-C67BFB98DE11}"/>
                </a:ext>
              </a:extLst>
            </p:cNvPr>
            <p:cNvSpPr/>
            <p:nvPr/>
          </p:nvSpPr>
          <p:spPr>
            <a:xfrm rot="5400000">
              <a:off x="8117738" y="1738545"/>
              <a:ext cx="411373" cy="3394029"/>
            </a:xfrm>
            <a:prstGeom prst="homePlate">
              <a:avLst>
                <a:gd name="adj" fmla="val 30953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libera CIPESS</a:t>
              </a:r>
            </a:p>
          </p:txBody>
        </p:sp>
        <p:sp>
          <p:nvSpPr>
            <p:cNvPr id="46" name="Pentagono 48">
              <a:extLst>
                <a:ext uri="{FF2B5EF4-FFF2-40B4-BE49-F238E27FC236}">
                  <a16:creationId xmlns:a16="http://schemas.microsoft.com/office/drawing/2014/main" id="{24375A0A-19EC-B665-DE39-E6A29BE3A6D0}"/>
                </a:ext>
              </a:extLst>
            </p:cNvPr>
            <p:cNvSpPr/>
            <p:nvPr/>
          </p:nvSpPr>
          <p:spPr>
            <a:xfrm rot="5400000">
              <a:off x="8040147" y="-566268"/>
              <a:ext cx="577613" cy="3403769"/>
            </a:xfrm>
            <a:prstGeom prst="homePlate">
              <a:avLst>
                <a:gd name="adj" fmla="val 0"/>
              </a:avLst>
            </a:prstGeom>
            <a:solidFill>
              <a:schemeClr val="tx2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L. 52/2021: </a:t>
              </a:r>
            </a:p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uovo iter approvazione </a:t>
              </a:r>
              <a:r>
                <a:rPr kumimoji="0" lang="it-IT" sz="16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dP</a:t>
              </a:r>
              <a: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2022-26</a:t>
              </a:r>
            </a:p>
          </p:txBody>
        </p:sp>
        <p:sp>
          <p:nvSpPr>
            <p:cNvPr id="47" name="Pentagono 49">
              <a:extLst>
                <a:ext uri="{FF2B5EF4-FFF2-40B4-BE49-F238E27FC236}">
                  <a16:creationId xmlns:a16="http://schemas.microsoft.com/office/drawing/2014/main" id="{8639CA53-D8F9-9109-5C11-DD713CACCBDC}"/>
                </a:ext>
              </a:extLst>
            </p:cNvPr>
            <p:cNvSpPr/>
            <p:nvPr/>
          </p:nvSpPr>
          <p:spPr>
            <a:xfrm rot="5400000">
              <a:off x="8041708" y="1198107"/>
              <a:ext cx="562927" cy="3394534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oltro schema </a:t>
              </a:r>
              <a:r>
                <a:rPr kumimoji="0" lang="it-IT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dP</a:t>
              </a: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al CIPESS da parte del MIMS –MEF</a:t>
              </a:r>
            </a:p>
          </p:txBody>
        </p:sp>
        <p:sp>
          <p:nvSpPr>
            <p:cNvPr id="48" name="Pentagono 50">
              <a:extLst>
                <a:ext uri="{FF2B5EF4-FFF2-40B4-BE49-F238E27FC236}">
                  <a16:creationId xmlns:a16="http://schemas.microsoft.com/office/drawing/2014/main" id="{D3DF8D93-5364-D1EE-C526-E03C908276BC}"/>
                </a:ext>
              </a:extLst>
            </p:cNvPr>
            <p:cNvSpPr/>
            <p:nvPr/>
          </p:nvSpPr>
          <p:spPr>
            <a:xfrm rot="5400000">
              <a:off x="8100905" y="2853376"/>
              <a:ext cx="466344" cy="3417389"/>
            </a:xfrm>
            <a:prstGeom prst="homePlate">
              <a:avLst>
                <a:gd name="adj" fmla="val 9384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srgbClr val="DC002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ttoscrizione</a:t>
              </a: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it-IT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DC002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dP</a:t>
              </a: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Pentagono 51">
              <a:extLst>
                <a:ext uri="{FF2B5EF4-FFF2-40B4-BE49-F238E27FC236}">
                  <a16:creationId xmlns:a16="http://schemas.microsoft.com/office/drawing/2014/main" id="{6E9E6631-AADA-F2D6-22F2-60E59A5C689E}"/>
                </a:ext>
              </a:extLst>
            </p:cNvPr>
            <p:cNvSpPr/>
            <p:nvPr/>
          </p:nvSpPr>
          <p:spPr>
            <a:xfrm rot="5400000">
              <a:off x="8035181" y="2288238"/>
              <a:ext cx="581581" cy="3393669"/>
            </a:xfrm>
            <a:prstGeom prst="homePlate">
              <a:avLst>
                <a:gd name="adj" fmla="val 30953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trollo </a:t>
              </a:r>
              <a:r>
                <a:rPr kumimoji="0" lang="it-IT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dC</a:t>
              </a: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e pubblicazione anche parziale delibera CIPESS in GU</a:t>
              </a:r>
            </a:p>
          </p:txBody>
        </p:sp>
        <p:sp>
          <p:nvSpPr>
            <p:cNvPr id="51" name="Pentagono 60">
              <a:extLst>
                <a:ext uri="{FF2B5EF4-FFF2-40B4-BE49-F238E27FC236}">
                  <a16:creationId xmlns:a16="http://schemas.microsoft.com/office/drawing/2014/main" id="{B3E4CC54-4EC3-AC2B-1C2D-9AF0B5E68041}"/>
                </a:ext>
              </a:extLst>
            </p:cNvPr>
            <p:cNvSpPr/>
            <p:nvPr/>
          </p:nvSpPr>
          <p:spPr>
            <a:xfrm rot="5400000">
              <a:off x="8094876" y="-13367"/>
              <a:ext cx="480092" cy="3415705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divisione MIMS-MEF-RFI schema contratto </a:t>
              </a:r>
            </a:p>
          </p:txBody>
        </p:sp>
        <p:sp>
          <p:nvSpPr>
            <p:cNvPr id="52" name="Pentagono 63">
              <a:extLst>
                <a:ext uri="{FF2B5EF4-FFF2-40B4-BE49-F238E27FC236}">
                  <a16:creationId xmlns:a16="http://schemas.microsoft.com/office/drawing/2014/main" id="{74A08B1A-AAA8-CD06-5920-2AE13D2DD0B0}"/>
                </a:ext>
              </a:extLst>
            </p:cNvPr>
            <p:cNvSpPr/>
            <p:nvPr/>
          </p:nvSpPr>
          <p:spPr>
            <a:xfrm rot="5400000">
              <a:off x="8205406" y="416761"/>
              <a:ext cx="266560" cy="3408173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gla </a:t>
              </a:r>
              <a:r>
                <a:rPr kumimoji="0" lang="it-IT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dP</a:t>
              </a:r>
              <a:endPara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CasellaDiTesto 11">
              <a:extLst>
                <a:ext uri="{FF2B5EF4-FFF2-40B4-BE49-F238E27FC236}">
                  <a16:creationId xmlns:a16="http://schemas.microsoft.com/office/drawing/2014/main" id="{B56ECCA1-B223-5760-A1EE-603540579A7C}"/>
                </a:ext>
              </a:extLst>
            </p:cNvPr>
            <p:cNvSpPr txBox="1"/>
            <p:nvPr/>
          </p:nvSpPr>
          <p:spPr>
            <a:xfrm>
              <a:off x="10155496" y="2690025"/>
              <a:ext cx="1646326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 luglio 2022</a:t>
              </a:r>
            </a:p>
          </p:txBody>
        </p:sp>
        <p:sp>
          <p:nvSpPr>
            <p:cNvPr id="54" name="CasellaDiTesto 12">
              <a:extLst>
                <a:ext uri="{FF2B5EF4-FFF2-40B4-BE49-F238E27FC236}">
                  <a16:creationId xmlns:a16="http://schemas.microsoft.com/office/drawing/2014/main" id="{E58AC7F5-3BF2-65C2-D85D-3052C819B036}"/>
                </a:ext>
              </a:extLst>
            </p:cNvPr>
            <p:cNvSpPr txBox="1"/>
            <p:nvPr/>
          </p:nvSpPr>
          <p:spPr>
            <a:xfrm>
              <a:off x="10155496" y="3164105"/>
              <a:ext cx="1646326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duta 2 agosto 2022</a:t>
              </a:r>
            </a:p>
          </p:txBody>
        </p:sp>
        <p:sp>
          <p:nvSpPr>
            <p:cNvPr id="55" name="CasellaDiTesto 13">
              <a:extLst>
                <a:ext uri="{FF2B5EF4-FFF2-40B4-BE49-F238E27FC236}">
                  <a16:creationId xmlns:a16="http://schemas.microsoft.com/office/drawing/2014/main" id="{F266ADB0-E684-E7D3-EB0F-7ED3A673DF78}"/>
                </a:ext>
              </a:extLst>
            </p:cNvPr>
            <p:cNvSpPr txBox="1"/>
            <p:nvPr/>
          </p:nvSpPr>
          <p:spPr>
            <a:xfrm>
              <a:off x="10179602" y="4365269"/>
              <a:ext cx="1577787" cy="2395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srgbClr val="DC002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 dicembre 2022</a:t>
              </a:r>
            </a:p>
          </p:txBody>
        </p:sp>
        <p:sp>
          <p:nvSpPr>
            <p:cNvPr id="56" name="CasellaDiTesto 14">
              <a:extLst>
                <a:ext uri="{FF2B5EF4-FFF2-40B4-BE49-F238E27FC236}">
                  <a16:creationId xmlns:a16="http://schemas.microsoft.com/office/drawing/2014/main" id="{521A1B4B-8C9A-E0E6-E363-B44DC736DB0B}"/>
                </a:ext>
              </a:extLst>
            </p:cNvPr>
            <p:cNvSpPr txBox="1"/>
            <p:nvPr/>
          </p:nvSpPr>
          <p:spPr>
            <a:xfrm>
              <a:off x="10179602" y="3662114"/>
              <a:ext cx="1577788" cy="3353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ubblicazione in GU</a:t>
              </a:r>
            </a:p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 novembre 2022</a:t>
              </a:r>
            </a:p>
          </p:txBody>
        </p:sp>
        <p:sp>
          <p:nvSpPr>
            <p:cNvPr id="57" name="CasellaDiTesto 15">
              <a:extLst>
                <a:ext uri="{FF2B5EF4-FFF2-40B4-BE49-F238E27FC236}">
                  <a16:creationId xmlns:a16="http://schemas.microsoft.com/office/drawing/2014/main" id="{F45D4B83-250F-E43B-83A3-7AAD9E32287E}"/>
                </a:ext>
              </a:extLst>
            </p:cNvPr>
            <p:cNvSpPr txBox="1"/>
            <p:nvPr/>
          </p:nvSpPr>
          <p:spPr>
            <a:xfrm>
              <a:off x="10153014" y="4809569"/>
              <a:ext cx="1577787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7 dicembre 2022</a:t>
              </a:r>
            </a:p>
          </p:txBody>
        </p:sp>
        <p:sp>
          <p:nvSpPr>
            <p:cNvPr id="58" name="CasellaDiTesto 16">
              <a:extLst>
                <a:ext uri="{FF2B5EF4-FFF2-40B4-BE49-F238E27FC236}">
                  <a16:creationId xmlns:a16="http://schemas.microsoft.com/office/drawing/2014/main" id="{6291114D-8438-F4BA-9803-09FA2A871AC1}"/>
                </a:ext>
              </a:extLst>
            </p:cNvPr>
            <p:cNvSpPr txBox="1"/>
            <p:nvPr/>
          </p:nvSpPr>
          <p:spPr>
            <a:xfrm>
              <a:off x="10104412" y="846810"/>
              <a:ext cx="1728168" cy="503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srgbClr val="DC002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IZIO PROCESSO: Approvazione DSMF 30 aprile 2022</a:t>
              </a:r>
            </a:p>
          </p:txBody>
        </p:sp>
        <p:sp>
          <p:nvSpPr>
            <p:cNvPr id="27" name="CasellaDiTesto 11">
              <a:extLst>
                <a:ext uri="{FF2B5EF4-FFF2-40B4-BE49-F238E27FC236}">
                  <a16:creationId xmlns:a16="http://schemas.microsoft.com/office/drawing/2014/main" id="{B56ECCA1-B223-5760-A1EE-603540579A7C}"/>
                </a:ext>
              </a:extLst>
            </p:cNvPr>
            <p:cNvSpPr txBox="1"/>
            <p:nvPr/>
          </p:nvSpPr>
          <p:spPr>
            <a:xfrm>
              <a:off x="10158811" y="1520524"/>
              <a:ext cx="1646326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ggio-Giugno 2022</a:t>
              </a:r>
            </a:p>
          </p:txBody>
        </p:sp>
        <p:sp>
          <p:nvSpPr>
            <p:cNvPr id="28" name="CasellaDiTesto 12">
              <a:extLst>
                <a:ext uri="{FF2B5EF4-FFF2-40B4-BE49-F238E27FC236}">
                  <a16:creationId xmlns:a16="http://schemas.microsoft.com/office/drawing/2014/main" id="{E58AC7F5-3BF2-65C2-D85D-3052C819B036}"/>
                </a:ext>
              </a:extLst>
            </p:cNvPr>
            <p:cNvSpPr txBox="1"/>
            <p:nvPr/>
          </p:nvSpPr>
          <p:spPr>
            <a:xfrm>
              <a:off x="10145333" y="2336088"/>
              <a:ext cx="1646326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 luglio 2022</a:t>
              </a:r>
            </a:p>
          </p:txBody>
        </p:sp>
      </p:grpSp>
      <p:grpSp>
        <p:nvGrpSpPr>
          <p:cNvPr id="20" name="Gruppo 9"/>
          <p:cNvGrpSpPr/>
          <p:nvPr/>
        </p:nvGrpSpPr>
        <p:grpSpPr>
          <a:xfrm>
            <a:off x="6538866" y="803898"/>
            <a:ext cx="5222258" cy="5740734"/>
            <a:chOff x="6610322" y="846810"/>
            <a:chExt cx="5222258" cy="4467813"/>
          </a:xfrm>
        </p:grpSpPr>
        <p:sp>
          <p:nvSpPr>
            <p:cNvPr id="2" name="Pentagono 45">
              <a:extLst>
                <a:ext uri="{FF2B5EF4-FFF2-40B4-BE49-F238E27FC236}">
                  <a16:creationId xmlns:a16="http://schemas.microsoft.com/office/drawing/2014/main" id="{FEBDDEEC-0C6F-B85D-8FCD-4D30D281F515}"/>
                </a:ext>
              </a:extLst>
            </p:cNvPr>
            <p:cNvSpPr/>
            <p:nvPr/>
          </p:nvSpPr>
          <p:spPr>
            <a:xfrm rot="5400000">
              <a:off x="8085844" y="3372756"/>
              <a:ext cx="466345" cy="3417389"/>
            </a:xfrm>
            <a:prstGeom prst="homePlate">
              <a:avLst>
                <a:gd name="adj" fmla="val 11345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ormativa MIT a Camere, CIPESS e MEF contratto sottoscritto</a:t>
              </a:r>
            </a:p>
          </p:txBody>
        </p:sp>
        <p:sp>
          <p:nvSpPr>
            <p:cNvPr id="3" name="Pentagono 46">
              <a:extLst>
                <a:ext uri="{FF2B5EF4-FFF2-40B4-BE49-F238E27FC236}">
                  <a16:creationId xmlns:a16="http://schemas.microsoft.com/office/drawing/2014/main" id="{842E6B1B-F647-FC04-2600-F4328C00FD74}"/>
                </a:ext>
              </a:extLst>
            </p:cNvPr>
            <p:cNvSpPr/>
            <p:nvPr/>
          </p:nvSpPr>
          <p:spPr>
            <a:xfrm rot="5400000">
              <a:off x="8208065" y="726167"/>
              <a:ext cx="253710" cy="3415704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ormativa ART, IF e Regioni</a:t>
              </a:r>
            </a:p>
          </p:txBody>
        </p:sp>
        <p:sp>
          <p:nvSpPr>
            <p:cNvPr id="4" name="Pentagono 47">
              <a:extLst>
                <a:ext uri="{FF2B5EF4-FFF2-40B4-BE49-F238E27FC236}">
                  <a16:creationId xmlns:a16="http://schemas.microsoft.com/office/drawing/2014/main" id="{ED275689-4DD4-B969-FAC6-C67BFB98DE11}"/>
                </a:ext>
              </a:extLst>
            </p:cNvPr>
            <p:cNvSpPr/>
            <p:nvPr/>
          </p:nvSpPr>
          <p:spPr>
            <a:xfrm rot="5400000">
              <a:off x="8117738" y="1738545"/>
              <a:ext cx="411373" cy="3394029"/>
            </a:xfrm>
            <a:prstGeom prst="homePlate">
              <a:avLst>
                <a:gd name="adj" fmla="val 30953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libera CIPESS</a:t>
              </a:r>
            </a:p>
          </p:txBody>
        </p:sp>
        <p:sp>
          <p:nvSpPr>
            <p:cNvPr id="5" name="Pentagono 48">
              <a:extLst>
                <a:ext uri="{FF2B5EF4-FFF2-40B4-BE49-F238E27FC236}">
                  <a16:creationId xmlns:a16="http://schemas.microsoft.com/office/drawing/2014/main" id="{24375A0A-19EC-B665-DE39-E6A29BE3A6D0}"/>
                </a:ext>
              </a:extLst>
            </p:cNvPr>
            <p:cNvSpPr/>
            <p:nvPr/>
          </p:nvSpPr>
          <p:spPr>
            <a:xfrm rot="5400000">
              <a:off x="8040147" y="-566268"/>
              <a:ext cx="577613" cy="3403769"/>
            </a:xfrm>
            <a:prstGeom prst="homePlate">
              <a:avLst>
                <a:gd name="adj" fmla="val 0"/>
              </a:avLst>
            </a:prstGeom>
            <a:solidFill>
              <a:schemeClr val="tx2"/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L. 52/2021: </a:t>
              </a:r>
            </a:p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uovo iter approvazione CdP 2022-26</a:t>
              </a:r>
            </a:p>
          </p:txBody>
        </p:sp>
        <p:sp>
          <p:nvSpPr>
            <p:cNvPr id="6" name="Pentagono 49">
              <a:extLst>
                <a:ext uri="{FF2B5EF4-FFF2-40B4-BE49-F238E27FC236}">
                  <a16:creationId xmlns:a16="http://schemas.microsoft.com/office/drawing/2014/main" id="{8639CA53-D8F9-9109-5C11-DD713CACCBDC}"/>
                </a:ext>
              </a:extLst>
            </p:cNvPr>
            <p:cNvSpPr/>
            <p:nvPr/>
          </p:nvSpPr>
          <p:spPr>
            <a:xfrm rot="5400000">
              <a:off x="8041708" y="1198107"/>
              <a:ext cx="562927" cy="3394534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oltro schema CdP al CIPESS da parte del MIT –MEF</a:t>
              </a:r>
            </a:p>
          </p:txBody>
        </p:sp>
        <p:sp>
          <p:nvSpPr>
            <p:cNvPr id="7" name="Pentagono 50">
              <a:extLst>
                <a:ext uri="{FF2B5EF4-FFF2-40B4-BE49-F238E27FC236}">
                  <a16:creationId xmlns:a16="http://schemas.microsoft.com/office/drawing/2014/main" id="{D3DF8D93-5364-D1EE-C526-E03C908276BC}"/>
                </a:ext>
              </a:extLst>
            </p:cNvPr>
            <p:cNvSpPr/>
            <p:nvPr/>
          </p:nvSpPr>
          <p:spPr>
            <a:xfrm rot="5400000">
              <a:off x="8100905" y="2853376"/>
              <a:ext cx="466344" cy="3417389"/>
            </a:xfrm>
            <a:prstGeom prst="homePlate">
              <a:avLst>
                <a:gd name="adj" fmla="val 9384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ttoscrizione CdP</a:t>
              </a:r>
            </a:p>
          </p:txBody>
        </p:sp>
        <p:sp>
          <p:nvSpPr>
            <p:cNvPr id="8" name="Pentagono 51">
              <a:extLst>
                <a:ext uri="{FF2B5EF4-FFF2-40B4-BE49-F238E27FC236}">
                  <a16:creationId xmlns:a16="http://schemas.microsoft.com/office/drawing/2014/main" id="{6E9E6631-AADA-F2D6-22F2-60E59A5C689E}"/>
                </a:ext>
              </a:extLst>
            </p:cNvPr>
            <p:cNvSpPr/>
            <p:nvPr/>
          </p:nvSpPr>
          <p:spPr>
            <a:xfrm rot="5400000">
              <a:off x="8035181" y="2288238"/>
              <a:ext cx="581581" cy="3393669"/>
            </a:xfrm>
            <a:prstGeom prst="homePlate">
              <a:avLst>
                <a:gd name="adj" fmla="val 30953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trollo CdC e pubblicazione anche parziale delibera CIPESS in GU</a:t>
              </a:r>
            </a:p>
          </p:txBody>
        </p:sp>
        <p:sp>
          <p:nvSpPr>
            <p:cNvPr id="9" name="Pentagono 60">
              <a:extLst>
                <a:ext uri="{FF2B5EF4-FFF2-40B4-BE49-F238E27FC236}">
                  <a16:creationId xmlns:a16="http://schemas.microsoft.com/office/drawing/2014/main" id="{B3E4CC54-4EC3-AC2B-1C2D-9AF0B5E68041}"/>
                </a:ext>
              </a:extLst>
            </p:cNvPr>
            <p:cNvSpPr/>
            <p:nvPr/>
          </p:nvSpPr>
          <p:spPr>
            <a:xfrm rot="5400000">
              <a:off x="8094876" y="-13367"/>
              <a:ext cx="480092" cy="3415705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divisione MIMS-MEF-RFI schema contratto </a:t>
              </a:r>
            </a:p>
          </p:txBody>
        </p:sp>
        <p:sp>
          <p:nvSpPr>
            <p:cNvPr id="11" name="Pentagono 63">
              <a:extLst>
                <a:ext uri="{FF2B5EF4-FFF2-40B4-BE49-F238E27FC236}">
                  <a16:creationId xmlns:a16="http://schemas.microsoft.com/office/drawing/2014/main" id="{74A08B1A-AAA8-CD06-5920-2AE13D2DD0B0}"/>
                </a:ext>
              </a:extLst>
            </p:cNvPr>
            <p:cNvSpPr/>
            <p:nvPr/>
          </p:nvSpPr>
          <p:spPr>
            <a:xfrm rot="5400000">
              <a:off x="8205406" y="416761"/>
              <a:ext cx="266560" cy="3408173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gla CdP</a:t>
              </a:r>
            </a:p>
          </p:txBody>
        </p:sp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B56ECCA1-B223-5760-A1EE-603540579A7C}"/>
                </a:ext>
              </a:extLst>
            </p:cNvPr>
            <p:cNvSpPr txBox="1"/>
            <p:nvPr/>
          </p:nvSpPr>
          <p:spPr>
            <a:xfrm>
              <a:off x="10155496" y="2690025"/>
              <a:ext cx="1646326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 luglio 2022</a:t>
              </a:r>
            </a:p>
          </p:txBody>
        </p:sp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E58AC7F5-3BF2-65C2-D85D-3052C819B036}"/>
                </a:ext>
              </a:extLst>
            </p:cNvPr>
            <p:cNvSpPr txBox="1"/>
            <p:nvPr/>
          </p:nvSpPr>
          <p:spPr>
            <a:xfrm>
              <a:off x="10155496" y="3164105"/>
              <a:ext cx="1646326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duta 2 agosto 2022</a:t>
              </a:r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521A1B4B-8C9A-E0E6-E363-B44DC736DB0B}"/>
                </a:ext>
              </a:extLst>
            </p:cNvPr>
            <p:cNvSpPr txBox="1"/>
            <p:nvPr/>
          </p:nvSpPr>
          <p:spPr>
            <a:xfrm>
              <a:off x="10179602" y="3662114"/>
              <a:ext cx="1577788" cy="3353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ubblicazione in GU</a:t>
              </a:r>
            </a:p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 novembre 2022</a:t>
              </a:r>
            </a:p>
          </p:txBody>
        </p:sp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F45D4B83-250F-E43B-83A3-7AAD9E32287E}"/>
                </a:ext>
              </a:extLst>
            </p:cNvPr>
            <p:cNvSpPr txBox="1"/>
            <p:nvPr/>
          </p:nvSpPr>
          <p:spPr>
            <a:xfrm>
              <a:off x="10153014" y="4809569"/>
              <a:ext cx="1577787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7 dicembre 2022</a:t>
              </a:r>
            </a:p>
          </p:txBody>
        </p:sp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6291114D-8438-F4BA-9803-09FA2A871AC1}"/>
                </a:ext>
              </a:extLst>
            </p:cNvPr>
            <p:cNvSpPr txBox="1"/>
            <p:nvPr/>
          </p:nvSpPr>
          <p:spPr>
            <a:xfrm>
              <a:off x="10104412" y="846810"/>
              <a:ext cx="172816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IZIO PROCESSO: Approvazione DSMF 30 aprile 2022</a:t>
              </a:r>
            </a:p>
          </p:txBody>
        </p:sp>
        <p:sp>
          <p:nvSpPr>
            <p:cNvPr id="18" name="CasellaDiTesto 11">
              <a:extLst>
                <a:ext uri="{FF2B5EF4-FFF2-40B4-BE49-F238E27FC236}">
                  <a16:creationId xmlns:a16="http://schemas.microsoft.com/office/drawing/2014/main" id="{B56ECCA1-B223-5760-A1EE-603540579A7C}"/>
                </a:ext>
              </a:extLst>
            </p:cNvPr>
            <p:cNvSpPr txBox="1"/>
            <p:nvPr/>
          </p:nvSpPr>
          <p:spPr>
            <a:xfrm>
              <a:off x="10158811" y="1520524"/>
              <a:ext cx="1646326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ggio-Giugno 2022</a:t>
              </a:r>
            </a:p>
          </p:txBody>
        </p:sp>
        <p:sp>
          <p:nvSpPr>
            <p:cNvPr id="19" name="CasellaDiTesto 12">
              <a:extLst>
                <a:ext uri="{FF2B5EF4-FFF2-40B4-BE49-F238E27FC236}">
                  <a16:creationId xmlns:a16="http://schemas.microsoft.com/office/drawing/2014/main" id="{E58AC7F5-3BF2-65C2-D85D-3052C819B036}"/>
                </a:ext>
              </a:extLst>
            </p:cNvPr>
            <p:cNvSpPr txBox="1"/>
            <p:nvPr/>
          </p:nvSpPr>
          <p:spPr>
            <a:xfrm>
              <a:off x="10145333" y="2336088"/>
              <a:ext cx="1646326" cy="203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734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0544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58170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10892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63613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16337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6906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21786" algn="l" defTabSz="90544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 luglio 2022</a:t>
              </a:r>
            </a:p>
          </p:txBody>
        </p:sp>
      </p:grpSp>
      <p:sp>
        <p:nvSpPr>
          <p:cNvPr id="29" name="CasellaDiTesto 12">
            <a:extLst>
              <a:ext uri="{FF2B5EF4-FFF2-40B4-BE49-F238E27FC236}">
                <a16:creationId xmlns:a16="http://schemas.microsoft.com/office/drawing/2014/main" id="{E58AC7F5-3BF2-65C2-D85D-3052C819B036}"/>
              </a:ext>
            </a:extLst>
          </p:cNvPr>
          <p:cNvSpPr txBox="1"/>
          <p:nvPr/>
        </p:nvSpPr>
        <p:spPr>
          <a:xfrm>
            <a:off x="10073877" y="2285100"/>
            <a:ext cx="16463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0544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734" algn="l" defTabSz="90544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5447" algn="l" defTabSz="90544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8170" algn="l" defTabSz="90544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10892" algn="l" defTabSz="90544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3613" algn="l" defTabSz="90544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16337" algn="l" defTabSz="90544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9066" algn="l" defTabSz="90544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21786" algn="l" defTabSz="90544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 luglio 2022</a:t>
            </a:r>
          </a:p>
        </p:txBody>
      </p:sp>
    </p:spTree>
    <p:extLst>
      <p:ext uri="{BB962C8B-B14F-4D97-AF65-F5344CB8AC3E}">
        <p14:creationId xmlns:p14="http://schemas.microsoft.com/office/powerpoint/2010/main" val="16606543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1BB4FB7-F456-45BC-999B-CAED9C208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2379133"/>
            <a:ext cx="11176620" cy="866367"/>
          </a:xfrm>
        </p:spPr>
        <p:txBody>
          <a:bodyPr/>
          <a:lstStyle/>
          <a:p>
            <a:r>
              <a:rPr lang="it-IT"/>
              <a:t>Focus CdP-Servizi 2022-2026</a:t>
            </a:r>
          </a:p>
        </p:txBody>
      </p:sp>
    </p:spTree>
    <p:extLst>
      <p:ext uri="{BB962C8B-B14F-4D97-AF65-F5344CB8AC3E}">
        <p14:creationId xmlns:p14="http://schemas.microsoft.com/office/powerpoint/2010/main" val="17949688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olo 1"/>
          <p:cNvSpPr>
            <a:spLocks noGrp="1"/>
          </p:cNvSpPr>
          <p:nvPr>
            <p:ph type="title"/>
          </p:nvPr>
        </p:nvSpPr>
        <p:spPr>
          <a:xfrm>
            <a:off x="460020" y="-307497"/>
            <a:ext cx="11176620" cy="866367"/>
          </a:xfrm>
        </p:spPr>
        <p:txBody>
          <a:bodyPr/>
          <a:lstStyle/>
          <a:p>
            <a:pPr defTabSz="81269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it-IT" altLang="it-IT"/>
              <a:t>Il nuovo contratto di Programma 2022-26 – Parte Servizi</a:t>
            </a:r>
          </a:p>
        </p:txBody>
      </p:sp>
      <p:sp>
        <p:nvSpPr>
          <p:cNvPr id="2" name="Segnaposto contenuto 1"/>
          <p:cNvSpPr>
            <a:spLocks noGrp="1"/>
          </p:cNvSpPr>
          <p:nvPr>
            <p:ph idx="13"/>
          </p:nvPr>
        </p:nvSpPr>
        <p:spPr>
          <a:xfrm>
            <a:off x="460020" y="470551"/>
            <a:ext cx="11370650" cy="390933"/>
          </a:xfrm>
        </p:spPr>
        <p:txBody>
          <a:bodyPr>
            <a:noAutofit/>
          </a:bodyPr>
          <a:lstStyle/>
          <a:p>
            <a:r>
              <a:rPr lang="it-IT" sz="1800" dirty="0"/>
              <a:t>per contribuire a realizzare una infrastruttura sempre più sicura, resiliente e sostenibile</a:t>
            </a: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342" y="1068816"/>
            <a:ext cx="9274153" cy="5126038"/>
          </a:xfrm>
          <a:prstGeom prst="rect">
            <a:avLst/>
          </a:prstGeom>
        </p:spPr>
      </p:pic>
      <p:sp>
        <p:nvSpPr>
          <p:cNvPr id="3" name="CasellaDiTesto 2"/>
          <p:cNvSpPr txBox="1"/>
          <p:nvPr/>
        </p:nvSpPr>
        <p:spPr>
          <a:xfrm>
            <a:off x="1579848" y="2036347"/>
            <a:ext cx="17166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156 mln €/anno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3077969" y="5182113"/>
            <a:ext cx="17166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200 mln €/anno</a:t>
            </a:r>
          </a:p>
        </p:txBody>
      </p:sp>
    </p:spTree>
    <p:extLst>
      <p:ext uri="{BB962C8B-B14F-4D97-AF65-F5344CB8AC3E}">
        <p14:creationId xmlns:p14="http://schemas.microsoft.com/office/powerpoint/2010/main" val="23252427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CustomShape 1" hidden="1"/>
          <p:cNvSpPr/>
          <p:nvPr/>
        </p:nvSpPr>
        <p:spPr>
          <a:xfrm>
            <a:off x="1031" y="51"/>
            <a:ext cx="105342" cy="10534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" name="AutoShape 2" descr="14,4 miliardi per l&amp;#039;infrastruttura ferroviaria"/>
          <p:cNvSpPr>
            <a:spLocks noChangeAspect="1" noChangeArrowheads="1"/>
          </p:cNvSpPr>
          <p:nvPr/>
        </p:nvSpPr>
        <p:spPr bwMode="auto">
          <a:xfrm>
            <a:off x="158825" y="-147396"/>
            <a:ext cx="310991" cy="310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AutoShape 4" descr="14,4 miliardi per l&amp;#039;infrastruttura ferroviaria"/>
          <p:cNvSpPr>
            <a:spLocks noChangeAspect="1" noChangeArrowheads="1"/>
          </p:cNvSpPr>
          <p:nvPr/>
        </p:nvSpPr>
        <p:spPr bwMode="auto">
          <a:xfrm>
            <a:off x="314321" y="8099"/>
            <a:ext cx="310991" cy="310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8" name="Titolo 1"/>
          <p:cNvSpPr>
            <a:spLocks noGrp="1"/>
          </p:cNvSpPr>
          <p:nvPr>
            <p:ph type="title"/>
          </p:nvPr>
        </p:nvSpPr>
        <p:spPr>
          <a:xfrm>
            <a:off x="453162" y="-307497"/>
            <a:ext cx="11176620" cy="866367"/>
          </a:xfrm>
        </p:spPr>
        <p:txBody>
          <a:bodyPr/>
          <a:lstStyle/>
          <a:p>
            <a:pPr defTabSz="81269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it-IT" altLang="it-IT"/>
              <a:t>La Manutenzione Straordinaria del nuovo </a:t>
            </a:r>
            <a:r>
              <a:rPr lang="it-IT" altLang="it-IT" err="1"/>
              <a:t>CdP</a:t>
            </a:r>
            <a:r>
              <a:rPr lang="it-IT" altLang="it-IT"/>
              <a:t>-S 2022-26</a:t>
            </a:r>
          </a:p>
        </p:txBody>
      </p:sp>
      <p:sp>
        <p:nvSpPr>
          <p:cNvPr id="39" name="Segnaposto contenuto 1"/>
          <p:cNvSpPr txBox="1">
            <a:spLocks/>
          </p:cNvSpPr>
          <p:nvPr/>
        </p:nvSpPr>
        <p:spPr bwMode="auto">
          <a:xfrm>
            <a:off x="453162" y="470551"/>
            <a:ext cx="11370650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ticolazione per sottosistemi degli interventi e fabbisogno annuale medio</a:t>
            </a:r>
          </a:p>
        </p:txBody>
      </p:sp>
      <p:sp>
        <p:nvSpPr>
          <p:cNvPr id="44" name="Rettangolo 43"/>
          <p:cNvSpPr/>
          <p:nvPr/>
        </p:nvSpPr>
        <p:spPr>
          <a:xfrm>
            <a:off x="291820" y="966500"/>
            <a:ext cx="2472560" cy="455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STRUTTURA FISICA</a:t>
            </a:r>
          </a:p>
        </p:txBody>
      </p:sp>
      <p:cxnSp>
        <p:nvCxnSpPr>
          <p:cNvPr id="45" name="Connettore diritto 44"/>
          <p:cNvCxnSpPr/>
          <p:nvPr/>
        </p:nvCxnSpPr>
        <p:spPr>
          <a:xfrm>
            <a:off x="391622" y="973835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ttangolo 45"/>
          <p:cNvSpPr/>
          <p:nvPr/>
        </p:nvSpPr>
        <p:spPr>
          <a:xfrm>
            <a:off x="3253575" y="966396"/>
            <a:ext cx="2923936" cy="455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STRUTTURA ENERGETICA</a:t>
            </a:r>
          </a:p>
        </p:txBody>
      </p:sp>
      <p:cxnSp>
        <p:nvCxnSpPr>
          <p:cNvPr id="47" name="Connettore diritto 46"/>
          <p:cNvCxnSpPr/>
          <p:nvPr/>
        </p:nvCxnSpPr>
        <p:spPr>
          <a:xfrm>
            <a:off x="3353375" y="973835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ttore diritto 48"/>
          <p:cNvCxnSpPr/>
          <p:nvPr/>
        </p:nvCxnSpPr>
        <p:spPr>
          <a:xfrm>
            <a:off x="6307849" y="973835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tangolo 52">
            <a:extLst>
              <a:ext uri="{FF2B5EF4-FFF2-40B4-BE49-F238E27FC236}">
                <a16:creationId xmlns:a16="http://schemas.microsoft.com/office/drawing/2014/main" id="{DF75A882-9D54-4613-B0C4-05A0793AA399}"/>
              </a:ext>
            </a:extLst>
          </p:cNvPr>
          <p:cNvSpPr/>
          <p:nvPr/>
        </p:nvSpPr>
        <p:spPr>
          <a:xfrm>
            <a:off x="231267" y="2801173"/>
            <a:ext cx="2533113" cy="455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5" name="Connettore diritto 54"/>
          <p:cNvCxnSpPr/>
          <p:nvPr/>
        </p:nvCxnSpPr>
        <p:spPr>
          <a:xfrm>
            <a:off x="9250482" y="973835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ttangolo 55"/>
          <p:cNvSpPr/>
          <p:nvPr/>
        </p:nvSpPr>
        <p:spPr>
          <a:xfrm>
            <a:off x="272133" y="1462642"/>
            <a:ext cx="1210640" cy="455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,5</a:t>
            </a:r>
          </a:p>
        </p:txBody>
      </p:sp>
      <p:sp>
        <p:nvSpPr>
          <p:cNvPr id="57" name="Rettangolo 56"/>
          <p:cNvSpPr/>
          <p:nvPr/>
        </p:nvSpPr>
        <p:spPr>
          <a:xfrm>
            <a:off x="3267898" y="1462642"/>
            <a:ext cx="1210640" cy="455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2</a:t>
            </a:r>
          </a:p>
        </p:txBody>
      </p:sp>
      <p:sp>
        <p:nvSpPr>
          <p:cNvPr id="58" name="Rettangolo 57"/>
          <p:cNvSpPr/>
          <p:nvPr/>
        </p:nvSpPr>
        <p:spPr>
          <a:xfrm>
            <a:off x="877453" y="2541903"/>
            <a:ext cx="2030494" cy="937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mament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e d’ar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de e Stazion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igazion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ro</a:t>
            </a:r>
            <a:endParaRPr kumimoji="0" lang="it-IT" sz="1100" b="0" i="1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Rettangolo 58"/>
          <p:cNvSpPr/>
          <p:nvPr/>
        </p:nvSpPr>
        <p:spPr>
          <a:xfrm>
            <a:off x="3267075" y="2556801"/>
            <a:ext cx="2259731" cy="937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nee di contatt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uce e Forza Motr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tto Stazioni Elettriche (SS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ro</a:t>
            </a:r>
          </a:p>
        </p:txBody>
      </p:sp>
      <p:sp>
        <p:nvSpPr>
          <p:cNvPr id="60" name="Rettangolo 59"/>
          <p:cNvSpPr/>
          <p:nvPr/>
        </p:nvSpPr>
        <p:spPr>
          <a:xfrm>
            <a:off x="6307849" y="941644"/>
            <a:ext cx="3078204" cy="455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STRUTTURA TECNOLOGICA</a:t>
            </a:r>
          </a:p>
        </p:txBody>
      </p:sp>
      <p:sp>
        <p:nvSpPr>
          <p:cNvPr id="61" name="Rettangolo 60"/>
          <p:cNvSpPr/>
          <p:nvPr/>
        </p:nvSpPr>
        <p:spPr>
          <a:xfrm>
            <a:off x="6237418" y="1462642"/>
            <a:ext cx="1210640" cy="455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3</a:t>
            </a:r>
          </a:p>
        </p:txBody>
      </p:sp>
      <p:sp>
        <p:nvSpPr>
          <p:cNvPr id="62" name="Rettangolo 61"/>
          <p:cNvSpPr/>
          <p:nvPr/>
        </p:nvSpPr>
        <p:spPr>
          <a:xfrm>
            <a:off x="9197190" y="1462642"/>
            <a:ext cx="1210640" cy="455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2</a:t>
            </a:r>
          </a:p>
        </p:txBody>
      </p:sp>
      <p:sp>
        <p:nvSpPr>
          <p:cNvPr id="63" name="Rettangolo 62"/>
          <p:cNvSpPr/>
          <p:nvPr/>
        </p:nvSpPr>
        <p:spPr>
          <a:xfrm>
            <a:off x="6811845" y="2600022"/>
            <a:ext cx="1870609" cy="937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ianti di sicurezza e segnalamento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ianti di telecomunicazion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ro</a:t>
            </a:r>
          </a:p>
        </p:txBody>
      </p:sp>
      <p:sp>
        <p:nvSpPr>
          <p:cNvPr id="64" name="Rettangolo 63"/>
          <p:cNvSpPr/>
          <p:nvPr/>
        </p:nvSpPr>
        <p:spPr>
          <a:xfrm>
            <a:off x="9625616" y="2566902"/>
            <a:ext cx="1826610" cy="937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mento produttività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quisti a Rimpiazz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blighi di Leg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zi d’Opera</a:t>
            </a:r>
          </a:p>
        </p:txBody>
      </p:sp>
      <p:grpSp>
        <p:nvGrpSpPr>
          <p:cNvPr id="7" name="Gruppo 6"/>
          <p:cNvGrpSpPr/>
          <p:nvPr/>
        </p:nvGrpSpPr>
        <p:grpSpPr>
          <a:xfrm>
            <a:off x="9363567" y="5517424"/>
            <a:ext cx="2346966" cy="1064529"/>
            <a:chOff x="8994094" y="10033432"/>
            <a:chExt cx="2346966" cy="688670"/>
          </a:xfrm>
        </p:grpSpPr>
        <p:sp>
          <p:nvSpPr>
            <p:cNvPr id="65" name="Rettangolo 64"/>
            <p:cNvSpPr/>
            <p:nvPr/>
          </p:nvSpPr>
          <p:spPr>
            <a:xfrm>
              <a:off x="9126183" y="10114023"/>
              <a:ext cx="2214877" cy="5639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TALE </a:t>
              </a:r>
              <a:r>
                <a:rPr kumimoji="0" lang="it-IT" sz="3200" b="1" i="0" u="none" strike="noStrike" kern="1200" cap="none" spc="0" normalizeH="0" baseline="0" noProof="0">
                  <a:ln>
                    <a:noFill/>
                  </a:ln>
                  <a:solidFill>
                    <a:srgbClr val="DC002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,2 </a:t>
              </a:r>
              <a:r>
                <a:rPr kumimoji="0" lang="it-IT" sz="2000" b="1" i="1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ld /anno</a:t>
              </a:r>
              <a:endParaRPr kumimoji="0" lang="it-IT" sz="105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Ovale 66"/>
            <p:cNvSpPr/>
            <p:nvPr/>
          </p:nvSpPr>
          <p:spPr>
            <a:xfrm>
              <a:off x="8994094" y="10033432"/>
              <a:ext cx="2319705" cy="688670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68" name="Immagine 67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9223" y="1303875"/>
            <a:ext cx="1433231" cy="1252926"/>
          </a:xfrm>
          <a:prstGeom prst="ellipse">
            <a:avLst/>
          </a:prstGeom>
        </p:spPr>
      </p:pic>
      <p:pic>
        <p:nvPicPr>
          <p:cNvPr id="69" name="Immagine 6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1221" y="1303874"/>
            <a:ext cx="1373264" cy="1150015"/>
          </a:xfrm>
          <a:prstGeom prst="ellipse">
            <a:avLst/>
          </a:prstGeom>
        </p:spPr>
      </p:pic>
      <p:pic>
        <p:nvPicPr>
          <p:cNvPr id="70" name="Immagine 69"/>
          <p:cNvPicPr>
            <a:picLocks noChangeAspect="1"/>
          </p:cNvPicPr>
          <p:nvPr/>
        </p:nvPicPr>
        <p:blipFill>
          <a:blip r:embed="rId5">
            <a:biLevel thresh="75000"/>
          </a:blip>
          <a:stretch>
            <a:fillRect/>
          </a:stretch>
        </p:blipFill>
        <p:spPr>
          <a:xfrm>
            <a:off x="4235291" y="1303874"/>
            <a:ext cx="1460531" cy="1150015"/>
          </a:xfrm>
          <a:prstGeom prst="rect">
            <a:avLst/>
          </a:prstGeom>
        </p:spPr>
      </p:pic>
      <p:pic>
        <p:nvPicPr>
          <p:cNvPr id="71" name="Immagine 70"/>
          <p:cNvPicPr>
            <a:picLocks noChangeAspect="1"/>
          </p:cNvPicPr>
          <p:nvPr/>
        </p:nvPicPr>
        <p:blipFill>
          <a:blip r:embed="rId6">
            <a:grayscl/>
          </a:blip>
          <a:stretch>
            <a:fillRect/>
          </a:stretch>
        </p:blipFill>
        <p:spPr>
          <a:xfrm>
            <a:off x="10091318" y="1406290"/>
            <a:ext cx="1507337" cy="1076669"/>
          </a:xfrm>
          <a:prstGeom prst="ellipse">
            <a:avLst/>
          </a:prstGeom>
        </p:spPr>
      </p:pic>
      <p:sp>
        <p:nvSpPr>
          <p:cNvPr id="4" name="Rettangolo 3"/>
          <p:cNvSpPr/>
          <p:nvPr/>
        </p:nvSpPr>
        <p:spPr>
          <a:xfrm>
            <a:off x="355399" y="3573640"/>
            <a:ext cx="2723053" cy="179126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905447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Interventi all’armamento quali  sostituzione di binari, alle opere d’arte (ponti e gallerie), alla sede, alle stazioni, agli impianti, alla navigazione, ai mezzi d’opera, adeguamento agli obblighi di legge per l’eliminazione/adeguamento di infrastrutture non più conformi alle norme vigenti</a:t>
            </a:r>
          </a:p>
        </p:txBody>
      </p:sp>
      <p:cxnSp>
        <p:nvCxnSpPr>
          <p:cNvPr id="35" name="Connettore diritto 44"/>
          <p:cNvCxnSpPr/>
          <p:nvPr/>
        </p:nvCxnSpPr>
        <p:spPr>
          <a:xfrm>
            <a:off x="391622" y="3576837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diritto 46"/>
          <p:cNvCxnSpPr/>
          <p:nvPr/>
        </p:nvCxnSpPr>
        <p:spPr>
          <a:xfrm>
            <a:off x="3353375" y="3576837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diritto 48"/>
          <p:cNvCxnSpPr/>
          <p:nvPr/>
        </p:nvCxnSpPr>
        <p:spPr>
          <a:xfrm>
            <a:off x="6307849" y="3576837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ttore diritto 54"/>
          <p:cNvCxnSpPr/>
          <p:nvPr/>
        </p:nvCxnSpPr>
        <p:spPr>
          <a:xfrm>
            <a:off x="9250482" y="3576837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ttangolo 4"/>
          <p:cNvSpPr/>
          <p:nvPr/>
        </p:nvSpPr>
        <p:spPr>
          <a:xfrm>
            <a:off x="3365697" y="3580272"/>
            <a:ext cx="2676679" cy="157889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905447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Interventi alla linea di contatto, alle Sotto Stazioni, alla luce e forza motrice, ai mezzi d’opera e adeguamenti ad obblighi di legge per l’eliminazione/adeguamento di infrastrutture non più conformi alle norme vigenti</a:t>
            </a:r>
          </a:p>
        </p:txBody>
      </p:sp>
      <p:sp>
        <p:nvSpPr>
          <p:cNvPr id="6" name="Rettangolo 5"/>
          <p:cNvSpPr/>
          <p:nvPr/>
        </p:nvSpPr>
        <p:spPr>
          <a:xfrm>
            <a:off x="6309242" y="3611624"/>
            <a:ext cx="2647822" cy="15788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05447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Interventi agli impianti tecnologici e di segnalamento, agli impianti di telecomunicazione e all’adeguamento degli stessi ad obblighi di legge per l’eliminazione/adeguamento di infrastrutture non più conformi alle norme vigenti</a:t>
            </a:r>
          </a:p>
        </p:txBody>
      </p:sp>
      <p:sp>
        <p:nvSpPr>
          <p:cNvPr id="8" name="Rettangolo 7"/>
          <p:cNvSpPr/>
          <p:nvPr/>
        </p:nvSpPr>
        <p:spPr>
          <a:xfrm>
            <a:off x="9273166" y="3614362"/>
            <a:ext cx="2432592" cy="1791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05447" rtl="0" eaLnBrk="1" fontAlgn="auto" latinLnBrk="0" hangingPunct="1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 panose="02020603050405020304" pitchFamily="18" charset="0"/>
                <a:cs typeface="Times New Roman" panose="02020603050405020304" pitchFamily="18" charset="0"/>
              </a:rPr>
              <a:t>Acquisti di attrezzature per attività di manutenzione (macchinari, attrezzature per il personale di linea, impianti di comunicazione ecc.) e aumento produttività ovvero interventi che per motivi tecnici, organizzativi ed economici vengono eseguiti con personale interno.</a:t>
            </a:r>
          </a:p>
        </p:txBody>
      </p:sp>
      <p:cxnSp>
        <p:nvCxnSpPr>
          <p:cNvPr id="48" name="Connettore diritto 44"/>
          <p:cNvCxnSpPr/>
          <p:nvPr/>
        </p:nvCxnSpPr>
        <p:spPr>
          <a:xfrm>
            <a:off x="391620" y="5401955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ttore diritto 46"/>
          <p:cNvCxnSpPr/>
          <p:nvPr/>
        </p:nvCxnSpPr>
        <p:spPr>
          <a:xfrm>
            <a:off x="3253574" y="5401955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ttore diritto 48"/>
          <p:cNvCxnSpPr/>
          <p:nvPr/>
        </p:nvCxnSpPr>
        <p:spPr>
          <a:xfrm>
            <a:off x="6343320" y="5401955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nettore diritto 54"/>
          <p:cNvCxnSpPr/>
          <p:nvPr/>
        </p:nvCxnSpPr>
        <p:spPr>
          <a:xfrm>
            <a:off x="9267719" y="5401955"/>
            <a:ext cx="257687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ttangolo 77"/>
          <p:cNvSpPr/>
          <p:nvPr/>
        </p:nvSpPr>
        <p:spPr>
          <a:xfrm>
            <a:off x="9197190" y="983374"/>
            <a:ext cx="3078204" cy="4557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O MANUTENZIONE ED INTERNALIZZAZIONE</a:t>
            </a:r>
          </a:p>
        </p:txBody>
      </p:sp>
      <p:sp>
        <p:nvSpPr>
          <p:cNvPr id="10" name="CasellaDiTesto 9"/>
          <p:cNvSpPr txBox="1"/>
          <p:nvPr/>
        </p:nvSpPr>
        <p:spPr>
          <a:xfrm>
            <a:off x="10726578" y="646047"/>
            <a:ext cx="11196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i in mld €</a:t>
            </a:r>
          </a:p>
        </p:txBody>
      </p:sp>
    </p:spTree>
    <p:extLst>
      <p:ext uri="{BB962C8B-B14F-4D97-AF65-F5344CB8AC3E}">
        <p14:creationId xmlns:p14="http://schemas.microsoft.com/office/powerpoint/2010/main" val="20494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F566DD48-CDBF-4934-B050-BE0C34C9C0A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414" t="18792" r="23649" b="10888"/>
          <a:stretch/>
        </p:blipFill>
        <p:spPr>
          <a:xfrm>
            <a:off x="6227197" y="1683548"/>
            <a:ext cx="1443242" cy="1515935"/>
          </a:xfrm>
          <a:prstGeom prst="rect">
            <a:avLst/>
          </a:prstGeom>
        </p:spPr>
      </p:pic>
      <p:sp>
        <p:nvSpPr>
          <p:cNvPr id="17" name="Rettangolo 16"/>
          <p:cNvSpPr/>
          <p:nvPr/>
        </p:nvSpPr>
        <p:spPr>
          <a:xfrm>
            <a:off x="7787158" y="6277549"/>
            <a:ext cx="609600" cy="1689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7787158" y="6502695"/>
            <a:ext cx="609600" cy="16893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</a:t>
            </a: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1B3ACD84-33ED-43AB-A636-C129119B9BD9}"/>
              </a:ext>
            </a:extLst>
          </p:cNvPr>
          <p:cNvSpPr txBox="1"/>
          <p:nvPr/>
        </p:nvSpPr>
        <p:spPr>
          <a:xfrm>
            <a:off x="8536732" y="6541918"/>
            <a:ext cx="2740868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t>Fabbisogni coperti a legislazione vigente (LB 2022)</a:t>
            </a:r>
          </a:p>
        </p:txBody>
      </p:sp>
      <p:sp>
        <p:nvSpPr>
          <p:cNvPr id="22" name="Rectangle 2">
            <a:extLst>
              <a:ext uri="{FF2B5EF4-FFF2-40B4-BE49-F238E27FC236}">
                <a16:creationId xmlns:a16="http://schemas.microsoft.com/office/drawing/2014/main" id="{1B3ACD84-33ED-43AB-A636-C129119B9BD9}"/>
              </a:ext>
            </a:extLst>
          </p:cNvPr>
          <p:cNvSpPr txBox="1"/>
          <p:nvPr/>
        </p:nvSpPr>
        <p:spPr>
          <a:xfrm>
            <a:off x="8536732" y="6292599"/>
            <a:ext cx="3084181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just" defTabSz="8952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  <a:cs typeface="+mn-cs"/>
              </a:rPr>
              <a:t>Fabbisogni da reperire</a:t>
            </a:r>
          </a:p>
        </p:txBody>
      </p:sp>
      <p:sp>
        <p:nvSpPr>
          <p:cNvPr id="25" name="Rettangolo 24"/>
          <p:cNvSpPr/>
          <p:nvPr/>
        </p:nvSpPr>
        <p:spPr>
          <a:xfrm rot="20079340">
            <a:off x="6481922" y="2424449"/>
            <a:ext cx="933794" cy="36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6" name="AutoShape 249">
            <a:extLst>
              <a:ext uri="{FF2B5EF4-FFF2-40B4-BE49-F238E27FC236}">
                <a16:creationId xmlns:a16="http://schemas.microsoft.com/office/drawing/2014/main" id="{0F3ACF85-84DD-4BCC-B29F-AA98F3BAD206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6150536" y="1414251"/>
            <a:ext cx="4896000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ACET">
            <a:extLst>
              <a:ext uri="{FF2B5EF4-FFF2-40B4-BE49-F238E27FC236}">
                <a16:creationId xmlns:a16="http://schemas.microsoft.com/office/drawing/2014/main" id="{BD83FD24-6026-4E2D-A6FF-47684F5BD79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50535" y="1421241"/>
            <a:ext cx="5294221" cy="29020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 panose="020F0502020204030204" pitchFamily="34" charset="0"/>
              </a:rPr>
              <a:t>Fabbisogni /risorse per attività in conto esercizio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 panose="020F0502020204030204" pitchFamily="34" charset="0"/>
              </a:rPr>
              <a:t>(Manutenzione Ordinaria e altre attività di gestione della rete)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407368" y="1522837"/>
            <a:ext cx="5440718" cy="12003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l Contratto di Programma Parte Servizi (CdP-S)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è lo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umento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he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ola le attività per la gestione della rete e di manutenzione dell’infrastruttura ferroviaria,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21252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coerenza con le indicazioni del Documento Strategico, e le relative coperture finanziarie 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ACET">
            <a:extLst>
              <a:ext uri="{FF2B5EF4-FFF2-40B4-BE49-F238E27FC236}">
                <a16:creationId xmlns:a16="http://schemas.microsoft.com/office/drawing/2014/main" id="{387CA5C7-4355-48CA-8340-A5C3BC3F1FC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50535" y="1130969"/>
            <a:ext cx="5294221" cy="29020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 panose="020F0502020204030204" pitchFamily="34" charset="0"/>
              </a:rPr>
              <a:t>Quadro finanziario (Mln€)</a:t>
            </a:r>
          </a:p>
        </p:txBody>
      </p:sp>
      <p:cxnSp>
        <p:nvCxnSpPr>
          <p:cNvPr id="31" name="AutoShape 249">
            <a:extLst>
              <a:ext uri="{FF2B5EF4-FFF2-40B4-BE49-F238E27FC236}">
                <a16:creationId xmlns:a16="http://schemas.microsoft.com/office/drawing/2014/main" id="{F15CA34D-E028-47E4-A736-620068ADBF47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490300" y="1414251"/>
            <a:ext cx="5292000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ACET">
            <a:extLst>
              <a:ext uri="{FF2B5EF4-FFF2-40B4-BE49-F238E27FC236}">
                <a16:creationId xmlns:a16="http://schemas.microsoft.com/office/drawing/2014/main" id="{02307AF1-F16D-47BD-A53C-517C1ABDAA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0300" y="1151134"/>
            <a:ext cx="5294221" cy="29020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 panose="020F0502020204030204" pitchFamily="34" charset="0"/>
              </a:rPr>
              <a:t>Contenuto e iter approvativo</a:t>
            </a:r>
          </a:p>
        </p:txBody>
      </p:sp>
      <p:sp>
        <p:nvSpPr>
          <p:cNvPr id="33" name="ACET">
            <a:extLst>
              <a:ext uri="{FF2B5EF4-FFF2-40B4-BE49-F238E27FC236}">
                <a16:creationId xmlns:a16="http://schemas.microsoft.com/office/drawing/2014/main" id="{4B974384-01AD-4068-BA83-2294EB379C9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50535" y="3371101"/>
            <a:ext cx="5470378" cy="29020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 panose="020F0502020204030204" pitchFamily="34" charset="0"/>
              </a:rPr>
              <a:t>Fabbisogni /risorse per attività in conto investimenti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 panose="020F0502020204030204" pitchFamily="34" charset="0"/>
              </a:rPr>
              <a:t>(Manutenzione Straordinaria)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1C2B6027-5866-40EE-A1E6-E291ACBD214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678" b="11202"/>
          <a:stretch/>
        </p:blipFill>
        <p:spPr>
          <a:xfrm>
            <a:off x="7524082" y="1926145"/>
            <a:ext cx="3682303" cy="1274459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6FD07928-FCF9-420C-95D7-876D36C4C7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2786"/>
          <a:stretch/>
        </p:blipFill>
        <p:spPr>
          <a:xfrm>
            <a:off x="7524082" y="3990910"/>
            <a:ext cx="3682303" cy="1888603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E7D2E06A-F7B0-434C-B080-4A9F99C4DF7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303" r="24760" b="12786"/>
          <a:stretch/>
        </p:blipFill>
        <p:spPr>
          <a:xfrm>
            <a:off x="6227197" y="3990910"/>
            <a:ext cx="1443242" cy="1888602"/>
          </a:xfrm>
          <a:prstGeom prst="rect">
            <a:avLst/>
          </a:prstGeom>
        </p:spPr>
      </p:pic>
      <p:sp>
        <p:nvSpPr>
          <p:cNvPr id="24" name="Rettangolo 23"/>
          <p:cNvSpPr/>
          <p:nvPr/>
        </p:nvSpPr>
        <p:spPr>
          <a:xfrm rot="20079340">
            <a:off x="6523962" y="4986195"/>
            <a:ext cx="933794" cy="36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Segnaposto contenuto 1"/>
          <p:cNvSpPr txBox="1">
            <a:spLocks/>
          </p:cNvSpPr>
          <p:nvPr/>
        </p:nvSpPr>
        <p:spPr bwMode="auto">
          <a:xfrm>
            <a:off x="407368" y="-195467"/>
            <a:ext cx="5076874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800" b="1" i="0" u="none" strike="noStrike" kern="1200" cap="none" spc="0" normalizeH="0" baseline="0" noProof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ED876ADB-55AD-0C62-DF13-657B2AB387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l Contratto di Programma parte Servizi 2022-2026</a:t>
            </a:r>
          </a:p>
        </p:txBody>
      </p:sp>
      <p:sp>
        <p:nvSpPr>
          <p:cNvPr id="8" name="Segnaposto contenuto 7">
            <a:extLst>
              <a:ext uri="{FF2B5EF4-FFF2-40B4-BE49-F238E27FC236}">
                <a16:creationId xmlns:a16="http://schemas.microsoft.com/office/drawing/2014/main" id="{CD690F01-1BE0-86A1-0F96-3EB29CE691DF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ggetto del</a:t>
            </a:r>
            <a:r>
              <a:rPr kumimoji="0" lang="it-IT" sz="2000" b="1" i="0" u="none" strike="noStrike" kern="1200" cap="none" spc="0" normalizeH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ntratto e quadro finanziario</a:t>
            </a: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endParaRPr lang="it-IT"/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07FBE3A6-460F-4B4A-B4F4-459E362E27EB}"/>
              </a:ext>
            </a:extLst>
          </p:cNvPr>
          <p:cNvGrpSpPr/>
          <p:nvPr/>
        </p:nvGrpSpPr>
        <p:grpSpPr>
          <a:xfrm>
            <a:off x="490300" y="2665416"/>
            <a:ext cx="5268442" cy="2846181"/>
            <a:chOff x="490300" y="3217685"/>
            <a:chExt cx="5268442" cy="2617199"/>
          </a:xfrm>
        </p:grpSpPr>
        <p:pic>
          <p:nvPicPr>
            <p:cNvPr id="35" name="Immagine 34">
              <a:extLst>
                <a:ext uri="{FF2B5EF4-FFF2-40B4-BE49-F238E27FC236}">
                  <a16:creationId xmlns:a16="http://schemas.microsoft.com/office/drawing/2014/main" id="{0354EE8B-8471-459E-973C-69EADD4B5C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0300" y="3217685"/>
              <a:ext cx="2686352" cy="1972323"/>
            </a:xfrm>
            <a:prstGeom prst="rect">
              <a:avLst/>
            </a:prstGeom>
          </p:spPr>
        </p:pic>
        <p:pic>
          <p:nvPicPr>
            <p:cNvPr id="36" name="Immagine 35">
              <a:extLst>
                <a:ext uri="{FF2B5EF4-FFF2-40B4-BE49-F238E27FC236}">
                  <a16:creationId xmlns:a16="http://schemas.microsoft.com/office/drawing/2014/main" id="{7614D955-5A62-459F-A70B-57BB5B09AC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48292" y="3239851"/>
              <a:ext cx="2410450" cy="2595033"/>
            </a:xfrm>
            <a:prstGeom prst="rect">
              <a:avLst/>
            </a:prstGeom>
          </p:spPr>
        </p:pic>
      </p:grpSp>
      <p:sp>
        <p:nvSpPr>
          <p:cNvPr id="10" name="Rettangolo 9">
            <a:extLst>
              <a:ext uri="{FF2B5EF4-FFF2-40B4-BE49-F238E27FC236}">
                <a16:creationId xmlns:a16="http://schemas.microsoft.com/office/drawing/2014/main" id="{7A6AAAF3-B806-940F-EC3D-6363265F9FB5}"/>
              </a:ext>
            </a:extLst>
          </p:cNvPr>
          <p:cNvSpPr/>
          <p:nvPr/>
        </p:nvSpPr>
        <p:spPr>
          <a:xfrm>
            <a:off x="305668" y="5333718"/>
            <a:ext cx="5440718" cy="9787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 il nuovo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ratto di Programma Parte Servizi (CdP-S)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no state contrattualizzate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10 miliardi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 nuove risorse stanziate dalla Legge di Bilancio 2022 per il programma di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utenzione ordinaria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ordinaria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074435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1BB4FB7-F456-45BC-999B-CAED9C208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2379133"/>
            <a:ext cx="11176620" cy="866367"/>
          </a:xfrm>
        </p:spPr>
        <p:txBody>
          <a:bodyPr/>
          <a:lstStyle/>
          <a:p>
            <a:r>
              <a:rPr lang="it-IT"/>
              <a:t>Focus CdP-Investimenti 2022-2026</a:t>
            </a:r>
          </a:p>
        </p:txBody>
      </p:sp>
    </p:spTree>
    <p:extLst>
      <p:ext uri="{BB962C8B-B14F-4D97-AF65-F5344CB8AC3E}">
        <p14:creationId xmlns:p14="http://schemas.microsoft.com/office/powerpoint/2010/main" val="1518274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olo 1">
            <a:extLst>
              <a:ext uri="{FF2B5EF4-FFF2-40B4-BE49-F238E27FC236}">
                <a16:creationId xmlns:a16="http://schemas.microsoft.com/office/drawing/2014/main" id="{81BC49D0-C27E-4061-9D61-92BF6A79E13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07368" y="-209597"/>
            <a:ext cx="11176620" cy="866367"/>
          </a:xfrm>
        </p:spPr>
        <p:txBody>
          <a:bodyPr/>
          <a:lstStyle/>
          <a:p>
            <a:r>
              <a:rPr lang="it-IT" sz="2800">
                <a:solidFill>
                  <a:srgbClr val="C8113D"/>
                </a:solidFill>
              </a:rPr>
              <a:t>Il Gestore dell’Infrastruttura Ferroviaria Nazionale</a:t>
            </a:r>
            <a:endParaRPr lang="it-IT"/>
          </a:p>
        </p:txBody>
      </p: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751D3040-9822-480D-9121-7480D386CED7}"/>
              </a:ext>
            </a:extLst>
          </p:cNvPr>
          <p:cNvGrpSpPr/>
          <p:nvPr/>
        </p:nvGrpSpPr>
        <p:grpSpPr>
          <a:xfrm>
            <a:off x="444242" y="1041275"/>
            <a:ext cx="3680735" cy="4942783"/>
            <a:chOff x="444242" y="1041275"/>
            <a:chExt cx="4364639" cy="4942783"/>
          </a:xfrm>
        </p:grpSpPr>
        <p:sp>
          <p:nvSpPr>
            <p:cNvPr id="36" name="Rettangolo 27">
              <a:extLst>
                <a:ext uri="{FF2B5EF4-FFF2-40B4-BE49-F238E27FC236}">
                  <a16:creationId xmlns:a16="http://schemas.microsoft.com/office/drawing/2014/main" id="{D651A1B0-7608-4A3A-ACB4-839893CFB602}"/>
                </a:ext>
              </a:extLst>
            </p:cNvPr>
            <p:cNvSpPr/>
            <p:nvPr/>
          </p:nvSpPr>
          <p:spPr>
            <a:xfrm>
              <a:off x="444243" y="1041275"/>
              <a:ext cx="4364638" cy="332005"/>
            </a:xfrm>
            <a:prstGeom prst="rect">
              <a:avLst/>
            </a:prstGeom>
            <a:solidFill>
              <a:srgbClr val="DC002E"/>
            </a:solidFill>
            <a:ln w="9528" cap="flat">
              <a:solidFill>
                <a:srgbClr val="DC002E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1" compatLnSpc="1">
              <a:noAutofit/>
            </a:bodyPr>
            <a:lstStyle/>
            <a:p>
              <a:pPr marL="0" marR="0" lvl="0" indent="0" algn="ctr" defTabSz="89535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Mission </a:t>
              </a:r>
            </a:p>
          </p:txBody>
        </p:sp>
        <p:sp>
          <p:nvSpPr>
            <p:cNvPr id="37" name="Rettangolo 31">
              <a:extLst>
                <a:ext uri="{FF2B5EF4-FFF2-40B4-BE49-F238E27FC236}">
                  <a16:creationId xmlns:a16="http://schemas.microsoft.com/office/drawing/2014/main" id="{FF3C7C3C-BE8D-4F86-B5F6-9F84D9138529}"/>
                </a:ext>
              </a:extLst>
            </p:cNvPr>
            <p:cNvSpPr/>
            <p:nvPr/>
          </p:nvSpPr>
          <p:spPr>
            <a:xfrm>
              <a:off x="444242" y="1373279"/>
              <a:ext cx="4364639" cy="4610779"/>
            </a:xfrm>
            <a:prstGeom prst="rect">
              <a:avLst/>
            </a:prstGeom>
            <a:noFill/>
            <a:ln w="12701" cap="flat">
              <a:solidFill>
                <a:srgbClr val="DC002E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ttangolo con angoli arrotondati 3">
              <a:extLst>
                <a:ext uri="{FF2B5EF4-FFF2-40B4-BE49-F238E27FC236}">
                  <a16:creationId xmlns:a16="http://schemas.microsoft.com/office/drawing/2014/main" id="{B5939BB2-D62D-45BF-9E4B-09A77E278071}"/>
                </a:ext>
              </a:extLst>
            </p:cNvPr>
            <p:cNvSpPr/>
            <p:nvPr/>
          </p:nvSpPr>
          <p:spPr>
            <a:xfrm>
              <a:off x="873555" y="1668066"/>
              <a:ext cx="1178407" cy="1056013"/>
            </a:xfrm>
            <a:custGeom>
              <a:avLst>
                <a:gd name="f0" fmla="val 0"/>
              </a:avLst>
              <a:gdLst>
                <a:gd name="f1" fmla="val 10800000"/>
                <a:gd name="f2" fmla="val 5400000"/>
                <a:gd name="f3" fmla="val 1620000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val 45"/>
                <a:gd name="f10" fmla="val 10800"/>
                <a:gd name="f11" fmla="val -2147483647"/>
                <a:gd name="f12" fmla="val 2147483647"/>
                <a:gd name="f13" fmla="abs f4"/>
                <a:gd name="f14" fmla="abs f5"/>
                <a:gd name="f15" fmla="abs f6"/>
                <a:gd name="f16" fmla="*/ f8 1 180"/>
                <a:gd name="f17" fmla="pin 0 f0 10800"/>
                <a:gd name="f18" fmla="+- 0 0 f2"/>
                <a:gd name="f19" fmla="?: f13 f4 1"/>
                <a:gd name="f20" fmla="?: f14 f5 1"/>
                <a:gd name="f21" fmla="?: f15 f6 1"/>
                <a:gd name="f22" fmla="*/ f9 f16 1"/>
                <a:gd name="f23" fmla="+- f7 f17 0"/>
                <a:gd name="f24" fmla="*/ f19 1 21600"/>
                <a:gd name="f25" fmla="*/ f20 1 21600"/>
                <a:gd name="f26" fmla="*/ 21600 f19 1"/>
                <a:gd name="f27" fmla="*/ 21600 f20 1"/>
                <a:gd name="f28" fmla="+- 0 0 f22"/>
                <a:gd name="f29" fmla="min f25 f24"/>
                <a:gd name="f30" fmla="*/ f26 1 f21"/>
                <a:gd name="f31" fmla="*/ f27 1 f21"/>
                <a:gd name="f32" fmla="*/ f28 f1 1"/>
                <a:gd name="f33" fmla="*/ f32 1 f8"/>
                <a:gd name="f34" fmla="+- f31 0 f17"/>
                <a:gd name="f35" fmla="+- f30 0 f17"/>
                <a:gd name="f36" fmla="*/ f17 f29 1"/>
                <a:gd name="f37" fmla="*/ f7 f29 1"/>
                <a:gd name="f38" fmla="*/ f23 f29 1"/>
                <a:gd name="f39" fmla="*/ f31 f29 1"/>
                <a:gd name="f40" fmla="*/ f30 f29 1"/>
                <a:gd name="f41" fmla="+- f33 0 f2"/>
                <a:gd name="f42" fmla="+- f37 0 f38"/>
                <a:gd name="f43" fmla="+- f38 0 f37"/>
                <a:gd name="f44" fmla="*/ f34 f29 1"/>
                <a:gd name="f45" fmla="*/ f35 f29 1"/>
                <a:gd name="f46" fmla="cos 1 f41"/>
                <a:gd name="f47" fmla="abs f42"/>
                <a:gd name="f48" fmla="abs f43"/>
                <a:gd name="f49" fmla="?: f42 f18 f2"/>
                <a:gd name="f50" fmla="?: f42 f2 f18"/>
                <a:gd name="f51" fmla="?: f42 f3 f2"/>
                <a:gd name="f52" fmla="?: f42 f2 f3"/>
                <a:gd name="f53" fmla="+- f39 0 f44"/>
                <a:gd name="f54" fmla="?: f43 f18 f2"/>
                <a:gd name="f55" fmla="?: f43 f2 f18"/>
                <a:gd name="f56" fmla="+- f40 0 f45"/>
                <a:gd name="f57" fmla="+- f44 0 f39"/>
                <a:gd name="f58" fmla="+- f45 0 f40"/>
                <a:gd name="f59" fmla="?: f42 0 f1"/>
                <a:gd name="f60" fmla="?: f42 f1 0"/>
                <a:gd name="f61" fmla="+- 0 0 f46"/>
                <a:gd name="f62" fmla="?: f42 f52 f51"/>
                <a:gd name="f63" fmla="?: f42 f51 f52"/>
                <a:gd name="f64" fmla="?: f43 f50 f49"/>
                <a:gd name="f65" fmla="abs f53"/>
                <a:gd name="f66" fmla="?: f53 0 f1"/>
                <a:gd name="f67" fmla="?: f53 f1 0"/>
                <a:gd name="f68" fmla="?: f53 f54 f55"/>
                <a:gd name="f69" fmla="abs f56"/>
                <a:gd name="f70" fmla="abs f57"/>
                <a:gd name="f71" fmla="?: f56 f18 f2"/>
                <a:gd name="f72" fmla="?: f56 f2 f18"/>
                <a:gd name="f73" fmla="?: f56 f3 f2"/>
                <a:gd name="f74" fmla="?: f56 f2 f3"/>
                <a:gd name="f75" fmla="abs f58"/>
                <a:gd name="f76" fmla="?: f58 f18 f2"/>
                <a:gd name="f77" fmla="?: f58 f2 f18"/>
                <a:gd name="f78" fmla="?: f58 f60 f59"/>
                <a:gd name="f79" fmla="?: f58 f59 f60"/>
                <a:gd name="f80" fmla="*/ f17 f61 1"/>
                <a:gd name="f81" fmla="?: f43 f63 f62"/>
                <a:gd name="f82" fmla="?: f43 f67 f66"/>
                <a:gd name="f83" fmla="?: f43 f66 f67"/>
                <a:gd name="f84" fmla="?: f56 f74 f73"/>
                <a:gd name="f85" fmla="?: f56 f73 f74"/>
                <a:gd name="f86" fmla="?: f57 f72 f71"/>
                <a:gd name="f87" fmla="?: f42 f78 f79"/>
                <a:gd name="f88" fmla="?: f42 f76 f77"/>
                <a:gd name="f89" fmla="*/ f80 3163 1"/>
                <a:gd name="f90" fmla="?: f53 f82 f83"/>
                <a:gd name="f91" fmla="?: f57 f85 f84"/>
                <a:gd name="f92" fmla="*/ f89 1 7636"/>
                <a:gd name="f93" fmla="+- f7 f92 0"/>
                <a:gd name="f94" fmla="+- f30 0 f92"/>
                <a:gd name="f95" fmla="+- f31 0 f92"/>
                <a:gd name="f96" fmla="*/ f93 f29 1"/>
                <a:gd name="f97" fmla="*/ f94 f29 1"/>
                <a:gd name="f98" fmla="*/ f95 f29 1"/>
              </a:gdLst>
              <a:ahLst>
                <a:ahXY gdRefX="f0" minX="f7" maxX="f10">
                  <a:pos x="f36" y="f37"/>
                </a:ahXY>
              </a:ahLst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96" t="f96" r="f97" b="f98"/>
              <a:pathLst>
                <a:path>
                  <a:moveTo>
                    <a:pt x="f38" y="f37"/>
                  </a:moveTo>
                  <a:arcTo wR="f47" hR="f48" stAng="f81" swAng="f64"/>
                  <a:lnTo>
                    <a:pt x="f37" y="f44"/>
                  </a:lnTo>
                  <a:arcTo wR="f48" hR="f65" stAng="f90" swAng="f68"/>
                  <a:lnTo>
                    <a:pt x="f45" y="f39"/>
                  </a:lnTo>
                  <a:arcTo wR="f69" hR="f70" stAng="f91" swAng="f86"/>
                  <a:lnTo>
                    <a:pt x="f40" y="f38"/>
                  </a:lnTo>
                  <a:arcTo wR="f75" hR="f47" stAng="f87" swAng="f88"/>
                  <a:close/>
                </a:path>
              </a:pathLst>
            </a:custGeom>
            <a:solidFill>
              <a:schemeClr val="bg2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TTO DI CONCESSIONE</a:t>
              </a: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CasellaDiTesto 43">
              <a:extLst>
                <a:ext uri="{FF2B5EF4-FFF2-40B4-BE49-F238E27FC236}">
                  <a16:creationId xmlns:a16="http://schemas.microsoft.com/office/drawing/2014/main" id="{61426FCE-1F9F-43F8-94D7-43C413A6EF94}"/>
                </a:ext>
              </a:extLst>
            </p:cNvPr>
            <p:cNvSpPr txBox="1"/>
            <p:nvPr/>
          </p:nvSpPr>
          <p:spPr>
            <a:xfrm>
              <a:off x="2110576" y="1740865"/>
              <a:ext cx="2683295" cy="101566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'Atto di Concessione (DM 138-T/2000) definisce la missione di RFI, quale gestore unico dell‘Infrastruttura Ferroviaria Nazionale (IFN) alle condizioni stabilite dalla specifica normativa di settore. </a:t>
              </a:r>
            </a:p>
          </p:txBody>
        </p:sp>
        <p:sp>
          <p:nvSpPr>
            <p:cNvPr id="39" name="CasellaDiTesto 70">
              <a:extLst>
                <a:ext uri="{FF2B5EF4-FFF2-40B4-BE49-F238E27FC236}">
                  <a16:creationId xmlns:a16="http://schemas.microsoft.com/office/drawing/2014/main" id="{B841890E-5688-4F11-BDFD-668C7C70E0E3}"/>
                </a:ext>
              </a:extLst>
            </p:cNvPr>
            <p:cNvSpPr txBox="1"/>
            <p:nvPr/>
          </p:nvSpPr>
          <p:spPr>
            <a:xfrm>
              <a:off x="2110576" y="3243920"/>
              <a:ext cx="2683295" cy="707886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ll’oggetto della concessione c’è l’obbligo di mantenimento in efficienza e in sicurezza, nonché di sviluppo dell’infrastruttura. </a:t>
              </a:r>
            </a:p>
          </p:txBody>
        </p:sp>
        <p:sp>
          <p:nvSpPr>
            <p:cNvPr id="40" name="Rettangolo con angoli arrotondati 71">
              <a:extLst>
                <a:ext uri="{FF2B5EF4-FFF2-40B4-BE49-F238E27FC236}">
                  <a16:creationId xmlns:a16="http://schemas.microsoft.com/office/drawing/2014/main" id="{293C1DAD-3067-4C2D-A7BD-849E7FD45D6D}"/>
                </a:ext>
              </a:extLst>
            </p:cNvPr>
            <p:cNvSpPr/>
            <p:nvPr/>
          </p:nvSpPr>
          <p:spPr>
            <a:xfrm>
              <a:off x="884416" y="3183498"/>
              <a:ext cx="1174222" cy="920846"/>
            </a:xfrm>
            <a:custGeom>
              <a:avLst>
                <a:gd name="f0" fmla="val 0"/>
              </a:avLst>
              <a:gdLst>
                <a:gd name="f1" fmla="val 10800000"/>
                <a:gd name="f2" fmla="val 5400000"/>
                <a:gd name="f3" fmla="val 1620000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val 45"/>
                <a:gd name="f10" fmla="val 10800"/>
                <a:gd name="f11" fmla="val -2147483647"/>
                <a:gd name="f12" fmla="val 2147483647"/>
                <a:gd name="f13" fmla="abs f4"/>
                <a:gd name="f14" fmla="abs f5"/>
                <a:gd name="f15" fmla="abs f6"/>
                <a:gd name="f16" fmla="*/ f8 1 180"/>
                <a:gd name="f17" fmla="pin 0 f0 10800"/>
                <a:gd name="f18" fmla="+- 0 0 f2"/>
                <a:gd name="f19" fmla="?: f13 f4 1"/>
                <a:gd name="f20" fmla="?: f14 f5 1"/>
                <a:gd name="f21" fmla="?: f15 f6 1"/>
                <a:gd name="f22" fmla="*/ f9 f16 1"/>
                <a:gd name="f23" fmla="+- f7 f17 0"/>
                <a:gd name="f24" fmla="*/ f19 1 21600"/>
                <a:gd name="f25" fmla="*/ f20 1 21600"/>
                <a:gd name="f26" fmla="*/ 21600 f19 1"/>
                <a:gd name="f27" fmla="*/ 21600 f20 1"/>
                <a:gd name="f28" fmla="+- 0 0 f22"/>
                <a:gd name="f29" fmla="min f25 f24"/>
                <a:gd name="f30" fmla="*/ f26 1 f21"/>
                <a:gd name="f31" fmla="*/ f27 1 f21"/>
                <a:gd name="f32" fmla="*/ f28 f1 1"/>
                <a:gd name="f33" fmla="*/ f32 1 f8"/>
                <a:gd name="f34" fmla="+- f31 0 f17"/>
                <a:gd name="f35" fmla="+- f30 0 f17"/>
                <a:gd name="f36" fmla="*/ f17 f29 1"/>
                <a:gd name="f37" fmla="*/ f7 f29 1"/>
                <a:gd name="f38" fmla="*/ f23 f29 1"/>
                <a:gd name="f39" fmla="*/ f31 f29 1"/>
                <a:gd name="f40" fmla="*/ f30 f29 1"/>
                <a:gd name="f41" fmla="+- f33 0 f2"/>
                <a:gd name="f42" fmla="+- f37 0 f38"/>
                <a:gd name="f43" fmla="+- f38 0 f37"/>
                <a:gd name="f44" fmla="*/ f34 f29 1"/>
                <a:gd name="f45" fmla="*/ f35 f29 1"/>
                <a:gd name="f46" fmla="cos 1 f41"/>
                <a:gd name="f47" fmla="abs f42"/>
                <a:gd name="f48" fmla="abs f43"/>
                <a:gd name="f49" fmla="?: f42 f18 f2"/>
                <a:gd name="f50" fmla="?: f42 f2 f18"/>
                <a:gd name="f51" fmla="?: f42 f3 f2"/>
                <a:gd name="f52" fmla="?: f42 f2 f3"/>
                <a:gd name="f53" fmla="+- f39 0 f44"/>
                <a:gd name="f54" fmla="?: f43 f18 f2"/>
                <a:gd name="f55" fmla="?: f43 f2 f18"/>
                <a:gd name="f56" fmla="+- f40 0 f45"/>
                <a:gd name="f57" fmla="+- f44 0 f39"/>
                <a:gd name="f58" fmla="+- f45 0 f40"/>
                <a:gd name="f59" fmla="?: f42 0 f1"/>
                <a:gd name="f60" fmla="?: f42 f1 0"/>
                <a:gd name="f61" fmla="+- 0 0 f46"/>
                <a:gd name="f62" fmla="?: f42 f52 f51"/>
                <a:gd name="f63" fmla="?: f42 f51 f52"/>
                <a:gd name="f64" fmla="?: f43 f50 f49"/>
                <a:gd name="f65" fmla="abs f53"/>
                <a:gd name="f66" fmla="?: f53 0 f1"/>
                <a:gd name="f67" fmla="?: f53 f1 0"/>
                <a:gd name="f68" fmla="?: f53 f54 f55"/>
                <a:gd name="f69" fmla="abs f56"/>
                <a:gd name="f70" fmla="abs f57"/>
                <a:gd name="f71" fmla="?: f56 f18 f2"/>
                <a:gd name="f72" fmla="?: f56 f2 f18"/>
                <a:gd name="f73" fmla="?: f56 f3 f2"/>
                <a:gd name="f74" fmla="?: f56 f2 f3"/>
                <a:gd name="f75" fmla="abs f58"/>
                <a:gd name="f76" fmla="?: f58 f18 f2"/>
                <a:gd name="f77" fmla="?: f58 f2 f18"/>
                <a:gd name="f78" fmla="?: f58 f60 f59"/>
                <a:gd name="f79" fmla="?: f58 f59 f60"/>
                <a:gd name="f80" fmla="*/ f17 f61 1"/>
                <a:gd name="f81" fmla="?: f43 f63 f62"/>
                <a:gd name="f82" fmla="?: f43 f67 f66"/>
                <a:gd name="f83" fmla="?: f43 f66 f67"/>
                <a:gd name="f84" fmla="?: f56 f74 f73"/>
                <a:gd name="f85" fmla="?: f56 f73 f74"/>
                <a:gd name="f86" fmla="?: f57 f72 f71"/>
                <a:gd name="f87" fmla="?: f42 f78 f79"/>
                <a:gd name="f88" fmla="?: f42 f76 f77"/>
                <a:gd name="f89" fmla="*/ f80 3163 1"/>
                <a:gd name="f90" fmla="?: f53 f82 f83"/>
                <a:gd name="f91" fmla="?: f57 f85 f84"/>
                <a:gd name="f92" fmla="*/ f89 1 7636"/>
                <a:gd name="f93" fmla="+- f7 f92 0"/>
                <a:gd name="f94" fmla="+- f30 0 f92"/>
                <a:gd name="f95" fmla="+- f31 0 f92"/>
                <a:gd name="f96" fmla="*/ f93 f29 1"/>
                <a:gd name="f97" fmla="*/ f94 f29 1"/>
                <a:gd name="f98" fmla="*/ f95 f29 1"/>
              </a:gdLst>
              <a:ahLst>
                <a:ahXY gdRefX="f0" minX="f7" maxX="f10">
                  <a:pos x="f36" y="f37"/>
                </a:ahXY>
              </a:ahLst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96" t="f96" r="f97" b="f98"/>
              <a:pathLst>
                <a:path>
                  <a:moveTo>
                    <a:pt x="f38" y="f37"/>
                  </a:moveTo>
                  <a:arcTo wR="f47" hR="f48" stAng="f81" swAng="f64"/>
                  <a:lnTo>
                    <a:pt x="f37" y="f44"/>
                  </a:lnTo>
                  <a:arcTo wR="f48" hR="f65" stAng="f90" swAng="f68"/>
                  <a:lnTo>
                    <a:pt x="f45" y="f39"/>
                  </a:lnTo>
                  <a:arcTo wR="f69" hR="f70" stAng="f91" swAng="f86"/>
                  <a:lnTo>
                    <a:pt x="f40" y="f38"/>
                  </a:lnTo>
                  <a:arcTo wR="f75" hR="f47" stAng="f87" swAng="f88"/>
                  <a:close/>
                </a:path>
              </a:pathLst>
            </a:custGeom>
            <a:solidFill>
              <a:schemeClr val="bg2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INCIPALI ATTIVITA’</a:t>
              </a:r>
              <a:endPara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ttangolo con angoli arrotondati 72">
              <a:extLst>
                <a:ext uri="{FF2B5EF4-FFF2-40B4-BE49-F238E27FC236}">
                  <a16:creationId xmlns:a16="http://schemas.microsoft.com/office/drawing/2014/main" id="{D9AB1858-9570-4914-B48A-C54F31900918}"/>
                </a:ext>
              </a:extLst>
            </p:cNvPr>
            <p:cNvSpPr/>
            <p:nvPr/>
          </p:nvSpPr>
          <p:spPr>
            <a:xfrm>
              <a:off x="873552" y="4645745"/>
              <a:ext cx="1174222" cy="1247764"/>
            </a:xfrm>
            <a:custGeom>
              <a:avLst>
                <a:gd name="f0" fmla="val 0"/>
              </a:avLst>
              <a:gdLst>
                <a:gd name="f1" fmla="val 10800000"/>
                <a:gd name="f2" fmla="val 5400000"/>
                <a:gd name="f3" fmla="val 1620000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val 45"/>
                <a:gd name="f10" fmla="val 10800"/>
                <a:gd name="f11" fmla="val -2147483647"/>
                <a:gd name="f12" fmla="val 2147483647"/>
                <a:gd name="f13" fmla="abs f4"/>
                <a:gd name="f14" fmla="abs f5"/>
                <a:gd name="f15" fmla="abs f6"/>
                <a:gd name="f16" fmla="*/ f8 1 180"/>
                <a:gd name="f17" fmla="pin 0 f0 10800"/>
                <a:gd name="f18" fmla="+- 0 0 f2"/>
                <a:gd name="f19" fmla="?: f13 f4 1"/>
                <a:gd name="f20" fmla="?: f14 f5 1"/>
                <a:gd name="f21" fmla="?: f15 f6 1"/>
                <a:gd name="f22" fmla="*/ f9 f16 1"/>
                <a:gd name="f23" fmla="+- f7 f17 0"/>
                <a:gd name="f24" fmla="*/ f19 1 21600"/>
                <a:gd name="f25" fmla="*/ f20 1 21600"/>
                <a:gd name="f26" fmla="*/ 21600 f19 1"/>
                <a:gd name="f27" fmla="*/ 21600 f20 1"/>
                <a:gd name="f28" fmla="+- 0 0 f22"/>
                <a:gd name="f29" fmla="min f25 f24"/>
                <a:gd name="f30" fmla="*/ f26 1 f21"/>
                <a:gd name="f31" fmla="*/ f27 1 f21"/>
                <a:gd name="f32" fmla="*/ f28 f1 1"/>
                <a:gd name="f33" fmla="*/ f32 1 f8"/>
                <a:gd name="f34" fmla="+- f31 0 f17"/>
                <a:gd name="f35" fmla="+- f30 0 f17"/>
                <a:gd name="f36" fmla="*/ f17 f29 1"/>
                <a:gd name="f37" fmla="*/ f7 f29 1"/>
                <a:gd name="f38" fmla="*/ f23 f29 1"/>
                <a:gd name="f39" fmla="*/ f31 f29 1"/>
                <a:gd name="f40" fmla="*/ f30 f29 1"/>
                <a:gd name="f41" fmla="+- f33 0 f2"/>
                <a:gd name="f42" fmla="+- f37 0 f38"/>
                <a:gd name="f43" fmla="+- f38 0 f37"/>
                <a:gd name="f44" fmla="*/ f34 f29 1"/>
                <a:gd name="f45" fmla="*/ f35 f29 1"/>
                <a:gd name="f46" fmla="cos 1 f41"/>
                <a:gd name="f47" fmla="abs f42"/>
                <a:gd name="f48" fmla="abs f43"/>
                <a:gd name="f49" fmla="?: f42 f18 f2"/>
                <a:gd name="f50" fmla="?: f42 f2 f18"/>
                <a:gd name="f51" fmla="?: f42 f3 f2"/>
                <a:gd name="f52" fmla="?: f42 f2 f3"/>
                <a:gd name="f53" fmla="+- f39 0 f44"/>
                <a:gd name="f54" fmla="?: f43 f18 f2"/>
                <a:gd name="f55" fmla="?: f43 f2 f18"/>
                <a:gd name="f56" fmla="+- f40 0 f45"/>
                <a:gd name="f57" fmla="+- f44 0 f39"/>
                <a:gd name="f58" fmla="+- f45 0 f40"/>
                <a:gd name="f59" fmla="?: f42 0 f1"/>
                <a:gd name="f60" fmla="?: f42 f1 0"/>
                <a:gd name="f61" fmla="+- 0 0 f46"/>
                <a:gd name="f62" fmla="?: f42 f52 f51"/>
                <a:gd name="f63" fmla="?: f42 f51 f52"/>
                <a:gd name="f64" fmla="?: f43 f50 f49"/>
                <a:gd name="f65" fmla="abs f53"/>
                <a:gd name="f66" fmla="?: f53 0 f1"/>
                <a:gd name="f67" fmla="?: f53 f1 0"/>
                <a:gd name="f68" fmla="?: f53 f54 f55"/>
                <a:gd name="f69" fmla="abs f56"/>
                <a:gd name="f70" fmla="abs f57"/>
                <a:gd name="f71" fmla="?: f56 f18 f2"/>
                <a:gd name="f72" fmla="?: f56 f2 f18"/>
                <a:gd name="f73" fmla="?: f56 f3 f2"/>
                <a:gd name="f74" fmla="?: f56 f2 f3"/>
                <a:gd name="f75" fmla="abs f58"/>
                <a:gd name="f76" fmla="?: f58 f18 f2"/>
                <a:gd name="f77" fmla="?: f58 f2 f18"/>
                <a:gd name="f78" fmla="?: f58 f60 f59"/>
                <a:gd name="f79" fmla="?: f58 f59 f60"/>
                <a:gd name="f80" fmla="*/ f17 f61 1"/>
                <a:gd name="f81" fmla="?: f43 f63 f62"/>
                <a:gd name="f82" fmla="?: f43 f67 f66"/>
                <a:gd name="f83" fmla="?: f43 f66 f67"/>
                <a:gd name="f84" fmla="?: f56 f74 f73"/>
                <a:gd name="f85" fmla="?: f56 f73 f74"/>
                <a:gd name="f86" fmla="?: f57 f72 f71"/>
                <a:gd name="f87" fmla="?: f42 f78 f79"/>
                <a:gd name="f88" fmla="?: f42 f76 f77"/>
                <a:gd name="f89" fmla="*/ f80 3163 1"/>
                <a:gd name="f90" fmla="?: f53 f82 f83"/>
                <a:gd name="f91" fmla="?: f57 f85 f84"/>
                <a:gd name="f92" fmla="*/ f89 1 7636"/>
                <a:gd name="f93" fmla="+- f7 f92 0"/>
                <a:gd name="f94" fmla="+- f30 0 f92"/>
                <a:gd name="f95" fmla="+- f31 0 f92"/>
                <a:gd name="f96" fmla="*/ f93 f29 1"/>
                <a:gd name="f97" fmla="*/ f94 f29 1"/>
                <a:gd name="f98" fmla="*/ f95 f29 1"/>
              </a:gdLst>
              <a:ahLst>
                <a:ahXY gdRefX="f0" minX="f7" maxX="f10">
                  <a:pos x="f36" y="f37"/>
                </a:ahXY>
              </a:ahLst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</a:cxnLst>
              <a:rect l="f96" t="f96" r="f97" b="f98"/>
              <a:pathLst>
                <a:path>
                  <a:moveTo>
                    <a:pt x="f38" y="f37"/>
                  </a:moveTo>
                  <a:arcTo wR="f47" hR="f48" stAng="f81" swAng="f64"/>
                  <a:lnTo>
                    <a:pt x="f37" y="f44"/>
                  </a:lnTo>
                  <a:arcTo wR="f48" hR="f65" stAng="f90" swAng="f68"/>
                  <a:lnTo>
                    <a:pt x="f45" y="f39"/>
                  </a:lnTo>
                  <a:arcTo wR="f69" hR="f70" stAng="f91" swAng="f86"/>
                  <a:lnTo>
                    <a:pt x="f40" y="f38"/>
                  </a:lnTo>
                  <a:arcTo wR="f75" hR="f47" stAng="f87" swAng="f88"/>
                  <a:close/>
                </a:path>
              </a:pathLst>
            </a:custGeom>
            <a:solidFill>
              <a:schemeClr val="bg2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TRATTO DI PROGRAMMA</a:t>
              </a:r>
            </a:p>
          </p:txBody>
        </p:sp>
        <p:sp>
          <p:nvSpPr>
            <p:cNvPr id="46" name="CasellaDiTesto 70">
              <a:extLst>
                <a:ext uri="{FF2B5EF4-FFF2-40B4-BE49-F238E27FC236}">
                  <a16:creationId xmlns:a16="http://schemas.microsoft.com/office/drawing/2014/main" id="{58C05052-8AC8-4241-AABD-05B5EE8036FE}"/>
                </a:ext>
              </a:extLst>
            </p:cNvPr>
            <p:cNvSpPr txBox="1"/>
            <p:nvPr/>
          </p:nvSpPr>
          <p:spPr>
            <a:xfrm>
              <a:off x="2089195" y="4818508"/>
              <a:ext cx="2683295" cy="86177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a concessione individua nel Contratto di Programma (CdP) fra RFI e MIMS lo strumento con il quale vengono definite  le modalità di finanziamento geli investimenti ferroviari.</a:t>
              </a:r>
            </a:p>
          </p:txBody>
        </p:sp>
        <p:sp>
          <p:nvSpPr>
            <p:cNvPr id="28" name="Ovale 27">
              <a:extLst>
                <a:ext uri="{FF2B5EF4-FFF2-40B4-BE49-F238E27FC236}">
                  <a16:creationId xmlns:a16="http://schemas.microsoft.com/office/drawing/2014/main" id="{D9719696-E462-48E7-93EC-6B3FE32F2F2A}"/>
                </a:ext>
              </a:extLst>
            </p:cNvPr>
            <p:cNvSpPr/>
            <p:nvPr/>
          </p:nvSpPr>
          <p:spPr>
            <a:xfrm>
              <a:off x="580066" y="1935322"/>
              <a:ext cx="532800" cy="53166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Ovale 46">
              <a:extLst>
                <a:ext uri="{FF2B5EF4-FFF2-40B4-BE49-F238E27FC236}">
                  <a16:creationId xmlns:a16="http://schemas.microsoft.com/office/drawing/2014/main" id="{1B985CA8-9A88-4AFE-9CD8-6F4028E319FE}"/>
                </a:ext>
              </a:extLst>
            </p:cNvPr>
            <p:cNvSpPr/>
            <p:nvPr/>
          </p:nvSpPr>
          <p:spPr>
            <a:xfrm>
              <a:off x="525670" y="3342944"/>
              <a:ext cx="532800" cy="53166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Ovale 47">
              <a:extLst>
                <a:ext uri="{FF2B5EF4-FFF2-40B4-BE49-F238E27FC236}">
                  <a16:creationId xmlns:a16="http://schemas.microsoft.com/office/drawing/2014/main" id="{76D32C3A-6E2B-4DE2-A209-7631CF3199EA}"/>
                </a:ext>
              </a:extLst>
            </p:cNvPr>
            <p:cNvSpPr/>
            <p:nvPr/>
          </p:nvSpPr>
          <p:spPr>
            <a:xfrm>
              <a:off x="484023" y="5059882"/>
              <a:ext cx="532800" cy="53166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3" name="Immagine 42">
              <a:extLst>
                <a:ext uri="{FF2B5EF4-FFF2-40B4-BE49-F238E27FC236}">
                  <a16:creationId xmlns:a16="http://schemas.microsoft.com/office/drawing/2014/main" id="{6545A451-F7B3-47E9-97B4-D8C636FCE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3872" t="10879" r="23121" b="11802"/>
            <a:stretch>
              <a:fillRect/>
            </a:stretch>
          </p:blipFill>
          <p:spPr>
            <a:xfrm>
              <a:off x="505709" y="1977678"/>
              <a:ext cx="507335" cy="446998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44" name="Immagine 98">
              <a:extLst>
                <a:ext uri="{FF2B5EF4-FFF2-40B4-BE49-F238E27FC236}">
                  <a16:creationId xmlns:a16="http://schemas.microsoft.com/office/drawing/2014/main" id="{EBBF2DFF-7108-4AE9-8448-0FF66DEA5C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 l="16778" t="11985" r="18372" b="20085"/>
            <a:stretch>
              <a:fillRect/>
            </a:stretch>
          </p:blipFill>
          <p:spPr>
            <a:xfrm>
              <a:off x="532416" y="3425108"/>
              <a:ext cx="418367" cy="373071"/>
            </a:xfrm>
            <a:prstGeom prst="rect">
              <a:avLst/>
            </a:prstGeom>
            <a:noFill/>
            <a:ln cap="flat">
              <a:noFill/>
            </a:ln>
          </p:spPr>
        </p:pic>
        <p:pic>
          <p:nvPicPr>
            <p:cNvPr id="45" name="Immagine 99">
              <a:extLst>
                <a:ext uri="{FF2B5EF4-FFF2-40B4-BE49-F238E27FC236}">
                  <a16:creationId xmlns:a16="http://schemas.microsoft.com/office/drawing/2014/main" id="{D20E2180-C246-496F-88B6-9692665974E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grayscl/>
            </a:blip>
            <a:stretch>
              <a:fillRect/>
            </a:stretch>
          </p:blipFill>
          <p:spPr>
            <a:xfrm>
              <a:off x="532417" y="5095216"/>
              <a:ext cx="476214" cy="447137"/>
            </a:xfrm>
            <a:prstGeom prst="rect">
              <a:avLst/>
            </a:prstGeom>
            <a:noFill/>
            <a:ln cap="flat">
              <a:noFill/>
            </a:ln>
          </p:spPr>
        </p:pic>
      </p:grpSp>
      <p:sp>
        <p:nvSpPr>
          <p:cNvPr id="52" name="Rettangolo 36">
            <a:extLst>
              <a:ext uri="{FF2B5EF4-FFF2-40B4-BE49-F238E27FC236}">
                <a16:creationId xmlns:a16="http://schemas.microsoft.com/office/drawing/2014/main" id="{1CED79A6-C7A8-459E-97DC-B7647FFFFD00}"/>
              </a:ext>
            </a:extLst>
          </p:cNvPr>
          <p:cNvSpPr/>
          <p:nvPr/>
        </p:nvSpPr>
        <p:spPr>
          <a:xfrm>
            <a:off x="8359109" y="1419149"/>
            <a:ext cx="3308440" cy="4559734"/>
          </a:xfrm>
          <a:prstGeom prst="rect">
            <a:avLst/>
          </a:prstGeom>
          <a:noFill/>
          <a:ln w="12701" cap="flat">
            <a:solidFill>
              <a:srgbClr val="DC002E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Rettangolo 5">
            <a:extLst>
              <a:ext uri="{FF2B5EF4-FFF2-40B4-BE49-F238E27FC236}">
                <a16:creationId xmlns:a16="http://schemas.microsoft.com/office/drawing/2014/main" id="{4FA82CAF-3C68-4DE7-AD88-F07D98E4DCE1}"/>
              </a:ext>
            </a:extLst>
          </p:cNvPr>
          <p:cNvSpPr/>
          <p:nvPr/>
        </p:nvSpPr>
        <p:spPr>
          <a:xfrm>
            <a:off x="8359109" y="1057257"/>
            <a:ext cx="3308440" cy="351147"/>
          </a:xfrm>
          <a:prstGeom prst="rect">
            <a:avLst/>
          </a:prstGeom>
          <a:solidFill>
            <a:srgbClr val="DC002E"/>
          </a:solidFill>
          <a:ln w="9528" cap="flat">
            <a:solidFill>
              <a:srgbClr val="DC002E"/>
            </a:solidFill>
            <a:prstDash val="solid"/>
            <a:miter/>
          </a:ln>
        </p:spPr>
        <p:txBody>
          <a:bodyPr vert="horz" wrap="square" lIns="76196" tIns="76196" rIns="76196" bIns="76196" anchor="ctr" anchorCtr="1" compatLnSpc="1">
            <a:noAutofit/>
          </a:bodyPr>
          <a:lstStyle/>
          <a:p>
            <a:pPr marL="0" marR="0" lvl="0" indent="0" algn="ctr" defTabSz="89535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Arial Unicode MS" pitchFamily="34"/>
                <a:cs typeface="Arial Unicode MS" pitchFamily="34"/>
              </a:rPr>
              <a:t>A chi vendiamo</a:t>
            </a:r>
          </a:p>
        </p:txBody>
      </p:sp>
      <p:sp>
        <p:nvSpPr>
          <p:cNvPr id="54" name="Rettangolo 33">
            <a:extLst>
              <a:ext uri="{FF2B5EF4-FFF2-40B4-BE49-F238E27FC236}">
                <a16:creationId xmlns:a16="http://schemas.microsoft.com/office/drawing/2014/main" id="{C43AC65C-594C-4406-A198-74D473A5BFE5}"/>
              </a:ext>
            </a:extLst>
          </p:cNvPr>
          <p:cNvSpPr/>
          <p:nvPr/>
        </p:nvSpPr>
        <p:spPr>
          <a:xfrm>
            <a:off x="8366204" y="1452530"/>
            <a:ext cx="3166455" cy="269821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Imprese Ferroviarie titolari di licenza</a:t>
            </a:r>
          </a:p>
        </p:txBody>
      </p:sp>
      <p:sp>
        <p:nvSpPr>
          <p:cNvPr id="55" name="Rettangolo 34">
            <a:extLst>
              <a:ext uri="{FF2B5EF4-FFF2-40B4-BE49-F238E27FC236}">
                <a16:creationId xmlns:a16="http://schemas.microsoft.com/office/drawing/2014/main" id="{EB24711B-AC93-4F71-B1FB-0B83BCFFFE00}"/>
              </a:ext>
            </a:extLst>
          </p:cNvPr>
          <p:cNvSpPr/>
          <p:nvPr/>
        </p:nvSpPr>
        <p:spPr>
          <a:xfrm>
            <a:off x="8390057" y="3634131"/>
            <a:ext cx="1507722" cy="523220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 Richiedenti </a:t>
            </a:r>
          </a:p>
          <a:p>
            <a:pPr marL="176213" marR="0" lvl="0" indent="-176213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</a:t>
            </a:r>
            <a:r>
              <a:rPr kumimoji="0" lang="it-IT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non Imprese Ferroviarie)</a:t>
            </a: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6" name="Gruppo 384">
            <a:extLst>
              <a:ext uri="{FF2B5EF4-FFF2-40B4-BE49-F238E27FC236}">
                <a16:creationId xmlns:a16="http://schemas.microsoft.com/office/drawing/2014/main" id="{29E2DB2C-8C9D-4147-8CDC-73907E68B8A1}"/>
              </a:ext>
            </a:extLst>
          </p:cNvPr>
          <p:cNvGrpSpPr>
            <a:grpSpLocks/>
          </p:cNvGrpSpPr>
          <p:nvPr/>
        </p:nvGrpSpPr>
        <p:grpSpPr bwMode="auto">
          <a:xfrm>
            <a:off x="9922962" y="3585795"/>
            <a:ext cx="1722846" cy="2195988"/>
            <a:chOff x="6030758" y="980464"/>
            <a:chExt cx="5107083" cy="5839233"/>
          </a:xfrm>
          <a:solidFill>
            <a:schemeClr val="tx2"/>
          </a:solidFill>
          <a:effectLst/>
        </p:grpSpPr>
        <p:sp>
          <p:nvSpPr>
            <p:cNvPr id="57" name="Figura a mano libera 238">
              <a:extLst>
                <a:ext uri="{FF2B5EF4-FFF2-40B4-BE49-F238E27FC236}">
                  <a16:creationId xmlns:a16="http://schemas.microsoft.com/office/drawing/2014/main" id="{8D782B4A-763F-4120-B95B-F0A31F8C260D}"/>
                </a:ext>
              </a:extLst>
            </p:cNvPr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igura a mano libera 239">
              <a:extLst>
                <a:ext uri="{FF2B5EF4-FFF2-40B4-BE49-F238E27FC236}">
                  <a16:creationId xmlns:a16="http://schemas.microsoft.com/office/drawing/2014/main" id="{20B489E7-E4B8-4A14-9B64-FBB339A81B2F}"/>
                </a:ext>
              </a:extLst>
            </p:cNvPr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igura a mano libera 240">
              <a:extLst>
                <a:ext uri="{FF2B5EF4-FFF2-40B4-BE49-F238E27FC236}">
                  <a16:creationId xmlns:a16="http://schemas.microsoft.com/office/drawing/2014/main" id="{452C5B4E-3E90-4592-BD81-F10ECE331273}"/>
                </a:ext>
              </a:extLst>
            </p:cNvPr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igura a mano libera 241">
              <a:extLst>
                <a:ext uri="{FF2B5EF4-FFF2-40B4-BE49-F238E27FC236}">
                  <a16:creationId xmlns:a16="http://schemas.microsoft.com/office/drawing/2014/main" id="{836027F2-620A-4DD2-A3F1-A5AEAE96B342}"/>
                </a:ext>
              </a:extLst>
            </p:cNvPr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igura a mano libera 242">
              <a:extLst>
                <a:ext uri="{FF2B5EF4-FFF2-40B4-BE49-F238E27FC236}">
                  <a16:creationId xmlns:a16="http://schemas.microsoft.com/office/drawing/2014/main" id="{E7460304-F8F3-4CAE-A061-C04FE66C3D52}"/>
                </a:ext>
              </a:extLst>
            </p:cNvPr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igura a mano libera 243">
              <a:extLst>
                <a:ext uri="{FF2B5EF4-FFF2-40B4-BE49-F238E27FC236}">
                  <a16:creationId xmlns:a16="http://schemas.microsoft.com/office/drawing/2014/main" id="{926C780F-3485-46AC-9D6F-03CA9DA979B5}"/>
                </a:ext>
              </a:extLst>
            </p:cNvPr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igura a mano libera 244">
              <a:extLst>
                <a:ext uri="{FF2B5EF4-FFF2-40B4-BE49-F238E27FC236}">
                  <a16:creationId xmlns:a16="http://schemas.microsoft.com/office/drawing/2014/main" id="{0252E005-9BA2-4E7F-B2BE-5922696660C9}"/>
                </a:ext>
              </a:extLst>
            </p:cNvPr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igura a mano libera 245">
              <a:extLst>
                <a:ext uri="{FF2B5EF4-FFF2-40B4-BE49-F238E27FC236}">
                  <a16:creationId xmlns:a16="http://schemas.microsoft.com/office/drawing/2014/main" id="{1E4CD5B6-15F1-4E07-9DD9-BD66E495F354}"/>
                </a:ext>
              </a:extLst>
            </p:cNvPr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igura a mano libera 246">
              <a:extLst>
                <a:ext uri="{FF2B5EF4-FFF2-40B4-BE49-F238E27FC236}">
                  <a16:creationId xmlns:a16="http://schemas.microsoft.com/office/drawing/2014/main" id="{9FED5A2A-A323-40D5-9F01-9524309A3A75}"/>
                </a:ext>
              </a:extLst>
            </p:cNvPr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igura a mano libera 247">
              <a:extLst>
                <a:ext uri="{FF2B5EF4-FFF2-40B4-BE49-F238E27FC236}">
                  <a16:creationId xmlns:a16="http://schemas.microsoft.com/office/drawing/2014/main" id="{C9688E52-B838-4E07-85A7-0AFEEFE9184A}"/>
                </a:ext>
              </a:extLst>
            </p:cNvPr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igura a mano libera 248">
              <a:extLst>
                <a:ext uri="{FF2B5EF4-FFF2-40B4-BE49-F238E27FC236}">
                  <a16:creationId xmlns:a16="http://schemas.microsoft.com/office/drawing/2014/main" id="{7C51FB79-3D8B-4525-8745-27A35A3EF693}"/>
                </a:ext>
              </a:extLst>
            </p:cNvPr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igura a mano libera 249">
              <a:extLst>
                <a:ext uri="{FF2B5EF4-FFF2-40B4-BE49-F238E27FC236}">
                  <a16:creationId xmlns:a16="http://schemas.microsoft.com/office/drawing/2014/main" id="{8A0B0F77-49A9-4BED-BD3D-DA84AB10B083}"/>
                </a:ext>
              </a:extLst>
            </p:cNvPr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grpFill/>
            <a:ln w="9525">
              <a:noFill/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igura a mano libera 250">
              <a:extLst>
                <a:ext uri="{FF2B5EF4-FFF2-40B4-BE49-F238E27FC236}">
                  <a16:creationId xmlns:a16="http://schemas.microsoft.com/office/drawing/2014/main" id="{5C39C94D-459F-4E69-88C6-E44333B8746B}"/>
                </a:ext>
              </a:extLst>
            </p:cNvPr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igura a mano libera 251">
              <a:extLst>
                <a:ext uri="{FF2B5EF4-FFF2-40B4-BE49-F238E27FC236}">
                  <a16:creationId xmlns:a16="http://schemas.microsoft.com/office/drawing/2014/main" id="{AA9DD524-E045-4CB4-984C-16463AE5AD6E}"/>
                </a:ext>
              </a:extLst>
            </p:cNvPr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igura a mano libera 252">
              <a:extLst>
                <a:ext uri="{FF2B5EF4-FFF2-40B4-BE49-F238E27FC236}">
                  <a16:creationId xmlns:a16="http://schemas.microsoft.com/office/drawing/2014/main" id="{4B5C3AB8-AE6F-411A-A4BE-8BBFC7872A08}"/>
                </a:ext>
              </a:extLst>
            </p:cNvPr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igura a mano libera 253">
              <a:extLst>
                <a:ext uri="{FF2B5EF4-FFF2-40B4-BE49-F238E27FC236}">
                  <a16:creationId xmlns:a16="http://schemas.microsoft.com/office/drawing/2014/main" id="{33733F2E-7F82-415B-AFEA-060CF197246C}"/>
                </a:ext>
              </a:extLst>
            </p:cNvPr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igura a mano libera 254">
              <a:extLst>
                <a:ext uri="{FF2B5EF4-FFF2-40B4-BE49-F238E27FC236}">
                  <a16:creationId xmlns:a16="http://schemas.microsoft.com/office/drawing/2014/main" id="{B8FFB47B-853E-4575-BFA8-00B1F9B870CF}"/>
                </a:ext>
              </a:extLst>
            </p:cNvPr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igura a mano libera 255">
              <a:extLst>
                <a:ext uri="{FF2B5EF4-FFF2-40B4-BE49-F238E27FC236}">
                  <a16:creationId xmlns:a16="http://schemas.microsoft.com/office/drawing/2014/main" id="{0608874D-9B63-4710-B652-DC69F819AFD7}"/>
                </a:ext>
              </a:extLst>
            </p:cNvPr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igura a mano libera 256">
              <a:extLst>
                <a:ext uri="{FF2B5EF4-FFF2-40B4-BE49-F238E27FC236}">
                  <a16:creationId xmlns:a16="http://schemas.microsoft.com/office/drawing/2014/main" id="{7D77FE6F-A91C-4D9D-A3B4-8D162E288DC8}"/>
                </a:ext>
              </a:extLst>
            </p:cNvPr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igura a mano libera 257">
              <a:extLst>
                <a:ext uri="{FF2B5EF4-FFF2-40B4-BE49-F238E27FC236}">
                  <a16:creationId xmlns:a16="http://schemas.microsoft.com/office/drawing/2014/main" id="{56EF63F8-EE04-48E0-BBB2-4D93273E3276}"/>
                </a:ext>
              </a:extLst>
            </p:cNvPr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7" name="CasellaDiTesto 76">
            <a:extLst>
              <a:ext uri="{FF2B5EF4-FFF2-40B4-BE49-F238E27FC236}">
                <a16:creationId xmlns:a16="http://schemas.microsoft.com/office/drawing/2014/main" id="{73093B16-E974-4793-A58E-0052724D82C3}"/>
              </a:ext>
            </a:extLst>
          </p:cNvPr>
          <p:cNvSpPr txBox="1"/>
          <p:nvPr/>
        </p:nvSpPr>
        <p:spPr>
          <a:xfrm>
            <a:off x="8345736" y="4169869"/>
            <a:ext cx="1761073" cy="15465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l D.Lgs. 112/2015 definisce «richiedente» anche le Regioni e le Province Autonom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’Accordo Quadro (AQ) è lo strumento di programmazione dei servizi di trasporto di interesse delle Regioni.</a:t>
            </a:r>
          </a:p>
        </p:txBody>
      </p:sp>
      <p:pic>
        <p:nvPicPr>
          <p:cNvPr id="78" name="Immagine 77">
            <a:extLst>
              <a:ext uri="{FF2B5EF4-FFF2-40B4-BE49-F238E27FC236}">
                <a16:creationId xmlns:a16="http://schemas.microsoft.com/office/drawing/2014/main" id="{3572DD44-7583-4962-8F25-16E2BBE918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44900" y="4939103"/>
            <a:ext cx="1310131" cy="1044954"/>
          </a:xfrm>
          <a:prstGeom prst="rect">
            <a:avLst/>
          </a:prstGeom>
        </p:spPr>
      </p:pic>
      <p:grpSp>
        <p:nvGrpSpPr>
          <p:cNvPr id="35" name="Gruppo 34">
            <a:extLst>
              <a:ext uri="{FF2B5EF4-FFF2-40B4-BE49-F238E27FC236}">
                <a16:creationId xmlns:a16="http://schemas.microsoft.com/office/drawing/2014/main" id="{EFF77B08-BA71-4D7B-8CC7-AE8A8B485F4A}"/>
              </a:ext>
            </a:extLst>
          </p:cNvPr>
          <p:cNvGrpSpPr/>
          <p:nvPr/>
        </p:nvGrpSpPr>
        <p:grpSpPr>
          <a:xfrm>
            <a:off x="8418631" y="1848291"/>
            <a:ext cx="3132329" cy="1348630"/>
            <a:chOff x="8418631" y="1737695"/>
            <a:chExt cx="3132329" cy="1651730"/>
          </a:xfrm>
        </p:grpSpPr>
        <p:pic>
          <p:nvPicPr>
            <p:cNvPr id="79" name="Immagine 78">
              <a:extLst>
                <a:ext uri="{FF2B5EF4-FFF2-40B4-BE49-F238E27FC236}">
                  <a16:creationId xmlns:a16="http://schemas.microsoft.com/office/drawing/2014/main" id="{6B3BF900-A454-4E06-A325-80B266EC15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015423" y="1737695"/>
              <a:ext cx="1517239" cy="1254968"/>
            </a:xfrm>
            <a:prstGeom prst="rect">
              <a:avLst/>
            </a:prstGeom>
          </p:spPr>
        </p:pic>
        <p:pic>
          <p:nvPicPr>
            <p:cNvPr id="80" name="Immagine 79">
              <a:extLst>
                <a:ext uri="{FF2B5EF4-FFF2-40B4-BE49-F238E27FC236}">
                  <a16:creationId xmlns:a16="http://schemas.microsoft.com/office/drawing/2014/main" id="{E2804839-603A-4E5A-9C72-AEA6148D97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418631" y="1749988"/>
              <a:ext cx="1556355" cy="1242675"/>
            </a:xfrm>
            <a:prstGeom prst="rect">
              <a:avLst/>
            </a:prstGeom>
          </p:spPr>
        </p:pic>
        <p:sp>
          <p:nvSpPr>
            <p:cNvPr id="81" name="Rettangolo 80">
              <a:extLst>
                <a:ext uri="{FF2B5EF4-FFF2-40B4-BE49-F238E27FC236}">
                  <a16:creationId xmlns:a16="http://schemas.microsoft.com/office/drawing/2014/main" id="{28CE09BE-7037-4277-8266-1F70EF716894}"/>
                </a:ext>
              </a:extLst>
            </p:cNvPr>
            <p:cNvSpPr/>
            <p:nvPr/>
          </p:nvSpPr>
          <p:spPr>
            <a:xfrm>
              <a:off x="8418631" y="3044514"/>
              <a:ext cx="710515" cy="344911"/>
            </a:xfrm>
            <a:prstGeom prst="rect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82" name="Rettangolo 81">
              <a:extLst>
                <a:ext uri="{FF2B5EF4-FFF2-40B4-BE49-F238E27FC236}">
                  <a16:creationId xmlns:a16="http://schemas.microsoft.com/office/drawing/2014/main" id="{6ECB7F82-6B95-407D-95BF-A347E4B14B19}"/>
                </a:ext>
              </a:extLst>
            </p:cNvPr>
            <p:cNvSpPr/>
            <p:nvPr/>
          </p:nvSpPr>
          <p:spPr>
            <a:xfrm>
              <a:off x="9242719" y="3044514"/>
              <a:ext cx="710515" cy="344911"/>
            </a:xfrm>
            <a:prstGeom prst="rect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83" name="Rettangolo 82">
              <a:extLst>
                <a:ext uri="{FF2B5EF4-FFF2-40B4-BE49-F238E27FC236}">
                  <a16:creationId xmlns:a16="http://schemas.microsoft.com/office/drawing/2014/main" id="{2C36DF11-B9AC-4BFE-B8B6-A300B3727534}"/>
                </a:ext>
              </a:extLst>
            </p:cNvPr>
            <p:cNvSpPr/>
            <p:nvPr/>
          </p:nvSpPr>
          <p:spPr>
            <a:xfrm>
              <a:off x="10013340" y="3044514"/>
              <a:ext cx="710515" cy="344911"/>
            </a:xfrm>
            <a:prstGeom prst="rect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84" name="Rettangolo 83">
              <a:extLst>
                <a:ext uri="{FF2B5EF4-FFF2-40B4-BE49-F238E27FC236}">
                  <a16:creationId xmlns:a16="http://schemas.microsoft.com/office/drawing/2014/main" id="{9FA0BB6A-6BA7-4403-AA47-E86950FB2897}"/>
                </a:ext>
              </a:extLst>
            </p:cNvPr>
            <p:cNvSpPr/>
            <p:nvPr/>
          </p:nvSpPr>
          <p:spPr>
            <a:xfrm>
              <a:off x="10840445" y="3044514"/>
              <a:ext cx="710515" cy="344911"/>
            </a:xfrm>
            <a:prstGeom prst="rect">
              <a:avLst/>
            </a:prstGeom>
            <a:noFill/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…</a:t>
              </a:r>
            </a:p>
          </p:txBody>
        </p:sp>
      </p:grpSp>
      <p:sp>
        <p:nvSpPr>
          <p:cNvPr id="3" name="Rettangolo 31">
            <a:extLst>
              <a:ext uri="{FF2B5EF4-FFF2-40B4-BE49-F238E27FC236}">
                <a16:creationId xmlns:a16="http://schemas.microsoft.com/office/drawing/2014/main" id="{90BE1996-97C2-4274-A218-63121BF6188E}"/>
              </a:ext>
            </a:extLst>
          </p:cNvPr>
          <p:cNvSpPr/>
          <p:nvPr/>
        </p:nvSpPr>
        <p:spPr>
          <a:xfrm>
            <a:off x="4235141" y="1057257"/>
            <a:ext cx="4067107" cy="4926801"/>
          </a:xfrm>
          <a:prstGeom prst="rect">
            <a:avLst/>
          </a:prstGeom>
          <a:noFill/>
          <a:ln w="12701" cap="flat">
            <a:solidFill>
              <a:srgbClr val="DC002E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8" name="Gruppo 37">
            <a:extLst>
              <a:ext uri="{FF2B5EF4-FFF2-40B4-BE49-F238E27FC236}">
                <a16:creationId xmlns:a16="http://schemas.microsoft.com/office/drawing/2014/main" id="{F68E6F6A-FFFF-4175-8BC3-E7610EB77B34}"/>
              </a:ext>
            </a:extLst>
          </p:cNvPr>
          <p:cNvGrpSpPr/>
          <p:nvPr/>
        </p:nvGrpSpPr>
        <p:grpSpPr>
          <a:xfrm>
            <a:off x="4120077" y="1489847"/>
            <a:ext cx="4127596" cy="4160938"/>
            <a:chOff x="7230630" y="1476354"/>
            <a:chExt cx="4021138" cy="3652004"/>
          </a:xfrm>
        </p:grpSpPr>
        <p:grpSp>
          <p:nvGrpSpPr>
            <p:cNvPr id="4" name="Gruppo 2">
              <a:extLst>
                <a:ext uri="{FF2B5EF4-FFF2-40B4-BE49-F238E27FC236}">
                  <a16:creationId xmlns:a16="http://schemas.microsoft.com/office/drawing/2014/main" id="{989B7A11-D7EA-44BF-B26B-31E79B9B80B1}"/>
                </a:ext>
              </a:extLst>
            </p:cNvPr>
            <p:cNvGrpSpPr/>
            <p:nvPr/>
          </p:nvGrpSpPr>
          <p:grpSpPr>
            <a:xfrm>
              <a:off x="7443356" y="1484291"/>
              <a:ext cx="2011360" cy="2145575"/>
              <a:chOff x="7710485" y="2449522"/>
              <a:chExt cx="2011360" cy="2145575"/>
            </a:xfrm>
          </p:grpSpPr>
          <p:cxnSp>
            <p:nvCxnSpPr>
              <p:cNvPr id="5" name="Connettore 1 30">
                <a:extLst>
                  <a:ext uri="{FF2B5EF4-FFF2-40B4-BE49-F238E27FC236}">
                    <a16:creationId xmlns:a16="http://schemas.microsoft.com/office/drawing/2014/main" id="{F60BE019-3FDC-4982-ACA5-A1997132FA05}"/>
                  </a:ext>
                </a:extLst>
              </p:cNvPr>
              <p:cNvCxnSpPr/>
              <p:nvPr/>
            </p:nvCxnSpPr>
            <p:spPr>
              <a:xfrm>
                <a:off x="7710485" y="4595097"/>
                <a:ext cx="2011360" cy="0"/>
              </a:xfrm>
              <a:prstGeom prst="straightConnector1">
                <a:avLst/>
              </a:prstGeom>
              <a:noFill/>
              <a:ln w="15873" cap="flat">
                <a:solidFill>
                  <a:srgbClr val="DC002E"/>
                </a:solidFill>
                <a:prstDash val="solid"/>
                <a:miter/>
              </a:ln>
            </p:spPr>
          </p:cxnSp>
          <p:cxnSp>
            <p:nvCxnSpPr>
              <p:cNvPr id="6" name="Connettore 1 30">
                <a:extLst>
                  <a:ext uri="{FF2B5EF4-FFF2-40B4-BE49-F238E27FC236}">
                    <a16:creationId xmlns:a16="http://schemas.microsoft.com/office/drawing/2014/main" id="{E0E714ED-080E-41BD-A9DE-3AA68AC29878}"/>
                  </a:ext>
                </a:extLst>
              </p:cNvPr>
              <p:cNvCxnSpPr/>
              <p:nvPr/>
            </p:nvCxnSpPr>
            <p:spPr>
              <a:xfrm>
                <a:off x="9718672" y="2449522"/>
                <a:ext cx="0" cy="2134941"/>
              </a:xfrm>
              <a:prstGeom prst="straightConnector1">
                <a:avLst/>
              </a:prstGeom>
              <a:noFill/>
              <a:ln w="15873" cap="flat">
                <a:solidFill>
                  <a:srgbClr val="DC002E"/>
                </a:solidFill>
                <a:prstDash val="solid"/>
                <a:miter/>
              </a:ln>
            </p:spPr>
          </p:cxnSp>
        </p:grpSp>
        <p:sp>
          <p:nvSpPr>
            <p:cNvPr id="7" name="CasellaDiTesto 5">
              <a:extLst>
                <a:ext uri="{FF2B5EF4-FFF2-40B4-BE49-F238E27FC236}">
                  <a16:creationId xmlns:a16="http://schemas.microsoft.com/office/drawing/2014/main" id="{EA0CCB37-DAC4-438C-B4D3-2774502643F1}"/>
                </a:ext>
              </a:extLst>
            </p:cNvPr>
            <p:cNvSpPr txBox="1"/>
            <p:nvPr/>
          </p:nvSpPr>
          <p:spPr>
            <a:xfrm>
              <a:off x="7359223" y="2109935"/>
              <a:ext cx="2085975" cy="51325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just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estione dell’infrastruttura</a:t>
              </a:r>
            </a:p>
          </p:txBody>
        </p:sp>
        <p:sp>
          <p:nvSpPr>
            <p:cNvPr id="8" name="TextBox 4">
              <a:extLst>
                <a:ext uri="{FF2B5EF4-FFF2-40B4-BE49-F238E27FC236}">
                  <a16:creationId xmlns:a16="http://schemas.microsoft.com/office/drawing/2014/main" id="{8F2F9A78-7404-460C-848C-6D5F9D45D647}"/>
                </a:ext>
              </a:extLst>
            </p:cNvPr>
            <p:cNvSpPr txBox="1"/>
            <p:nvPr/>
          </p:nvSpPr>
          <p:spPr>
            <a:xfrm>
              <a:off x="9561079" y="1476354"/>
              <a:ext cx="1690689" cy="311152"/>
            </a:xfrm>
            <a:prstGeom prst="rect">
              <a:avLst/>
            </a:prstGeom>
            <a:solidFill>
              <a:srgbClr val="DC002E"/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Circolazione</a:t>
              </a:r>
            </a:p>
          </p:txBody>
        </p:sp>
        <p:sp>
          <p:nvSpPr>
            <p:cNvPr id="9" name="TextBox 4">
              <a:extLst>
                <a:ext uri="{FF2B5EF4-FFF2-40B4-BE49-F238E27FC236}">
                  <a16:creationId xmlns:a16="http://schemas.microsoft.com/office/drawing/2014/main" id="{3CA55E6A-F978-4C41-A13C-461DE30DB239}"/>
                </a:ext>
              </a:extLst>
            </p:cNvPr>
            <p:cNvSpPr txBox="1"/>
            <p:nvPr/>
          </p:nvSpPr>
          <p:spPr>
            <a:xfrm>
              <a:off x="9561079" y="1837441"/>
              <a:ext cx="1690689" cy="311152"/>
            </a:xfrm>
            <a:prstGeom prst="rect">
              <a:avLst/>
            </a:prstGeom>
            <a:solidFill>
              <a:srgbClr val="DC002E"/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Manutenzione</a:t>
              </a:r>
            </a:p>
          </p:txBody>
        </p:sp>
        <p:sp>
          <p:nvSpPr>
            <p:cNvPr id="10" name="TextBox 4">
              <a:extLst>
                <a:ext uri="{FF2B5EF4-FFF2-40B4-BE49-F238E27FC236}">
                  <a16:creationId xmlns:a16="http://schemas.microsoft.com/office/drawing/2014/main" id="{9C2A1D23-4332-46A9-B347-B4C42EB239D8}"/>
                </a:ext>
              </a:extLst>
            </p:cNvPr>
            <p:cNvSpPr txBox="1"/>
            <p:nvPr/>
          </p:nvSpPr>
          <p:spPr>
            <a:xfrm>
              <a:off x="9561079" y="2198538"/>
              <a:ext cx="1690689" cy="311152"/>
            </a:xfrm>
            <a:prstGeom prst="rect">
              <a:avLst/>
            </a:prstGeom>
            <a:solidFill>
              <a:srgbClr val="DC002E"/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Sicurezza e tecnologie</a:t>
              </a:r>
            </a:p>
          </p:txBody>
        </p:sp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DA5B9DDA-18F6-4AF7-83ED-77D880D4EC02}"/>
                </a:ext>
              </a:extLst>
            </p:cNvPr>
            <p:cNvSpPr txBox="1"/>
            <p:nvPr/>
          </p:nvSpPr>
          <p:spPr>
            <a:xfrm>
              <a:off x="9561079" y="2559625"/>
              <a:ext cx="1690689" cy="311152"/>
            </a:xfrm>
            <a:prstGeom prst="rect">
              <a:avLst/>
            </a:prstGeom>
            <a:solidFill>
              <a:srgbClr val="DC002E"/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Investimenti</a:t>
              </a:r>
            </a:p>
          </p:txBody>
        </p:sp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0692F92A-A423-463E-9A82-76229CF839A4}"/>
                </a:ext>
              </a:extLst>
            </p:cNvPr>
            <p:cNvSpPr txBox="1"/>
            <p:nvPr/>
          </p:nvSpPr>
          <p:spPr>
            <a:xfrm>
              <a:off x="9561079" y="2920712"/>
              <a:ext cx="1690689" cy="309560"/>
            </a:xfrm>
            <a:prstGeom prst="rect">
              <a:avLst/>
            </a:prstGeom>
            <a:solidFill>
              <a:srgbClr val="DC002E"/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Attività internazionale</a:t>
              </a:r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4BAE130C-5931-4558-AFE0-6B25B5C06904}"/>
                </a:ext>
              </a:extLst>
            </p:cNvPr>
            <p:cNvSpPr txBox="1"/>
            <p:nvPr/>
          </p:nvSpPr>
          <p:spPr>
            <a:xfrm>
              <a:off x="9561079" y="3280218"/>
              <a:ext cx="1690689" cy="311152"/>
            </a:xfrm>
            <a:prstGeom prst="rect">
              <a:avLst/>
            </a:prstGeom>
            <a:solidFill>
              <a:srgbClr val="DC002E"/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Servizi di navigazione</a:t>
              </a:r>
            </a:p>
          </p:txBody>
        </p:sp>
        <p:grpSp>
          <p:nvGrpSpPr>
            <p:cNvPr id="14" name="Gruppo 12">
              <a:extLst>
                <a:ext uri="{FF2B5EF4-FFF2-40B4-BE49-F238E27FC236}">
                  <a16:creationId xmlns:a16="http://schemas.microsoft.com/office/drawing/2014/main" id="{F7CE8A9D-4102-4F7D-800C-D388CB42C212}"/>
                </a:ext>
              </a:extLst>
            </p:cNvPr>
            <p:cNvGrpSpPr/>
            <p:nvPr/>
          </p:nvGrpSpPr>
          <p:grpSpPr>
            <a:xfrm>
              <a:off x="7443356" y="3705112"/>
              <a:ext cx="2011360" cy="663836"/>
              <a:chOff x="7710485" y="4670343"/>
              <a:chExt cx="2011360" cy="663836"/>
            </a:xfrm>
          </p:grpSpPr>
          <p:cxnSp>
            <p:nvCxnSpPr>
              <p:cNvPr id="15" name="Connettore 1 30">
                <a:extLst>
                  <a:ext uri="{FF2B5EF4-FFF2-40B4-BE49-F238E27FC236}">
                    <a16:creationId xmlns:a16="http://schemas.microsoft.com/office/drawing/2014/main" id="{0167DB84-CC85-4C1D-9F3D-05E2D630F750}"/>
                  </a:ext>
                </a:extLst>
              </p:cNvPr>
              <p:cNvCxnSpPr/>
              <p:nvPr/>
            </p:nvCxnSpPr>
            <p:spPr>
              <a:xfrm>
                <a:off x="7710485" y="5334179"/>
                <a:ext cx="2011360" cy="0"/>
              </a:xfrm>
              <a:prstGeom prst="straightConnector1">
                <a:avLst/>
              </a:prstGeom>
              <a:noFill/>
              <a:ln w="15873" cap="flat">
                <a:solidFill>
                  <a:srgbClr val="C00000">
                    <a:alpha val="70000"/>
                  </a:srgbClr>
                </a:solidFill>
                <a:prstDash val="solid"/>
                <a:miter/>
              </a:ln>
            </p:spPr>
          </p:cxnSp>
          <p:cxnSp>
            <p:nvCxnSpPr>
              <p:cNvPr id="16" name="Connettore 1 30">
                <a:extLst>
                  <a:ext uri="{FF2B5EF4-FFF2-40B4-BE49-F238E27FC236}">
                    <a16:creationId xmlns:a16="http://schemas.microsoft.com/office/drawing/2014/main" id="{10B732B5-1D95-4C51-AB21-F252CE055B54}"/>
                  </a:ext>
                </a:extLst>
              </p:cNvPr>
              <p:cNvCxnSpPr/>
              <p:nvPr/>
            </p:nvCxnSpPr>
            <p:spPr>
              <a:xfrm>
                <a:off x="9718672" y="4670343"/>
                <a:ext cx="0" cy="660362"/>
              </a:xfrm>
              <a:prstGeom prst="straightConnector1">
                <a:avLst/>
              </a:prstGeom>
              <a:noFill/>
              <a:ln w="15873" cap="flat">
                <a:solidFill>
                  <a:srgbClr val="C00000">
                    <a:alpha val="70000"/>
                  </a:srgbClr>
                </a:solidFill>
                <a:prstDash val="solid"/>
                <a:miter/>
              </a:ln>
            </p:spPr>
          </p:cxnSp>
        </p:grpSp>
        <p:sp>
          <p:nvSpPr>
            <p:cNvPr id="17" name="CasellaDiTesto 15">
              <a:extLst>
                <a:ext uri="{FF2B5EF4-FFF2-40B4-BE49-F238E27FC236}">
                  <a16:creationId xmlns:a16="http://schemas.microsoft.com/office/drawing/2014/main" id="{42C1DE0B-7A50-4897-BB18-FF00EB90D564}"/>
                </a:ext>
              </a:extLst>
            </p:cNvPr>
            <p:cNvSpPr txBox="1"/>
            <p:nvPr/>
          </p:nvSpPr>
          <p:spPr>
            <a:xfrm>
              <a:off x="7359224" y="3613032"/>
              <a:ext cx="1228753" cy="513250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just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estore di impianto</a:t>
              </a:r>
            </a:p>
          </p:txBody>
        </p:sp>
        <p:grpSp>
          <p:nvGrpSpPr>
            <p:cNvPr id="18" name="Gruppo 16">
              <a:extLst>
                <a:ext uri="{FF2B5EF4-FFF2-40B4-BE49-F238E27FC236}">
                  <a16:creationId xmlns:a16="http://schemas.microsoft.com/office/drawing/2014/main" id="{63D1B81D-1A46-4F0D-8710-6C2F6C61AFA6}"/>
                </a:ext>
              </a:extLst>
            </p:cNvPr>
            <p:cNvGrpSpPr/>
            <p:nvPr/>
          </p:nvGrpSpPr>
          <p:grpSpPr>
            <a:xfrm>
              <a:off x="7443356" y="4487372"/>
              <a:ext cx="2008187" cy="640976"/>
              <a:chOff x="7710485" y="5452603"/>
              <a:chExt cx="2008187" cy="640976"/>
            </a:xfrm>
          </p:grpSpPr>
          <p:cxnSp>
            <p:nvCxnSpPr>
              <p:cNvPr id="19" name="Connettore 1 30">
                <a:extLst>
                  <a:ext uri="{FF2B5EF4-FFF2-40B4-BE49-F238E27FC236}">
                    <a16:creationId xmlns:a16="http://schemas.microsoft.com/office/drawing/2014/main" id="{B587C18A-14D1-4E5B-8075-BAA155159A77}"/>
                  </a:ext>
                </a:extLst>
              </p:cNvPr>
              <p:cNvCxnSpPr/>
              <p:nvPr/>
            </p:nvCxnSpPr>
            <p:spPr>
              <a:xfrm>
                <a:off x="7710485" y="6093579"/>
                <a:ext cx="2008187" cy="0"/>
              </a:xfrm>
              <a:prstGeom prst="straightConnector1">
                <a:avLst/>
              </a:prstGeom>
              <a:noFill/>
              <a:ln w="15873" cap="flat">
                <a:solidFill>
                  <a:srgbClr val="0E6B69">
                    <a:alpha val="60000"/>
                  </a:srgbClr>
                </a:solidFill>
                <a:prstDash val="solid"/>
                <a:miter/>
              </a:ln>
            </p:spPr>
          </p:cxnSp>
          <p:cxnSp>
            <p:nvCxnSpPr>
              <p:cNvPr id="20" name="Connettore 1 30">
                <a:extLst>
                  <a:ext uri="{FF2B5EF4-FFF2-40B4-BE49-F238E27FC236}">
                    <a16:creationId xmlns:a16="http://schemas.microsoft.com/office/drawing/2014/main" id="{A52A7B87-3ABE-4893-B07E-886C84CC2A66}"/>
                  </a:ext>
                </a:extLst>
              </p:cNvPr>
              <p:cNvCxnSpPr/>
              <p:nvPr/>
            </p:nvCxnSpPr>
            <p:spPr>
              <a:xfrm>
                <a:off x="9715500" y="5452603"/>
                <a:ext cx="0" cy="637374"/>
              </a:xfrm>
              <a:prstGeom prst="straightConnector1">
                <a:avLst/>
              </a:prstGeom>
              <a:noFill/>
              <a:ln w="15873" cap="flat">
                <a:solidFill>
                  <a:srgbClr val="0E6B69">
                    <a:alpha val="60000"/>
                  </a:srgbClr>
                </a:solidFill>
                <a:prstDash val="solid"/>
                <a:miter/>
              </a:ln>
            </p:spPr>
          </p:cxnSp>
        </p:grpSp>
        <p:sp>
          <p:nvSpPr>
            <p:cNvPr id="21" name="CasellaDiTesto 19">
              <a:extLst>
                <a:ext uri="{FF2B5EF4-FFF2-40B4-BE49-F238E27FC236}">
                  <a16:creationId xmlns:a16="http://schemas.microsoft.com/office/drawing/2014/main" id="{31AC4E70-6C85-423C-843E-FD344FDB7CDA}"/>
                </a:ext>
              </a:extLst>
            </p:cNvPr>
            <p:cNvSpPr txBox="1"/>
            <p:nvPr/>
          </p:nvSpPr>
          <p:spPr>
            <a:xfrm>
              <a:off x="7359223" y="4409584"/>
              <a:ext cx="1660522" cy="297145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91440" tIns="45720" rIns="91440" bIns="45720" anchor="t" anchorCtr="0" compatLnSpc="1">
              <a:spAutoFit/>
            </a:bodyPr>
            <a:lstStyle/>
            <a:p>
              <a:pPr marL="0" marR="0" lvl="0" indent="0" algn="just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ltri servizi</a:t>
              </a:r>
            </a:p>
          </p:txBody>
        </p:sp>
        <p:sp>
          <p:nvSpPr>
            <p:cNvPr id="22" name="TextBox 4">
              <a:extLst>
                <a:ext uri="{FF2B5EF4-FFF2-40B4-BE49-F238E27FC236}">
                  <a16:creationId xmlns:a16="http://schemas.microsoft.com/office/drawing/2014/main" id="{048DF085-7D3F-4F93-80DF-D019C20C10EB}"/>
                </a:ext>
              </a:extLst>
            </p:cNvPr>
            <p:cNvSpPr txBox="1"/>
            <p:nvPr/>
          </p:nvSpPr>
          <p:spPr>
            <a:xfrm>
              <a:off x="9561079" y="4459831"/>
              <a:ext cx="1690689" cy="311152"/>
            </a:xfrm>
            <a:prstGeom prst="rect">
              <a:avLst/>
            </a:prstGeom>
            <a:solidFill>
              <a:srgbClr val="0E6B69">
                <a:alpha val="60000"/>
              </a:srgbClr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Servizi sanitari</a:t>
              </a:r>
            </a:p>
          </p:txBody>
        </p:sp>
        <p:sp>
          <p:nvSpPr>
            <p:cNvPr id="23" name="TextBox 4">
              <a:extLst>
                <a:ext uri="{FF2B5EF4-FFF2-40B4-BE49-F238E27FC236}">
                  <a16:creationId xmlns:a16="http://schemas.microsoft.com/office/drawing/2014/main" id="{62E911B5-61CC-4EE7-8817-0F29DD82BF8E}"/>
                </a:ext>
              </a:extLst>
            </p:cNvPr>
            <p:cNvSpPr txBox="1"/>
            <p:nvPr/>
          </p:nvSpPr>
          <p:spPr>
            <a:xfrm>
              <a:off x="9561079" y="4817206"/>
              <a:ext cx="1690689" cy="311152"/>
            </a:xfrm>
            <a:prstGeom prst="rect">
              <a:avLst/>
            </a:prstGeom>
            <a:solidFill>
              <a:srgbClr val="0E6B69">
                <a:alpha val="60000"/>
              </a:srgbClr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Patrimonio</a:t>
              </a:r>
            </a:p>
          </p:txBody>
        </p:sp>
        <p:sp>
          <p:nvSpPr>
            <p:cNvPr id="24" name="TextBox 4">
              <a:extLst>
                <a:ext uri="{FF2B5EF4-FFF2-40B4-BE49-F238E27FC236}">
                  <a16:creationId xmlns:a16="http://schemas.microsoft.com/office/drawing/2014/main" id="{0351932D-3C65-4305-9040-CA44D77DC91F}"/>
                </a:ext>
              </a:extLst>
            </p:cNvPr>
            <p:cNvSpPr txBox="1"/>
            <p:nvPr/>
          </p:nvSpPr>
          <p:spPr>
            <a:xfrm>
              <a:off x="9561079" y="3682234"/>
              <a:ext cx="1690689" cy="311152"/>
            </a:xfrm>
            <a:prstGeom prst="rect">
              <a:avLst/>
            </a:prstGeom>
            <a:solidFill>
              <a:srgbClr val="C00000">
                <a:alpha val="70000"/>
              </a:srgbClr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Stazioni</a:t>
              </a:r>
            </a:p>
          </p:txBody>
        </p:sp>
        <p:sp>
          <p:nvSpPr>
            <p:cNvPr id="25" name="TextBox 4">
              <a:extLst>
                <a:ext uri="{FF2B5EF4-FFF2-40B4-BE49-F238E27FC236}">
                  <a16:creationId xmlns:a16="http://schemas.microsoft.com/office/drawing/2014/main" id="{BE2E490C-3CFE-4A8A-A82C-B17F41DE7EA8}"/>
                </a:ext>
              </a:extLst>
            </p:cNvPr>
            <p:cNvSpPr txBox="1"/>
            <p:nvPr/>
          </p:nvSpPr>
          <p:spPr>
            <a:xfrm>
              <a:off x="9561079" y="4048570"/>
              <a:ext cx="1690689" cy="311152"/>
            </a:xfrm>
            <a:prstGeom prst="rect">
              <a:avLst/>
            </a:prstGeom>
            <a:solidFill>
              <a:srgbClr val="C00000">
                <a:alpha val="70000"/>
              </a:srgbClr>
            </a:solidFill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76196" tIns="76196" rIns="76196" bIns="76196" anchor="ctr" anchorCtr="0" compatLnSpc="1">
              <a:noAutofit/>
            </a:bodyPr>
            <a:lstStyle/>
            <a:p>
              <a:pPr marL="0" marR="0" lvl="0" indent="0" algn="l" defTabSz="895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kumimoji="0" lang="it-IT" sz="105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Arial Unicode MS" pitchFamily="34"/>
                  <a:cs typeface="Arial Unicode MS" pitchFamily="34"/>
                </a:rPr>
                <a:t>Scali e impianti</a:t>
              </a:r>
            </a:p>
          </p:txBody>
        </p:sp>
        <p:sp>
          <p:nvSpPr>
            <p:cNvPr id="26" name="Ovale 4">
              <a:extLst>
                <a:ext uri="{FF2B5EF4-FFF2-40B4-BE49-F238E27FC236}">
                  <a16:creationId xmlns:a16="http://schemas.microsoft.com/office/drawing/2014/main" id="{077CFA52-575D-4A1F-922C-4DDC4FC9E3CC}"/>
                </a:ext>
              </a:extLst>
            </p:cNvPr>
            <p:cNvSpPr/>
            <p:nvPr/>
          </p:nvSpPr>
          <p:spPr>
            <a:xfrm>
              <a:off x="7230630" y="3179744"/>
              <a:ext cx="1081085" cy="806445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17775" tIns="17775" rIns="17775" bIns="17775" anchor="ctr" anchorCtr="1" compatLnSpc="1">
              <a:noAutofit/>
            </a:bodyPr>
            <a:lstStyle/>
            <a:p>
              <a:pPr marL="0" marR="0" lvl="0" indent="0" algn="ctr" defTabSz="622304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70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itchFamily="34"/>
                <a:ea typeface="+mn-ea"/>
                <a:cs typeface="+mn-cs"/>
              </a:endParaRPr>
            </a:p>
          </p:txBody>
        </p:sp>
      </p:grpSp>
      <p:sp>
        <p:nvSpPr>
          <p:cNvPr id="27" name="Rettangolo 27">
            <a:extLst>
              <a:ext uri="{FF2B5EF4-FFF2-40B4-BE49-F238E27FC236}">
                <a16:creationId xmlns:a16="http://schemas.microsoft.com/office/drawing/2014/main" id="{74BFF0A1-73E8-46E2-B317-3946FA1583B5}"/>
              </a:ext>
            </a:extLst>
          </p:cNvPr>
          <p:cNvSpPr/>
          <p:nvPr/>
        </p:nvSpPr>
        <p:spPr>
          <a:xfrm>
            <a:off x="4235141" y="1057257"/>
            <a:ext cx="4067107" cy="377861"/>
          </a:xfrm>
          <a:prstGeom prst="rect">
            <a:avLst/>
          </a:prstGeom>
          <a:solidFill>
            <a:srgbClr val="DC002E"/>
          </a:solidFill>
          <a:ln w="9528" cap="flat">
            <a:solidFill>
              <a:srgbClr val="DC002E"/>
            </a:solidFill>
            <a:prstDash val="solid"/>
            <a:miter/>
          </a:ln>
        </p:spPr>
        <p:txBody>
          <a:bodyPr vert="horz" wrap="square" lIns="76196" tIns="76196" rIns="76196" bIns="76196" anchor="ctr" anchorCtr="1" compatLnSpc="1">
            <a:noAutofit/>
          </a:bodyPr>
          <a:lstStyle/>
          <a:p>
            <a:pPr marL="0" marR="0" lvl="0" indent="0" algn="ctr" defTabSz="89535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Arial Unicode MS" pitchFamily="34"/>
                <a:cs typeface="Arial Unicode MS" pitchFamily="34"/>
              </a:rPr>
              <a:t>Attività</a:t>
            </a:r>
          </a:p>
        </p:txBody>
      </p:sp>
      <p:pic>
        <p:nvPicPr>
          <p:cNvPr id="49" name="Picture 16" descr="Đường Ray Sắt Bài Hát - Miễn Phí vector hình ảnh trên Pixabay">
            <a:extLst>
              <a:ext uri="{FF2B5EF4-FFF2-40B4-BE49-F238E27FC236}">
                <a16:creationId xmlns:a16="http://schemas.microsoft.com/office/drawing/2014/main" id="{D4DB660C-2BED-4294-B3C7-6668EF5E6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636933" y="2370146"/>
            <a:ext cx="1084793" cy="434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Immagine 49">
            <a:extLst>
              <a:ext uri="{FF2B5EF4-FFF2-40B4-BE49-F238E27FC236}">
                <a16:creationId xmlns:a16="http://schemas.microsoft.com/office/drawing/2014/main" id="{95888F0B-ABAF-4EB3-A754-689A6C45F786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1630" y="4080294"/>
            <a:ext cx="501811" cy="613091"/>
          </a:xfrm>
          <a:prstGeom prst="rect">
            <a:avLst/>
          </a:prstGeom>
        </p:spPr>
      </p:pic>
      <p:pic>
        <p:nvPicPr>
          <p:cNvPr id="51" name="Picture 14" descr="Traslochi abitazioni | Grosseto | Cooperativa Grossetana">
            <a:extLst>
              <a:ext uri="{FF2B5EF4-FFF2-40B4-BE49-F238E27FC236}">
                <a16:creationId xmlns:a16="http://schemas.microsoft.com/office/drawing/2014/main" id="{A37C8963-986F-4C89-89C5-5FC24C4E03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alphaModFix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hotocopy/>
                    </a14:imgEffect>
                    <a14:imgEffect>
                      <a14:saturation sat="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7714" y="4059699"/>
            <a:ext cx="365738" cy="50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8" name="Picture 2" descr="Ospedale Che Sviluppa Icona Anteriore Illustrazione di Stock -  Illustrazione di umano, fretta: 98115069">
            <a:extLst>
              <a:ext uri="{FF2B5EF4-FFF2-40B4-BE49-F238E27FC236}">
                <a16:creationId xmlns:a16="http://schemas.microsoft.com/office/drawing/2014/main" id="{19AF80E5-96B8-4B03-A310-AEBDE2C5A8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3466" y="4813053"/>
            <a:ext cx="644153" cy="786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Rettangolo 84">
            <a:extLst>
              <a:ext uri="{FF2B5EF4-FFF2-40B4-BE49-F238E27FC236}">
                <a16:creationId xmlns:a16="http://schemas.microsoft.com/office/drawing/2014/main" id="{6CF754AB-81A0-4C46-9DC2-F07EB2031A8D}"/>
              </a:ext>
            </a:extLst>
          </p:cNvPr>
          <p:cNvSpPr/>
          <p:nvPr/>
        </p:nvSpPr>
        <p:spPr>
          <a:xfrm>
            <a:off x="4347496" y="5797135"/>
            <a:ext cx="332375" cy="12461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/>
          </a:p>
        </p:txBody>
      </p:sp>
      <p:sp>
        <p:nvSpPr>
          <p:cNvPr id="86" name="Rettangolo 85">
            <a:extLst>
              <a:ext uri="{FF2B5EF4-FFF2-40B4-BE49-F238E27FC236}">
                <a16:creationId xmlns:a16="http://schemas.microsoft.com/office/drawing/2014/main" id="{12636978-5F39-4D0B-80BF-A62B3D9639B9}"/>
              </a:ext>
            </a:extLst>
          </p:cNvPr>
          <p:cNvSpPr/>
          <p:nvPr/>
        </p:nvSpPr>
        <p:spPr>
          <a:xfrm>
            <a:off x="5381076" y="5797135"/>
            <a:ext cx="332375" cy="124610"/>
          </a:xfrm>
          <a:prstGeom prst="rect">
            <a:avLst/>
          </a:prstGeom>
          <a:solidFill>
            <a:srgbClr val="6EA6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/>
          </a:p>
        </p:txBody>
      </p:sp>
      <p:sp>
        <p:nvSpPr>
          <p:cNvPr id="87" name="CasellaDiTesto 70">
            <a:extLst>
              <a:ext uri="{FF2B5EF4-FFF2-40B4-BE49-F238E27FC236}">
                <a16:creationId xmlns:a16="http://schemas.microsoft.com/office/drawing/2014/main" id="{CBBB664B-39C6-474E-B74F-CE8E2B150B24}"/>
              </a:ext>
            </a:extLst>
          </p:cNvPr>
          <p:cNvSpPr txBox="1"/>
          <p:nvPr/>
        </p:nvSpPr>
        <p:spPr>
          <a:xfrm>
            <a:off x="4670618" y="5751590"/>
            <a:ext cx="2262844" cy="24622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olato</a:t>
            </a:r>
          </a:p>
        </p:txBody>
      </p:sp>
      <p:sp>
        <p:nvSpPr>
          <p:cNvPr id="88" name="CasellaDiTesto 70">
            <a:extLst>
              <a:ext uri="{FF2B5EF4-FFF2-40B4-BE49-F238E27FC236}">
                <a16:creationId xmlns:a16="http://schemas.microsoft.com/office/drawing/2014/main" id="{C38EB67F-DF3D-481F-B085-2B0E4BAD0191}"/>
              </a:ext>
            </a:extLst>
          </p:cNvPr>
          <p:cNvSpPr txBox="1"/>
          <p:nvPr/>
        </p:nvSpPr>
        <p:spPr>
          <a:xfrm>
            <a:off x="5745213" y="5751590"/>
            <a:ext cx="2262844" cy="24622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 regolato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07368" y="-250276"/>
            <a:ext cx="11176620" cy="86636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it-IT" dirty="0"/>
              <a:t>Il Contratto di Programma parte Investimenti 2022-2026</a:t>
            </a:r>
            <a:endParaRPr spc="-20" dirty="0"/>
          </a:p>
        </p:txBody>
      </p:sp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0495BE1B-F72B-6D48-1870-D96B72501FC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368" y="616091"/>
            <a:ext cx="11176620" cy="390933"/>
          </a:xfrm>
        </p:spPr>
        <p:txBody>
          <a:bodyPr/>
          <a:lstStyle/>
          <a:p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ggetto del</a:t>
            </a:r>
            <a:r>
              <a:rPr kumimoji="0" lang="it-IT" sz="2000" b="1" i="0" u="none" strike="noStrike" kern="1200" cap="none" spc="0" normalizeH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ntratto e quadro finanziario</a:t>
            </a: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endParaRPr lang="it-IT" dirty="0"/>
          </a:p>
        </p:txBody>
      </p:sp>
      <p:cxnSp>
        <p:nvCxnSpPr>
          <p:cNvPr id="96" name="AutoShape 249">
            <a:extLst>
              <a:ext uri="{FF2B5EF4-FFF2-40B4-BE49-F238E27FC236}">
                <a16:creationId xmlns:a16="http://schemas.microsoft.com/office/drawing/2014/main" id="{0A1BAA00-5BB8-4726-95E3-250EA262854F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6161022" y="1510192"/>
            <a:ext cx="5436000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" name="ACET">
            <a:extLst>
              <a:ext uri="{FF2B5EF4-FFF2-40B4-BE49-F238E27FC236}">
                <a16:creationId xmlns:a16="http://schemas.microsoft.com/office/drawing/2014/main" id="{8726DFA4-DC65-4B29-9D3B-3F556DE4B4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1021" y="1226910"/>
            <a:ext cx="5294221" cy="29020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 panose="020F0502020204030204" pitchFamily="34" charset="0"/>
              </a:rPr>
              <a:t>Evoluzione del portafoglio contrattuale finanziato (mld €)</a:t>
            </a:r>
          </a:p>
        </p:txBody>
      </p:sp>
      <p:cxnSp>
        <p:nvCxnSpPr>
          <p:cNvPr id="98" name="AutoShape 249">
            <a:extLst>
              <a:ext uri="{FF2B5EF4-FFF2-40B4-BE49-F238E27FC236}">
                <a16:creationId xmlns:a16="http://schemas.microsoft.com/office/drawing/2014/main" id="{AB71EC15-E083-40CF-AC13-09903F46C095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500786" y="1510192"/>
            <a:ext cx="5292000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9" name="ACET">
            <a:extLst>
              <a:ext uri="{FF2B5EF4-FFF2-40B4-BE49-F238E27FC236}">
                <a16:creationId xmlns:a16="http://schemas.microsoft.com/office/drawing/2014/main" id="{147F71BF-1E3C-4160-A4D5-97B61D01F5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0786" y="1247075"/>
            <a:ext cx="5294221" cy="29020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 panose="020F0502020204030204" pitchFamily="34" charset="0"/>
              </a:rPr>
              <a:t>Contenuto e iter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E15E7DBF-83B8-4374-966B-2F4E4B838114}"/>
              </a:ext>
            </a:extLst>
          </p:cNvPr>
          <p:cNvSpPr/>
          <p:nvPr/>
        </p:nvSpPr>
        <p:spPr>
          <a:xfrm>
            <a:off x="3338161" y="2668576"/>
            <a:ext cx="2664000" cy="3864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>
                <a:solidFill>
                  <a:srgbClr val="DC002E"/>
                </a:solidFill>
              </a:rPr>
              <a:t>Programmi</a:t>
            </a:r>
          </a:p>
        </p:txBody>
      </p:sp>
      <p:grpSp>
        <p:nvGrpSpPr>
          <p:cNvPr id="15" name="Gruppo 14">
            <a:extLst>
              <a:ext uri="{FF2B5EF4-FFF2-40B4-BE49-F238E27FC236}">
                <a16:creationId xmlns:a16="http://schemas.microsoft.com/office/drawing/2014/main" id="{EF9CF0F7-A48A-4A65-B0FC-D0CFD62F71B1}"/>
              </a:ext>
            </a:extLst>
          </p:cNvPr>
          <p:cNvGrpSpPr/>
          <p:nvPr/>
        </p:nvGrpSpPr>
        <p:grpSpPr>
          <a:xfrm>
            <a:off x="453767" y="2682940"/>
            <a:ext cx="5435347" cy="3673571"/>
            <a:chOff x="365394" y="2176353"/>
            <a:chExt cx="5607066" cy="3080068"/>
          </a:xfrm>
        </p:grpSpPr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F0F48FD4-9D4F-22D3-394D-B143213F5F50}"/>
                </a:ext>
              </a:extLst>
            </p:cNvPr>
            <p:cNvSpPr/>
            <p:nvPr/>
          </p:nvSpPr>
          <p:spPr>
            <a:xfrm>
              <a:off x="576719" y="3329357"/>
              <a:ext cx="377071" cy="2743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Rettangolo 5">
              <a:extLst>
                <a:ext uri="{FF2B5EF4-FFF2-40B4-BE49-F238E27FC236}">
                  <a16:creationId xmlns:a16="http://schemas.microsoft.com/office/drawing/2014/main" id="{7831D497-59EF-40E2-A29A-801307110324}"/>
                </a:ext>
              </a:extLst>
            </p:cNvPr>
            <p:cNvSpPr/>
            <p:nvPr/>
          </p:nvSpPr>
          <p:spPr>
            <a:xfrm>
              <a:off x="394529" y="2176353"/>
              <a:ext cx="2664000" cy="324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b="1">
                  <a:solidFill>
                    <a:srgbClr val="DC002E"/>
                  </a:solidFill>
                </a:rPr>
                <a:t>Progetti</a:t>
              </a:r>
            </a:p>
          </p:txBody>
        </p:sp>
        <p:pic>
          <p:nvPicPr>
            <p:cNvPr id="34" name="Immagine 33">
              <a:extLst>
                <a:ext uri="{FF2B5EF4-FFF2-40B4-BE49-F238E27FC236}">
                  <a16:creationId xmlns:a16="http://schemas.microsoft.com/office/drawing/2014/main" id="{418D4804-C6D4-441A-B5B5-C468FDA24058}"/>
                </a:ext>
              </a:extLst>
            </p:cNvPr>
            <p:cNvPicPr>
              <a:picLocks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6965" y="4346988"/>
              <a:ext cx="864000" cy="54000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35" name="Immagine 34">
              <a:extLst>
                <a:ext uri="{FF2B5EF4-FFF2-40B4-BE49-F238E27FC236}">
                  <a16:creationId xmlns:a16="http://schemas.microsoft.com/office/drawing/2014/main" id="{73EF4A3C-0573-4876-9467-362AF1F920B9}"/>
                </a:ext>
              </a:extLst>
            </p:cNvPr>
            <p:cNvPicPr>
              <a:picLocks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70445" y="3156387"/>
              <a:ext cx="864000" cy="54000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36" name="Immagine 35">
              <a:extLst>
                <a:ext uri="{FF2B5EF4-FFF2-40B4-BE49-F238E27FC236}">
                  <a16:creationId xmlns:a16="http://schemas.microsoft.com/office/drawing/2014/main" id="{EC89B84D-9567-4B18-9059-12F56C456989}"/>
                </a:ext>
              </a:extLst>
            </p:cNvPr>
            <p:cNvPicPr>
              <a:picLocks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70445" y="2573734"/>
              <a:ext cx="864000" cy="54000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37" name="Immagine 36">
              <a:extLst>
                <a:ext uri="{FF2B5EF4-FFF2-40B4-BE49-F238E27FC236}">
                  <a16:creationId xmlns:a16="http://schemas.microsoft.com/office/drawing/2014/main" id="{37B999F7-2206-46E5-BF18-E86EBB0557CE}"/>
                </a:ext>
              </a:extLst>
            </p:cNvPr>
            <p:cNvPicPr>
              <a:picLocks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59015" y="3764335"/>
              <a:ext cx="864000" cy="54000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44" name="Immagine 43">
              <a:extLst>
                <a:ext uri="{FF2B5EF4-FFF2-40B4-BE49-F238E27FC236}">
                  <a16:creationId xmlns:a16="http://schemas.microsoft.com/office/drawing/2014/main" id="{94012E46-1902-4F4E-AD10-457E55599AFD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85647" y="2621865"/>
              <a:ext cx="864000" cy="540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</p:pic>
        <p:pic>
          <p:nvPicPr>
            <p:cNvPr id="45" name="Immagine 44">
              <a:extLst>
                <a:ext uri="{FF2B5EF4-FFF2-40B4-BE49-F238E27FC236}">
                  <a16:creationId xmlns:a16="http://schemas.microsoft.com/office/drawing/2014/main" id="{63C9F4BB-1819-41CE-B3F3-509FF8F26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93527" y="3200062"/>
              <a:ext cx="864000" cy="5870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</p:pic>
        <p:pic>
          <p:nvPicPr>
            <p:cNvPr id="46" name="Immagine 45">
              <a:extLst>
                <a:ext uri="{FF2B5EF4-FFF2-40B4-BE49-F238E27FC236}">
                  <a16:creationId xmlns:a16="http://schemas.microsoft.com/office/drawing/2014/main" id="{1D1939D1-A2F6-41D1-B45D-7858F2558F82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08460" y="3838624"/>
              <a:ext cx="864000" cy="540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</p:pic>
        <p:pic>
          <p:nvPicPr>
            <p:cNvPr id="51" name="Immagine 50">
              <a:extLst>
                <a:ext uri="{FF2B5EF4-FFF2-40B4-BE49-F238E27FC236}">
                  <a16:creationId xmlns:a16="http://schemas.microsoft.com/office/drawing/2014/main" id="{8B43987C-DDEE-418D-8A69-55BEB8ED493B}"/>
                </a:ext>
              </a:extLst>
            </p:cNvPr>
            <p:cNvPicPr>
              <a:picLocks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89840" y="4406056"/>
              <a:ext cx="864000" cy="540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</p:pic>
        <p:sp>
          <p:nvSpPr>
            <p:cNvPr id="9" name="Rettangolo 8">
              <a:extLst>
                <a:ext uri="{FF2B5EF4-FFF2-40B4-BE49-F238E27FC236}">
                  <a16:creationId xmlns:a16="http://schemas.microsoft.com/office/drawing/2014/main" id="{52924C04-9FF2-4133-BAB1-92119392B52B}"/>
                </a:ext>
              </a:extLst>
            </p:cNvPr>
            <p:cNvSpPr/>
            <p:nvPr/>
          </p:nvSpPr>
          <p:spPr>
            <a:xfrm>
              <a:off x="385013" y="2576553"/>
              <a:ext cx="1728000" cy="540000"/>
            </a:xfrm>
            <a:prstGeom prst="rect">
              <a:avLst/>
            </a:prstGeom>
            <a:solidFill>
              <a:srgbClr val="DC0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/>
            </a:p>
          </p:txBody>
        </p:sp>
        <p:sp>
          <p:nvSpPr>
            <p:cNvPr id="54" name="CasellaDiTesto 53">
              <a:extLst>
                <a:ext uri="{FF2B5EF4-FFF2-40B4-BE49-F238E27FC236}">
                  <a16:creationId xmlns:a16="http://schemas.microsoft.com/office/drawing/2014/main" id="{11AB4331-D448-45EC-8CA1-699F158BD297}"/>
                </a:ext>
              </a:extLst>
            </p:cNvPr>
            <p:cNvSpPr txBox="1"/>
            <p:nvPr/>
          </p:nvSpPr>
          <p:spPr>
            <a:xfrm>
              <a:off x="390263" y="2682218"/>
              <a:ext cx="1448751" cy="23224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uove linee</a:t>
              </a:r>
              <a:endPara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Rettangolo 54">
              <a:extLst>
                <a:ext uri="{FF2B5EF4-FFF2-40B4-BE49-F238E27FC236}">
                  <a16:creationId xmlns:a16="http://schemas.microsoft.com/office/drawing/2014/main" id="{2ED94306-9D77-40F2-A20F-A844883F483D}"/>
                </a:ext>
              </a:extLst>
            </p:cNvPr>
            <p:cNvSpPr/>
            <p:nvPr/>
          </p:nvSpPr>
          <p:spPr>
            <a:xfrm>
              <a:off x="381991" y="3172773"/>
              <a:ext cx="1728000" cy="540000"/>
            </a:xfrm>
            <a:prstGeom prst="rect">
              <a:avLst/>
            </a:prstGeom>
            <a:solidFill>
              <a:srgbClr val="DC0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/>
            </a:p>
          </p:txBody>
        </p:sp>
        <p:sp>
          <p:nvSpPr>
            <p:cNvPr id="56" name="CasellaDiTesto 55">
              <a:extLst>
                <a:ext uri="{FF2B5EF4-FFF2-40B4-BE49-F238E27FC236}">
                  <a16:creationId xmlns:a16="http://schemas.microsoft.com/office/drawing/2014/main" id="{40931B4E-95AA-45A7-A3A9-4687E033B2CD}"/>
                </a:ext>
              </a:extLst>
            </p:cNvPr>
            <p:cNvSpPr txBox="1"/>
            <p:nvPr/>
          </p:nvSpPr>
          <p:spPr>
            <a:xfrm>
              <a:off x="376483" y="3201039"/>
              <a:ext cx="1687516" cy="5419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iluppo linee esistenti </a:t>
              </a:r>
              <a:r>
                <a:rPr kumimoji="0" lang="it-IT" altLang="it-IT" sz="1200" i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raddoppi, varianti,…)</a:t>
              </a:r>
            </a:p>
          </p:txBody>
        </p:sp>
        <p:sp>
          <p:nvSpPr>
            <p:cNvPr id="57" name="Rettangolo 56">
              <a:extLst>
                <a:ext uri="{FF2B5EF4-FFF2-40B4-BE49-F238E27FC236}">
                  <a16:creationId xmlns:a16="http://schemas.microsoft.com/office/drawing/2014/main" id="{ABE1918D-290F-4660-B7C9-AFAD7CC27A81}"/>
                </a:ext>
              </a:extLst>
            </p:cNvPr>
            <p:cNvSpPr/>
            <p:nvPr/>
          </p:nvSpPr>
          <p:spPr>
            <a:xfrm>
              <a:off x="376483" y="3756830"/>
              <a:ext cx="1722419" cy="540000"/>
            </a:xfrm>
            <a:prstGeom prst="rect">
              <a:avLst/>
            </a:prstGeom>
            <a:solidFill>
              <a:srgbClr val="DC0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/>
            </a:p>
          </p:txBody>
        </p:sp>
        <p:sp>
          <p:nvSpPr>
            <p:cNvPr id="58" name="CasellaDiTesto 57">
              <a:extLst>
                <a:ext uri="{FF2B5EF4-FFF2-40B4-BE49-F238E27FC236}">
                  <a16:creationId xmlns:a16="http://schemas.microsoft.com/office/drawing/2014/main" id="{221C4B05-08B5-492D-8834-A474E65D2E9F}"/>
                </a:ext>
              </a:extLst>
            </p:cNvPr>
            <p:cNvSpPr txBox="1"/>
            <p:nvPr/>
          </p:nvSpPr>
          <p:spPr>
            <a:xfrm>
              <a:off x="365394" y="3862495"/>
              <a:ext cx="1448751" cy="23224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fori</a:t>
              </a:r>
              <a:endPara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ettangolo 58">
              <a:extLst>
                <a:ext uri="{FF2B5EF4-FFF2-40B4-BE49-F238E27FC236}">
                  <a16:creationId xmlns:a16="http://schemas.microsoft.com/office/drawing/2014/main" id="{710F78D9-1338-4E00-9853-FE9338D0BC1A}"/>
                </a:ext>
              </a:extLst>
            </p:cNvPr>
            <p:cNvSpPr/>
            <p:nvPr/>
          </p:nvSpPr>
          <p:spPr>
            <a:xfrm>
              <a:off x="381991" y="4380304"/>
              <a:ext cx="1705309" cy="540000"/>
            </a:xfrm>
            <a:prstGeom prst="rect">
              <a:avLst/>
            </a:prstGeom>
            <a:solidFill>
              <a:srgbClr val="DC0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/>
            </a:p>
          </p:txBody>
        </p:sp>
        <p:sp>
          <p:nvSpPr>
            <p:cNvPr id="60" name="CasellaDiTesto 59">
              <a:extLst>
                <a:ext uri="{FF2B5EF4-FFF2-40B4-BE49-F238E27FC236}">
                  <a16:creationId xmlns:a16="http://schemas.microsoft.com/office/drawing/2014/main" id="{40BA6EAA-7DE2-4FD3-A21C-FD845AFD814F}"/>
                </a:ext>
              </a:extLst>
            </p:cNvPr>
            <p:cNvSpPr txBox="1"/>
            <p:nvPr/>
          </p:nvSpPr>
          <p:spPr>
            <a:xfrm>
              <a:off x="376483" y="4435169"/>
              <a:ext cx="1429727" cy="3870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ssanti metropolitani</a:t>
              </a:r>
              <a:endPara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ttangolo 60">
              <a:extLst>
                <a:ext uri="{FF2B5EF4-FFF2-40B4-BE49-F238E27FC236}">
                  <a16:creationId xmlns:a16="http://schemas.microsoft.com/office/drawing/2014/main" id="{3A056B62-1809-42B1-A9D5-125DEF955979}"/>
                </a:ext>
              </a:extLst>
            </p:cNvPr>
            <p:cNvSpPr/>
            <p:nvPr/>
          </p:nvSpPr>
          <p:spPr>
            <a:xfrm>
              <a:off x="3459905" y="3352827"/>
              <a:ext cx="377071" cy="2743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ttangolo 61">
              <a:extLst>
                <a:ext uri="{FF2B5EF4-FFF2-40B4-BE49-F238E27FC236}">
                  <a16:creationId xmlns:a16="http://schemas.microsoft.com/office/drawing/2014/main" id="{35F9CF78-4044-4579-9B54-793711AF77A8}"/>
                </a:ext>
              </a:extLst>
            </p:cNvPr>
            <p:cNvSpPr/>
            <p:nvPr/>
          </p:nvSpPr>
          <p:spPr>
            <a:xfrm>
              <a:off x="3259669" y="2600023"/>
              <a:ext cx="1790613" cy="540000"/>
            </a:xfrm>
            <a:prstGeom prst="rect">
              <a:avLst/>
            </a:prstGeom>
            <a:solidFill>
              <a:srgbClr val="DC0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/>
            </a:p>
          </p:txBody>
        </p:sp>
        <p:sp>
          <p:nvSpPr>
            <p:cNvPr id="63" name="CasellaDiTesto 62">
              <a:extLst>
                <a:ext uri="{FF2B5EF4-FFF2-40B4-BE49-F238E27FC236}">
                  <a16:creationId xmlns:a16="http://schemas.microsoft.com/office/drawing/2014/main" id="{169ACE74-C97B-4C8B-A49A-082FC5871595}"/>
                </a:ext>
              </a:extLst>
            </p:cNvPr>
            <p:cNvSpPr txBox="1"/>
            <p:nvPr/>
          </p:nvSpPr>
          <p:spPr>
            <a:xfrm>
              <a:off x="3340917" y="2583005"/>
              <a:ext cx="1660520" cy="6967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2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Sicurezza </a:t>
              </a:r>
              <a:r>
                <a:rPr kumimoji="0" lang="it-IT" altLang="it-IT" sz="1200" b="0" i="1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(idrogeologia, sismica, passaggi a livello, gallerie,…)</a:t>
              </a:r>
            </a:p>
          </p:txBody>
        </p:sp>
        <p:sp>
          <p:nvSpPr>
            <p:cNvPr id="64" name="Rettangolo 63">
              <a:extLst>
                <a:ext uri="{FF2B5EF4-FFF2-40B4-BE49-F238E27FC236}">
                  <a16:creationId xmlns:a16="http://schemas.microsoft.com/office/drawing/2014/main" id="{3092737C-1595-4BF9-99BF-10AAED846A5F}"/>
                </a:ext>
              </a:extLst>
            </p:cNvPr>
            <p:cNvSpPr/>
            <p:nvPr/>
          </p:nvSpPr>
          <p:spPr>
            <a:xfrm>
              <a:off x="3265177" y="3196243"/>
              <a:ext cx="1771327" cy="540000"/>
            </a:xfrm>
            <a:prstGeom prst="rect">
              <a:avLst/>
            </a:prstGeom>
            <a:solidFill>
              <a:srgbClr val="DC0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/>
            </a:p>
          </p:txBody>
        </p:sp>
        <p:sp>
          <p:nvSpPr>
            <p:cNvPr id="65" name="CasellaDiTesto 64">
              <a:extLst>
                <a:ext uri="{FF2B5EF4-FFF2-40B4-BE49-F238E27FC236}">
                  <a16:creationId xmlns:a16="http://schemas.microsoft.com/office/drawing/2014/main" id="{523F6CE3-EEF5-4F8E-B0C4-ED87C1F04177}"/>
                </a:ext>
              </a:extLst>
            </p:cNvPr>
            <p:cNvSpPr txBox="1"/>
            <p:nvPr/>
          </p:nvSpPr>
          <p:spPr>
            <a:xfrm>
              <a:off x="3259669" y="3181477"/>
              <a:ext cx="2137416" cy="5419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fficientamento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200" i="1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diagnostica, sistemi informativi,…)</a:t>
              </a:r>
            </a:p>
          </p:txBody>
        </p:sp>
        <p:sp>
          <p:nvSpPr>
            <p:cNvPr id="66" name="Rettangolo 65">
              <a:extLst>
                <a:ext uri="{FF2B5EF4-FFF2-40B4-BE49-F238E27FC236}">
                  <a16:creationId xmlns:a16="http://schemas.microsoft.com/office/drawing/2014/main" id="{8B584CF2-7C69-4078-81C5-F8EC3F0F790B}"/>
                </a:ext>
              </a:extLst>
            </p:cNvPr>
            <p:cNvSpPr/>
            <p:nvPr/>
          </p:nvSpPr>
          <p:spPr>
            <a:xfrm>
              <a:off x="3274371" y="3780300"/>
              <a:ext cx="1779064" cy="540000"/>
            </a:xfrm>
            <a:prstGeom prst="rect">
              <a:avLst/>
            </a:prstGeom>
            <a:solidFill>
              <a:srgbClr val="DC0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/>
            </a:p>
          </p:txBody>
        </p:sp>
        <p:sp>
          <p:nvSpPr>
            <p:cNvPr id="67" name="CasellaDiTesto 66">
              <a:extLst>
                <a:ext uri="{FF2B5EF4-FFF2-40B4-BE49-F238E27FC236}">
                  <a16:creationId xmlns:a16="http://schemas.microsoft.com/office/drawing/2014/main" id="{2EF55DD5-A6AF-4E46-84A2-751A87E9C2A9}"/>
                </a:ext>
              </a:extLst>
            </p:cNvPr>
            <p:cNvSpPr txBox="1"/>
            <p:nvPr/>
          </p:nvSpPr>
          <p:spPr>
            <a:xfrm>
              <a:off x="3246998" y="3797501"/>
              <a:ext cx="1774430" cy="54190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pgrading infrastrutturale e tecnologico</a:t>
              </a:r>
              <a:endParaRPr kumimoji="0" lang="it-IT" altLang="it-IT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Rettangolo 67">
              <a:extLst>
                <a:ext uri="{FF2B5EF4-FFF2-40B4-BE49-F238E27FC236}">
                  <a16:creationId xmlns:a16="http://schemas.microsoft.com/office/drawing/2014/main" id="{0346DBD5-F818-4CB2-B1D1-CABD4DD4CA03}"/>
                </a:ext>
              </a:extLst>
            </p:cNvPr>
            <p:cNvSpPr/>
            <p:nvPr/>
          </p:nvSpPr>
          <p:spPr>
            <a:xfrm>
              <a:off x="3265176" y="4403774"/>
              <a:ext cx="1804337" cy="540000"/>
            </a:xfrm>
            <a:prstGeom prst="rect">
              <a:avLst/>
            </a:prstGeom>
            <a:solidFill>
              <a:srgbClr val="DC0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000"/>
            </a:p>
          </p:txBody>
        </p:sp>
        <p:sp>
          <p:nvSpPr>
            <p:cNvPr id="69" name="CasellaDiTesto 68">
              <a:extLst>
                <a:ext uri="{FF2B5EF4-FFF2-40B4-BE49-F238E27FC236}">
                  <a16:creationId xmlns:a16="http://schemas.microsoft.com/office/drawing/2014/main" id="{B4167559-F09F-401E-8980-B14BC6DDBA23}"/>
                </a:ext>
              </a:extLst>
            </p:cNvPr>
            <p:cNvSpPr txBox="1"/>
            <p:nvPr/>
          </p:nvSpPr>
          <p:spPr>
            <a:xfrm>
              <a:off x="3259671" y="4404849"/>
              <a:ext cx="1842678" cy="8515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kumimoji="0" lang="it-IT" altLang="it-IT" sz="12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zioni </a:t>
              </a:r>
              <a:r>
                <a:rPr kumimoji="0" lang="it-IT" altLang="it-IT" sz="1200" b="0" i="1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(riqualificazioni, miglioramento accessibilità, integrazione modale)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altLang="it-IT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0" name="CasellaDiTesto 99">
            <a:extLst>
              <a:ext uri="{FF2B5EF4-FFF2-40B4-BE49-F238E27FC236}">
                <a16:creationId xmlns:a16="http://schemas.microsoft.com/office/drawing/2014/main" id="{A6AA3CA0-11DE-44ED-926A-EBED27DE2905}"/>
              </a:ext>
            </a:extLst>
          </p:cNvPr>
          <p:cNvSpPr txBox="1"/>
          <p:nvPr/>
        </p:nvSpPr>
        <p:spPr>
          <a:xfrm>
            <a:off x="394817" y="1674511"/>
            <a:ext cx="5472182" cy="8745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8420" marR="337820" indent="0" algn="just">
              <a:lnSpc>
                <a:spcPts val="1510"/>
              </a:lnSpc>
              <a:spcBef>
                <a:spcPts val="1085"/>
              </a:spcBef>
              <a:buClr>
                <a:srgbClr val="C00000"/>
              </a:buClr>
              <a:buFont typeface="Wingdings"/>
              <a:buNone/>
              <a:tabLst>
                <a:tab pos="228600" algn="l"/>
              </a:tabLst>
            </a:pPr>
            <a:r>
              <a:rPr lang="it-IT" sz="1600" spc="-5">
                <a:latin typeface="+mj-lt"/>
                <a:cs typeface="Carlito"/>
              </a:rPr>
              <a:t>Il </a:t>
            </a:r>
            <a:r>
              <a:rPr lang="it-IT" sz="1600" spc="-10">
                <a:latin typeface="+mj-lt"/>
                <a:cs typeface="Carlito"/>
              </a:rPr>
              <a:t>Contratto </a:t>
            </a:r>
            <a:r>
              <a:rPr lang="it-IT" sz="1600">
                <a:latin typeface="+mj-lt"/>
                <a:cs typeface="Carlito"/>
              </a:rPr>
              <a:t>disciplina </a:t>
            </a:r>
            <a:r>
              <a:rPr lang="it-IT" sz="1600" b="1" spc="-5">
                <a:latin typeface="+mj-lt"/>
                <a:cs typeface="Carlito"/>
              </a:rPr>
              <a:t>gli </a:t>
            </a:r>
            <a:r>
              <a:rPr lang="it-IT" sz="1600" b="1" spc="-10">
                <a:latin typeface="+mj-lt"/>
                <a:cs typeface="Carlito"/>
              </a:rPr>
              <a:t>investimenti </a:t>
            </a:r>
            <a:r>
              <a:rPr lang="it-IT" sz="1600" b="1" spc="-5">
                <a:latin typeface="+mj-lt"/>
                <a:cs typeface="Carlito"/>
              </a:rPr>
              <a:t>ferroviari </a:t>
            </a:r>
            <a:r>
              <a:rPr lang="it-IT" sz="1600" spc="-5">
                <a:latin typeface="+mj-lt"/>
                <a:cs typeface="Carlito"/>
              </a:rPr>
              <a:t>da </a:t>
            </a:r>
            <a:r>
              <a:rPr lang="it-IT" sz="1600" spc="-10">
                <a:latin typeface="+mj-lt"/>
                <a:cs typeface="Carlito"/>
              </a:rPr>
              <a:t>realizzare </a:t>
            </a:r>
            <a:r>
              <a:rPr lang="it-IT" sz="1600">
                <a:latin typeface="+mj-lt"/>
                <a:cs typeface="Carlito"/>
              </a:rPr>
              <a:t>a </a:t>
            </a:r>
            <a:r>
              <a:rPr lang="it-IT" sz="1600" spc="-5">
                <a:latin typeface="+mj-lt"/>
                <a:cs typeface="Carlito"/>
              </a:rPr>
              <a:t>carico  del </a:t>
            </a:r>
            <a:r>
              <a:rPr lang="it-IT" sz="1600" spc="-10">
                <a:latin typeface="+mj-lt"/>
                <a:cs typeface="Carlito"/>
              </a:rPr>
              <a:t>Gestore </a:t>
            </a:r>
            <a:r>
              <a:rPr lang="it-IT" sz="1600">
                <a:latin typeface="+mj-lt"/>
                <a:cs typeface="Carlito"/>
              </a:rPr>
              <a:t>per il </a:t>
            </a:r>
            <a:r>
              <a:rPr lang="it-IT" sz="1600" spc="-10">
                <a:latin typeface="+mj-lt"/>
                <a:cs typeface="Carlito"/>
              </a:rPr>
              <a:t>potenziamento, </a:t>
            </a:r>
            <a:r>
              <a:rPr lang="it-IT" sz="1600" spc="-5">
                <a:latin typeface="+mj-lt"/>
                <a:cs typeface="Carlito"/>
              </a:rPr>
              <a:t>sviluppo </a:t>
            </a:r>
            <a:r>
              <a:rPr lang="it-IT" sz="1600">
                <a:latin typeface="+mj-lt"/>
                <a:cs typeface="Carlito"/>
              </a:rPr>
              <a:t>e </a:t>
            </a:r>
            <a:r>
              <a:rPr lang="it-IT" sz="1600" spc="-10">
                <a:solidFill>
                  <a:schemeClr val="tx1"/>
                </a:solidFill>
                <a:latin typeface="+mj-lt"/>
                <a:ea typeface="+mn-ea"/>
                <a:cs typeface="Arial"/>
              </a:rPr>
              <a:t>l’adeguamento </a:t>
            </a:r>
            <a:r>
              <a:rPr lang="it-IT" sz="1600" spc="-60">
                <a:latin typeface="+mj-lt"/>
                <a:cs typeface="Arial"/>
              </a:rPr>
              <a:t> </a:t>
            </a:r>
            <a:r>
              <a:rPr lang="it-IT" sz="1600" spc="-5">
                <a:latin typeface="+mj-lt"/>
                <a:cs typeface="Carlito"/>
              </a:rPr>
              <a:t>tecnologico della </a:t>
            </a:r>
            <a:r>
              <a:rPr lang="it-IT" sz="1600" spc="-15">
                <a:latin typeface="+mj-lt"/>
                <a:cs typeface="Carlito"/>
              </a:rPr>
              <a:t>rete </a:t>
            </a:r>
            <a:r>
              <a:rPr lang="it-IT" sz="1600" spc="-5">
                <a:latin typeface="+mj-lt"/>
                <a:cs typeface="Carlito"/>
              </a:rPr>
              <a:t>ferroviaria ed </a:t>
            </a:r>
            <a:r>
              <a:rPr lang="it-IT" sz="1600">
                <a:latin typeface="+mj-lt"/>
                <a:cs typeface="Carlito"/>
              </a:rPr>
              <a:t>il </a:t>
            </a:r>
            <a:r>
              <a:rPr lang="it-IT" sz="1600" spc="-10">
                <a:latin typeface="+mj-lt"/>
                <a:cs typeface="Carlito"/>
              </a:rPr>
              <a:t>relativo</a:t>
            </a:r>
            <a:r>
              <a:rPr lang="it-IT" sz="1600" spc="45">
                <a:latin typeface="+mj-lt"/>
                <a:cs typeface="Carlito"/>
              </a:rPr>
              <a:t> </a:t>
            </a:r>
            <a:r>
              <a:rPr lang="it-IT" sz="1600" spc="-5">
                <a:latin typeface="+mj-lt"/>
                <a:cs typeface="Carlito"/>
              </a:rPr>
              <a:t>finanziamento.</a:t>
            </a:r>
            <a:endParaRPr lang="it-IT" sz="1600">
              <a:latin typeface="+mj-lt"/>
              <a:cs typeface="Carlito"/>
            </a:endParaRPr>
          </a:p>
        </p:txBody>
      </p:sp>
      <p:sp>
        <p:nvSpPr>
          <p:cNvPr id="42" name="object 9">
            <a:extLst>
              <a:ext uri="{FF2B5EF4-FFF2-40B4-BE49-F238E27FC236}">
                <a16:creationId xmlns:a16="http://schemas.microsoft.com/office/drawing/2014/main" id="{EA01992B-2E4A-45B4-8CAD-43443ED113CF}"/>
              </a:ext>
            </a:extLst>
          </p:cNvPr>
          <p:cNvSpPr/>
          <p:nvPr/>
        </p:nvSpPr>
        <p:spPr>
          <a:xfrm>
            <a:off x="6279273" y="5376079"/>
            <a:ext cx="5292000" cy="0"/>
          </a:xfrm>
          <a:custGeom>
            <a:avLst/>
            <a:gdLst/>
            <a:ahLst/>
            <a:cxnLst/>
            <a:rect l="l" t="t" r="r" b="b"/>
            <a:pathLst>
              <a:path w="3718560">
                <a:moveTo>
                  <a:pt x="0" y="0"/>
                </a:moveTo>
                <a:lnTo>
                  <a:pt x="3718560" y="0"/>
                </a:lnTo>
              </a:path>
            </a:pathLst>
          </a:custGeom>
          <a:ln w="2857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43" name="object 50">
            <a:extLst>
              <a:ext uri="{FF2B5EF4-FFF2-40B4-BE49-F238E27FC236}">
                <a16:creationId xmlns:a16="http://schemas.microsoft.com/office/drawing/2014/main" id="{CD637547-1D93-4858-B666-DFDDB34EC70E}"/>
              </a:ext>
            </a:extLst>
          </p:cNvPr>
          <p:cNvSpPr txBox="1"/>
          <p:nvPr/>
        </p:nvSpPr>
        <p:spPr>
          <a:xfrm>
            <a:off x="6102620" y="5406375"/>
            <a:ext cx="1425240" cy="4703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it-IT" sz="1400" spc="-10">
                <a:latin typeface="Calibri"/>
                <a:cs typeface="Calibri"/>
              </a:rPr>
              <a:t>CdP-I</a:t>
            </a:r>
          </a:p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it-IT" sz="1400" spc="-10">
                <a:latin typeface="Calibri"/>
                <a:cs typeface="Calibri"/>
              </a:rPr>
              <a:t>Agg. 2020-2021</a:t>
            </a:r>
          </a:p>
        </p:txBody>
      </p:sp>
      <p:sp>
        <p:nvSpPr>
          <p:cNvPr id="47" name="object 50">
            <a:extLst>
              <a:ext uri="{FF2B5EF4-FFF2-40B4-BE49-F238E27FC236}">
                <a16:creationId xmlns:a16="http://schemas.microsoft.com/office/drawing/2014/main" id="{7AA0A69C-8541-4049-934D-4599C74193D3}"/>
              </a:ext>
            </a:extLst>
          </p:cNvPr>
          <p:cNvSpPr txBox="1"/>
          <p:nvPr/>
        </p:nvSpPr>
        <p:spPr>
          <a:xfrm>
            <a:off x="7464649" y="5406375"/>
            <a:ext cx="799946" cy="45503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it-IT" sz="1400" spc="-10">
                <a:latin typeface="Calibri"/>
                <a:cs typeface="Calibri"/>
              </a:rPr>
              <a:t>Opere ultimate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48" name="object 50">
            <a:extLst>
              <a:ext uri="{FF2B5EF4-FFF2-40B4-BE49-F238E27FC236}">
                <a16:creationId xmlns:a16="http://schemas.microsoft.com/office/drawing/2014/main" id="{2ED79508-BB2C-40AA-857F-DFD7DCC48A85}"/>
              </a:ext>
            </a:extLst>
          </p:cNvPr>
          <p:cNvSpPr txBox="1"/>
          <p:nvPr/>
        </p:nvSpPr>
        <p:spPr>
          <a:xfrm>
            <a:off x="8620668" y="5406375"/>
            <a:ext cx="724485" cy="45503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it-IT" sz="1400" spc="-10">
                <a:latin typeface="Calibri"/>
                <a:cs typeface="Calibri"/>
              </a:rPr>
              <a:t>Definan-ziamenti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70" name="object 50">
            <a:extLst>
              <a:ext uri="{FF2B5EF4-FFF2-40B4-BE49-F238E27FC236}">
                <a16:creationId xmlns:a16="http://schemas.microsoft.com/office/drawing/2014/main" id="{DF70552C-C357-4EED-8A78-C68AA13E282A}"/>
              </a:ext>
            </a:extLst>
          </p:cNvPr>
          <p:cNvSpPr txBox="1"/>
          <p:nvPr/>
        </p:nvSpPr>
        <p:spPr>
          <a:xfrm>
            <a:off x="9647886" y="5406375"/>
            <a:ext cx="724485" cy="45503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it-IT" sz="1400" spc="-10">
                <a:latin typeface="Calibri"/>
                <a:cs typeface="Calibri"/>
              </a:rPr>
              <a:t>Nuove risorse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71" name="object 50">
            <a:extLst>
              <a:ext uri="{FF2B5EF4-FFF2-40B4-BE49-F238E27FC236}">
                <a16:creationId xmlns:a16="http://schemas.microsoft.com/office/drawing/2014/main" id="{3D3B22BD-AB23-4249-A077-8FB4A7FBDC33}"/>
              </a:ext>
            </a:extLst>
          </p:cNvPr>
          <p:cNvSpPr txBox="1"/>
          <p:nvPr/>
        </p:nvSpPr>
        <p:spPr>
          <a:xfrm>
            <a:off x="10649580" y="5406375"/>
            <a:ext cx="805661" cy="44306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it-IT" sz="1400" spc="-10">
                <a:latin typeface="Calibri"/>
                <a:cs typeface="Calibri"/>
              </a:rPr>
              <a:t>CdP-I 2022-2026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73" name="Rettangolo 72">
            <a:extLst>
              <a:ext uri="{FF2B5EF4-FFF2-40B4-BE49-F238E27FC236}">
                <a16:creationId xmlns:a16="http://schemas.microsoft.com/office/drawing/2014/main" id="{D057A5EA-16FE-4813-9D09-29DDBED5C3D4}"/>
              </a:ext>
            </a:extLst>
          </p:cNvPr>
          <p:cNvSpPr/>
          <p:nvPr/>
        </p:nvSpPr>
        <p:spPr>
          <a:xfrm>
            <a:off x="6415817" y="3414624"/>
            <a:ext cx="806970" cy="1958510"/>
          </a:xfrm>
          <a:prstGeom prst="rect">
            <a:avLst/>
          </a:prstGeom>
          <a:solidFill>
            <a:srgbClr val="6F6F7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000"/>
          </a:p>
        </p:txBody>
      </p:sp>
      <p:sp>
        <p:nvSpPr>
          <p:cNvPr id="76" name="Rettangolo 75">
            <a:extLst>
              <a:ext uri="{FF2B5EF4-FFF2-40B4-BE49-F238E27FC236}">
                <a16:creationId xmlns:a16="http://schemas.microsoft.com/office/drawing/2014/main" id="{F0BE7635-59CB-4051-AAF8-8ABEDD284B02}"/>
              </a:ext>
            </a:extLst>
          </p:cNvPr>
          <p:cNvSpPr/>
          <p:nvPr/>
        </p:nvSpPr>
        <p:spPr>
          <a:xfrm>
            <a:off x="10601651" y="2192503"/>
            <a:ext cx="806970" cy="3175316"/>
          </a:xfrm>
          <a:prstGeom prst="rect">
            <a:avLst/>
          </a:prstGeom>
          <a:solidFill>
            <a:srgbClr val="315689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000"/>
          </a:p>
        </p:txBody>
      </p:sp>
      <p:sp>
        <p:nvSpPr>
          <p:cNvPr id="78" name="Rettangolo 77">
            <a:extLst>
              <a:ext uri="{FF2B5EF4-FFF2-40B4-BE49-F238E27FC236}">
                <a16:creationId xmlns:a16="http://schemas.microsoft.com/office/drawing/2014/main" id="{8640D1F8-1DBF-45F0-B480-3EFE6009E6A1}"/>
              </a:ext>
            </a:extLst>
          </p:cNvPr>
          <p:cNvSpPr/>
          <p:nvPr/>
        </p:nvSpPr>
        <p:spPr>
          <a:xfrm>
            <a:off x="6325003" y="2942792"/>
            <a:ext cx="900000" cy="536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>
                <a:solidFill>
                  <a:srgbClr val="6F6F71"/>
                </a:solidFill>
              </a:rPr>
              <a:t>109,2</a:t>
            </a:r>
          </a:p>
        </p:txBody>
      </p:sp>
      <p:sp>
        <p:nvSpPr>
          <p:cNvPr id="79" name="Rettangolo 78">
            <a:extLst>
              <a:ext uri="{FF2B5EF4-FFF2-40B4-BE49-F238E27FC236}">
                <a16:creationId xmlns:a16="http://schemas.microsoft.com/office/drawing/2014/main" id="{09726319-98F4-41C0-B077-B99180E397C3}"/>
              </a:ext>
            </a:extLst>
          </p:cNvPr>
          <p:cNvSpPr/>
          <p:nvPr/>
        </p:nvSpPr>
        <p:spPr>
          <a:xfrm>
            <a:off x="10547559" y="1716118"/>
            <a:ext cx="900000" cy="536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>
                <a:solidFill>
                  <a:srgbClr val="315689"/>
                </a:solidFill>
              </a:rPr>
              <a:t>119,4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80" name="Grafico 79">
                <a:extLst>
                  <a:ext uri="{FF2B5EF4-FFF2-40B4-BE49-F238E27FC236}">
                    <a16:creationId xmlns:a16="http://schemas.microsoft.com/office/drawing/2014/main" id="{C2A1EA04-23BF-42AB-9A45-E4BBEA27E91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162873037"/>
                  </p:ext>
                </p:extLst>
              </p:nvPr>
            </p:nvGraphicFramePr>
            <p:xfrm>
              <a:off x="7251326" y="1902171"/>
              <a:ext cx="3286459" cy="212203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11"/>
              </a:graphicData>
            </a:graphic>
          </p:graphicFrame>
        </mc:Choice>
        <mc:Fallback xmlns="">
          <p:pic>
            <p:nvPicPr>
              <p:cNvPr id="80" name="Grafico 79">
                <a:extLst>
                  <a:ext uri="{FF2B5EF4-FFF2-40B4-BE49-F238E27FC236}">
                    <a16:creationId xmlns:a16="http://schemas.microsoft.com/office/drawing/2014/main" id="{C2A1EA04-23BF-42AB-9A45-E4BBEA27E91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251326" y="1902171"/>
                <a:ext cx="3286459" cy="2122038"/>
              </a:xfrm>
              <a:prstGeom prst="rect">
                <a:avLst/>
              </a:prstGeom>
            </p:spPr>
          </p:pic>
        </mc:Fallback>
      </mc:AlternateContent>
      <p:sp>
        <p:nvSpPr>
          <p:cNvPr id="82" name="Rettangolo 81">
            <a:extLst>
              <a:ext uri="{FF2B5EF4-FFF2-40B4-BE49-F238E27FC236}">
                <a16:creationId xmlns:a16="http://schemas.microsoft.com/office/drawing/2014/main" id="{264F4931-5873-4101-843D-F027CAE18873}"/>
              </a:ext>
            </a:extLst>
          </p:cNvPr>
          <p:cNvSpPr/>
          <p:nvPr/>
        </p:nvSpPr>
        <p:spPr>
          <a:xfrm>
            <a:off x="10601651" y="4413289"/>
            <a:ext cx="806970" cy="954530"/>
          </a:xfrm>
          <a:prstGeom prst="rect">
            <a:avLst/>
          </a:prstGeom>
          <a:pattFill prst="pct5">
            <a:fgClr>
              <a:schemeClr val="accent3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000"/>
          </a:p>
        </p:txBody>
      </p:sp>
      <p:sp>
        <p:nvSpPr>
          <p:cNvPr id="83" name="Rettangolo 82">
            <a:extLst>
              <a:ext uri="{FF2B5EF4-FFF2-40B4-BE49-F238E27FC236}">
                <a16:creationId xmlns:a16="http://schemas.microsoft.com/office/drawing/2014/main" id="{5C18DF2C-F711-4C27-A737-B4E44C21E39D}"/>
              </a:ext>
            </a:extLst>
          </p:cNvPr>
          <p:cNvSpPr/>
          <p:nvPr/>
        </p:nvSpPr>
        <p:spPr>
          <a:xfrm>
            <a:off x="10612145" y="4484573"/>
            <a:ext cx="806211" cy="536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>
                <a:solidFill>
                  <a:srgbClr val="315689"/>
                </a:solidFill>
              </a:rPr>
              <a:t>38,5</a:t>
            </a:r>
          </a:p>
        </p:txBody>
      </p:sp>
      <p:pic>
        <p:nvPicPr>
          <p:cNvPr id="85" name="object 33">
            <a:extLst>
              <a:ext uri="{FF2B5EF4-FFF2-40B4-BE49-F238E27FC236}">
                <a16:creationId xmlns:a16="http://schemas.microsoft.com/office/drawing/2014/main" id="{C9243FF1-5F9A-420A-BA2C-01C338B8C9B2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 rot="4814287" flipH="1">
            <a:off x="6779213" y="4374068"/>
            <a:ext cx="94414" cy="1162806"/>
          </a:xfrm>
          <a:prstGeom prst="rect">
            <a:avLst/>
          </a:prstGeom>
        </p:spPr>
      </p:pic>
      <p:pic>
        <p:nvPicPr>
          <p:cNvPr id="86" name="object 33">
            <a:extLst>
              <a:ext uri="{FF2B5EF4-FFF2-40B4-BE49-F238E27FC236}">
                <a16:creationId xmlns:a16="http://schemas.microsoft.com/office/drawing/2014/main" id="{91F93713-045C-4421-B762-72DF68B94671}"/>
              </a:ext>
            </a:extLst>
          </p:cNvPr>
          <p:cNvPicPr/>
          <p:nvPr/>
        </p:nvPicPr>
        <p:blipFill>
          <a:blip r:embed="rId13" cstate="print"/>
          <a:stretch>
            <a:fillRect/>
          </a:stretch>
        </p:blipFill>
        <p:spPr>
          <a:xfrm rot="4814287" flipH="1">
            <a:off x="10914396" y="3537550"/>
            <a:ext cx="94414" cy="1162806"/>
          </a:xfrm>
          <a:prstGeom prst="rect">
            <a:avLst/>
          </a:prstGeom>
        </p:spPr>
      </p:pic>
      <p:sp>
        <p:nvSpPr>
          <p:cNvPr id="87" name="Rettangolo 86">
            <a:extLst>
              <a:ext uri="{FF2B5EF4-FFF2-40B4-BE49-F238E27FC236}">
                <a16:creationId xmlns:a16="http://schemas.microsoft.com/office/drawing/2014/main" id="{1D16B9CF-280D-4BDA-8DD4-E58DD66A4870}"/>
              </a:ext>
            </a:extLst>
          </p:cNvPr>
          <p:cNvSpPr/>
          <p:nvPr/>
        </p:nvSpPr>
        <p:spPr>
          <a:xfrm>
            <a:off x="10612145" y="4839373"/>
            <a:ext cx="806211" cy="536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solidFill>
                  <a:srgbClr val="315689"/>
                </a:solidFill>
              </a:rPr>
              <a:t>Opere</a:t>
            </a:r>
          </a:p>
          <a:p>
            <a:pPr algn="ctr"/>
            <a:r>
              <a:rPr lang="it-IT" sz="1100" b="1" dirty="0">
                <a:solidFill>
                  <a:srgbClr val="315689"/>
                </a:solidFill>
              </a:rPr>
              <a:t>realizzate</a:t>
            </a:r>
          </a:p>
        </p:txBody>
      </p:sp>
    </p:spTree>
    <p:extLst>
      <p:ext uri="{BB962C8B-B14F-4D97-AF65-F5344CB8AC3E}">
        <p14:creationId xmlns:p14="http://schemas.microsoft.com/office/powerpoint/2010/main" val="75800586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uppo 55"/>
          <p:cNvGrpSpPr/>
          <p:nvPr/>
        </p:nvGrpSpPr>
        <p:grpSpPr>
          <a:xfrm>
            <a:off x="1828053" y="2356299"/>
            <a:ext cx="823551" cy="978498"/>
            <a:chOff x="1560472" y="1188231"/>
            <a:chExt cx="4602194" cy="5296819"/>
          </a:xfrm>
        </p:grpSpPr>
        <p:grpSp>
          <p:nvGrpSpPr>
            <p:cNvPr id="62" name="Gruppo 61"/>
            <p:cNvGrpSpPr/>
            <p:nvPr/>
          </p:nvGrpSpPr>
          <p:grpSpPr>
            <a:xfrm>
              <a:off x="1710491" y="1334630"/>
              <a:ext cx="4452175" cy="5150420"/>
              <a:chOff x="1710491" y="1334630"/>
              <a:chExt cx="4452175" cy="5150420"/>
            </a:xfrm>
          </p:grpSpPr>
          <p:sp>
            <p:nvSpPr>
              <p:cNvPr id="178" name="Figura a mano libera 177"/>
              <p:cNvSpPr/>
              <p:nvPr/>
            </p:nvSpPr>
            <p:spPr bwMode="auto">
              <a:xfrm>
                <a:off x="2282660" y="3776958"/>
                <a:ext cx="653226" cy="1161960"/>
              </a:xfrm>
              <a:custGeom>
                <a:avLst/>
                <a:gdLst>
                  <a:gd name="connsiteX0" fmla="*/ 58847 w 873659"/>
                  <a:gd name="connsiteY0" fmla="*/ 208229 h 1552669"/>
                  <a:gd name="connsiteX1" fmla="*/ 162962 w 873659"/>
                  <a:gd name="connsiteY1" fmla="*/ 258023 h 1552669"/>
                  <a:gd name="connsiteX2" fmla="*/ 230863 w 873659"/>
                  <a:gd name="connsiteY2" fmla="*/ 267077 h 1552669"/>
                  <a:gd name="connsiteX3" fmla="*/ 316871 w 873659"/>
                  <a:gd name="connsiteY3" fmla="*/ 203703 h 1552669"/>
                  <a:gd name="connsiteX4" fmla="*/ 353085 w 873659"/>
                  <a:gd name="connsiteY4" fmla="*/ 208229 h 1552669"/>
                  <a:gd name="connsiteX5" fmla="*/ 407406 w 873659"/>
                  <a:gd name="connsiteY5" fmla="*/ 140328 h 1552669"/>
                  <a:gd name="connsiteX6" fmla="*/ 479834 w 873659"/>
                  <a:gd name="connsiteY6" fmla="*/ 76954 h 1552669"/>
                  <a:gd name="connsiteX7" fmla="*/ 529628 w 873659"/>
                  <a:gd name="connsiteY7" fmla="*/ 76954 h 1552669"/>
                  <a:gd name="connsiteX8" fmla="*/ 543208 w 873659"/>
                  <a:gd name="connsiteY8" fmla="*/ 58847 h 1552669"/>
                  <a:gd name="connsiteX9" fmla="*/ 547735 w 873659"/>
                  <a:gd name="connsiteY9" fmla="*/ 58847 h 1552669"/>
                  <a:gd name="connsiteX10" fmla="*/ 538681 w 873659"/>
                  <a:gd name="connsiteY10" fmla="*/ 0 h 1552669"/>
                  <a:gd name="connsiteX11" fmla="*/ 611109 w 873659"/>
                  <a:gd name="connsiteY11" fmla="*/ 0 h 1552669"/>
                  <a:gd name="connsiteX12" fmla="*/ 620162 w 873659"/>
                  <a:gd name="connsiteY12" fmla="*/ 45267 h 1552669"/>
                  <a:gd name="connsiteX13" fmla="*/ 651849 w 873659"/>
                  <a:gd name="connsiteY13" fmla="*/ 45267 h 1552669"/>
                  <a:gd name="connsiteX14" fmla="*/ 697117 w 873659"/>
                  <a:gd name="connsiteY14" fmla="*/ 4526 h 1552669"/>
                  <a:gd name="connsiteX15" fmla="*/ 710697 w 873659"/>
                  <a:gd name="connsiteY15" fmla="*/ 36214 h 1552669"/>
                  <a:gd name="connsiteX16" fmla="*/ 710697 w 873659"/>
                  <a:gd name="connsiteY16" fmla="*/ 36214 h 1552669"/>
                  <a:gd name="connsiteX17" fmla="*/ 701643 w 873659"/>
                  <a:gd name="connsiteY17" fmla="*/ 99588 h 1552669"/>
                  <a:gd name="connsiteX18" fmla="*/ 728804 w 873659"/>
                  <a:gd name="connsiteY18" fmla="*/ 86008 h 1552669"/>
                  <a:gd name="connsiteX19" fmla="*/ 760491 w 873659"/>
                  <a:gd name="connsiteY19" fmla="*/ 95061 h 1552669"/>
                  <a:gd name="connsiteX20" fmla="*/ 760491 w 873659"/>
                  <a:gd name="connsiteY20" fmla="*/ 95061 h 1552669"/>
                  <a:gd name="connsiteX21" fmla="*/ 737857 w 873659"/>
                  <a:gd name="connsiteY21" fmla="*/ 140328 h 1552669"/>
                  <a:gd name="connsiteX22" fmla="*/ 737857 w 873659"/>
                  <a:gd name="connsiteY22" fmla="*/ 185596 h 1552669"/>
                  <a:gd name="connsiteX23" fmla="*/ 737857 w 873659"/>
                  <a:gd name="connsiteY23" fmla="*/ 185596 h 1552669"/>
                  <a:gd name="connsiteX24" fmla="*/ 778598 w 873659"/>
                  <a:gd name="connsiteY24" fmla="*/ 167489 h 1552669"/>
                  <a:gd name="connsiteX25" fmla="*/ 769544 w 873659"/>
                  <a:gd name="connsiteY25" fmla="*/ 194649 h 1552669"/>
                  <a:gd name="connsiteX26" fmla="*/ 760491 w 873659"/>
                  <a:gd name="connsiteY26" fmla="*/ 244443 h 1552669"/>
                  <a:gd name="connsiteX27" fmla="*/ 774071 w 873659"/>
                  <a:gd name="connsiteY27" fmla="*/ 244443 h 1552669"/>
                  <a:gd name="connsiteX28" fmla="*/ 805758 w 873659"/>
                  <a:gd name="connsiteY28" fmla="*/ 244443 h 1552669"/>
                  <a:gd name="connsiteX29" fmla="*/ 837445 w 873659"/>
                  <a:gd name="connsiteY29" fmla="*/ 230863 h 1552669"/>
                  <a:gd name="connsiteX30" fmla="*/ 837445 w 873659"/>
                  <a:gd name="connsiteY30" fmla="*/ 230863 h 1552669"/>
                  <a:gd name="connsiteX31" fmla="*/ 810285 w 873659"/>
                  <a:gd name="connsiteY31" fmla="*/ 262550 h 1552669"/>
                  <a:gd name="connsiteX32" fmla="*/ 851026 w 873659"/>
                  <a:gd name="connsiteY32" fmla="*/ 262550 h 1552669"/>
                  <a:gd name="connsiteX33" fmla="*/ 832919 w 873659"/>
                  <a:gd name="connsiteY33" fmla="*/ 271604 h 1552669"/>
                  <a:gd name="connsiteX34" fmla="*/ 801232 w 873659"/>
                  <a:gd name="connsiteY34" fmla="*/ 307817 h 1552669"/>
                  <a:gd name="connsiteX35" fmla="*/ 823865 w 873659"/>
                  <a:gd name="connsiteY35" fmla="*/ 339505 h 1552669"/>
                  <a:gd name="connsiteX36" fmla="*/ 832919 w 873659"/>
                  <a:gd name="connsiteY36" fmla="*/ 384772 h 1552669"/>
                  <a:gd name="connsiteX37" fmla="*/ 832919 w 873659"/>
                  <a:gd name="connsiteY37" fmla="*/ 384772 h 1552669"/>
                  <a:gd name="connsiteX38" fmla="*/ 832919 w 873659"/>
                  <a:gd name="connsiteY38" fmla="*/ 434566 h 1552669"/>
                  <a:gd name="connsiteX39" fmla="*/ 855552 w 873659"/>
                  <a:gd name="connsiteY39" fmla="*/ 461726 h 1552669"/>
                  <a:gd name="connsiteX40" fmla="*/ 873659 w 873659"/>
                  <a:gd name="connsiteY40" fmla="*/ 502467 h 1552669"/>
                  <a:gd name="connsiteX41" fmla="*/ 851026 w 873659"/>
                  <a:gd name="connsiteY41" fmla="*/ 543208 h 1552669"/>
                  <a:gd name="connsiteX42" fmla="*/ 851026 w 873659"/>
                  <a:gd name="connsiteY42" fmla="*/ 574895 h 1552669"/>
                  <a:gd name="connsiteX43" fmla="*/ 823865 w 873659"/>
                  <a:gd name="connsiteY43" fmla="*/ 611109 h 1552669"/>
                  <a:gd name="connsiteX44" fmla="*/ 783125 w 873659"/>
                  <a:gd name="connsiteY44" fmla="*/ 642796 h 1552669"/>
                  <a:gd name="connsiteX45" fmla="*/ 765018 w 873659"/>
                  <a:gd name="connsiteY45" fmla="*/ 669956 h 1552669"/>
                  <a:gd name="connsiteX46" fmla="*/ 760491 w 873659"/>
                  <a:gd name="connsiteY46" fmla="*/ 710697 h 1552669"/>
                  <a:gd name="connsiteX47" fmla="*/ 769544 w 873659"/>
                  <a:gd name="connsiteY47" fmla="*/ 755964 h 1552669"/>
                  <a:gd name="connsiteX48" fmla="*/ 769544 w 873659"/>
                  <a:gd name="connsiteY48" fmla="*/ 755964 h 1552669"/>
                  <a:gd name="connsiteX49" fmla="*/ 810285 w 873659"/>
                  <a:gd name="connsiteY49" fmla="*/ 783124 h 1552669"/>
                  <a:gd name="connsiteX50" fmla="*/ 783125 w 873659"/>
                  <a:gd name="connsiteY50" fmla="*/ 860079 h 1552669"/>
                  <a:gd name="connsiteX51" fmla="*/ 760491 w 873659"/>
                  <a:gd name="connsiteY51" fmla="*/ 905346 h 1552669"/>
                  <a:gd name="connsiteX52" fmla="*/ 769544 w 873659"/>
                  <a:gd name="connsiteY52" fmla="*/ 995881 h 1552669"/>
                  <a:gd name="connsiteX53" fmla="*/ 742384 w 873659"/>
                  <a:gd name="connsiteY53" fmla="*/ 1045675 h 1552669"/>
                  <a:gd name="connsiteX54" fmla="*/ 737857 w 873659"/>
                  <a:gd name="connsiteY54" fmla="*/ 1109049 h 1552669"/>
                  <a:gd name="connsiteX55" fmla="*/ 733331 w 873659"/>
                  <a:gd name="connsiteY55" fmla="*/ 1163370 h 1552669"/>
                  <a:gd name="connsiteX56" fmla="*/ 733331 w 873659"/>
                  <a:gd name="connsiteY56" fmla="*/ 1204111 h 1552669"/>
                  <a:gd name="connsiteX57" fmla="*/ 692590 w 873659"/>
                  <a:gd name="connsiteY57" fmla="*/ 1244851 h 1552669"/>
                  <a:gd name="connsiteX58" fmla="*/ 706170 w 873659"/>
                  <a:gd name="connsiteY58" fmla="*/ 1285592 h 1552669"/>
                  <a:gd name="connsiteX59" fmla="*/ 706170 w 873659"/>
                  <a:gd name="connsiteY59" fmla="*/ 1285592 h 1552669"/>
                  <a:gd name="connsiteX60" fmla="*/ 688063 w 873659"/>
                  <a:gd name="connsiteY60" fmla="*/ 1326332 h 1552669"/>
                  <a:gd name="connsiteX61" fmla="*/ 683537 w 873659"/>
                  <a:gd name="connsiteY61" fmla="*/ 1371600 h 1552669"/>
                  <a:gd name="connsiteX62" fmla="*/ 674483 w 873659"/>
                  <a:gd name="connsiteY62" fmla="*/ 1425920 h 1552669"/>
                  <a:gd name="connsiteX63" fmla="*/ 611109 w 873659"/>
                  <a:gd name="connsiteY63" fmla="*/ 1416867 h 1552669"/>
                  <a:gd name="connsiteX64" fmla="*/ 570368 w 873659"/>
                  <a:gd name="connsiteY64" fmla="*/ 1376126 h 1552669"/>
                  <a:gd name="connsiteX65" fmla="*/ 543208 w 873659"/>
                  <a:gd name="connsiteY65" fmla="*/ 1348966 h 1552669"/>
                  <a:gd name="connsiteX66" fmla="*/ 497940 w 873659"/>
                  <a:gd name="connsiteY66" fmla="*/ 1339913 h 1552669"/>
                  <a:gd name="connsiteX67" fmla="*/ 457200 w 873659"/>
                  <a:gd name="connsiteY67" fmla="*/ 1367073 h 1552669"/>
                  <a:gd name="connsiteX68" fmla="*/ 457200 w 873659"/>
                  <a:gd name="connsiteY68" fmla="*/ 1367073 h 1552669"/>
                  <a:gd name="connsiteX69" fmla="*/ 457200 w 873659"/>
                  <a:gd name="connsiteY69" fmla="*/ 1367073 h 1552669"/>
                  <a:gd name="connsiteX70" fmla="*/ 425513 w 873659"/>
                  <a:gd name="connsiteY70" fmla="*/ 1339913 h 1552669"/>
                  <a:gd name="connsiteX71" fmla="*/ 389299 w 873659"/>
                  <a:gd name="connsiteY71" fmla="*/ 1403287 h 1552669"/>
                  <a:gd name="connsiteX72" fmla="*/ 375719 w 873659"/>
                  <a:gd name="connsiteY72" fmla="*/ 1439501 h 1552669"/>
                  <a:gd name="connsiteX73" fmla="*/ 380245 w 873659"/>
                  <a:gd name="connsiteY73" fmla="*/ 1484768 h 1552669"/>
                  <a:gd name="connsiteX74" fmla="*/ 339505 w 873659"/>
                  <a:gd name="connsiteY74" fmla="*/ 1511928 h 1552669"/>
                  <a:gd name="connsiteX75" fmla="*/ 271604 w 873659"/>
                  <a:gd name="connsiteY75" fmla="*/ 1552669 h 1552669"/>
                  <a:gd name="connsiteX76" fmla="*/ 217283 w 873659"/>
                  <a:gd name="connsiteY76" fmla="*/ 1516455 h 1552669"/>
                  <a:gd name="connsiteX77" fmla="*/ 172016 w 873659"/>
                  <a:gd name="connsiteY77" fmla="*/ 1548142 h 1552669"/>
                  <a:gd name="connsiteX78" fmla="*/ 144855 w 873659"/>
                  <a:gd name="connsiteY78" fmla="*/ 1484768 h 1552669"/>
                  <a:gd name="connsiteX79" fmla="*/ 144855 w 873659"/>
                  <a:gd name="connsiteY79" fmla="*/ 1421394 h 1552669"/>
                  <a:gd name="connsiteX80" fmla="*/ 144855 w 873659"/>
                  <a:gd name="connsiteY80" fmla="*/ 1421394 h 1552669"/>
                  <a:gd name="connsiteX81" fmla="*/ 104115 w 873659"/>
                  <a:gd name="connsiteY81" fmla="*/ 1444027 h 1552669"/>
                  <a:gd name="connsiteX82" fmla="*/ 67901 w 873659"/>
                  <a:gd name="connsiteY82" fmla="*/ 1471188 h 1552669"/>
                  <a:gd name="connsiteX83" fmla="*/ 54321 w 873659"/>
                  <a:gd name="connsiteY83" fmla="*/ 1507402 h 1552669"/>
                  <a:gd name="connsiteX84" fmla="*/ 58847 w 873659"/>
                  <a:gd name="connsiteY84" fmla="*/ 1484768 h 1552669"/>
                  <a:gd name="connsiteX85" fmla="*/ 31687 w 873659"/>
                  <a:gd name="connsiteY85" fmla="*/ 1421394 h 1552669"/>
                  <a:gd name="connsiteX86" fmla="*/ 31687 w 873659"/>
                  <a:gd name="connsiteY86" fmla="*/ 1421394 h 1552669"/>
                  <a:gd name="connsiteX87" fmla="*/ 90535 w 873659"/>
                  <a:gd name="connsiteY87" fmla="*/ 1394233 h 1552669"/>
                  <a:gd name="connsiteX88" fmla="*/ 76954 w 873659"/>
                  <a:gd name="connsiteY88" fmla="*/ 1348966 h 1552669"/>
                  <a:gd name="connsiteX89" fmla="*/ 49794 w 873659"/>
                  <a:gd name="connsiteY89" fmla="*/ 1321806 h 1552669"/>
                  <a:gd name="connsiteX90" fmla="*/ 90535 w 873659"/>
                  <a:gd name="connsiteY90" fmla="*/ 1281065 h 1552669"/>
                  <a:gd name="connsiteX91" fmla="*/ 58847 w 873659"/>
                  <a:gd name="connsiteY91" fmla="*/ 1226744 h 1552669"/>
                  <a:gd name="connsiteX92" fmla="*/ 72428 w 873659"/>
                  <a:gd name="connsiteY92" fmla="*/ 1181477 h 1552669"/>
                  <a:gd name="connsiteX93" fmla="*/ 58847 w 873659"/>
                  <a:gd name="connsiteY93" fmla="*/ 1149790 h 1552669"/>
                  <a:gd name="connsiteX94" fmla="*/ 108641 w 873659"/>
                  <a:gd name="connsiteY94" fmla="*/ 1063782 h 1552669"/>
                  <a:gd name="connsiteX95" fmla="*/ 126748 w 873659"/>
                  <a:gd name="connsiteY95" fmla="*/ 964194 h 1552669"/>
                  <a:gd name="connsiteX96" fmla="*/ 158436 w 873659"/>
                  <a:gd name="connsiteY96" fmla="*/ 982301 h 1552669"/>
                  <a:gd name="connsiteX97" fmla="*/ 181069 w 873659"/>
                  <a:gd name="connsiteY97" fmla="*/ 923453 h 1552669"/>
                  <a:gd name="connsiteX98" fmla="*/ 162962 w 873659"/>
                  <a:gd name="connsiteY98" fmla="*/ 869132 h 1552669"/>
                  <a:gd name="connsiteX99" fmla="*/ 117695 w 873659"/>
                  <a:gd name="connsiteY99" fmla="*/ 887239 h 1552669"/>
                  <a:gd name="connsiteX100" fmla="*/ 122222 w 873659"/>
                  <a:gd name="connsiteY100" fmla="*/ 887239 h 1552669"/>
                  <a:gd name="connsiteX101" fmla="*/ 86008 w 873659"/>
                  <a:gd name="connsiteY101" fmla="*/ 860079 h 1552669"/>
                  <a:gd name="connsiteX102" fmla="*/ 90535 w 873659"/>
                  <a:gd name="connsiteY102" fmla="*/ 774071 h 1552669"/>
                  <a:gd name="connsiteX103" fmla="*/ 158436 w 873659"/>
                  <a:gd name="connsiteY103" fmla="*/ 760491 h 1552669"/>
                  <a:gd name="connsiteX104" fmla="*/ 144855 w 873659"/>
                  <a:gd name="connsiteY104" fmla="*/ 715223 h 1552669"/>
                  <a:gd name="connsiteX105" fmla="*/ 140329 w 873659"/>
                  <a:gd name="connsiteY105" fmla="*/ 660903 h 1552669"/>
                  <a:gd name="connsiteX106" fmla="*/ 158436 w 873659"/>
                  <a:gd name="connsiteY106" fmla="*/ 602055 h 1552669"/>
                  <a:gd name="connsiteX107" fmla="*/ 117695 w 873659"/>
                  <a:gd name="connsiteY107" fmla="*/ 593002 h 1552669"/>
                  <a:gd name="connsiteX108" fmla="*/ 117695 w 873659"/>
                  <a:gd name="connsiteY108" fmla="*/ 538681 h 1552669"/>
                  <a:gd name="connsiteX109" fmla="*/ 113168 w 873659"/>
                  <a:gd name="connsiteY109" fmla="*/ 479833 h 1552669"/>
                  <a:gd name="connsiteX110" fmla="*/ 67901 w 873659"/>
                  <a:gd name="connsiteY110" fmla="*/ 411932 h 1552669"/>
                  <a:gd name="connsiteX111" fmla="*/ 36214 w 873659"/>
                  <a:gd name="connsiteY111" fmla="*/ 425513 h 1552669"/>
                  <a:gd name="connsiteX112" fmla="*/ 36214 w 873659"/>
                  <a:gd name="connsiteY112" fmla="*/ 389299 h 1552669"/>
                  <a:gd name="connsiteX113" fmla="*/ 13580 w 873659"/>
                  <a:gd name="connsiteY113" fmla="*/ 420986 h 1552669"/>
                  <a:gd name="connsiteX114" fmla="*/ 0 w 873659"/>
                  <a:gd name="connsiteY114" fmla="*/ 380245 h 1552669"/>
                  <a:gd name="connsiteX115" fmla="*/ 31687 w 873659"/>
                  <a:gd name="connsiteY115" fmla="*/ 348558 h 1552669"/>
                  <a:gd name="connsiteX116" fmla="*/ 4527 w 873659"/>
                  <a:gd name="connsiteY116" fmla="*/ 312344 h 1552669"/>
                  <a:gd name="connsiteX117" fmla="*/ 58847 w 873659"/>
                  <a:gd name="connsiteY117" fmla="*/ 208229 h 155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873659" h="1552669">
                    <a:moveTo>
                      <a:pt x="58847" y="208229"/>
                    </a:moveTo>
                    <a:lnTo>
                      <a:pt x="162962" y="258023"/>
                    </a:lnTo>
                    <a:lnTo>
                      <a:pt x="230863" y="267077"/>
                    </a:lnTo>
                    <a:lnTo>
                      <a:pt x="316871" y="203703"/>
                    </a:lnTo>
                    <a:lnTo>
                      <a:pt x="353085" y="208229"/>
                    </a:lnTo>
                    <a:lnTo>
                      <a:pt x="407406" y="140328"/>
                    </a:lnTo>
                    <a:lnTo>
                      <a:pt x="479834" y="76954"/>
                    </a:lnTo>
                    <a:lnTo>
                      <a:pt x="529628" y="76954"/>
                    </a:lnTo>
                    <a:lnTo>
                      <a:pt x="543208" y="58847"/>
                    </a:lnTo>
                    <a:lnTo>
                      <a:pt x="547735" y="58847"/>
                    </a:lnTo>
                    <a:lnTo>
                      <a:pt x="538681" y="0"/>
                    </a:lnTo>
                    <a:lnTo>
                      <a:pt x="611109" y="0"/>
                    </a:lnTo>
                    <a:lnTo>
                      <a:pt x="620162" y="45267"/>
                    </a:lnTo>
                    <a:lnTo>
                      <a:pt x="651849" y="45267"/>
                    </a:lnTo>
                    <a:lnTo>
                      <a:pt x="697117" y="4526"/>
                    </a:lnTo>
                    <a:lnTo>
                      <a:pt x="710697" y="36214"/>
                    </a:lnTo>
                    <a:lnTo>
                      <a:pt x="710697" y="36214"/>
                    </a:lnTo>
                    <a:lnTo>
                      <a:pt x="701643" y="99588"/>
                    </a:lnTo>
                    <a:lnTo>
                      <a:pt x="728804" y="86008"/>
                    </a:lnTo>
                    <a:lnTo>
                      <a:pt x="760491" y="95061"/>
                    </a:lnTo>
                    <a:lnTo>
                      <a:pt x="760491" y="95061"/>
                    </a:lnTo>
                    <a:lnTo>
                      <a:pt x="737857" y="140328"/>
                    </a:lnTo>
                    <a:lnTo>
                      <a:pt x="737857" y="185596"/>
                    </a:lnTo>
                    <a:lnTo>
                      <a:pt x="737857" y="185596"/>
                    </a:lnTo>
                    <a:lnTo>
                      <a:pt x="778598" y="167489"/>
                    </a:lnTo>
                    <a:lnTo>
                      <a:pt x="769544" y="194649"/>
                    </a:lnTo>
                    <a:lnTo>
                      <a:pt x="760491" y="244443"/>
                    </a:lnTo>
                    <a:lnTo>
                      <a:pt x="774071" y="244443"/>
                    </a:lnTo>
                    <a:lnTo>
                      <a:pt x="805758" y="244443"/>
                    </a:lnTo>
                    <a:lnTo>
                      <a:pt x="837445" y="230863"/>
                    </a:lnTo>
                    <a:lnTo>
                      <a:pt x="837445" y="230863"/>
                    </a:lnTo>
                    <a:lnTo>
                      <a:pt x="810285" y="262550"/>
                    </a:lnTo>
                    <a:lnTo>
                      <a:pt x="851026" y="262550"/>
                    </a:lnTo>
                    <a:lnTo>
                      <a:pt x="832919" y="271604"/>
                    </a:lnTo>
                    <a:lnTo>
                      <a:pt x="801232" y="307817"/>
                    </a:lnTo>
                    <a:lnTo>
                      <a:pt x="823865" y="339505"/>
                    </a:lnTo>
                    <a:lnTo>
                      <a:pt x="832919" y="384772"/>
                    </a:lnTo>
                    <a:lnTo>
                      <a:pt x="832919" y="384772"/>
                    </a:lnTo>
                    <a:lnTo>
                      <a:pt x="832919" y="434566"/>
                    </a:lnTo>
                    <a:lnTo>
                      <a:pt x="855552" y="461726"/>
                    </a:lnTo>
                    <a:lnTo>
                      <a:pt x="873659" y="502467"/>
                    </a:lnTo>
                    <a:lnTo>
                      <a:pt x="851026" y="543208"/>
                    </a:lnTo>
                    <a:lnTo>
                      <a:pt x="851026" y="574895"/>
                    </a:lnTo>
                    <a:lnTo>
                      <a:pt x="823865" y="611109"/>
                    </a:lnTo>
                    <a:lnTo>
                      <a:pt x="783125" y="642796"/>
                    </a:lnTo>
                    <a:lnTo>
                      <a:pt x="765018" y="669956"/>
                    </a:lnTo>
                    <a:lnTo>
                      <a:pt x="760491" y="710697"/>
                    </a:lnTo>
                    <a:cubicBezTo>
                      <a:pt x="765168" y="757465"/>
                      <a:pt x="749854" y="755964"/>
                      <a:pt x="769544" y="755964"/>
                    </a:cubicBezTo>
                    <a:lnTo>
                      <a:pt x="769544" y="755964"/>
                    </a:lnTo>
                    <a:lnTo>
                      <a:pt x="810285" y="783124"/>
                    </a:lnTo>
                    <a:lnTo>
                      <a:pt x="783125" y="860079"/>
                    </a:lnTo>
                    <a:lnTo>
                      <a:pt x="760491" y="905346"/>
                    </a:lnTo>
                    <a:lnTo>
                      <a:pt x="769544" y="995881"/>
                    </a:lnTo>
                    <a:lnTo>
                      <a:pt x="742384" y="1045675"/>
                    </a:lnTo>
                    <a:lnTo>
                      <a:pt x="737857" y="1109049"/>
                    </a:lnTo>
                    <a:lnTo>
                      <a:pt x="733331" y="1163370"/>
                    </a:lnTo>
                    <a:lnTo>
                      <a:pt x="733331" y="1204111"/>
                    </a:lnTo>
                    <a:lnTo>
                      <a:pt x="692590" y="1244851"/>
                    </a:lnTo>
                    <a:lnTo>
                      <a:pt x="706170" y="1285592"/>
                    </a:lnTo>
                    <a:lnTo>
                      <a:pt x="706170" y="1285592"/>
                    </a:lnTo>
                    <a:lnTo>
                      <a:pt x="688063" y="1326332"/>
                    </a:lnTo>
                    <a:lnTo>
                      <a:pt x="683537" y="1371600"/>
                    </a:lnTo>
                    <a:lnTo>
                      <a:pt x="674483" y="1425920"/>
                    </a:lnTo>
                    <a:lnTo>
                      <a:pt x="611109" y="1416867"/>
                    </a:lnTo>
                    <a:lnTo>
                      <a:pt x="570368" y="1376126"/>
                    </a:lnTo>
                    <a:lnTo>
                      <a:pt x="543208" y="1348966"/>
                    </a:lnTo>
                    <a:lnTo>
                      <a:pt x="497940" y="1339913"/>
                    </a:lnTo>
                    <a:lnTo>
                      <a:pt x="457200" y="1367073"/>
                    </a:lnTo>
                    <a:lnTo>
                      <a:pt x="457200" y="1367073"/>
                    </a:lnTo>
                    <a:lnTo>
                      <a:pt x="457200" y="1367073"/>
                    </a:lnTo>
                    <a:lnTo>
                      <a:pt x="425513" y="1339913"/>
                    </a:lnTo>
                    <a:lnTo>
                      <a:pt x="389299" y="1403287"/>
                    </a:lnTo>
                    <a:lnTo>
                      <a:pt x="375719" y="1439501"/>
                    </a:lnTo>
                    <a:lnTo>
                      <a:pt x="380245" y="1484768"/>
                    </a:lnTo>
                    <a:lnTo>
                      <a:pt x="339505" y="1511928"/>
                    </a:lnTo>
                    <a:lnTo>
                      <a:pt x="271604" y="1552669"/>
                    </a:lnTo>
                    <a:lnTo>
                      <a:pt x="217283" y="1516455"/>
                    </a:lnTo>
                    <a:lnTo>
                      <a:pt x="172016" y="1548142"/>
                    </a:lnTo>
                    <a:lnTo>
                      <a:pt x="144855" y="1484768"/>
                    </a:lnTo>
                    <a:lnTo>
                      <a:pt x="144855" y="1421394"/>
                    </a:lnTo>
                    <a:lnTo>
                      <a:pt x="144855" y="1421394"/>
                    </a:lnTo>
                    <a:lnTo>
                      <a:pt x="104115" y="1444027"/>
                    </a:lnTo>
                    <a:lnTo>
                      <a:pt x="67901" y="1471188"/>
                    </a:lnTo>
                    <a:lnTo>
                      <a:pt x="54321" y="1507402"/>
                    </a:lnTo>
                    <a:lnTo>
                      <a:pt x="58847" y="1484768"/>
                    </a:lnTo>
                    <a:lnTo>
                      <a:pt x="31687" y="1421394"/>
                    </a:lnTo>
                    <a:lnTo>
                      <a:pt x="31687" y="1421394"/>
                    </a:lnTo>
                    <a:lnTo>
                      <a:pt x="90535" y="1394233"/>
                    </a:lnTo>
                    <a:lnTo>
                      <a:pt x="76954" y="1348966"/>
                    </a:lnTo>
                    <a:lnTo>
                      <a:pt x="49794" y="1321806"/>
                    </a:lnTo>
                    <a:lnTo>
                      <a:pt x="90535" y="1281065"/>
                    </a:lnTo>
                    <a:lnTo>
                      <a:pt x="58847" y="1226744"/>
                    </a:lnTo>
                    <a:lnTo>
                      <a:pt x="72428" y="1181477"/>
                    </a:lnTo>
                    <a:lnTo>
                      <a:pt x="58847" y="1149790"/>
                    </a:lnTo>
                    <a:lnTo>
                      <a:pt x="108641" y="1063782"/>
                    </a:lnTo>
                    <a:lnTo>
                      <a:pt x="126748" y="964194"/>
                    </a:lnTo>
                    <a:lnTo>
                      <a:pt x="158436" y="982301"/>
                    </a:lnTo>
                    <a:lnTo>
                      <a:pt x="181069" y="923453"/>
                    </a:lnTo>
                    <a:lnTo>
                      <a:pt x="162962" y="869132"/>
                    </a:lnTo>
                    <a:lnTo>
                      <a:pt x="117695" y="887239"/>
                    </a:lnTo>
                    <a:lnTo>
                      <a:pt x="122222" y="887239"/>
                    </a:lnTo>
                    <a:lnTo>
                      <a:pt x="86008" y="860079"/>
                    </a:lnTo>
                    <a:lnTo>
                      <a:pt x="90535" y="774071"/>
                    </a:lnTo>
                    <a:lnTo>
                      <a:pt x="158436" y="760491"/>
                    </a:lnTo>
                    <a:lnTo>
                      <a:pt x="144855" y="715223"/>
                    </a:lnTo>
                    <a:lnTo>
                      <a:pt x="140329" y="660903"/>
                    </a:lnTo>
                    <a:lnTo>
                      <a:pt x="158436" y="602055"/>
                    </a:lnTo>
                    <a:lnTo>
                      <a:pt x="117695" y="593002"/>
                    </a:lnTo>
                    <a:lnTo>
                      <a:pt x="117695" y="538681"/>
                    </a:lnTo>
                    <a:lnTo>
                      <a:pt x="113168" y="479833"/>
                    </a:lnTo>
                    <a:lnTo>
                      <a:pt x="67901" y="411932"/>
                    </a:lnTo>
                    <a:lnTo>
                      <a:pt x="36214" y="425513"/>
                    </a:lnTo>
                    <a:lnTo>
                      <a:pt x="36214" y="389299"/>
                    </a:lnTo>
                    <a:lnTo>
                      <a:pt x="13580" y="420986"/>
                    </a:lnTo>
                    <a:lnTo>
                      <a:pt x="0" y="380245"/>
                    </a:lnTo>
                    <a:lnTo>
                      <a:pt x="31687" y="348558"/>
                    </a:lnTo>
                    <a:lnTo>
                      <a:pt x="4527" y="312344"/>
                    </a:lnTo>
                    <a:lnTo>
                      <a:pt x="58847" y="208229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9" name="Figura a mano libera 178"/>
              <p:cNvSpPr/>
              <p:nvPr/>
            </p:nvSpPr>
            <p:spPr bwMode="auto">
              <a:xfrm>
                <a:off x="5016753" y="4760310"/>
                <a:ext cx="638004" cy="1101761"/>
              </a:xfrm>
              <a:custGeom>
                <a:avLst/>
                <a:gdLst>
                  <a:gd name="connsiteX0" fmla="*/ 81481 w 851025"/>
                  <a:gd name="connsiteY0" fmla="*/ 144856 h 1475715"/>
                  <a:gd name="connsiteX1" fmla="*/ 99588 w 851025"/>
                  <a:gd name="connsiteY1" fmla="*/ 90535 h 1475715"/>
                  <a:gd name="connsiteX2" fmla="*/ 140328 w 851025"/>
                  <a:gd name="connsiteY2" fmla="*/ 108642 h 1475715"/>
                  <a:gd name="connsiteX3" fmla="*/ 176542 w 851025"/>
                  <a:gd name="connsiteY3" fmla="*/ 90535 h 1475715"/>
                  <a:gd name="connsiteX4" fmla="*/ 208229 w 851025"/>
                  <a:gd name="connsiteY4" fmla="*/ 113169 h 1475715"/>
                  <a:gd name="connsiteX5" fmla="*/ 253497 w 851025"/>
                  <a:gd name="connsiteY5" fmla="*/ 158436 h 1475715"/>
                  <a:gd name="connsiteX6" fmla="*/ 312344 w 851025"/>
                  <a:gd name="connsiteY6" fmla="*/ 140329 h 1475715"/>
                  <a:gd name="connsiteX7" fmla="*/ 375719 w 851025"/>
                  <a:gd name="connsiteY7" fmla="*/ 126749 h 1475715"/>
                  <a:gd name="connsiteX8" fmla="*/ 393825 w 851025"/>
                  <a:gd name="connsiteY8" fmla="*/ 144856 h 1475715"/>
                  <a:gd name="connsiteX9" fmla="*/ 402879 w 851025"/>
                  <a:gd name="connsiteY9" fmla="*/ 95062 h 1475715"/>
                  <a:gd name="connsiteX10" fmla="*/ 402879 w 851025"/>
                  <a:gd name="connsiteY10" fmla="*/ 36214 h 1475715"/>
                  <a:gd name="connsiteX11" fmla="*/ 420986 w 851025"/>
                  <a:gd name="connsiteY11" fmla="*/ 0 h 1475715"/>
                  <a:gd name="connsiteX12" fmla="*/ 502467 w 851025"/>
                  <a:gd name="connsiteY12" fmla="*/ 9054 h 1475715"/>
                  <a:gd name="connsiteX13" fmla="*/ 538681 w 851025"/>
                  <a:gd name="connsiteY13" fmla="*/ 18107 h 1475715"/>
                  <a:gd name="connsiteX14" fmla="*/ 525101 w 851025"/>
                  <a:gd name="connsiteY14" fmla="*/ 67901 h 1475715"/>
                  <a:gd name="connsiteX15" fmla="*/ 525101 w 851025"/>
                  <a:gd name="connsiteY15" fmla="*/ 104115 h 1475715"/>
                  <a:gd name="connsiteX16" fmla="*/ 525101 w 851025"/>
                  <a:gd name="connsiteY16" fmla="*/ 104115 h 1475715"/>
                  <a:gd name="connsiteX17" fmla="*/ 466253 w 851025"/>
                  <a:gd name="connsiteY17" fmla="*/ 226337 h 1475715"/>
                  <a:gd name="connsiteX18" fmla="*/ 466253 w 851025"/>
                  <a:gd name="connsiteY18" fmla="*/ 276131 h 1475715"/>
                  <a:gd name="connsiteX19" fmla="*/ 484360 w 851025"/>
                  <a:gd name="connsiteY19" fmla="*/ 312345 h 1475715"/>
                  <a:gd name="connsiteX20" fmla="*/ 493414 w 851025"/>
                  <a:gd name="connsiteY20" fmla="*/ 330452 h 1475715"/>
                  <a:gd name="connsiteX21" fmla="*/ 565841 w 851025"/>
                  <a:gd name="connsiteY21" fmla="*/ 353085 h 1475715"/>
                  <a:gd name="connsiteX22" fmla="*/ 602055 w 851025"/>
                  <a:gd name="connsiteY22" fmla="*/ 348559 h 1475715"/>
                  <a:gd name="connsiteX23" fmla="*/ 706170 w 851025"/>
                  <a:gd name="connsiteY23" fmla="*/ 411933 h 1475715"/>
                  <a:gd name="connsiteX24" fmla="*/ 755964 w 851025"/>
                  <a:gd name="connsiteY24" fmla="*/ 425513 h 1475715"/>
                  <a:gd name="connsiteX25" fmla="*/ 755964 w 851025"/>
                  <a:gd name="connsiteY25" fmla="*/ 461727 h 1475715"/>
                  <a:gd name="connsiteX26" fmla="*/ 810285 w 851025"/>
                  <a:gd name="connsiteY26" fmla="*/ 479834 h 1475715"/>
                  <a:gd name="connsiteX27" fmla="*/ 792178 w 851025"/>
                  <a:gd name="connsiteY27" fmla="*/ 552262 h 1475715"/>
                  <a:gd name="connsiteX28" fmla="*/ 814812 w 851025"/>
                  <a:gd name="connsiteY28" fmla="*/ 597529 h 1475715"/>
                  <a:gd name="connsiteX29" fmla="*/ 814812 w 851025"/>
                  <a:gd name="connsiteY29" fmla="*/ 651850 h 1475715"/>
                  <a:gd name="connsiteX30" fmla="*/ 810285 w 851025"/>
                  <a:gd name="connsiteY30" fmla="*/ 697117 h 1475715"/>
                  <a:gd name="connsiteX31" fmla="*/ 823865 w 851025"/>
                  <a:gd name="connsiteY31" fmla="*/ 719751 h 1475715"/>
                  <a:gd name="connsiteX32" fmla="*/ 851025 w 851025"/>
                  <a:gd name="connsiteY32" fmla="*/ 733331 h 1475715"/>
                  <a:gd name="connsiteX33" fmla="*/ 828392 w 851025"/>
                  <a:gd name="connsiteY33" fmla="*/ 751438 h 1475715"/>
                  <a:gd name="connsiteX34" fmla="*/ 832919 w 851025"/>
                  <a:gd name="connsiteY34" fmla="*/ 787652 h 1475715"/>
                  <a:gd name="connsiteX35" fmla="*/ 796705 w 851025"/>
                  <a:gd name="connsiteY35" fmla="*/ 814812 h 1475715"/>
                  <a:gd name="connsiteX36" fmla="*/ 746911 w 851025"/>
                  <a:gd name="connsiteY36" fmla="*/ 787652 h 1475715"/>
                  <a:gd name="connsiteX37" fmla="*/ 692590 w 851025"/>
                  <a:gd name="connsiteY37" fmla="*/ 774072 h 1475715"/>
                  <a:gd name="connsiteX38" fmla="*/ 588475 w 851025"/>
                  <a:gd name="connsiteY38" fmla="*/ 819339 h 1475715"/>
                  <a:gd name="connsiteX39" fmla="*/ 506994 w 851025"/>
                  <a:gd name="connsiteY39" fmla="*/ 900820 h 1475715"/>
                  <a:gd name="connsiteX40" fmla="*/ 497940 w 851025"/>
                  <a:gd name="connsiteY40" fmla="*/ 955141 h 1475715"/>
                  <a:gd name="connsiteX41" fmla="*/ 511520 w 851025"/>
                  <a:gd name="connsiteY41" fmla="*/ 1023042 h 1475715"/>
                  <a:gd name="connsiteX42" fmla="*/ 525101 w 851025"/>
                  <a:gd name="connsiteY42" fmla="*/ 1072836 h 1475715"/>
                  <a:gd name="connsiteX43" fmla="*/ 525101 w 851025"/>
                  <a:gd name="connsiteY43" fmla="*/ 1136210 h 1475715"/>
                  <a:gd name="connsiteX44" fmla="*/ 502467 w 851025"/>
                  <a:gd name="connsiteY44" fmla="*/ 1176951 h 1475715"/>
                  <a:gd name="connsiteX45" fmla="*/ 448146 w 851025"/>
                  <a:gd name="connsiteY45" fmla="*/ 1195058 h 1475715"/>
                  <a:gd name="connsiteX46" fmla="*/ 402879 w 851025"/>
                  <a:gd name="connsiteY46" fmla="*/ 1213165 h 1475715"/>
                  <a:gd name="connsiteX47" fmla="*/ 357612 w 851025"/>
                  <a:gd name="connsiteY47" fmla="*/ 1231272 h 1475715"/>
                  <a:gd name="connsiteX48" fmla="*/ 294237 w 851025"/>
                  <a:gd name="connsiteY48" fmla="*/ 1344440 h 1475715"/>
                  <a:gd name="connsiteX49" fmla="*/ 285184 w 851025"/>
                  <a:gd name="connsiteY49" fmla="*/ 1398761 h 1475715"/>
                  <a:gd name="connsiteX50" fmla="*/ 276130 w 851025"/>
                  <a:gd name="connsiteY50" fmla="*/ 1448555 h 1475715"/>
                  <a:gd name="connsiteX51" fmla="*/ 221810 w 851025"/>
                  <a:gd name="connsiteY51" fmla="*/ 1475715 h 1475715"/>
                  <a:gd name="connsiteX52" fmla="*/ 153909 w 851025"/>
                  <a:gd name="connsiteY52" fmla="*/ 1466662 h 1475715"/>
                  <a:gd name="connsiteX53" fmla="*/ 99588 w 851025"/>
                  <a:gd name="connsiteY53" fmla="*/ 1475715 h 1475715"/>
                  <a:gd name="connsiteX54" fmla="*/ 9053 w 851025"/>
                  <a:gd name="connsiteY54" fmla="*/ 1444028 h 1475715"/>
                  <a:gd name="connsiteX55" fmla="*/ 4526 w 851025"/>
                  <a:gd name="connsiteY55" fmla="*/ 1403287 h 1475715"/>
                  <a:gd name="connsiteX56" fmla="*/ 36214 w 851025"/>
                  <a:gd name="connsiteY56" fmla="*/ 1389707 h 1475715"/>
                  <a:gd name="connsiteX57" fmla="*/ 0 w 851025"/>
                  <a:gd name="connsiteY57" fmla="*/ 1339913 h 1475715"/>
                  <a:gd name="connsiteX58" fmla="*/ 13580 w 851025"/>
                  <a:gd name="connsiteY58" fmla="*/ 1339913 h 1475715"/>
                  <a:gd name="connsiteX59" fmla="*/ 13580 w 851025"/>
                  <a:gd name="connsiteY59" fmla="*/ 1267485 h 1475715"/>
                  <a:gd name="connsiteX60" fmla="*/ 76954 w 851025"/>
                  <a:gd name="connsiteY60" fmla="*/ 1249378 h 1475715"/>
                  <a:gd name="connsiteX61" fmla="*/ 162962 w 851025"/>
                  <a:gd name="connsiteY61" fmla="*/ 1167897 h 1475715"/>
                  <a:gd name="connsiteX62" fmla="*/ 181069 w 851025"/>
                  <a:gd name="connsiteY62" fmla="*/ 1090943 h 1475715"/>
                  <a:gd name="connsiteX63" fmla="*/ 167489 w 851025"/>
                  <a:gd name="connsiteY63" fmla="*/ 1045676 h 1475715"/>
                  <a:gd name="connsiteX64" fmla="*/ 117695 w 851025"/>
                  <a:gd name="connsiteY64" fmla="*/ 1009462 h 1475715"/>
                  <a:gd name="connsiteX65" fmla="*/ 135802 w 851025"/>
                  <a:gd name="connsiteY65" fmla="*/ 977775 h 1475715"/>
                  <a:gd name="connsiteX66" fmla="*/ 181069 w 851025"/>
                  <a:gd name="connsiteY66" fmla="*/ 959668 h 1475715"/>
                  <a:gd name="connsiteX67" fmla="*/ 239917 w 851025"/>
                  <a:gd name="connsiteY67" fmla="*/ 927980 h 1475715"/>
                  <a:gd name="connsiteX68" fmla="*/ 276130 w 851025"/>
                  <a:gd name="connsiteY68" fmla="*/ 955141 h 1475715"/>
                  <a:gd name="connsiteX69" fmla="*/ 316871 w 851025"/>
                  <a:gd name="connsiteY69" fmla="*/ 914400 h 1475715"/>
                  <a:gd name="connsiteX70" fmla="*/ 339505 w 851025"/>
                  <a:gd name="connsiteY70" fmla="*/ 855553 h 1475715"/>
                  <a:gd name="connsiteX71" fmla="*/ 348558 w 851025"/>
                  <a:gd name="connsiteY71" fmla="*/ 814812 h 1475715"/>
                  <a:gd name="connsiteX72" fmla="*/ 312344 w 851025"/>
                  <a:gd name="connsiteY72" fmla="*/ 787652 h 1475715"/>
                  <a:gd name="connsiteX73" fmla="*/ 298764 w 851025"/>
                  <a:gd name="connsiteY73" fmla="*/ 778598 h 1475715"/>
                  <a:gd name="connsiteX74" fmla="*/ 235390 w 851025"/>
                  <a:gd name="connsiteY74" fmla="*/ 715224 h 1475715"/>
                  <a:gd name="connsiteX75" fmla="*/ 248970 w 851025"/>
                  <a:gd name="connsiteY75" fmla="*/ 588476 h 1475715"/>
                  <a:gd name="connsiteX76" fmla="*/ 199176 w 851025"/>
                  <a:gd name="connsiteY76" fmla="*/ 457200 h 1475715"/>
                  <a:gd name="connsiteX77" fmla="*/ 162962 w 851025"/>
                  <a:gd name="connsiteY77" fmla="*/ 384773 h 1475715"/>
                  <a:gd name="connsiteX78" fmla="*/ 140328 w 851025"/>
                  <a:gd name="connsiteY78" fmla="*/ 389299 h 1475715"/>
                  <a:gd name="connsiteX79" fmla="*/ 108641 w 851025"/>
                  <a:gd name="connsiteY79" fmla="*/ 316872 h 1475715"/>
                  <a:gd name="connsiteX80" fmla="*/ 108641 w 851025"/>
                  <a:gd name="connsiteY80" fmla="*/ 285184 h 1475715"/>
                  <a:gd name="connsiteX81" fmla="*/ 99588 w 851025"/>
                  <a:gd name="connsiteY81" fmla="*/ 239917 h 1475715"/>
                  <a:gd name="connsiteX82" fmla="*/ 81481 w 851025"/>
                  <a:gd name="connsiteY82" fmla="*/ 144856 h 147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851025" h="1475715">
                    <a:moveTo>
                      <a:pt x="81481" y="144856"/>
                    </a:moveTo>
                    <a:lnTo>
                      <a:pt x="99588" y="90535"/>
                    </a:lnTo>
                    <a:lnTo>
                      <a:pt x="140328" y="108642"/>
                    </a:lnTo>
                    <a:lnTo>
                      <a:pt x="176542" y="90535"/>
                    </a:lnTo>
                    <a:lnTo>
                      <a:pt x="208229" y="113169"/>
                    </a:lnTo>
                    <a:lnTo>
                      <a:pt x="253497" y="158436"/>
                    </a:lnTo>
                    <a:lnTo>
                      <a:pt x="312344" y="140329"/>
                    </a:lnTo>
                    <a:lnTo>
                      <a:pt x="375719" y="126749"/>
                    </a:lnTo>
                    <a:lnTo>
                      <a:pt x="393825" y="144856"/>
                    </a:lnTo>
                    <a:lnTo>
                      <a:pt x="402879" y="95062"/>
                    </a:lnTo>
                    <a:lnTo>
                      <a:pt x="402879" y="36214"/>
                    </a:lnTo>
                    <a:lnTo>
                      <a:pt x="420986" y="0"/>
                    </a:lnTo>
                    <a:lnTo>
                      <a:pt x="502467" y="9054"/>
                    </a:lnTo>
                    <a:lnTo>
                      <a:pt x="538681" y="18107"/>
                    </a:lnTo>
                    <a:lnTo>
                      <a:pt x="525101" y="67901"/>
                    </a:lnTo>
                    <a:lnTo>
                      <a:pt x="525101" y="104115"/>
                    </a:lnTo>
                    <a:lnTo>
                      <a:pt x="525101" y="104115"/>
                    </a:lnTo>
                    <a:lnTo>
                      <a:pt x="466253" y="226337"/>
                    </a:lnTo>
                    <a:lnTo>
                      <a:pt x="466253" y="276131"/>
                    </a:lnTo>
                    <a:lnTo>
                      <a:pt x="484360" y="312345"/>
                    </a:lnTo>
                    <a:lnTo>
                      <a:pt x="493414" y="330452"/>
                    </a:lnTo>
                    <a:lnTo>
                      <a:pt x="565841" y="353085"/>
                    </a:lnTo>
                    <a:lnTo>
                      <a:pt x="602055" y="348559"/>
                    </a:lnTo>
                    <a:lnTo>
                      <a:pt x="706170" y="411933"/>
                    </a:lnTo>
                    <a:lnTo>
                      <a:pt x="755964" y="425513"/>
                    </a:lnTo>
                    <a:lnTo>
                      <a:pt x="755964" y="461727"/>
                    </a:lnTo>
                    <a:lnTo>
                      <a:pt x="810285" y="479834"/>
                    </a:lnTo>
                    <a:lnTo>
                      <a:pt x="792178" y="552262"/>
                    </a:lnTo>
                    <a:lnTo>
                      <a:pt x="814812" y="597529"/>
                    </a:lnTo>
                    <a:lnTo>
                      <a:pt x="814812" y="651850"/>
                    </a:lnTo>
                    <a:lnTo>
                      <a:pt x="810285" y="697117"/>
                    </a:lnTo>
                    <a:lnTo>
                      <a:pt x="823865" y="719751"/>
                    </a:lnTo>
                    <a:lnTo>
                      <a:pt x="851025" y="733331"/>
                    </a:lnTo>
                    <a:lnTo>
                      <a:pt x="828392" y="751438"/>
                    </a:lnTo>
                    <a:lnTo>
                      <a:pt x="832919" y="787652"/>
                    </a:lnTo>
                    <a:lnTo>
                      <a:pt x="796705" y="814812"/>
                    </a:lnTo>
                    <a:lnTo>
                      <a:pt x="746911" y="787652"/>
                    </a:lnTo>
                    <a:lnTo>
                      <a:pt x="692590" y="774072"/>
                    </a:lnTo>
                    <a:lnTo>
                      <a:pt x="588475" y="819339"/>
                    </a:lnTo>
                    <a:lnTo>
                      <a:pt x="506994" y="900820"/>
                    </a:lnTo>
                    <a:lnTo>
                      <a:pt x="497940" y="955141"/>
                    </a:lnTo>
                    <a:lnTo>
                      <a:pt x="511520" y="1023042"/>
                    </a:lnTo>
                    <a:lnTo>
                      <a:pt x="525101" y="1072836"/>
                    </a:lnTo>
                    <a:lnTo>
                      <a:pt x="525101" y="1136210"/>
                    </a:lnTo>
                    <a:lnTo>
                      <a:pt x="502467" y="1176951"/>
                    </a:lnTo>
                    <a:lnTo>
                      <a:pt x="448146" y="1195058"/>
                    </a:lnTo>
                    <a:lnTo>
                      <a:pt x="402879" y="1213165"/>
                    </a:lnTo>
                    <a:lnTo>
                      <a:pt x="357612" y="1231272"/>
                    </a:lnTo>
                    <a:lnTo>
                      <a:pt x="294237" y="1344440"/>
                    </a:lnTo>
                    <a:lnTo>
                      <a:pt x="285184" y="1398761"/>
                    </a:lnTo>
                    <a:lnTo>
                      <a:pt x="276130" y="1448555"/>
                    </a:lnTo>
                    <a:lnTo>
                      <a:pt x="221810" y="1475715"/>
                    </a:lnTo>
                    <a:lnTo>
                      <a:pt x="153909" y="1466662"/>
                    </a:lnTo>
                    <a:lnTo>
                      <a:pt x="99588" y="1475715"/>
                    </a:lnTo>
                    <a:lnTo>
                      <a:pt x="9053" y="1444028"/>
                    </a:lnTo>
                    <a:lnTo>
                      <a:pt x="4526" y="1403287"/>
                    </a:lnTo>
                    <a:lnTo>
                      <a:pt x="36214" y="1389707"/>
                    </a:lnTo>
                    <a:lnTo>
                      <a:pt x="0" y="1339913"/>
                    </a:lnTo>
                    <a:lnTo>
                      <a:pt x="13580" y="1339913"/>
                    </a:lnTo>
                    <a:lnTo>
                      <a:pt x="13580" y="1267485"/>
                    </a:lnTo>
                    <a:lnTo>
                      <a:pt x="76954" y="1249378"/>
                    </a:lnTo>
                    <a:lnTo>
                      <a:pt x="162962" y="1167897"/>
                    </a:lnTo>
                    <a:lnTo>
                      <a:pt x="181069" y="1090943"/>
                    </a:lnTo>
                    <a:lnTo>
                      <a:pt x="167489" y="1045676"/>
                    </a:lnTo>
                    <a:lnTo>
                      <a:pt x="117695" y="1009462"/>
                    </a:lnTo>
                    <a:lnTo>
                      <a:pt x="135802" y="977775"/>
                    </a:lnTo>
                    <a:lnTo>
                      <a:pt x="181069" y="959668"/>
                    </a:lnTo>
                    <a:lnTo>
                      <a:pt x="239917" y="927980"/>
                    </a:lnTo>
                    <a:lnTo>
                      <a:pt x="276130" y="955141"/>
                    </a:lnTo>
                    <a:lnTo>
                      <a:pt x="316871" y="914400"/>
                    </a:lnTo>
                    <a:lnTo>
                      <a:pt x="339505" y="855553"/>
                    </a:lnTo>
                    <a:lnTo>
                      <a:pt x="348558" y="814812"/>
                    </a:lnTo>
                    <a:lnTo>
                      <a:pt x="312344" y="787652"/>
                    </a:lnTo>
                    <a:lnTo>
                      <a:pt x="298764" y="778598"/>
                    </a:lnTo>
                    <a:lnTo>
                      <a:pt x="235390" y="715224"/>
                    </a:lnTo>
                    <a:lnTo>
                      <a:pt x="248970" y="588476"/>
                    </a:lnTo>
                    <a:lnTo>
                      <a:pt x="199176" y="457200"/>
                    </a:lnTo>
                    <a:lnTo>
                      <a:pt x="162962" y="384773"/>
                    </a:lnTo>
                    <a:lnTo>
                      <a:pt x="140328" y="389299"/>
                    </a:lnTo>
                    <a:lnTo>
                      <a:pt x="108641" y="316872"/>
                    </a:lnTo>
                    <a:lnTo>
                      <a:pt x="108641" y="285184"/>
                    </a:lnTo>
                    <a:lnTo>
                      <a:pt x="99588" y="239917"/>
                    </a:lnTo>
                    <a:lnTo>
                      <a:pt x="81481" y="1448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0" name="Figura a mano libera 179"/>
              <p:cNvSpPr/>
              <p:nvPr/>
            </p:nvSpPr>
            <p:spPr bwMode="auto">
              <a:xfrm>
                <a:off x="3726908" y="5663279"/>
                <a:ext cx="1307836" cy="821771"/>
              </a:xfrm>
              <a:custGeom>
                <a:avLst/>
                <a:gdLst>
                  <a:gd name="connsiteX0" fmla="*/ 1688306 w 1745456"/>
                  <a:gd name="connsiteY0" fmla="*/ 0 h 1097756"/>
                  <a:gd name="connsiteX1" fmla="*/ 1745456 w 1745456"/>
                  <a:gd name="connsiteY1" fmla="*/ 23812 h 1097756"/>
                  <a:gd name="connsiteX2" fmla="*/ 1697831 w 1745456"/>
                  <a:gd name="connsiteY2" fmla="*/ 57150 h 1097756"/>
                  <a:gd name="connsiteX3" fmla="*/ 1657350 w 1745456"/>
                  <a:gd name="connsiteY3" fmla="*/ 178594 h 1097756"/>
                  <a:gd name="connsiteX4" fmla="*/ 1533525 w 1745456"/>
                  <a:gd name="connsiteY4" fmla="*/ 321469 h 1097756"/>
                  <a:gd name="connsiteX5" fmla="*/ 1507331 w 1745456"/>
                  <a:gd name="connsiteY5" fmla="*/ 397669 h 1097756"/>
                  <a:gd name="connsiteX6" fmla="*/ 1493044 w 1745456"/>
                  <a:gd name="connsiteY6" fmla="*/ 428625 h 1097756"/>
                  <a:gd name="connsiteX7" fmla="*/ 1504950 w 1745456"/>
                  <a:gd name="connsiteY7" fmla="*/ 483394 h 1097756"/>
                  <a:gd name="connsiteX8" fmla="*/ 1471613 w 1745456"/>
                  <a:gd name="connsiteY8" fmla="*/ 500062 h 1097756"/>
                  <a:gd name="connsiteX9" fmla="*/ 1440656 w 1745456"/>
                  <a:gd name="connsiteY9" fmla="*/ 547687 h 1097756"/>
                  <a:gd name="connsiteX10" fmla="*/ 1443038 w 1745456"/>
                  <a:gd name="connsiteY10" fmla="*/ 657225 h 1097756"/>
                  <a:gd name="connsiteX11" fmla="*/ 1519238 w 1745456"/>
                  <a:gd name="connsiteY11" fmla="*/ 685800 h 1097756"/>
                  <a:gd name="connsiteX12" fmla="*/ 1538288 w 1745456"/>
                  <a:gd name="connsiteY12" fmla="*/ 702469 h 1097756"/>
                  <a:gd name="connsiteX13" fmla="*/ 1502569 w 1745456"/>
                  <a:gd name="connsiteY13" fmla="*/ 707231 h 1097756"/>
                  <a:gd name="connsiteX14" fmla="*/ 1519238 w 1745456"/>
                  <a:gd name="connsiteY14" fmla="*/ 785812 h 1097756"/>
                  <a:gd name="connsiteX15" fmla="*/ 1557338 w 1745456"/>
                  <a:gd name="connsiteY15" fmla="*/ 795337 h 1097756"/>
                  <a:gd name="connsiteX16" fmla="*/ 1574006 w 1745456"/>
                  <a:gd name="connsiteY16" fmla="*/ 816769 h 1097756"/>
                  <a:gd name="connsiteX17" fmla="*/ 1559719 w 1745456"/>
                  <a:gd name="connsiteY17" fmla="*/ 845344 h 1097756"/>
                  <a:gd name="connsiteX18" fmla="*/ 1550194 w 1745456"/>
                  <a:gd name="connsiteY18" fmla="*/ 876300 h 1097756"/>
                  <a:gd name="connsiteX19" fmla="*/ 1531144 w 1745456"/>
                  <a:gd name="connsiteY19" fmla="*/ 885825 h 1097756"/>
                  <a:gd name="connsiteX20" fmla="*/ 1478756 w 1745456"/>
                  <a:gd name="connsiteY20" fmla="*/ 912019 h 1097756"/>
                  <a:gd name="connsiteX21" fmla="*/ 1450181 w 1745456"/>
                  <a:gd name="connsiteY21" fmla="*/ 971550 h 1097756"/>
                  <a:gd name="connsiteX22" fmla="*/ 1464469 w 1745456"/>
                  <a:gd name="connsiteY22" fmla="*/ 1062037 h 1097756"/>
                  <a:gd name="connsiteX23" fmla="*/ 1483519 w 1745456"/>
                  <a:gd name="connsiteY23" fmla="*/ 1092994 h 1097756"/>
                  <a:gd name="connsiteX24" fmla="*/ 1445419 w 1745456"/>
                  <a:gd name="connsiteY24" fmla="*/ 1097756 h 1097756"/>
                  <a:gd name="connsiteX25" fmla="*/ 1426369 w 1745456"/>
                  <a:gd name="connsiteY25" fmla="*/ 1057275 h 1097756"/>
                  <a:gd name="connsiteX26" fmla="*/ 1400175 w 1745456"/>
                  <a:gd name="connsiteY26" fmla="*/ 1057275 h 1097756"/>
                  <a:gd name="connsiteX27" fmla="*/ 1385888 w 1745456"/>
                  <a:gd name="connsiteY27" fmla="*/ 1073944 h 1097756"/>
                  <a:gd name="connsiteX28" fmla="*/ 1328738 w 1745456"/>
                  <a:gd name="connsiteY28" fmla="*/ 1033462 h 1097756"/>
                  <a:gd name="connsiteX29" fmla="*/ 1264444 w 1745456"/>
                  <a:gd name="connsiteY29" fmla="*/ 1062037 h 1097756"/>
                  <a:gd name="connsiteX30" fmla="*/ 1202531 w 1745456"/>
                  <a:gd name="connsiteY30" fmla="*/ 1026319 h 1097756"/>
                  <a:gd name="connsiteX31" fmla="*/ 1147763 w 1745456"/>
                  <a:gd name="connsiteY31" fmla="*/ 1002506 h 1097756"/>
                  <a:gd name="connsiteX32" fmla="*/ 1126331 w 1745456"/>
                  <a:gd name="connsiteY32" fmla="*/ 1002506 h 1097756"/>
                  <a:gd name="connsiteX33" fmla="*/ 1090613 w 1745456"/>
                  <a:gd name="connsiteY33" fmla="*/ 978694 h 1097756"/>
                  <a:gd name="connsiteX34" fmla="*/ 1004888 w 1745456"/>
                  <a:gd name="connsiteY34" fmla="*/ 831056 h 1097756"/>
                  <a:gd name="connsiteX35" fmla="*/ 897731 w 1745456"/>
                  <a:gd name="connsiteY35" fmla="*/ 792956 h 1097756"/>
                  <a:gd name="connsiteX36" fmla="*/ 854869 w 1745456"/>
                  <a:gd name="connsiteY36" fmla="*/ 792956 h 1097756"/>
                  <a:gd name="connsiteX37" fmla="*/ 802481 w 1745456"/>
                  <a:gd name="connsiteY37" fmla="*/ 792956 h 1097756"/>
                  <a:gd name="connsiteX38" fmla="*/ 790575 w 1745456"/>
                  <a:gd name="connsiteY38" fmla="*/ 807244 h 1097756"/>
                  <a:gd name="connsiteX39" fmla="*/ 769144 w 1745456"/>
                  <a:gd name="connsiteY39" fmla="*/ 769144 h 1097756"/>
                  <a:gd name="connsiteX40" fmla="*/ 719138 w 1745456"/>
                  <a:gd name="connsiteY40" fmla="*/ 759619 h 1097756"/>
                  <a:gd name="connsiteX41" fmla="*/ 666750 w 1745456"/>
                  <a:gd name="connsiteY41" fmla="*/ 721519 h 1097756"/>
                  <a:gd name="connsiteX42" fmla="*/ 631031 w 1745456"/>
                  <a:gd name="connsiteY42" fmla="*/ 683419 h 1097756"/>
                  <a:gd name="connsiteX43" fmla="*/ 626269 w 1745456"/>
                  <a:gd name="connsiteY43" fmla="*/ 681037 h 1097756"/>
                  <a:gd name="connsiteX44" fmla="*/ 566738 w 1745456"/>
                  <a:gd name="connsiteY44" fmla="*/ 673894 h 1097756"/>
                  <a:gd name="connsiteX45" fmla="*/ 526256 w 1745456"/>
                  <a:gd name="connsiteY45" fmla="*/ 654844 h 1097756"/>
                  <a:gd name="connsiteX46" fmla="*/ 471488 w 1745456"/>
                  <a:gd name="connsiteY46" fmla="*/ 607219 h 1097756"/>
                  <a:gd name="connsiteX47" fmla="*/ 411956 w 1745456"/>
                  <a:gd name="connsiteY47" fmla="*/ 540544 h 1097756"/>
                  <a:gd name="connsiteX48" fmla="*/ 392906 w 1745456"/>
                  <a:gd name="connsiteY48" fmla="*/ 526256 h 1097756"/>
                  <a:gd name="connsiteX49" fmla="*/ 333375 w 1745456"/>
                  <a:gd name="connsiteY49" fmla="*/ 523875 h 1097756"/>
                  <a:gd name="connsiteX50" fmla="*/ 300038 w 1745456"/>
                  <a:gd name="connsiteY50" fmla="*/ 504825 h 1097756"/>
                  <a:gd name="connsiteX51" fmla="*/ 271463 w 1745456"/>
                  <a:gd name="connsiteY51" fmla="*/ 469106 h 1097756"/>
                  <a:gd name="connsiteX52" fmla="*/ 164306 w 1745456"/>
                  <a:gd name="connsiteY52" fmla="*/ 473869 h 1097756"/>
                  <a:gd name="connsiteX53" fmla="*/ 142875 w 1745456"/>
                  <a:gd name="connsiteY53" fmla="*/ 490537 h 1097756"/>
                  <a:gd name="connsiteX54" fmla="*/ 83344 w 1745456"/>
                  <a:gd name="connsiteY54" fmla="*/ 411956 h 1097756"/>
                  <a:gd name="connsiteX55" fmla="*/ 52388 w 1745456"/>
                  <a:gd name="connsiteY55" fmla="*/ 414337 h 1097756"/>
                  <a:gd name="connsiteX56" fmla="*/ 28575 w 1745456"/>
                  <a:gd name="connsiteY56" fmla="*/ 378619 h 1097756"/>
                  <a:gd name="connsiteX57" fmla="*/ 26194 w 1745456"/>
                  <a:gd name="connsiteY57" fmla="*/ 342900 h 1097756"/>
                  <a:gd name="connsiteX58" fmla="*/ 4763 w 1745456"/>
                  <a:gd name="connsiteY58" fmla="*/ 323850 h 1097756"/>
                  <a:gd name="connsiteX59" fmla="*/ 35719 w 1745456"/>
                  <a:gd name="connsiteY59" fmla="*/ 295275 h 1097756"/>
                  <a:gd name="connsiteX60" fmla="*/ 0 w 1745456"/>
                  <a:gd name="connsiteY60" fmla="*/ 266700 h 1097756"/>
                  <a:gd name="connsiteX61" fmla="*/ 42863 w 1745456"/>
                  <a:gd name="connsiteY61" fmla="*/ 233362 h 1097756"/>
                  <a:gd name="connsiteX62" fmla="*/ 45244 w 1745456"/>
                  <a:gd name="connsiteY62" fmla="*/ 176212 h 1097756"/>
                  <a:gd name="connsiteX63" fmla="*/ 92869 w 1745456"/>
                  <a:gd name="connsiteY63" fmla="*/ 140494 h 1097756"/>
                  <a:gd name="connsiteX64" fmla="*/ 140494 w 1745456"/>
                  <a:gd name="connsiteY64" fmla="*/ 116681 h 1097756"/>
                  <a:gd name="connsiteX65" fmla="*/ 190500 w 1745456"/>
                  <a:gd name="connsiteY65" fmla="*/ 76200 h 1097756"/>
                  <a:gd name="connsiteX66" fmla="*/ 219075 w 1745456"/>
                  <a:gd name="connsiteY66" fmla="*/ 147637 h 1097756"/>
                  <a:gd name="connsiteX67" fmla="*/ 273844 w 1745456"/>
                  <a:gd name="connsiteY67" fmla="*/ 180975 h 1097756"/>
                  <a:gd name="connsiteX68" fmla="*/ 319088 w 1745456"/>
                  <a:gd name="connsiteY68" fmla="*/ 154781 h 1097756"/>
                  <a:gd name="connsiteX69" fmla="*/ 359569 w 1745456"/>
                  <a:gd name="connsiteY69" fmla="*/ 154781 h 1097756"/>
                  <a:gd name="connsiteX70" fmla="*/ 357188 w 1745456"/>
                  <a:gd name="connsiteY70" fmla="*/ 123825 h 1097756"/>
                  <a:gd name="connsiteX71" fmla="*/ 366713 w 1745456"/>
                  <a:gd name="connsiteY71" fmla="*/ 69056 h 1097756"/>
                  <a:gd name="connsiteX72" fmla="*/ 402431 w 1745456"/>
                  <a:gd name="connsiteY72" fmla="*/ 85725 h 1097756"/>
                  <a:gd name="connsiteX73" fmla="*/ 447675 w 1745456"/>
                  <a:gd name="connsiteY73" fmla="*/ 85725 h 1097756"/>
                  <a:gd name="connsiteX74" fmla="*/ 481013 w 1745456"/>
                  <a:gd name="connsiteY74" fmla="*/ 54769 h 1097756"/>
                  <a:gd name="connsiteX75" fmla="*/ 516731 w 1745456"/>
                  <a:gd name="connsiteY75" fmla="*/ 71437 h 1097756"/>
                  <a:gd name="connsiteX76" fmla="*/ 528638 w 1745456"/>
                  <a:gd name="connsiteY76" fmla="*/ 102394 h 1097756"/>
                  <a:gd name="connsiteX77" fmla="*/ 511969 w 1745456"/>
                  <a:gd name="connsiteY77" fmla="*/ 133350 h 1097756"/>
                  <a:gd name="connsiteX78" fmla="*/ 595313 w 1745456"/>
                  <a:gd name="connsiteY78" fmla="*/ 126206 h 1097756"/>
                  <a:gd name="connsiteX79" fmla="*/ 595313 w 1745456"/>
                  <a:gd name="connsiteY79" fmla="*/ 126206 h 1097756"/>
                  <a:gd name="connsiteX80" fmla="*/ 621506 w 1745456"/>
                  <a:gd name="connsiteY80" fmla="*/ 159544 h 1097756"/>
                  <a:gd name="connsiteX81" fmla="*/ 647700 w 1745456"/>
                  <a:gd name="connsiteY81" fmla="*/ 204787 h 1097756"/>
                  <a:gd name="connsiteX82" fmla="*/ 726281 w 1745456"/>
                  <a:gd name="connsiteY82" fmla="*/ 221456 h 1097756"/>
                  <a:gd name="connsiteX83" fmla="*/ 785813 w 1745456"/>
                  <a:gd name="connsiteY83" fmla="*/ 211931 h 1097756"/>
                  <a:gd name="connsiteX84" fmla="*/ 857250 w 1745456"/>
                  <a:gd name="connsiteY84" fmla="*/ 176212 h 1097756"/>
                  <a:gd name="connsiteX85" fmla="*/ 888206 w 1745456"/>
                  <a:gd name="connsiteY85" fmla="*/ 176212 h 1097756"/>
                  <a:gd name="connsiteX86" fmla="*/ 959644 w 1745456"/>
                  <a:gd name="connsiteY86" fmla="*/ 192881 h 1097756"/>
                  <a:gd name="connsiteX87" fmla="*/ 1059656 w 1745456"/>
                  <a:gd name="connsiteY87" fmla="*/ 192881 h 1097756"/>
                  <a:gd name="connsiteX88" fmla="*/ 1166813 w 1745456"/>
                  <a:gd name="connsiteY88" fmla="*/ 171450 h 1097756"/>
                  <a:gd name="connsiteX89" fmla="*/ 1245394 w 1745456"/>
                  <a:gd name="connsiteY89" fmla="*/ 119062 h 1097756"/>
                  <a:gd name="connsiteX90" fmla="*/ 1273969 w 1745456"/>
                  <a:gd name="connsiteY90" fmla="*/ 102394 h 1097756"/>
                  <a:gd name="connsiteX91" fmla="*/ 1366838 w 1745456"/>
                  <a:gd name="connsiteY91" fmla="*/ 76200 h 1097756"/>
                  <a:gd name="connsiteX92" fmla="*/ 1402556 w 1745456"/>
                  <a:gd name="connsiteY92" fmla="*/ 114300 h 1097756"/>
                  <a:gd name="connsiteX93" fmla="*/ 1462088 w 1745456"/>
                  <a:gd name="connsiteY93" fmla="*/ 128587 h 1097756"/>
                  <a:gd name="connsiteX94" fmla="*/ 1512094 w 1745456"/>
                  <a:gd name="connsiteY94" fmla="*/ 107156 h 1097756"/>
                  <a:gd name="connsiteX95" fmla="*/ 1528763 w 1745456"/>
                  <a:gd name="connsiteY95" fmla="*/ 61912 h 1097756"/>
                  <a:gd name="connsiteX96" fmla="*/ 1585913 w 1745456"/>
                  <a:gd name="connsiteY96" fmla="*/ 61912 h 1097756"/>
                  <a:gd name="connsiteX97" fmla="*/ 1621631 w 1745456"/>
                  <a:gd name="connsiteY97" fmla="*/ 42862 h 1097756"/>
                  <a:gd name="connsiteX98" fmla="*/ 1688306 w 1745456"/>
                  <a:gd name="connsiteY98" fmla="*/ 0 h 109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745456" h="1097756">
                    <a:moveTo>
                      <a:pt x="1688306" y="0"/>
                    </a:moveTo>
                    <a:lnTo>
                      <a:pt x="1745456" y="23812"/>
                    </a:lnTo>
                    <a:lnTo>
                      <a:pt x="1697831" y="57150"/>
                    </a:lnTo>
                    <a:lnTo>
                      <a:pt x="1657350" y="178594"/>
                    </a:lnTo>
                    <a:lnTo>
                      <a:pt x="1533525" y="321469"/>
                    </a:lnTo>
                    <a:lnTo>
                      <a:pt x="1507331" y="397669"/>
                    </a:lnTo>
                    <a:lnTo>
                      <a:pt x="1493044" y="428625"/>
                    </a:lnTo>
                    <a:lnTo>
                      <a:pt x="1504950" y="483394"/>
                    </a:lnTo>
                    <a:lnTo>
                      <a:pt x="1471613" y="500062"/>
                    </a:lnTo>
                    <a:lnTo>
                      <a:pt x="1440656" y="547687"/>
                    </a:lnTo>
                    <a:lnTo>
                      <a:pt x="1443038" y="657225"/>
                    </a:lnTo>
                    <a:lnTo>
                      <a:pt x="1519238" y="685800"/>
                    </a:lnTo>
                    <a:lnTo>
                      <a:pt x="1538288" y="702469"/>
                    </a:lnTo>
                    <a:lnTo>
                      <a:pt x="1502569" y="707231"/>
                    </a:lnTo>
                    <a:lnTo>
                      <a:pt x="1519238" y="785812"/>
                    </a:lnTo>
                    <a:lnTo>
                      <a:pt x="1557338" y="795337"/>
                    </a:lnTo>
                    <a:lnTo>
                      <a:pt x="1574006" y="816769"/>
                    </a:lnTo>
                    <a:lnTo>
                      <a:pt x="1559719" y="845344"/>
                    </a:lnTo>
                    <a:lnTo>
                      <a:pt x="1550194" y="876300"/>
                    </a:lnTo>
                    <a:lnTo>
                      <a:pt x="1531144" y="885825"/>
                    </a:lnTo>
                    <a:lnTo>
                      <a:pt x="1478756" y="912019"/>
                    </a:lnTo>
                    <a:lnTo>
                      <a:pt x="1450181" y="971550"/>
                    </a:lnTo>
                    <a:lnTo>
                      <a:pt x="1464469" y="1062037"/>
                    </a:lnTo>
                    <a:lnTo>
                      <a:pt x="1483519" y="1092994"/>
                    </a:lnTo>
                    <a:lnTo>
                      <a:pt x="1445419" y="1097756"/>
                    </a:lnTo>
                    <a:lnTo>
                      <a:pt x="1426369" y="1057275"/>
                    </a:lnTo>
                    <a:lnTo>
                      <a:pt x="1400175" y="1057275"/>
                    </a:lnTo>
                    <a:lnTo>
                      <a:pt x="1385888" y="1073944"/>
                    </a:lnTo>
                    <a:lnTo>
                      <a:pt x="1328738" y="1033462"/>
                    </a:lnTo>
                    <a:lnTo>
                      <a:pt x="1264444" y="1062037"/>
                    </a:lnTo>
                    <a:lnTo>
                      <a:pt x="1202531" y="1026319"/>
                    </a:lnTo>
                    <a:lnTo>
                      <a:pt x="1147763" y="1002506"/>
                    </a:lnTo>
                    <a:lnTo>
                      <a:pt x="1126331" y="1002506"/>
                    </a:lnTo>
                    <a:lnTo>
                      <a:pt x="1090613" y="978694"/>
                    </a:lnTo>
                    <a:lnTo>
                      <a:pt x="1004888" y="831056"/>
                    </a:lnTo>
                    <a:lnTo>
                      <a:pt x="897731" y="792956"/>
                    </a:lnTo>
                    <a:lnTo>
                      <a:pt x="854869" y="792956"/>
                    </a:lnTo>
                    <a:lnTo>
                      <a:pt x="802481" y="792956"/>
                    </a:lnTo>
                    <a:lnTo>
                      <a:pt x="790575" y="807244"/>
                    </a:lnTo>
                    <a:lnTo>
                      <a:pt x="769144" y="769144"/>
                    </a:lnTo>
                    <a:lnTo>
                      <a:pt x="719138" y="759619"/>
                    </a:lnTo>
                    <a:lnTo>
                      <a:pt x="666750" y="721519"/>
                    </a:lnTo>
                    <a:lnTo>
                      <a:pt x="631031" y="683419"/>
                    </a:lnTo>
                    <a:lnTo>
                      <a:pt x="626269" y="681037"/>
                    </a:lnTo>
                    <a:lnTo>
                      <a:pt x="566738" y="673894"/>
                    </a:lnTo>
                    <a:lnTo>
                      <a:pt x="526256" y="654844"/>
                    </a:lnTo>
                    <a:lnTo>
                      <a:pt x="471488" y="607219"/>
                    </a:lnTo>
                    <a:lnTo>
                      <a:pt x="411956" y="540544"/>
                    </a:lnTo>
                    <a:lnTo>
                      <a:pt x="392906" y="526256"/>
                    </a:lnTo>
                    <a:lnTo>
                      <a:pt x="333375" y="523875"/>
                    </a:lnTo>
                    <a:lnTo>
                      <a:pt x="300038" y="504825"/>
                    </a:lnTo>
                    <a:lnTo>
                      <a:pt x="271463" y="469106"/>
                    </a:lnTo>
                    <a:lnTo>
                      <a:pt x="164306" y="473869"/>
                    </a:lnTo>
                    <a:lnTo>
                      <a:pt x="142875" y="490537"/>
                    </a:lnTo>
                    <a:lnTo>
                      <a:pt x="83344" y="411956"/>
                    </a:lnTo>
                    <a:lnTo>
                      <a:pt x="52388" y="414337"/>
                    </a:lnTo>
                    <a:lnTo>
                      <a:pt x="28575" y="378619"/>
                    </a:lnTo>
                    <a:lnTo>
                      <a:pt x="26194" y="342900"/>
                    </a:lnTo>
                    <a:lnTo>
                      <a:pt x="4763" y="323850"/>
                    </a:lnTo>
                    <a:lnTo>
                      <a:pt x="35719" y="295275"/>
                    </a:lnTo>
                    <a:lnTo>
                      <a:pt x="0" y="266700"/>
                    </a:lnTo>
                    <a:lnTo>
                      <a:pt x="42863" y="233362"/>
                    </a:lnTo>
                    <a:cubicBezTo>
                      <a:pt x="43657" y="214312"/>
                      <a:pt x="44450" y="195262"/>
                      <a:pt x="45244" y="176212"/>
                    </a:cubicBezTo>
                    <a:lnTo>
                      <a:pt x="92869" y="140494"/>
                    </a:lnTo>
                    <a:lnTo>
                      <a:pt x="140494" y="116681"/>
                    </a:lnTo>
                    <a:lnTo>
                      <a:pt x="190500" y="76200"/>
                    </a:lnTo>
                    <a:lnTo>
                      <a:pt x="219075" y="147637"/>
                    </a:lnTo>
                    <a:lnTo>
                      <a:pt x="273844" y="180975"/>
                    </a:lnTo>
                    <a:lnTo>
                      <a:pt x="319088" y="154781"/>
                    </a:lnTo>
                    <a:lnTo>
                      <a:pt x="359569" y="154781"/>
                    </a:lnTo>
                    <a:lnTo>
                      <a:pt x="357188" y="123825"/>
                    </a:lnTo>
                    <a:lnTo>
                      <a:pt x="366713" y="69056"/>
                    </a:lnTo>
                    <a:lnTo>
                      <a:pt x="402431" y="85725"/>
                    </a:lnTo>
                    <a:lnTo>
                      <a:pt x="447675" y="85725"/>
                    </a:lnTo>
                    <a:lnTo>
                      <a:pt x="481013" y="54769"/>
                    </a:lnTo>
                    <a:lnTo>
                      <a:pt x="516731" y="71437"/>
                    </a:lnTo>
                    <a:lnTo>
                      <a:pt x="528638" y="102394"/>
                    </a:lnTo>
                    <a:lnTo>
                      <a:pt x="511969" y="133350"/>
                    </a:lnTo>
                    <a:lnTo>
                      <a:pt x="595313" y="126206"/>
                    </a:lnTo>
                    <a:lnTo>
                      <a:pt x="595313" y="126206"/>
                    </a:lnTo>
                    <a:lnTo>
                      <a:pt x="621506" y="159544"/>
                    </a:lnTo>
                    <a:lnTo>
                      <a:pt x="647700" y="204787"/>
                    </a:lnTo>
                    <a:lnTo>
                      <a:pt x="726281" y="221456"/>
                    </a:lnTo>
                    <a:lnTo>
                      <a:pt x="785813" y="211931"/>
                    </a:lnTo>
                    <a:lnTo>
                      <a:pt x="857250" y="176212"/>
                    </a:lnTo>
                    <a:lnTo>
                      <a:pt x="888206" y="176212"/>
                    </a:lnTo>
                    <a:lnTo>
                      <a:pt x="959644" y="192881"/>
                    </a:lnTo>
                    <a:lnTo>
                      <a:pt x="1059656" y="192881"/>
                    </a:lnTo>
                    <a:lnTo>
                      <a:pt x="1166813" y="171450"/>
                    </a:lnTo>
                    <a:lnTo>
                      <a:pt x="1245394" y="119062"/>
                    </a:lnTo>
                    <a:lnTo>
                      <a:pt x="1273969" y="102394"/>
                    </a:lnTo>
                    <a:lnTo>
                      <a:pt x="1366838" y="76200"/>
                    </a:lnTo>
                    <a:lnTo>
                      <a:pt x="1402556" y="114300"/>
                    </a:lnTo>
                    <a:lnTo>
                      <a:pt x="1462088" y="128587"/>
                    </a:lnTo>
                    <a:lnTo>
                      <a:pt x="1512094" y="107156"/>
                    </a:lnTo>
                    <a:lnTo>
                      <a:pt x="1528763" y="61912"/>
                    </a:lnTo>
                    <a:lnTo>
                      <a:pt x="1585913" y="61912"/>
                    </a:lnTo>
                    <a:lnTo>
                      <a:pt x="1621631" y="42862"/>
                    </a:lnTo>
                    <a:lnTo>
                      <a:pt x="1688306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1" name="Figura a mano libera 180"/>
              <p:cNvSpPr/>
              <p:nvPr/>
            </p:nvSpPr>
            <p:spPr bwMode="auto">
              <a:xfrm>
                <a:off x="4301250" y="4084134"/>
                <a:ext cx="791621" cy="751773"/>
              </a:xfrm>
              <a:custGeom>
                <a:avLst/>
                <a:gdLst>
                  <a:gd name="connsiteX0" fmla="*/ 0 w 1057275"/>
                  <a:gd name="connsiteY0" fmla="*/ 202406 h 1007268"/>
                  <a:gd name="connsiteX1" fmla="*/ 21431 w 1057275"/>
                  <a:gd name="connsiteY1" fmla="*/ 188118 h 1007268"/>
                  <a:gd name="connsiteX2" fmla="*/ 54768 w 1057275"/>
                  <a:gd name="connsiteY2" fmla="*/ 145256 h 1007268"/>
                  <a:gd name="connsiteX3" fmla="*/ 59531 w 1057275"/>
                  <a:gd name="connsiteY3" fmla="*/ 126206 h 1007268"/>
                  <a:gd name="connsiteX4" fmla="*/ 64293 w 1057275"/>
                  <a:gd name="connsiteY4" fmla="*/ 47625 h 1007268"/>
                  <a:gd name="connsiteX5" fmla="*/ 128587 w 1057275"/>
                  <a:gd name="connsiteY5" fmla="*/ 30956 h 1007268"/>
                  <a:gd name="connsiteX6" fmla="*/ 166687 w 1057275"/>
                  <a:gd name="connsiteY6" fmla="*/ 42862 h 1007268"/>
                  <a:gd name="connsiteX7" fmla="*/ 173831 w 1057275"/>
                  <a:gd name="connsiteY7" fmla="*/ 0 h 1007268"/>
                  <a:gd name="connsiteX8" fmla="*/ 247650 w 1057275"/>
                  <a:gd name="connsiteY8" fmla="*/ 16668 h 1007268"/>
                  <a:gd name="connsiteX9" fmla="*/ 285750 w 1057275"/>
                  <a:gd name="connsiteY9" fmla="*/ 40481 h 1007268"/>
                  <a:gd name="connsiteX10" fmla="*/ 350043 w 1057275"/>
                  <a:gd name="connsiteY10" fmla="*/ 52387 h 1007268"/>
                  <a:gd name="connsiteX11" fmla="*/ 369093 w 1057275"/>
                  <a:gd name="connsiteY11" fmla="*/ 78581 h 1007268"/>
                  <a:gd name="connsiteX12" fmla="*/ 395287 w 1057275"/>
                  <a:gd name="connsiteY12" fmla="*/ 92868 h 1007268"/>
                  <a:gd name="connsiteX13" fmla="*/ 409575 w 1057275"/>
                  <a:gd name="connsiteY13" fmla="*/ 85725 h 1007268"/>
                  <a:gd name="connsiteX14" fmla="*/ 416718 w 1057275"/>
                  <a:gd name="connsiteY14" fmla="*/ 97631 h 1007268"/>
                  <a:gd name="connsiteX15" fmla="*/ 478631 w 1057275"/>
                  <a:gd name="connsiteY15" fmla="*/ 66675 h 1007268"/>
                  <a:gd name="connsiteX16" fmla="*/ 514350 w 1057275"/>
                  <a:gd name="connsiteY16" fmla="*/ 66675 h 1007268"/>
                  <a:gd name="connsiteX17" fmla="*/ 514350 w 1057275"/>
                  <a:gd name="connsiteY17" fmla="*/ 42862 h 1007268"/>
                  <a:gd name="connsiteX18" fmla="*/ 545306 w 1057275"/>
                  <a:gd name="connsiteY18" fmla="*/ 54768 h 1007268"/>
                  <a:gd name="connsiteX19" fmla="*/ 602456 w 1057275"/>
                  <a:gd name="connsiteY19" fmla="*/ 33337 h 1007268"/>
                  <a:gd name="connsiteX20" fmla="*/ 635793 w 1057275"/>
                  <a:gd name="connsiteY20" fmla="*/ 21431 h 1007268"/>
                  <a:gd name="connsiteX21" fmla="*/ 647700 w 1057275"/>
                  <a:gd name="connsiteY21" fmla="*/ 50006 h 1007268"/>
                  <a:gd name="connsiteX22" fmla="*/ 681037 w 1057275"/>
                  <a:gd name="connsiteY22" fmla="*/ 59531 h 1007268"/>
                  <a:gd name="connsiteX23" fmla="*/ 650081 w 1057275"/>
                  <a:gd name="connsiteY23" fmla="*/ 85725 h 1007268"/>
                  <a:gd name="connsiteX24" fmla="*/ 673893 w 1057275"/>
                  <a:gd name="connsiteY24" fmla="*/ 123825 h 1007268"/>
                  <a:gd name="connsiteX25" fmla="*/ 716756 w 1057275"/>
                  <a:gd name="connsiteY25" fmla="*/ 140493 h 1007268"/>
                  <a:gd name="connsiteX26" fmla="*/ 754856 w 1057275"/>
                  <a:gd name="connsiteY26" fmla="*/ 157162 h 1007268"/>
                  <a:gd name="connsiteX27" fmla="*/ 778668 w 1057275"/>
                  <a:gd name="connsiteY27" fmla="*/ 176212 h 1007268"/>
                  <a:gd name="connsiteX28" fmla="*/ 759618 w 1057275"/>
                  <a:gd name="connsiteY28" fmla="*/ 185737 h 1007268"/>
                  <a:gd name="connsiteX29" fmla="*/ 759618 w 1057275"/>
                  <a:gd name="connsiteY29" fmla="*/ 204787 h 1007268"/>
                  <a:gd name="connsiteX30" fmla="*/ 742950 w 1057275"/>
                  <a:gd name="connsiteY30" fmla="*/ 226218 h 1007268"/>
                  <a:gd name="connsiteX31" fmla="*/ 752475 w 1057275"/>
                  <a:gd name="connsiteY31" fmla="*/ 240506 h 1007268"/>
                  <a:gd name="connsiteX32" fmla="*/ 778668 w 1057275"/>
                  <a:gd name="connsiteY32" fmla="*/ 271462 h 1007268"/>
                  <a:gd name="connsiteX33" fmla="*/ 814387 w 1057275"/>
                  <a:gd name="connsiteY33" fmla="*/ 276225 h 1007268"/>
                  <a:gd name="connsiteX34" fmla="*/ 845343 w 1057275"/>
                  <a:gd name="connsiteY34" fmla="*/ 269081 h 1007268"/>
                  <a:gd name="connsiteX35" fmla="*/ 885825 w 1057275"/>
                  <a:gd name="connsiteY35" fmla="*/ 283368 h 1007268"/>
                  <a:gd name="connsiteX36" fmla="*/ 902493 w 1057275"/>
                  <a:gd name="connsiteY36" fmla="*/ 290512 h 1007268"/>
                  <a:gd name="connsiteX37" fmla="*/ 921543 w 1057275"/>
                  <a:gd name="connsiteY37" fmla="*/ 309562 h 1007268"/>
                  <a:gd name="connsiteX38" fmla="*/ 923925 w 1057275"/>
                  <a:gd name="connsiteY38" fmla="*/ 340518 h 1007268"/>
                  <a:gd name="connsiteX39" fmla="*/ 923925 w 1057275"/>
                  <a:gd name="connsiteY39" fmla="*/ 378618 h 1007268"/>
                  <a:gd name="connsiteX40" fmla="*/ 892968 w 1057275"/>
                  <a:gd name="connsiteY40" fmla="*/ 404812 h 1007268"/>
                  <a:gd name="connsiteX41" fmla="*/ 831056 w 1057275"/>
                  <a:gd name="connsiteY41" fmla="*/ 411956 h 1007268"/>
                  <a:gd name="connsiteX42" fmla="*/ 823912 w 1057275"/>
                  <a:gd name="connsiteY42" fmla="*/ 435768 h 1007268"/>
                  <a:gd name="connsiteX43" fmla="*/ 826293 w 1057275"/>
                  <a:gd name="connsiteY43" fmla="*/ 469106 h 1007268"/>
                  <a:gd name="connsiteX44" fmla="*/ 828675 w 1057275"/>
                  <a:gd name="connsiteY44" fmla="*/ 500062 h 1007268"/>
                  <a:gd name="connsiteX45" fmla="*/ 854868 w 1057275"/>
                  <a:gd name="connsiteY45" fmla="*/ 538162 h 1007268"/>
                  <a:gd name="connsiteX46" fmla="*/ 892968 w 1057275"/>
                  <a:gd name="connsiteY46" fmla="*/ 557212 h 1007268"/>
                  <a:gd name="connsiteX47" fmla="*/ 864393 w 1057275"/>
                  <a:gd name="connsiteY47" fmla="*/ 588168 h 1007268"/>
                  <a:gd name="connsiteX48" fmla="*/ 900112 w 1057275"/>
                  <a:gd name="connsiteY48" fmla="*/ 621506 h 1007268"/>
                  <a:gd name="connsiteX49" fmla="*/ 916781 w 1057275"/>
                  <a:gd name="connsiteY49" fmla="*/ 645318 h 1007268"/>
                  <a:gd name="connsiteX50" fmla="*/ 923925 w 1057275"/>
                  <a:gd name="connsiteY50" fmla="*/ 678656 h 1007268"/>
                  <a:gd name="connsiteX51" fmla="*/ 900112 w 1057275"/>
                  <a:gd name="connsiteY51" fmla="*/ 681037 h 1007268"/>
                  <a:gd name="connsiteX52" fmla="*/ 945356 w 1057275"/>
                  <a:gd name="connsiteY52" fmla="*/ 704850 h 1007268"/>
                  <a:gd name="connsiteX53" fmla="*/ 985837 w 1057275"/>
                  <a:gd name="connsiteY53" fmla="*/ 740568 h 1007268"/>
                  <a:gd name="connsiteX54" fmla="*/ 1002506 w 1057275"/>
                  <a:gd name="connsiteY54" fmla="*/ 747712 h 1007268"/>
                  <a:gd name="connsiteX55" fmla="*/ 1016793 w 1057275"/>
                  <a:gd name="connsiteY55" fmla="*/ 790575 h 1007268"/>
                  <a:gd name="connsiteX56" fmla="*/ 1054893 w 1057275"/>
                  <a:gd name="connsiteY56" fmla="*/ 802481 h 1007268"/>
                  <a:gd name="connsiteX57" fmla="*/ 1057275 w 1057275"/>
                  <a:gd name="connsiteY57" fmla="*/ 840581 h 1007268"/>
                  <a:gd name="connsiteX58" fmla="*/ 1031081 w 1057275"/>
                  <a:gd name="connsiteY58" fmla="*/ 862012 h 1007268"/>
                  <a:gd name="connsiteX59" fmla="*/ 997743 w 1057275"/>
                  <a:gd name="connsiteY59" fmla="*/ 881062 h 1007268"/>
                  <a:gd name="connsiteX60" fmla="*/ 1002506 w 1057275"/>
                  <a:gd name="connsiteY60" fmla="*/ 921543 h 1007268"/>
                  <a:gd name="connsiteX61" fmla="*/ 971550 w 1057275"/>
                  <a:gd name="connsiteY61" fmla="*/ 945356 h 1007268"/>
                  <a:gd name="connsiteX62" fmla="*/ 928687 w 1057275"/>
                  <a:gd name="connsiteY62" fmla="*/ 950118 h 1007268"/>
                  <a:gd name="connsiteX63" fmla="*/ 904875 w 1057275"/>
                  <a:gd name="connsiteY63" fmla="*/ 950118 h 1007268"/>
                  <a:gd name="connsiteX64" fmla="*/ 873918 w 1057275"/>
                  <a:gd name="connsiteY64" fmla="*/ 981075 h 1007268"/>
                  <a:gd name="connsiteX65" fmla="*/ 845343 w 1057275"/>
                  <a:gd name="connsiteY65" fmla="*/ 1007268 h 1007268"/>
                  <a:gd name="connsiteX66" fmla="*/ 797718 w 1057275"/>
                  <a:gd name="connsiteY66" fmla="*/ 983456 h 1007268"/>
                  <a:gd name="connsiteX67" fmla="*/ 776287 w 1057275"/>
                  <a:gd name="connsiteY67" fmla="*/ 954881 h 1007268"/>
                  <a:gd name="connsiteX68" fmla="*/ 738187 w 1057275"/>
                  <a:gd name="connsiteY68" fmla="*/ 921543 h 1007268"/>
                  <a:gd name="connsiteX69" fmla="*/ 742950 w 1057275"/>
                  <a:gd name="connsiteY69" fmla="*/ 904875 h 1007268"/>
                  <a:gd name="connsiteX70" fmla="*/ 711993 w 1057275"/>
                  <a:gd name="connsiteY70" fmla="*/ 907256 h 1007268"/>
                  <a:gd name="connsiteX71" fmla="*/ 714375 w 1057275"/>
                  <a:gd name="connsiteY71" fmla="*/ 871537 h 1007268"/>
                  <a:gd name="connsiteX72" fmla="*/ 678656 w 1057275"/>
                  <a:gd name="connsiteY72" fmla="*/ 892968 h 1007268"/>
                  <a:gd name="connsiteX73" fmla="*/ 661987 w 1057275"/>
                  <a:gd name="connsiteY73" fmla="*/ 885825 h 1007268"/>
                  <a:gd name="connsiteX74" fmla="*/ 626268 w 1057275"/>
                  <a:gd name="connsiteY74" fmla="*/ 847725 h 1007268"/>
                  <a:gd name="connsiteX75" fmla="*/ 600075 w 1057275"/>
                  <a:gd name="connsiteY75" fmla="*/ 850106 h 1007268"/>
                  <a:gd name="connsiteX76" fmla="*/ 600075 w 1057275"/>
                  <a:gd name="connsiteY76" fmla="*/ 850106 h 1007268"/>
                  <a:gd name="connsiteX77" fmla="*/ 611981 w 1057275"/>
                  <a:gd name="connsiteY77" fmla="*/ 821531 h 1007268"/>
                  <a:gd name="connsiteX78" fmla="*/ 614362 w 1057275"/>
                  <a:gd name="connsiteY78" fmla="*/ 781050 h 1007268"/>
                  <a:gd name="connsiteX79" fmla="*/ 640556 w 1057275"/>
                  <a:gd name="connsiteY79" fmla="*/ 754856 h 1007268"/>
                  <a:gd name="connsiteX80" fmla="*/ 621506 w 1057275"/>
                  <a:gd name="connsiteY80" fmla="*/ 721518 h 1007268"/>
                  <a:gd name="connsiteX81" fmla="*/ 597693 w 1057275"/>
                  <a:gd name="connsiteY81" fmla="*/ 671512 h 1007268"/>
                  <a:gd name="connsiteX82" fmla="*/ 573881 w 1057275"/>
                  <a:gd name="connsiteY82" fmla="*/ 619125 h 1007268"/>
                  <a:gd name="connsiteX83" fmla="*/ 526256 w 1057275"/>
                  <a:gd name="connsiteY83" fmla="*/ 561975 h 1007268"/>
                  <a:gd name="connsiteX84" fmla="*/ 504825 w 1057275"/>
                  <a:gd name="connsiteY84" fmla="*/ 545306 h 1007268"/>
                  <a:gd name="connsiteX85" fmla="*/ 492918 w 1057275"/>
                  <a:gd name="connsiteY85" fmla="*/ 545306 h 1007268"/>
                  <a:gd name="connsiteX86" fmla="*/ 481012 w 1057275"/>
                  <a:gd name="connsiteY86" fmla="*/ 573881 h 1007268"/>
                  <a:gd name="connsiteX87" fmla="*/ 476250 w 1057275"/>
                  <a:gd name="connsiteY87" fmla="*/ 583406 h 1007268"/>
                  <a:gd name="connsiteX88" fmla="*/ 445293 w 1057275"/>
                  <a:gd name="connsiteY88" fmla="*/ 566737 h 1007268"/>
                  <a:gd name="connsiteX89" fmla="*/ 404812 w 1057275"/>
                  <a:gd name="connsiteY89" fmla="*/ 592931 h 1007268"/>
                  <a:gd name="connsiteX90" fmla="*/ 402431 w 1057275"/>
                  <a:gd name="connsiteY90" fmla="*/ 600075 h 1007268"/>
                  <a:gd name="connsiteX91" fmla="*/ 373856 w 1057275"/>
                  <a:gd name="connsiteY91" fmla="*/ 592931 h 1007268"/>
                  <a:gd name="connsiteX92" fmla="*/ 345281 w 1057275"/>
                  <a:gd name="connsiteY92" fmla="*/ 588168 h 1007268"/>
                  <a:gd name="connsiteX93" fmla="*/ 316706 w 1057275"/>
                  <a:gd name="connsiteY93" fmla="*/ 602456 h 1007268"/>
                  <a:gd name="connsiteX94" fmla="*/ 290512 w 1057275"/>
                  <a:gd name="connsiteY94" fmla="*/ 626268 h 1007268"/>
                  <a:gd name="connsiteX95" fmla="*/ 273843 w 1057275"/>
                  <a:gd name="connsiteY95" fmla="*/ 619125 h 1007268"/>
                  <a:gd name="connsiteX96" fmla="*/ 300037 w 1057275"/>
                  <a:gd name="connsiteY96" fmla="*/ 581025 h 1007268"/>
                  <a:gd name="connsiteX97" fmla="*/ 357187 w 1057275"/>
                  <a:gd name="connsiteY97" fmla="*/ 545306 h 1007268"/>
                  <a:gd name="connsiteX98" fmla="*/ 369093 w 1057275"/>
                  <a:gd name="connsiteY98" fmla="*/ 526256 h 1007268"/>
                  <a:gd name="connsiteX99" fmla="*/ 340518 w 1057275"/>
                  <a:gd name="connsiteY99" fmla="*/ 495300 h 1007268"/>
                  <a:gd name="connsiteX100" fmla="*/ 321468 w 1057275"/>
                  <a:gd name="connsiteY100" fmla="*/ 502443 h 1007268"/>
                  <a:gd name="connsiteX101" fmla="*/ 266700 w 1057275"/>
                  <a:gd name="connsiteY101" fmla="*/ 447675 h 1007268"/>
                  <a:gd name="connsiteX102" fmla="*/ 266700 w 1057275"/>
                  <a:gd name="connsiteY102" fmla="*/ 447675 h 1007268"/>
                  <a:gd name="connsiteX103" fmla="*/ 216693 w 1057275"/>
                  <a:gd name="connsiteY103" fmla="*/ 459581 h 1007268"/>
                  <a:gd name="connsiteX104" fmla="*/ 216693 w 1057275"/>
                  <a:gd name="connsiteY104" fmla="*/ 459581 h 1007268"/>
                  <a:gd name="connsiteX105" fmla="*/ 197643 w 1057275"/>
                  <a:gd name="connsiteY105" fmla="*/ 464343 h 1007268"/>
                  <a:gd name="connsiteX106" fmla="*/ 178593 w 1057275"/>
                  <a:gd name="connsiteY106" fmla="*/ 447675 h 1007268"/>
                  <a:gd name="connsiteX107" fmla="*/ 176212 w 1057275"/>
                  <a:gd name="connsiteY107" fmla="*/ 433387 h 1007268"/>
                  <a:gd name="connsiteX108" fmla="*/ 166687 w 1057275"/>
                  <a:gd name="connsiteY108" fmla="*/ 459581 h 1007268"/>
                  <a:gd name="connsiteX109" fmla="*/ 164306 w 1057275"/>
                  <a:gd name="connsiteY109" fmla="*/ 483393 h 1007268"/>
                  <a:gd name="connsiteX110" fmla="*/ 164306 w 1057275"/>
                  <a:gd name="connsiteY110" fmla="*/ 483393 h 1007268"/>
                  <a:gd name="connsiteX111" fmla="*/ 126206 w 1057275"/>
                  <a:gd name="connsiteY111" fmla="*/ 507206 h 1007268"/>
                  <a:gd name="connsiteX112" fmla="*/ 111918 w 1057275"/>
                  <a:gd name="connsiteY112" fmla="*/ 497681 h 1007268"/>
                  <a:gd name="connsiteX113" fmla="*/ 138112 w 1057275"/>
                  <a:gd name="connsiteY113" fmla="*/ 464343 h 1007268"/>
                  <a:gd name="connsiteX114" fmla="*/ 135731 w 1057275"/>
                  <a:gd name="connsiteY114" fmla="*/ 409575 h 1007268"/>
                  <a:gd name="connsiteX115" fmla="*/ 102393 w 1057275"/>
                  <a:gd name="connsiteY115" fmla="*/ 373856 h 1007268"/>
                  <a:gd name="connsiteX116" fmla="*/ 80962 w 1057275"/>
                  <a:gd name="connsiteY116" fmla="*/ 302418 h 1007268"/>
                  <a:gd name="connsiteX117" fmla="*/ 30956 w 1057275"/>
                  <a:gd name="connsiteY117" fmla="*/ 247650 h 1007268"/>
                  <a:gd name="connsiteX118" fmla="*/ 0 w 1057275"/>
                  <a:gd name="connsiteY118" fmla="*/ 202406 h 100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1057275" h="1007268">
                    <a:moveTo>
                      <a:pt x="0" y="202406"/>
                    </a:moveTo>
                    <a:lnTo>
                      <a:pt x="21431" y="188118"/>
                    </a:lnTo>
                    <a:lnTo>
                      <a:pt x="54768" y="145256"/>
                    </a:lnTo>
                    <a:lnTo>
                      <a:pt x="59531" y="126206"/>
                    </a:lnTo>
                    <a:lnTo>
                      <a:pt x="64293" y="47625"/>
                    </a:lnTo>
                    <a:lnTo>
                      <a:pt x="128587" y="30956"/>
                    </a:lnTo>
                    <a:lnTo>
                      <a:pt x="166687" y="42862"/>
                    </a:lnTo>
                    <a:lnTo>
                      <a:pt x="173831" y="0"/>
                    </a:lnTo>
                    <a:lnTo>
                      <a:pt x="247650" y="16668"/>
                    </a:lnTo>
                    <a:lnTo>
                      <a:pt x="285750" y="40481"/>
                    </a:lnTo>
                    <a:lnTo>
                      <a:pt x="350043" y="52387"/>
                    </a:lnTo>
                    <a:lnTo>
                      <a:pt x="369093" y="78581"/>
                    </a:lnTo>
                    <a:lnTo>
                      <a:pt x="395287" y="92868"/>
                    </a:lnTo>
                    <a:lnTo>
                      <a:pt x="409575" y="85725"/>
                    </a:lnTo>
                    <a:lnTo>
                      <a:pt x="416718" y="97631"/>
                    </a:lnTo>
                    <a:lnTo>
                      <a:pt x="478631" y="66675"/>
                    </a:lnTo>
                    <a:lnTo>
                      <a:pt x="514350" y="66675"/>
                    </a:lnTo>
                    <a:lnTo>
                      <a:pt x="514350" y="42862"/>
                    </a:lnTo>
                    <a:lnTo>
                      <a:pt x="545306" y="54768"/>
                    </a:lnTo>
                    <a:lnTo>
                      <a:pt x="602456" y="33337"/>
                    </a:lnTo>
                    <a:lnTo>
                      <a:pt x="635793" y="21431"/>
                    </a:lnTo>
                    <a:lnTo>
                      <a:pt x="647700" y="50006"/>
                    </a:lnTo>
                    <a:lnTo>
                      <a:pt x="681037" y="59531"/>
                    </a:lnTo>
                    <a:lnTo>
                      <a:pt x="650081" y="85725"/>
                    </a:lnTo>
                    <a:lnTo>
                      <a:pt x="673893" y="123825"/>
                    </a:lnTo>
                    <a:lnTo>
                      <a:pt x="716756" y="140493"/>
                    </a:lnTo>
                    <a:lnTo>
                      <a:pt x="754856" y="157162"/>
                    </a:lnTo>
                    <a:lnTo>
                      <a:pt x="778668" y="176212"/>
                    </a:lnTo>
                    <a:lnTo>
                      <a:pt x="759618" y="185737"/>
                    </a:lnTo>
                    <a:lnTo>
                      <a:pt x="759618" y="204787"/>
                    </a:lnTo>
                    <a:lnTo>
                      <a:pt x="742950" y="226218"/>
                    </a:lnTo>
                    <a:lnTo>
                      <a:pt x="752475" y="240506"/>
                    </a:lnTo>
                    <a:lnTo>
                      <a:pt x="778668" y="271462"/>
                    </a:lnTo>
                    <a:lnTo>
                      <a:pt x="814387" y="276225"/>
                    </a:lnTo>
                    <a:lnTo>
                      <a:pt x="845343" y="269081"/>
                    </a:lnTo>
                    <a:lnTo>
                      <a:pt x="885825" y="283368"/>
                    </a:lnTo>
                    <a:lnTo>
                      <a:pt x="902493" y="290512"/>
                    </a:lnTo>
                    <a:lnTo>
                      <a:pt x="921543" y="309562"/>
                    </a:lnTo>
                    <a:lnTo>
                      <a:pt x="923925" y="340518"/>
                    </a:lnTo>
                    <a:lnTo>
                      <a:pt x="923925" y="378618"/>
                    </a:lnTo>
                    <a:lnTo>
                      <a:pt x="892968" y="404812"/>
                    </a:lnTo>
                    <a:lnTo>
                      <a:pt x="831056" y="411956"/>
                    </a:lnTo>
                    <a:lnTo>
                      <a:pt x="823912" y="435768"/>
                    </a:lnTo>
                    <a:lnTo>
                      <a:pt x="826293" y="469106"/>
                    </a:lnTo>
                    <a:lnTo>
                      <a:pt x="828675" y="500062"/>
                    </a:lnTo>
                    <a:lnTo>
                      <a:pt x="854868" y="538162"/>
                    </a:lnTo>
                    <a:lnTo>
                      <a:pt x="892968" y="557212"/>
                    </a:lnTo>
                    <a:lnTo>
                      <a:pt x="864393" y="588168"/>
                    </a:lnTo>
                    <a:lnTo>
                      <a:pt x="900112" y="621506"/>
                    </a:lnTo>
                    <a:lnTo>
                      <a:pt x="916781" y="645318"/>
                    </a:lnTo>
                    <a:lnTo>
                      <a:pt x="923925" y="678656"/>
                    </a:lnTo>
                    <a:lnTo>
                      <a:pt x="900112" y="681037"/>
                    </a:lnTo>
                    <a:lnTo>
                      <a:pt x="945356" y="704850"/>
                    </a:lnTo>
                    <a:lnTo>
                      <a:pt x="985837" y="740568"/>
                    </a:lnTo>
                    <a:lnTo>
                      <a:pt x="1002506" y="747712"/>
                    </a:lnTo>
                    <a:lnTo>
                      <a:pt x="1016793" y="790575"/>
                    </a:lnTo>
                    <a:lnTo>
                      <a:pt x="1054893" y="802481"/>
                    </a:lnTo>
                    <a:lnTo>
                      <a:pt x="1057275" y="840581"/>
                    </a:lnTo>
                    <a:lnTo>
                      <a:pt x="1031081" y="862012"/>
                    </a:lnTo>
                    <a:lnTo>
                      <a:pt x="997743" y="881062"/>
                    </a:lnTo>
                    <a:lnTo>
                      <a:pt x="1002506" y="921543"/>
                    </a:lnTo>
                    <a:lnTo>
                      <a:pt x="971550" y="945356"/>
                    </a:lnTo>
                    <a:lnTo>
                      <a:pt x="928687" y="950118"/>
                    </a:lnTo>
                    <a:lnTo>
                      <a:pt x="904875" y="950118"/>
                    </a:lnTo>
                    <a:lnTo>
                      <a:pt x="873918" y="981075"/>
                    </a:lnTo>
                    <a:lnTo>
                      <a:pt x="845343" y="1007268"/>
                    </a:lnTo>
                    <a:lnTo>
                      <a:pt x="797718" y="983456"/>
                    </a:lnTo>
                    <a:lnTo>
                      <a:pt x="776287" y="954881"/>
                    </a:lnTo>
                    <a:lnTo>
                      <a:pt x="738187" y="921543"/>
                    </a:lnTo>
                    <a:lnTo>
                      <a:pt x="742950" y="904875"/>
                    </a:lnTo>
                    <a:lnTo>
                      <a:pt x="711993" y="907256"/>
                    </a:lnTo>
                    <a:lnTo>
                      <a:pt x="714375" y="871537"/>
                    </a:lnTo>
                    <a:lnTo>
                      <a:pt x="678656" y="892968"/>
                    </a:lnTo>
                    <a:lnTo>
                      <a:pt x="661987" y="885825"/>
                    </a:lnTo>
                    <a:lnTo>
                      <a:pt x="626268" y="847725"/>
                    </a:lnTo>
                    <a:lnTo>
                      <a:pt x="600075" y="850106"/>
                    </a:lnTo>
                    <a:lnTo>
                      <a:pt x="600075" y="850106"/>
                    </a:lnTo>
                    <a:lnTo>
                      <a:pt x="611981" y="821531"/>
                    </a:lnTo>
                    <a:lnTo>
                      <a:pt x="614362" y="781050"/>
                    </a:lnTo>
                    <a:lnTo>
                      <a:pt x="640556" y="754856"/>
                    </a:lnTo>
                    <a:lnTo>
                      <a:pt x="621506" y="721518"/>
                    </a:lnTo>
                    <a:lnTo>
                      <a:pt x="597693" y="671512"/>
                    </a:lnTo>
                    <a:lnTo>
                      <a:pt x="573881" y="619125"/>
                    </a:lnTo>
                    <a:lnTo>
                      <a:pt x="526256" y="561975"/>
                    </a:lnTo>
                    <a:lnTo>
                      <a:pt x="504825" y="545306"/>
                    </a:lnTo>
                    <a:lnTo>
                      <a:pt x="492918" y="545306"/>
                    </a:lnTo>
                    <a:lnTo>
                      <a:pt x="481012" y="573881"/>
                    </a:lnTo>
                    <a:lnTo>
                      <a:pt x="476250" y="583406"/>
                    </a:lnTo>
                    <a:lnTo>
                      <a:pt x="445293" y="566737"/>
                    </a:lnTo>
                    <a:lnTo>
                      <a:pt x="404812" y="592931"/>
                    </a:lnTo>
                    <a:lnTo>
                      <a:pt x="402431" y="600075"/>
                    </a:lnTo>
                    <a:lnTo>
                      <a:pt x="373856" y="592931"/>
                    </a:lnTo>
                    <a:lnTo>
                      <a:pt x="345281" y="588168"/>
                    </a:lnTo>
                    <a:lnTo>
                      <a:pt x="316706" y="602456"/>
                    </a:lnTo>
                    <a:lnTo>
                      <a:pt x="290512" y="626268"/>
                    </a:lnTo>
                    <a:lnTo>
                      <a:pt x="273843" y="619125"/>
                    </a:lnTo>
                    <a:lnTo>
                      <a:pt x="300037" y="581025"/>
                    </a:lnTo>
                    <a:lnTo>
                      <a:pt x="357187" y="545306"/>
                    </a:lnTo>
                    <a:lnTo>
                      <a:pt x="369093" y="526256"/>
                    </a:lnTo>
                    <a:lnTo>
                      <a:pt x="340518" y="495300"/>
                    </a:lnTo>
                    <a:lnTo>
                      <a:pt x="321468" y="502443"/>
                    </a:lnTo>
                    <a:lnTo>
                      <a:pt x="266700" y="447675"/>
                    </a:lnTo>
                    <a:lnTo>
                      <a:pt x="266700" y="447675"/>
                    </a:lnTo>
                    <a:lnTo>
                      <a:pt x="216693" y="459581"/>
                    </a:lnTo>
                    <a:lnTo>
                      <a:pt x="216693" y="459581"/>
                    </a:lnTo>
                    <a:lnTo>
                      <a:pt x="197643" y="464343"/>
                    </a:lnTo>
                    <a:lnTo>
                      <a:pt x="178593" y="447675"/>
                    </a:lnTo>
                    <a:lnTo>
                      <a:pt x="176212" y="433387"/>
                    </a:lnTo>
                    <a:lnTo>
                      <a:pt x="166687" y="459581"/>
                    </a:lnTo>
                    <a:lnTo>
                      <a:pt x="164306" y="483393"/>
                    </a:lnTo>
                    <a:lnTo>
                      <a:pt x="164306" y="483393"/>
                    </a:lnTo>
                    <a:lnTo>
                      <a:pt x="126206" y="507206"/>
                    </a:lnTo>
                    <a:lnTo>
                      <a:pt x="111918" y="497681"/>
                    </a:lnTo>
                    <a:lnTo>
                      <a:pt x="138112" y="464343"/>
                    </a:lnTo>
                    <a:lnTo>
                      <a:pt x="135731" y="409575"/>
                    </a:lnTo>
                    <a:lnTo>
                      <a:pt x="102393" y="373856"/>
                    </a:lnTo>
                    <a:lnTo>
                      <a:pt x="80962" y="302418"/>
                    </a:lnTo>
                    <a:lnTo>
                      <a:pt x="30956" y="247650"/>
                    </a:lnTo>
                    <a:lnTo>
                      <a:pt x="0" y="20240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2" name="Figura a mano libera 181"/>
              <p:cNvSpPr/>
              <p:nvPr/>
            </p:nvSpPr>
            <p:spPr bwMode="auto">
              <a:xfrm>
                <a:off x="4919876" y="4264728"/>
                <a:ext cx="584028" cy="613179"/>
              </a:xfrm>
              <a:custGeom>
                <a:avLst/>
                <a:gdLst>
                  <a:gd name="connsiteX0" fmla="*/ 676275 w 778669"/>
                  <a:gd name="connsiteY0" fmla="*/ 666750 h 819150"/>
                  <a:gd name="connsiteX1" fmla="*/ 721519 w 778669"/>
                  <a:gd name="connsiteY1" fmla="*/ 616744 h 819150"/>
                  <a:gd name="connsiteX2" fmla="*/ 723900 w 778669"/>
                  <a:gd name="connsiteY2" fmla="*/ 585788 h 819150"/>
                  <a:gd name="connsiteX3" fmla="*/ 745332 w 778669"/>
                  <a:gd name="connsiteY3" fmla="*/ 545306 h 819150"/>
                  <a:gd name="connsiteX4" fmla="*/ 778669 w 778669"/>
                  <a:gd name="connsiteY4" fmla="*/ 483394 h 819150"/>
                  <a:gd name="connsiteX5" fmla="*/ 762000 w 778669"/>
                  <a:gd name="connsiteY5" fmla="*/ 471488 h 819150"/>
                  <a:gd name="connsiteX6" fmla="*/ 740569 w 778669"/>
                  <a:gd name="connsiteY6" fmla="*/ 435769 h 819150"/>
                  <a:gd name="connsiteX7" fmla="*/ 714375 w 778669"/>
                  <a:gd name="connsiteY7" fmla="*/ 447675 h 819150"/>
                  <a:gd name="connsiteX8" fmla="*/ 707232 w 778669"/>
                  <a:gd name="connsiteY8" fmla="*/ 404813 h 819150"/>
                  <a:gd name="connsiteX9" fmla="*/ 702469 w 778669"/>
                  <a:gd name="connsiteY9" fmla="*/ 335756 h 819150"/>
                  <a:gd name="connsiteX10" fmla="*/ 711994 w 778669"/>
                  <a:gd name="connsiteY10" fmla="*/ 292894 h 819150"/>
                  <a:gd name="connsiteX11" fmla="*/ 700088 w 778669"/>
                  <a:gd name="connsiteY11" fmla="*/ 266700 h 819150"/>
                  <a:gd name="connsiteX12" fmla="*/ 676275 w 778669"/>
                  <a:gd name="connsiteY12" fmla="*/ 261938 h 819150"/>
                  <a:gd name="connsiteX13" fmla="*/ 640557 w 778669"/>
                  <a:gd name="connsiteY13" fmla="*/ 247650 h 819150"/>
                  <a:gd name="connsiteX14" fmla="*/ 597694 w 778669"/>
                  <a:gd name="connsiteY14" fmla="*/ 247650 h 819150"/>
                  <a:gd name="connsiteX15" fmla="*/ 578644 w 778669"/>
                  <a:gd name="connsiteY15" fmla="*/ 257175 h 819150"/>
                  <a:gd name="connsiteX16" fmla="*/ 554832 w 778669"/>
                  <a:gd name="connsiteY16" fmla="*/ 278606 h 819150"/>
                  <a:gd name="connsiteX17" fmla="*/ 557213 w 778669"/>
                  <a:gd name="connsiteY17" fmla="*/ 302419 h 819150"/>
                  <a:gd name="connsiteX18" fmla="*/ 531019 w 778669"/>
                  <a:gd name="connsiteY18" fmla="*/ 261938 h 819150"/>
                  <a:gd name="connsiteX19" fmla="*/ 478632 w 778669"/>
                  <a:gd name="connsiteY19" fmla="*/ 226219 h 819150"/>
                  <a:gd name="connsiteX20" fmla="*/ 454819 w 778669"/>
                  <a:gd name="connsiteY20" fmla="*/ 190500 h 819150"/>
                  <a:gd name="connsiteX21" fmla="*/ 440532 w 778669"/>
                  <a:gd name="connsiteY21" fmla="*/ 142875 h 819150"/>
                  <a:gd name="connsiteX22" fmla="*/ 404813 w 778669"/>
                  <a:gd name="connsiteY22" fmla="*/ 138113 h 819150"/>
                  <a:gd name="connsiteX23" fmla="*/ 397669 w 778669"/>
                  <a:gd name="connsiteY23" fmla="*/ 166688 h 819150"/>
                  <a:gd name="connsiteX24" fmla="*/ 361950 w 778669"/>
                  <a:gd name="connsiteY24" fmla="*/ 145256 h 819150"/>
                  <a:gd name="connsiteX25" fmla="*/ 326232 w 778669"/>
                  <a:gd name="connsiteY25" fmla="*/ 123825 h 819150"/>
                  <a:gd name="connsiteX26" fmla="*/ 304800 w 778669"/>
                  <a:gd name="connsiteY26" fmla="*/ 123825 h 819150"/>
                  <a:gd name="connsiteX27" fmla="*/ 333375 w 778669"/>
                  <a:gd name="connsiteY27" fmla="*/ 109538 h 819150"/>
                  <a:gd name="connsiteX28" fmla="*/ 335757 w 778669"/>
                  <a:gd name="connsiteY28" fmla="*/ 95250 h 819150"/>
                  <a:gd name="connsiteX29" fmla="*/ 342900 w 778669"/>
                  <a:gd name="connsiteY29" fmla="*/ 59531 h 819150"/>
                  <a:gd name="connsiteX30" fmla="*/ 307182 w 778669"/>
                  <a:gd name="connsiteY30" fmla="*/ 52388 h 819150"/>
                  <a:gd name="connsiteX31" fmla="*/ 297657 w 778669"/>
                  <a:gd name="connsiteY31" fmla="*/ 21431 h 819150"/>
                  <a:gd name="connsiteX32" fmla="*/ 245269 w 778669"/>
                  <a:gd name="connsiteY32" fmla="*/ 0 h 819150"/>
                  <a:gd name="connsiteX33" fmla="*/ 230982 w 778669"/>
                  <a:gd name="connsiteY33" fmla="*/ 26194 h 819150"/>
                  <a:gd name="connsiteX34" fmla="*/ 173832 w 778669"/>
                  <a:gd name="connsiteY34" fmla="*/ 40481 h 819150"/>
                  <a:gd name="connsiteX35" fmla="*/ 159544 w 778669"/>
                  <a:gd name="connsiteY35" fmla="*/ 40481 h 819150"/>
                  <a:gd name="connsiteX36" fmla="*/ 128588 w 778669"/>
                  <a:gd name="connsiteY36" fmla="*/ 40481 h 819150"/>
                  <a:gd name="connsiteX37" fmla="*/ 100013 w 778669"/>
                  <a:gd name="connsiteY37" fmla="*/ 47625 h 819150"/>
                  <a:gd name="connsiteX38" fmla="*/ 102394 w 778669"/>
                  <a:gd name="connsiteY38" fmla="*/ 69056 h 819150"/>
                  <a:gd name="connsiteX39" fmla="*/ 92869 w 778669"/>
                  <a:gd name="connsiteY39" fmla="*/ 116681 h 819150"/>
                  <a:gd name="connsiteX40" fmla="*/ 100013 w 778669"/>
                  <a:gd name="connsiteY40" fmla="*/ 147638 h 819150"/>
                  <a:gd name="connsiteX41" fmla="*/ 69057 w 778669"/>
                  <a:gd name="connsiteY41" fmla="*/ 159544 h 819150"/>
                  <a:gd name="connsiteX42" fmla="*/ 11907 w 778669"/>
                  <a:gd name="connsiteY42" fmla="*/ 169069 h 819150"/>
                  <a:gd name="connsiteX43" fmla="*/ 0 w 778669"/>
                  <a:gd name="connsiteY43" fmla="*/ 192881 h 819150"/>
                  <a:gd name="connsiteX44" fmla="*/ 14288 w 778669"/>
                  <a:gd name="connsiteY44" fmla="*/ 259556 h 819150"/>
                  <a:gd name="connsiteX45" fmla="*/ 38100 w 778669"/>
                  <a:gd name="connsiteY45" fmla="*/ 300038 h 819150"/>
                  <a:gd name="connsiteX46" fmla="*/ 69057 w 778669"/>
                  <a:gd name="connsiteY46" fmla="*/ 309563 h 819150"/>
                  <a:gd name="connsiteX47" fmla="*/ 45244 w 778669"/>
                  <a:gd name="connsiteY47" fmla="*/ 338138 h 819150"/>
                  <a:gd name="connsiteX48" fmla="*/ 54769 w 778669"/>
                  <a:gd name="connsiteY48" fmla="*/ 361950 h 819150"/>
                  <a:gd name="connsiteX49" fmla="*/ 90488 w 778669"/>
                  <a:gd name="connsiteY49" fmla="*/ 409575 h 819150"/>
                  <a:gd name="connsiteX50" fmla="*/ 107157 w 778669"/>
                  <a:gd name="connsiteY50" fmla="*/ 435769 h 819150"/>
                  <a:gd name="connsiteX51" fmla="*/ 85725 w 778669"/>
                  <a:gd name="connsiteY51" fmla="*/ 445294 h 819150"/>
                  <a:gd name="connsiteX52" fmla="*/ 150019 w 778669"/>
                  <a:gd name="connsiteY52" fmla="*/ 488156 h 819150"/>
                  <a:gd name="connsiteX53" fmla="*/ 164307 w 778669"/>
                  <a:gd name="connsiteY53" fmla="*/ 497681 h 819150"/>
                  <a:gd name="connsiteX54" fmla="*/ 164307 w 778669"/>
                  <a:gd name="connsiteY54" fmla="*/ 497681 h 819150"/>
                  <a:gd name="connsiteX55" fmla="*/ 192882 w 778669"/>
                  <a:gd name="connsiteY55" fmla="*/ 545306 h 819150"/>
                  <a:gd name="connsiteX56" fmla="*/ 238125 w 778669"/>
                  <a:gd name="connsiteY56" fmla="*/ 561975 h 819150"/>
                  <a:gd name="connsiteX57" fmla="*/ 235744 w 778669"/>
                  <a:gd name="connsiteY57" fmla="*/ 604838 h 819150"/>
                  <a:gd name="connsiteX58" fmla="*/ 185738 w 778669"/>
                  <a:gd name="connsiteY58" fmla="*/ 621506 h 819150"/>
                  <a:gd name="connsiteX59" fmla="*/ 178594 w 778669"/>
                  <a:gd name="connsiteY59" fmla="*/ 659606 h 819150"/>
                  <a:gd name="connsiteX60" fmla="*/ 183357 w 778669"/>
                  <a:gd name="connsiteY60" fmla="*/ 681038 h 819150"/>
                  <a:gd name="connsiteX61" fmla="*/ 133350 w 778669"/>
                  <a:gd name="connsiteY61" fmla="*/ 711994 h 819150"/>
                  <a:gd name="connsiteX62" fmla="*/ 161925 w 778669"/>
                  <a:gd name="connsiteY62" fmla="*/ 735806 h 819150"/>
                  <a:gd name="connsiteX63" fmla="*/ 164307 w 778669"/>
                  <a:gd name="connsiteY63" fmla="*/ 754856 h 819150"/>
                  <a:gd name="connsiteX64" fmla="*/ 178594 w 778669"/>
                  <a:gd name="connsiteY64" fmla="*/ 778669 h 819150"/>
                  <a:gd name="connsiteX65" fmla="*/ 202407 w 778669"/>
                  <a:gd name="connsiteY65" fmla="*/ 802481 h 819150"/>
                  <a:gd name="connsiteX66" fmla="*/ 211932 w 778669"/>
                  <a:gd name="connsiteY66" fmla="*/ 807244 h 819150"/>
                  <a:gd name="connsiteX67" fmla="*/ 242888 w 778669"/>
                  <a:gd name="connsiteY67" fmla="*/ 752475 h 819150"/>
                  <a:gd name="connsiteX68" fmla="*/ 261938 w 778669"/>
                  <a:gd name="connsiteY68" fmla="*/ 773906 h 819150"/>
                  <a:gd name="connsiteX69" fmla="*/ 328613 w 778669"/>
                  <a:gd name="connsiteY69" fmla="*/ 752475 h 819150"/>
                  <a:gd name="connsiteX70" fmla="*/ 390525 w 778669"/>
                  <a:gd name="connsiteY70" fmla="*/ 819150 h 819150"/>
                  <a:gd name="connsiteX71" fmla="*/ 478632 w 778669"/>
                  <a:gd name="connsiteY71" fmla="*/ 819150 h 819150"/>
                  <a:gd name="connsiteX72" fmla="*/ 514350 w 778669"/>
                  <a:gd name="connsiteY72" fmla="*/ 788194 h 819150"/>
                  <a:gd name="connsiteX73" fmla="*/ 528638 w 778669"/>
                  <a:gd name="connsiteY73" fmla="*/ 804863 h 819150"/>
                  <a:gd name="connsiteX74" fmla="*/ 528638 w 778669"/>
                  <a:gd name="connsiteY74" fmla="*/ 709613 h 819150"/>
                  <a:gd name="connsiteX75" fmla="*/ 547688 w 778669"/>
                  <a:gd name="connsiteY75" fmla="*/ 664369 h 819150"/>
                  <a:gd name="connsiteX76" fmla="*/ 590550 w 778669"/>
                  <a:gd name="connsiteY76" fmla="*/ 661988 h 819150"/>
                  <a:gd name="connsiteX77" fmla="*/ 676275 w 778669"/>
                  <a:gd name="connsiteY77" fmla="*/ 66675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778669" h="819150">
                    <a:moveTo>
                      <a:pt x="676275" y="666750"/>
                    </a:moveTo>
                    <a:lnTo>
                      <a:pt x="721519" y="616744"/>
                    </a:lnTo>
                    <a:lnTo>
                      <a:pt x="723900" y="585788"/>
                    </a:lnTo>
                    <a:lnTo>
                      <a:pt x="745332" y="545306"/>
                    </a:lnTo>
                    <a:lnTo>
                      <a:pt x="778669" y="483394"/>
                    </a:lnTo>
                    <a:lnTo>
                      <a:pt x="762000" y="471488"/>
                    </a:lnTo>
                    <a:lnTo>
                      <a:pt x="740569" y="435769"/>
                    </a:lnTo>
                    <a:lnTo>
                      <a:pt x="714375" y="447675"/>
                    </a:lnTo>
                    <a:lnTo>
                      <a:pt x="707232" y="404813"/>
                    </a:lnTo>
                    <a:lnTo>
                      <a:pt x="702469" y="335756"/>
                    </a:lnTo>
                    <a:lnTo>
                      <a:pt x="711994" y="292894"/>
                    </a:lnTo>
                    <a:lnTo>
                      <a:pt x="700088" y="266700"/>
                    </a:lnTo>
                    <a:lnTo>
                      <a:pt x="676275" y="261938"/>
                    </a:lnTo>
                    <a:lnTo>
                      <a:pt x="640557" y="247650"/>
                    </a:lnTo>
                    <a:lnTo>
                      <a:pt x="597694" y="247650"/>
                    </a:lnTo>
                    <a:lnTo>
                      <a:pt x="578644" y="257175"/>
                    </a:lnTo>
                    <a:lnTo>
                      <a:pt x="554832" y="278606"/>
                    </a:lnTo>
                    <a:lnTo>
                      <a:pt x="557213" y="302419"/>
                    </a:lnTo>
                    <a:lnTo>
                      <a:pt x="531019" y="261938"/>
                    </a:lnTo>
                    <a:lnTo>
                      <a:pt x="478632" y="226219"/>
                    </a:lnTo>
                    <a:lnTo>
                      <a:pt x="454819" y="190500"/>
                    </a:lnTo>
                    <a:lnTo>
                      <a:pt x="440532" y="142875"/>
                    </a:lnTo>
                    <a:lnTo>
                      <a:pt x="404813" y="138113"/>
                    </a:lnTo>
                    <a:lnTo>
                      <a:pt x="397669" y="166688"/>
                    </a:lnTo>
                    <a:lnTo>
                      <a:pt x="361950" y="145256"/>
                    </a:lnTo>
                    <a:lnTo>
                      <a:pt x="326232" y="123825"/>
                    </a:lnTo>
                    <a:lnTo>
                      <a:pt x="304800" y="123825"/>
                    </a:lnTo>
                    <a:lnTo>
                      <a:pt x="333375" y="109538"/>
                    </a:lnTo>
                    <a:lnTo>
                      <a:pt x="335757" y="95250"/>
                    </a:lnTo>
                    <a:lnTo>
                      <a:pt x="342900" y="59531"/>
                    </a:lnTo>
                    <a:lnTo>
                      <a:pt x="307182" y="52388"/>
                    </a:lnTo>
                    <a:lnTo>
                      <a:pt x="297657" y="21431"/>
                    </a:lnTo>
                    <a:lnTo>
                      <a:pt x="245269" y="0"/>
                    </a:lnTo>
                    <a:lnTo>
                      <a:pt x="230982" y="26194"/>
                    </a:lnTo>
                    <a:lnTo>
                      <a:pt x="173832" y="40481"/>
                    </a:lnTo>
                    <a:lnTo>
                      <a:pt x="159544" y="40481"/>
                    </a:lnTo>
                    <a:lnTo>
                      <a:pt x="128588" y="40481"/>
                    </a:lnTo>
                    <a:lnTo>
                      <a:pt x="100013" y="47625"/>
                    </a:lnTo>
                    <a:lnTo>
                      <a:pt x="102394" y="69056"/>
                    </a:lnTo>
                    <a:lnTo>
                      <a:pt x="92869" y="116681"/>
                    </a:lnTo>
                    <a:lnTo>
                      <a:pt x="100013" y="147638"/>
                    </a:lnTo>
                    <a:lnTo>
                      <a:pt x="69057" y="159544"/>
                    </a:lnTo>
                    <a:lnTo>
                      <a:pt x="11907" y="169069"/>
                    </a:lnTo>
                    <a:lnTo>
                      <a:pt x="0" y="192881"/>
                    </a:lnTo>
                    <a:lnTo>
                      <a:pt x="14288" y="259556"/>
                    </a:lnTo>
                    <a:lnTo>
                      <a:pt x="38100" y="300038"/>
                    </a:lnTo>
                    <a:lnTo>
                      <a:pt x="69057" y="309563"/>
                    </a:lnTo>
                    <a:lnTo>
                      <a:pt x="45244" y="338138"/>
                    </a:lnTo>
                    <a:lnTo>
                      <a:pt x="54769" y="361950"/>
                    </a:lnTo>
                    <a:lnTo>
                      <a:pt x="90488" y="409575"/>
                    </a:lnTo>
                    <a:lnTo>
                      <a:pt x="107157" y="435769"/>
                    </a:lnTo>
                    <a:lnTo>
                      <a:pt x="85725" y="445294"/>
                    </a:lnTo>
                    <a:lnTo>
                      <a:pt x="150019" y="488156"/>
                    </a:lnTo>
                    <a:lnTo>
                      <a:pt x="164307" y="497681"/>
                    </a:lnTo>
                    <a:lnTo>
                      <a:pt x="164307" y="497681"/>
                    </a:lnTo>
                    <a:lnTo>
                      <a:pt x="192882" y="545306"/>
                    </a:lnTo>
                    <a:lnTo>
                      <a:pt x="238125" y="561975"/>
                    </a:lnTo>
                    <a:lnTo>
                      <a:pt x="235744" y="604838"/>
                    </a:lnTo>
                    <a:lnTo>
                      <a:pt x="185738" y="621506"/>
                    </a:lnTo>
                    <a:lnTo>
                      <a:pt x="178594" y="659606"/>
                    </a:lnTo>
                    <a:lnTo>
                      <a:pt x="183357" y="681038"/>
                    </a:lnTo>
                    <a:lnTo>
                      <a:pt x="133350" y="711994"/>
                    </a:lnTo>
                    <a:lnTo>
                      <a:pt x="161925" y="735806"/>
                    </a:lnTo>
                    <a:lnTo>
                      <a:pt x="164307" y="754856"/>
                    </a:lnTo>
                    <a:lnTo>
                      <a:pt x="178594" y="778669"/>
                    </a:lnTo>
                    <a:lnTo>
                      <a:pt x="202407" y="802481"/>
                    </a:lnTo>
                    <a:lnTo>
                      <a:pt x="211932" y="807244"/>
                    </a:lnTo>
                    <a:lnTo>
                      <a:pt x="242888" y="752475"/>
                    </a:lnTo>
                    <a:lnTo>
                      <a:pt x="261938" y="773906"/>
                    </a:lnTo>
                    <a:lnTo>
                      <a:pt x="328613" y="752475"/>
                    </a:lnTo>
                    <a:lnTo>
                      <a:pt x="390525" y="819150"/>
                    </a:lnTo>
                    <a:lnTo>
                      <a:pt x="478632" y="819150"/>
                    </a:lnTo>
                    <a:lnTo>
                      <a:pt x="514350" y="788194"/>
                    </a:lnTo>
                    <a:lnTo>
                      <a:pt x="528638" y="804863"/>
                    </a:lnTo>
                    <a:lnTo>
                      <a:pt x="528638" y="709613"/>
                    </a:lnTo>
                    <a:lnTo>
                      <a:pt x="547688" y="664369"/>
                    </a:lnTo>
                    <a:lnTo>
                      <a:pt x="590550" y="661988"/>
                    </a:lnTo>
                    <a:lnTo>
                      <a:pt x="676275" y="6667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3" name="Figura a mano libera 182"/>
              <p:cNvSpPr/>
              <p:nvPr/>
            </p:nvSpPr>
            <p:spPr bwMode="auto">
              <a:xfrm>
                <a:off x="4749651" y="3862941"/>
                <a:ext cx="1413015" cy="1052764"/>
              </a:xfrm>
              <a:custGeom>
                <a:avLst/>
                <a:gdLst>
                  <a:gd name="connsiteX0" fmla="*/ 1023937 w 1883568"/>
                  <a:gd name="connsiteY0" fmla="*/ 1012031 h 1409700"/>
                  <a:gd name="connsiteX1" fmla="*/ 1100137 w 1883568"/>
                  <a:gd name="connsiteY1" fmla="*/ 945356 h 1409700"/>
                  <a:gd name="connsiteX2" fmla="*/ 1152525 w 1883568"/>
                  <a:gd name="connsiteY2" fmla="*/ 942975 h 1409700"/>
                  <a:gd name="connsiteX3" fmla="*/ 1193006 w 1883568"/>
                  <a:gd name="connsiteY3" fmla="*/ 966787 h 1409700"/>
                  <a:gd name="connsiteX4" fmla="*/ 1202531 w 1883568"/>
                  <a:gd name="connsiteY4" fmla="*/ 985837 h 1409700"/>
                  <a:gd name="connsiteX5" fmla="*/ 1190625 w 1883568"/>
                  <a:gd name="connsiteY5" fmla="*/ 1014412 h 1409700"/>
                  <a:gd name="connsiteX6" fmla="*/ 1264443 w 1883568"/>
                  <a:gd name="connsiteY6" fmla="*/ 1054893 h 1409700"/>
                  <a:gd name="connsiteX7" fmla="*/ 1323975 w 1883568"/>
                  <a:gd name="connsiteY7" fmla="*/ 1069181 h 1409700"/>
                  <a:gd name="connsiteX8" fmla="*/ 1350168 w 1883568"/>
                  <a:gd name="connsiteY8" fmla="*/ 1090612 h 1409700"/>
                  <a:gd name="connsiteX9" fmla="*/ 1385887 w 1883568"/>
                  <a:gd name="connsiteY9" fmla="*/ 1076325 h 1409700"/>
                  <a:gd name="connsiteX10" fmla="*/ 1540668 w 1883568"/>
                  <a:gd name="connsiteY10" fmla="*/ 1081087 h 1409700"/>
                  <a:gd name="connsiteX11" fmla="*/ 1569243 w 1883568"/>
                  <a:gd name="connsiteY11" fmla="*/ 1128712 h 1409700"/>
                  <a:gd name="connsiteX12" fmla="*/ 1612106 w 1883568"/>
                  <a:gd name="connsiteY12" fmla="*/ 1188243 h 1409700"/>
                  <a:gd name="connsiteX13" fmla="*/ 1616868 w 1883568"/>
                  <a:gd name="connsiteY13" fmla="*/ 1219200 h 1409700"/>
                  <a:gd name="connsiteX14" fmla="*/ 1600200 w 1883568"/>
                  <a:gd name="connsiteY14" fmla="*/ 1243012 h 1409700"/>
                  <a:gd name="connsiteX15" fmla="*/ 1626393 w 1883568"/>
                  <a:gd name="connsiteY15" fmla="*/ 1254918 h 1409700"/>
                  <a:gd name="connsiteX16" fmla="*/ 1609725 w 1883568"/>
                  <a:gd name="connsiteY16" fmla="*/ 1283493 h 1409700"/>
                  <a:gd name="connsiteX17" fmla="*/ 1702593 w 1883568"/>
                  <a:gd name="connsiteY17" fmla="*/ 1369218 h 1409700"/>
                  <a:gd name="connsiteX18" fmla="*/ 1721643 w 1883568"/>
                  <a:gd name="connsiteY18" fmla="*/ 1376362 h 1409700"/>
                  <a:gd name="connsiteX19" fmla="*/ 1776412 w 1883568"/>
                  <a:gd name="connsiteY19" fmla="*/ 1390650 h 1409700"/>
                  <a:gd name="connsiteX20" fmla="*/ 1826418 w 1883568"/>
                  <a:gd name="connsiteY20" fmla="*/ 1409700 h 1409700"/>
                  <a:gd name="connsiteX21" fmla="*/ 1826418 w 1883568"/>
                  <a:gd name="connsiteY21" fmla="*/ 1357312 h 1409700"/>
                  <a:gd name="connsiteX22" fmla="*/ 1819275 w 1883568"/>
                  <a:gd name="connsiteY22" fmla="*/ 1319212 h 1409700"/>
                  <a:gd name="connsiteX23" fmla="*/ 1840706 w 1883568"/>
                  <a:gd name="connsiteY23" fmla="*/ 1281112 h 1409700"/>
                  <a:gd name="connsiteX24" fmla="*/ 1843087 w 1883568"/>
                  <a:gd name="connsiteY24" fmla="*/ 1235868 h 1409700"/>
                  <a:gd name="connsiteX25" fmla="*/ 1883568 w 1883568"/>
                  <a:gd name="connsiteY25" fmla="*/ 1188243 h 1409700"/>
                  <a:gd name="connsiteX26" fmla="*/ 1869281 w 1883568"/>
                  <a:gd name="connsiteY26" fmla="*/ 1145381 h 1409700"/>
                  <a:gd name="connsiteX27" fmla="*/ 1843087 w 1883568"/>
                  <a:gd name="connsiteY27" fmla="*/ 1073943 h 1409700"/>
                  <a:gd name="connsiteX28" fmla="*/ 1793081 w 1883568"/>
                  <a:gd name="connsiteY28" fmla="*/ 1031081 h 1409700"/>
                  <a:gd name="connsiteX29" fmla="*/ 1731168 w 1883568"/>
                  <a:gd name="connsiteY29" fmla="*/ 973931 h 1409700"/>
                  <a:gd name="connsiteX30" fmla="*/ 1674018 w 1883568"/>
                  <a:gd name="connsiteY30" fmla="*/ 947737 h 1409700"/>
                  <a:gd name="connsiteX31" fmla="*/ 1609725 w 1883568"/>
                  <a:gd name="connsiteY31" fmla="*/ 888206 h 1409700"/>
                  <a:gd name="connsiteX32" fmla="*/ 1595437 w 1883568"/>
                  <a:gd name="connsiteY32" fmla="*/ 838200 h 1409700"/>
                  <a:gd name="connsiteX33" fmla="*/ 1538287 w 1883568"/>
                  <a:gd name="connsiteY33" fmla="*/ 842962 h 1409700"/>
                  <a:gd name="connsiteX34" fmla="*/ 1552575 w 1883568"/>
                  <a:gd name="connsiteY34" fmla="*/ 814387 h 1409700"/>
                  <a:gd name="connsiteX35" fmla="*/ 1483518 w 1883568"/>
                  <a:gd name="connsiteY35" fmla="*/ 812006 h 1409700"/>
                  <a:gd name="connsiteX36" fmla="*/ 1390650 w 1883568"/>
                  <a:gd name="connsiteY36" fmla="*/ 754856 h 1409700"/>
                  <a:gd name="connsiteX37" fmla="*/ 1352550 w 1883568"/>
                  <a:gd name="connsiteY37" fmla="*/ 762000 h 1409700"/>
                  <a:gd name="connsiteX38" fmla="*/ 1250156 w 1883568"/>
                  <a:gd name="connsiteY38" fmla="*/ 676275 h 1409700"/>
                  <a:gd name="connsiteX39" fmla="*/ 1221581 w 1883568"/>
                  <a:gd name="connsiteY39" fmla="*/ 640556 h 1409700"/>
                  <a:gd name="connsiteX40" fmla="*/ 1071562 w 1883568"/>
                  <a:gd name="connsiteY40" fmla="*/ 566737 h 1409700"/>
                  <a:gd name="connsiteX41" fmla="*/ 971550 w 1883568"/>
                  <a:gd name="connsiteY41" fmla="*/ 528637 h 1409700"/>
                  <a:gd name="connsiteX42" fmla="*/ 845343 w 1883568"/>
                  <a:gd name="connsiteY42" fmla="*/ 483393 h 1409700"/>
                  <a:gd name="connsiteX43" fmla="*/ 719137 w 1883568"/>
                  <a:gd name="connsiteY43" fmla="*/ 433387 h 1409700"/>
                  <a:gd name="connsiteX44" fmla="*/ 631031 w 1883568"/>
                  <a:gd name="connsiteY44" fmla="*/ 373856 h 1409700"/>
                  <a:gd name="connsiteX45" fmla="*/ 507206 w 1883568"/>
                  <a:gd name="connsiteY45" fmla="*/ 304800 h 1409700"/>
                  <a:gd name="connsiteX46" fmla="*/ 476250 w 1883568"/>
                  <a:gd name="connsiteY46" fmla="*/ 238125 h 1409700"/>
                  <a:gd name="connsiteX47" fmla="*/ 547687 w 1883568"/>
                  <a:gd name="connsiteY47" fmla="*/ 197643 h 1409700"/>
                  <a:gd name="connsiteX48" fmla="*/ 652462 w 1883568"/>
                  <a:gd name="connsiteY48" fmla="*/ 121443 h 1409700"/>
                  <a:gd name="connsiteX49" fmla="*/ 645318 w 1883568"/>
                  <a:gd name="connsiteY49" fmla="*/ 52387 h 1409700"/>
                  <a:gd name="connsiteX50" fmla="*/ 623887 w 1883568"/>
                  <a:gd name="connsiteY50" fmla="*/ 19050 h 1409700"/>
                  <a:gd name="connsiteX51" fmla="*/ 554831 w 1883568"/>
                  <a:gd name="connsiteY51" fmla="*/ 0 h 1409700"/>
                  <a:gd name="connsiteX52" fmla="*/ 492918 w 1883568"/>
                  <a:gd name="connsiteY52" fmla="*/ 2381 h 1409700"/>
                  <a:gd name="connsiteX53" fmla="*/ 414337 w 1883568"/>
                  <a:gd name="connsiteY53" fmla="*/ 28575 h 1409700"/>
                  <a:gd name="connsiteX54" fmla="*/ 340518 w 1883568"/>
                  <a:gd name="connsiteY54" fmla="*/ 26193 h 1409700"/>
                  <a:gd name="connsiteX55" fmla="*/ 319087 w 1883568"/>
                  <a:gd name="connsiteY55" fmla="*/ 16668 h 1409700"/>
                  <a:gd name="connsiteX56" fmla="*/ 269081 w 1883568"/>
                  <a:gd name="connsiteY56" fmla="*/ 26193 h 1409700"/>
                  <a:gd name="connsiteX57" fmla="*/ 169068 w 1883568"/>
                  <a:gd name="connsiteY57" fmla="*/ 23812 h 1409700"/>
                  <a:gd name="connsiteX58" fmla="*/ 92868 w 1883568"/>
                  <a:gd name="connsiteY58" fmla="*/ 14287 h 1409700"/>
                  <a:gd name="connsiteX59" fmla="*/ 83343 w 1883568"/>
                  <a:gd name="connsiteY59" fmla="*/ 126206 h 1409700"/>
                  <a:gd name="connsiteX60" fmla="*/ 111918 w 1883568"/>
                  <a:gd name="connsiteY60" fmla="*/ 166687 h 1409700"/>
                  <a:gd name="connsiteX61" fmla="*/ 92868 w 1883568"/>
                  <a:gd name="connsiteY61" fmla="*/ 190500 h 1409700"/>
                  <a:gd name="connsiteX62" fmla="*/ 54768 w 1883568"/>
                  <a:gd name="connsiteY62" fmla="*/ 223837 h 1409700"/>
                  <a:gd name="connsiteX63" fmla="*/ 19050 w 1883568"/>
                  <a:gd name="connsiteY63" fmla="*/ 195262 h 1409700"/>
                  <a:gd name="connsiteX64" fmla="*/ 0 w 1883568"/>
                  <a:gd name="connsiteY64" fmla="*/ 254793 h 1409700"/>
                  <a:gd name="connsiteX65" fmla="*/ 23812 w 1883568"/>
                  <a:gd name="connsiteY65" fmla="*/ 290512 h 1409700"/>
                  <a:gd name="connsiteX66" fmla="*/ 38100 w 1883568"/>
                  <a:gd name="connsiteY66" fmla="*/ 330993 h 1409700"/>
                  <a:gd name="connsiteX67" fmla="*/ 78581 w 1883568"/>
                  <a:gd name="connsiteY67" fmla="*/ 354806 h 1409700"/>
                  <a:gd name="connsiteX68" fmla="*/ 57150 w 1883568"/>
                  <a:gd name="connsiteY68" fmla="*/ 378618 h 1409700"/>
                  <a:gd name="connsiteX69" fmla="*/ 80962 w 1883568"/>
                  <a:gd name="connsiteY69" fmla="*/ 419100 h 1409700"/>
                  <a:gd name="connsiteX70" fmla="*/ 164306 w 1883568"/>
                  <a:gd name="connsiteY70" fmla="*/ 461962 h 1409700"/>
                  <a:gd name="connsiteX71" fmla="*/ 188118 w 1883568"/>
                  <a:gd name="connsiteY71" fmla="*/ 471487 h 1409700"/>
                  <a:gd name="connsiteX72" fmla="*/ 171450 w 1883568"/>
                  <a:gd name="connsiteY72" fmla="*/ 483393 h 1409700"/>
                  <a:gd name="connsiteX73" fmla="*/ 150018 w 1883568"/>
                  <a:gd name="connsiteY73" fmla="*/ 516731 h 1409700"/>
                  <a:gd name="connsiteX74" fmla="*/ 188118 w 1883568"/>
                  <a:gd name="connsiteY74" fmla="*/ 573881 h 1409700"/>
                  <a:gd name="connsiteX75" fmla="*/ 257175 w 1883568"/>
                  <a:gd name="connsiteY75" fmla="*/ 559593 h 1409700"/>
                  <a:gd name="connsiteX76" fmla="*/ 273843 w 1883568"/>
                  <a:gd name="connsiteY76" fmla="*/ 583406 h 1409700"/>
                  <a:gd name="connsiteX77" fmla="*/ 297656 w 1883568"/>
                  <a:gd name="connsiteY77" fmla="*/ 583406 h 1409700"/>
                  <a:gd name="connsiteX78" fmla="*/ 323850 w 1883568"/>
                  <a:gd name="connsiteY78" fmla="*/ 600075 h 1409700"/>
                  <a:gd name="connsiteX79" fmla="*/ 354806 w 1883568"/>
                  <a:gd name="connsiteY79" fmla="*/ 581025 h 1409700"/>
                  <a:gd name="connsiteX80" fmla="*/ 409575 w 1883568"/>
                  <a:gd name="connsiteY80" fmla="*/ 578643 h 1409700"/>
                  <a:gd name="connsiteX81" fmla="*/ 450056 w 1883568"/>
                  <a:gd name="connsiteY81" fmla="*/ 578643 h 1409700"/>
                  <a:gd name="connsiteX82" fmla="*/ 488156 w 1883568"/>
                  <a:gd name="connsiteY82" fmla="*/ 533400 h 1409700"/>
                  <a:gd name="connsiteX83" fmla="*/ 531018 w 1883568"/>
                  <a:gd name="connsiteY83" fmla="*/ 571500 h 1409700"/>
                  <a:gd name="connsiteX84" fmla="*/ 547687 w 1883568"/>
                  <a:gd name="connsiteY84" fmla="*/ 588168 h 1409700"/>
                  <a:gd name="connsiteX85" fmla="*/ 559593 w 1883568"/>
                  <a:gd name="connsiteY85" fmla="*/ 597693 h 1409700"/>
                  <a:gd name="connsiteX86" fmla="*/ 583406 w 1883568"/>
                  <a:gd name="connsiteY86" fmla="*/ 614362 h 1409700"/>
                  <a:gd name="connsiteX87" fmla="*/ 533400 w 1883568"/>
                  <a:gd name="connsiteY87" fmla="*/ 650081 h 1409700"/>
                  <a:gd name="connsiteX88" fmla="*/ 581025 w 1883568"/>
                  <a:gd name="connsiteY88" fmla="*/ 681037 h 1409700"/>
                  <a:gd name="connsiteX89" fmla="*/ 623887 w 1883568"/>
                  <a:gd name="connsiteY89" fmla="*/ 709612 h 1409700"/>
                  <a:gd name="connsiteX90" fmla="*/ 661987 w 1883568"/>
                  <a:gd name="connsiteY90" fmla="*/ 671512 h 1409700"/>
                  <a:gd name="connsiteX91" fmla="*/ 678656 w 1883568"/>
                  <a:gd name="connsiteY91" fmla="*/ 683418 h 1409700"/>
                  <a:gd name="connsiteX92" fmla="*/ 700087 w 1883568"/>
                  <a:gd name="connsiteY92" fmla="*/ 759618 h 1409700"/>
                  <a:gd name="connsiteX93" fmla="*/ 752475 w 1883568"/>
                  <a:gd name="connsiteY93" fmla="*/ 792956 h 1409700"/>
                  <a:gd name="connsiteX94" fmla="*/ 783431 w 1883568"/>
                  <a:gd name="connsiteY94" fmla="*/ 838200 h 1409700"/>
                  <a:gd name="connsiteX95" fmla="*/ 795337 w 1883568"/>
                  <a:gd name="connsiteY95" fmla="*/ 807243 h 1409700"/>
                  <a:gd name="connsiteX96" fmla="*/ 852487 w 1883568"/>
                  <a:gd name="connsiteY96" fmla="*/ 792956 h 1409700"/>
                  <a:gd name="connsiteX97" fmla="*/ 902493 w 1883568"/>
                  <a:gd name="connsiteY97" fmla="*/ 800100 h 1409700"/>
                  <a:gd name="connsiteX98" fmla="*/ 947737 w 1883568"/>
                  <a:gd name="connsiteY98" fmla="*/ 823912 h 1409700"/>
                  <a:gd name="connsiteX99" fmla="*/ 928687 w 1883568"/>
                  <a:gd name="connsiteY99" fmla="*/ 878681 h 1409700"/>
                  <a:gd name="connsiteX100" fmla="*/ 931068 w 1883568"/>
                  <a:gd name="connsiteY100" fmla="*/ 928687 h 1409700"/>
                  <a:gd name="connsiteX101" fmla="*/ 931068 w 1883568"/>
                  <a:gd name="connsiteY101" fmla="*/ 983456 h 1409700"/>
                  <a:gd name="connsiteX102" fmla="*/ 962025 w 1883568"/>
                  <a:gd name="connsiteY102" fmla="*/ 973931 h 1409700"/>
                  <a:gd name="connsiteX103" fmla="*/ 1023937 w 1883568"/>
                  <a:gd name="connsiteY103" fmla="*/ 1012031 h 140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1883568" h="1409700">
                    <a:moveTo>
                      <a:pt x="1023937" y="1012031"/>
                    </a:moveTo>
                    <a:lnTo>
                      <a:pt x="1100137" y="945356"/>
                    </a:lnTo>
                    <a:lnTo>
                      <a:pt x="1152525" y="942975"/>
                    </a:lnTo>
                    <a:lnTo>
                      <a:pt x="1193006" y="966787"/>
                    </a:lnTo>
                    <a:lnTo>
                      <a:pt x="1202531" y="985837"/>
                    </a:lnTo>
                    <a:lnTo>
                      <a:pt x="1190625" y="1014412"/>
                    </a:lnTo>
                    <a:lnTo>
                      <a:pt x="1264443" y="1054893"/>
                    </a:lnTo>
                    <a:lnTo>
                      <a:pt x="1323975" y="1069181"/>
                    </a:lnTo>
                    <a:lnTo>
                      <a:pt x="1350168" y="1090612"/>
                    </a:lnTo>
                    <a:lnTo>
                      <a:pt x="1385887" y="1076325"/>
                    </a:lnTo>
                    <a:lnTo>
                      <a:pt x="1540668" y="1081087"/>
                    </a:lnTo>
                    <a:lnTo>
                      <a:pt x="1569243" y="1128712"/>
                    </a:lnTo>
                    <a:lnTo>
                      <a:pt x="1612106" y="1188243"/>
                    </a:lnTo>
                    <a:lnTo>
                      <a:pt x="1616868" y="1219200"/>
                    </a:lnTo>
                    <a:lnTo>
                      <a:pt x="1600200" y="1243012"/>
                    </a:lnTo>
                    <a:lnTo>
                      <a:pt x="1626393" y="1254918"/>
                    </a:lnTo>
                    <a:lnTo>
                      <a:pt x="1609725" y="1283493"/>
                    </a:lnTo>
                    <a:lnTo>
                      <a:pt x="1702593" y="1369218"/>
                    </a:lnTo>
                    <a:lnTo>
                      <a:pt x="1721643" y="1376362"/>
                    </a:lnTo>
                    <a:lnTo>
                      <a:pt x="1776412" y="1390650"/>
                    </a:lnTo>
                    <a:lnTo>
                      <a:pt x="1826418" y="1409700"/>
                    </a:lnTo>
                    <a:lnTo>
                      <a:pt x="1826418" y="1357312"/>
                    </a:lnTo>
                    <a:lnTo>
                      <a:pt x="1819275" y="1319212"/>
                    </a:lnTo>
                    <a:lnTo>
                      <a:pt x="1840706" y="1281112"/>
                    </a:lnTo>
                    <a:lnTo>
                      <a:pt x="1843087" y="1235868"/>
                    </a:lnTo>
                    <a:lnTo>
                      <a:pt x="1883568" y="1188243"/>
                    </a:lnTo>
                    <a:lnTo>
                      <a:pt x="1869281" y="1145381"/>
                    </a:lnTo>
                    <a:lnTo>
                      <a:pt x="1843087" y="1073943"/>
                    </a:lnTo>
                    <a:lnTo>
                      <a:pt x="1793081" y="1031081"/>
                    </a:lnTo>
                    <a:lnTo>
                      <a:pt x="1731168" y="973931"/>
                    </a:lnTo>
                    <a:lnTo>
                      <a:pt x="1674018" y="947737"/>
                    </a:lnTo>
                    <a:lnTo>
                      <a:pt x="1609725" y="888206"/>
                    </a:lnTo>
                    <a:lnTo>
                      <a:pt x="1595437" y="838200"/>
                    </a:lnTo>
                    <a:lnTo>
                      <a:pt x="1538287" y="842962"/>
                    </a:lnTo>
                    <a:lnTo>
                      <a:pt x="1552575" y="814387"/>
                    </a:lnTo>
                    <a:lnTo>
                      <a:pt x="1483518" y="812006"/>
                    </a:lnTo>
                    <a:lnTo>
                      <a:pt x="1390650" y="754856"/>
                    </a:lnTo>
                    <a:lnTo>
                      <a:pt x="1352550" y="762000"/>
                    </a:lnTo>
                    <a:lnTo>
                      <a:pt x="1250156" y="676275"/>
                    </a:lnTo>
                    <a:lnTo>
                      <a:pt x="1221581" y="640556"/>
                    </a:lnTo>
                    <a:lnTo>
                      <a:pt x="1071562" y="566737"/>
                    </a:lnTo>
                    <a:lnTo>
                      <a:pt x="971550" y="528637"/>
                    </a:lnTo>
                    <a:lnTo>
                      <a:pt x="845343" y="483393"/>
                    </a:lnTo>
                    <a:lnTo>
                      <a:pt x="719137" y="433387"/>
                    </a:lnTo>
                    <a:lnTo>
                      <a:pt x="631031" y="373856"/>
                    </a:lnTo>
                    <a:lnTo>
                      <a:pt x="507206" y="304800"/>
                    </a:lnTo>
                    <a:lnTo>
                      <a:pt x="476250" y="238125"/>
                    </a:lnTo>
                    <a:lnTo>
                      <a:pt x="547687" y="197643"/>
                    </a:lnTo>
                    <a:lnTo>
                      <a:pt x="652462" y="121443"/>
                    </a:lnTo>
                    <a:lnTo>
                      <a:pt x="645318" y="52387"/>
                    </a:lnTo>
                    <a:lnTo>
                      <a:pt x="623887" y="19050"/>
                    </a:lnTo>
                    <a:lnTo>
                      <a:pt x="554831" y="0"/>
                    </a:lnTo>
                    <a:lnTo>
                      <a:pt x="492918" y="2381"/>
                    </a:lnTo>
                    <a:lnTo>
                      <a:pt x="414337" y="28575"/>
                    </a:lnTo>
                    <a:lnTo>
                      <a:pt x="340518" y="26193"/>
                    </a:lnTo>
                    <a:lnTo>
                      <a:pt x="319087" y="16668"/>
                    </a:lnTo>
                    <a:lnTo>
                      <a:pt x="269081" y="26193"/>
                    </a:lnTo>
                    <a:lnTo>
                      <a:pt x="169068" y="23812"/>
                    </a:lnTo>
                    <a:lnTo>
                      <a:pt x="92868" y="14287"/>
                    </a:lnTo>
                    <a:lnTo>
                      <a:pt x="83343" y="126206"/>
                    </a:lnTo>
                    <a:lnTo>
                      <a:pt x="111918" y="166687"/>
                    </a:lnTo>
                    <a:lnTo>
                      <a:pt x="92868" y="190500"/>
                    </a:lnTo>
                    <a:lnTo>
                      <a:pt x="54768" y="223837"/>
                    </a:lnTo>
                    <a:lnTo>
                      <a:pt x="19050" y="195262"/>
                    </a:lnTo>
                    <a:lnTo>
                      <a:pt x="0" y="254793"/>
                    </a:lnTo>
                    <a:lnTo>
                      <a:pt x="23812" y="290512"/>
                    </a:lnTo>
                    <a:lnTo>
                      <a:pt x="38100" y="330993"/>
                    </a:lnTo>
                    <a:lnTo>
                      <a:pt x="78581" y="354806"/>
                    </a:lnTo>
                    <a:lnTo>
                      <a:pt x="57150" y="378618"/>
                    </a:lnTo>
                    <a:lnTo>
                      <a:pt x="80962" y="419100"/>
                    </a:lnTo>
                    <a:lnTo>
                      <a:pt x="164306" y="461962"/>
                    </a:lnTo>
                    <a:lnTo>
                      <a:pt x="188118" y="471487"/>
                    </a:lnTo>
                    <a:lnTo>
                      <a:pt x="171450" y="483393"/>
                    </a:lnTo>
                    <a:lnTo>
                      <a:pt x="150018" y="516731"/>
                    </a:lnTo>
                    <a:lnTo>
                      <a:pt x="188118" y="573881"/>
                    </a:lnTo>
                    <a:lnTo>
                      <a:pt x="257175" y="559593"/>
                    </a:lnTo>
                    <a:lnTo>
                      <a:pt x="273843" y="583406"/>
                    </a:lnTo>
                    <a:lnTo>
                      <a:pt x="297656" y="583406"/>
                    </a:lnTo>
                    <a:lnTo>
                      <a:pt x="323850" y="600075"/>
                    </a:lnTo>
                    <a:lnTo>
                      <a:pt x="354806" y="581025"/>
                    </a:lnTo>
                    <a:lnTo>
                      <a:pt x="409575" y="578643"/>
                    </a:lnTo>
                    <a:lnTo>
                      <a:pt x="450056" y="578643"/>
                    </a:lnTo>
                    <a:lnTo>
                      <a:pt x="488156" y="533400"/>
                    </a:lnTo>
                    <a:lnTo>
                      <a:pt x="531018" y="571500"/>
                    </a:lnTo>
                    <a:lnTo>
                      <a:pt x="547687" y="588168"/>
                    </a:lnTo>
                    <a:lnTo>
                      <a:pt x="559593" y="597693"/>
                    </a:lnTo>
                    <a:lnTo>
                      <a:pt x="583406" y="614362"/>
                    </a:lnTo>
                    <a:lnTo>
                      <a:pt x="533400" y="650081"/>
                    </a:lnTo>
                    <a:lnTo>
                      <a:pt x="581025" y="681037"/>
                    </a:lnTo>
                    <a:lnTo>
                      <a:pt x="623887" y="709612"/>
                    </a:lnTo>
                    <a:lnTo>
                      <a:pt x="661987" y="671512"/>
                    </a:lnTo>
                    <a:lnTo>
                      <a:pt x="678656" y="683418"/>
                    </a:lnTo>
                    <a:lnTo>
                      <a:pt x="700087" y="759618"/>
                    </a:lnTo>
                    <a:lnTo>
                      <a:pt x="752475" y="792956"/>
                    </a:lnTo>
                    <a:lnTo>
                      <a:pt x="783431" y="838200"/>
                    </a:lnTo>
                    <a:lnTo>
                      <a:pt x="795337" y="807243"/>
                    </a:lnTo>
                    <a:lnTo>
                      <a:pt x="852487" y="792956"/>
                    </a:lnTo>
                    <a:lnTo>
                      <a:pt x="902493" y="800100"/>
                    </a:lnTo>
                    <a:lnTo>
                      <a:pt x="947737" y="823912"/>
                    </a:lnTo>
                    <a:lnTo>
                      <a:pt x="928687" y="878681"/>
                    </a:lnTo>
                    <a:lnTo>
                      <a:pt x="931068" y="928687"/>
                    </a:lnTo>
                    <a:lnTo>
                      <a:pt x="931068" y="983456"/>
                    </a:lnTo>
                    <a:lnTo>
                      <a:pt x="962025" y="973931"/>
                    </a:lnTo>
                    <a:lnTo>
                      <a:pt x="1023937" y="101203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4" name="Figura a mano libera 183"/>
              <p:cNvSpPr/>
              <p:nvPr/>
            </p:nvSpPr>
            <p:spPr bwMode="auto">
              <a:xfrm>
                <a:off x="4378752" y="3815345"/>
                <a:ext cx="455320" cy="340187"/>
              </a:xfrm>
              <a:custGeom>
                <a:avLst/>
                <a:gdLst>
                  <a:gd name="connsiteX0" fmla="*/ 571500 w 609600"/>
                  <a:gd name="connsiteY0" fmla="*/ 83344 h 454819"/>
                  <a:gd name="connsiteX1" fmla="*/ 528638 w 609600"/>
                  <a:gd name="connsiteY1" fmla="*/ 47625 h 454819"/>
                  <a:gd name="connsiteX2" fmla="*/ 514350 w 609600"/>
                  <a:gd name="connsiteY2" fmla="*/ 19050 h 454819"/>
                  <a:gd name="connsiteX3" fmla="*/ 457200 w 609600"/>
                  <a:gd name="connsiteY3" fmla="*/ 23812 h 454819"/>
                  <a:gd name="connsiteX4" fmla="*/ 423863 w 609600"/>
                  <a:gd name="connsiteY4" fmla="*/ 0 h 454819"/>
                  <a:gd name="connsiteX5" fmla="*/ 388144 w 609600"/>
                  <a:gd name="connsiteY5" fmla="*/ 45244 h 454819"/>
                  <a:gd name="connsiteX6" fmla="*/ 369094 w 609600"/>
                  <a:gd name="connsiteY6" fmla="*/ 88106 h 454819"/>
                  <a:gd name="connsiteX7" fmla="*/ 342900 w 609600"/>
                  <a:gd name="connsiteY7" fmla="*/ 114300 h 454819"/>
                  <a:gd name="connsiteX8" fmla="*/ 261938 w 609600"/>
                  <a:gd name="connsiteY8" fmla="*/ 207169 h 454819"/>
                  <a:gd name="connsiteX9" fmla="*/ 252413 w 609600"/>
                  <a:gd name="connsiteY9" fmla="*/ 140494 h 454819"/>
                  <a:gd name="connsiteX10" fmla="*/ 252413 w 609600"/>
                  <a:gd name="connsiteY10" fmla="*/ 140494 h 454819"/>
                  <a:gd name="connsiteX11" fmla="*/ 242888 w 609600"/>
                  <a:gd name="connsiteY11" fmla="*/ 126206 h 454819"/>
                  <a:gd name="connsiteX12" fmla="*/ 219075 w 609600"/>
                  <a:gd name="connsiteY12" fmla="*/ 126206 h 454819"/>
                  <a:gd name="connsiteX13" fmla="*/ 195263 w 609600"/>
                  <a:gd name="connsiteY13" fmla="*/ 116681 h 454819"/>
                  <a:gd name="connsiteX14" fmla="*/ 195263 w 609600"/>
                  <a:gd name="connsiteY14" fmla="*/ 128587 h 454819"/>
                  <a:gd name="connsiteX15" fmla="*/ 171450 w 609600"/>
                  <a:gd name="connsiteY15" fmla="*/ 102394 h 454819"/>
                  <a:gd name="connsiteX16" fmla="*/ 147638 w 609600"/>
                  <a:gd name="connsiteY16" fmla="*/ 109537 h 454819"/>
                  <a:gd name="connsiteX17" fmla="*/ 114300 w 609600"/>
                  <a:gd name="connsiteY17" fmla="*/ 142875 h 454819"/>
                  <a:gd name="connsiteX18" fmla="*/ 85725 w 609600"/>
                  <a:gd name="connsiteY18" fmla="*/ 152400 h 454819"/>
                  <a:gd name="connsiteX19" fmla="*/ 109538 w 609600"/>
                  <a:gd name="connsiteY19" fmla="*/ 173831 h 454819"/>
                  <a:gd name="connsiteX20" fmla="*/ 109538 w 609600"/>
                  <a:gd name="connsiteY20" fmla="*/ 173831 h 454819"/>
                  <a:gd name="connsiteX21" fmla="*/ 61913 w 609600"/>
                  <a:gd name="connsiteY21" fmla="*/ 192881 h 454819"/>
                  <a:gd name="connsiteX22" fmla="*/ 35719 w 609600"/>
                  <a:gd name="connsiteY22" fmla="*/ 219075 h 454819"/>
                  <a:gd name="connsiteX23" fmla="*/ 45244 w 609600"/>
                  <a:gd name="connsiteY23" fmla="*/ 242887 h 454819"/>
                  <a:gd name="connsiteX24" fmla="*/ 9525 w 609600"/>
                  <a:gd name="connsiteY24" fmla="*/ 230981 h 454819"/>
                  <a:gd name="connsiteX25" fmla="*/ 9525 w 609600"/>
                  <a:gd name="connsiteY25" fmla="*/ 230981 h 454819"/>
                  <a:gd name="connsiteX26" fmla="*/ 16669 w 609600"/>
                  <a:gd name="connsiteY26" fmla="*/ 297656 h 454819"/>
                  <a:gd name="connsiteX27" fmla="*/ 30957 w 609600"/>
                  <a:gd name="connsiteY27" fmla="*/ 352425 h 454819"/>
                  <a:gd name="connsiteX28" fmla="*/ 0 w 609600"/>
                  <a:gd name="connsiteY28" fmla="*/ 376237 h 454819"/>
                  <a:gd name="connsiteX29" fmla="*/ 35719 w 609600"/>
                  <a:gd name="connsiteY29" fmla="*/ 388144 h 454819"/>
                  <a:gd name="connsiteX30" fmla="*/ 61913 w 609600"/>
                  <a:gd name="connsiteY30" fmla="*/ 400050 h 454819"/>
                  <a:gd name="connsiteX31" fmla="*/ 73819 w 609600"/>
                  <a:gd name="connsiteY31" fmla="*/ 357187 h 454819"/>
                  <a:gd name="connsiteX32" fmla="*/ 145257 w 609600"/>
                  <a:gd name="connsiteY32" fmla="*/ 378619 h 454819"/>
                  <a:gd name="connsiteX33" fmla="*/ 188119 w 609600"/>
                  <a:gd name="connsiteY33" fmla="*/ 404812 h 454819"/>
                  <a:gd name="connsiteX34" fmla="*/ 252413 w 609600"/>
                  <a:gd name="connsiteY34" fmla="*/ 416719 h 454819"/>
                  <a:gd name="connsiteX35" fmla="*/ 292894 w 609600"/>
                  <a:gd name="connsiteY35" fmla="*/ 452437 h 454819"/>
                  <a:gd name="connsiteX36" fmla="*/ 323850 w 609600"/>
                  <a:gd name="connsiteY36" fmla="*/ 454819 h 454819"/>
                  <a:gd name="connsiteX37" fmla="*/ 388144 w 609600"/>
                  <a:gd name="connsiteY37" fmla="*/ 428625 h 454819"/>
                  <a:gd name="connsiteX38" fmla="*/ 411957 w 609600"/>
                  <a:gd name="connsiteY38" fmla="*/ 419100 h 454819"/>
                  <a:gd name="connsiteX39" fmla="*/ 414338 w 609600"/>
                  <a:gd name="connsiteY39" fmla="*/ 404812 h 454819"/>
                  <a:gd name="connsiteX40" fmla="*/ 459582 w 609600"/>
                  <a:gd name="connsiteY40" fmla="*/ 409575 h 454819"/>
                  <a:gd name="connsiteX41" fmla="*/ 528638 w 609600"/>
                  <a:gd name="connsiteY41" fmla="*/ 388144 h 454819"/>
                  <a:gd name="connsiteX42" fmla="*/ 504825 w 609600"/>
                  <a:gd name="connsiteY42" fmla="*/ 311944 h 454819"/>
                  <a:gd name="connsiteX43" fmla="*/ 516732 w 609600"/>
                  <a:gd name="connsiteY43" fmla="*/ 259556 h 454819"/>
                  <a:gd name="connsiteX44" fmla="*/ 552450 w 609600"/>
                  <a:gd name="connsiteY44" fmla="*/ 288131 h 454819"/>
                  <a:gd name="connsiteX45" fmla="*/ 609600 w 609600"/>
                  <a:gd name="connsiteY45" fmla="*/ 233362 h 454819"/>
                  <a:gd name="connsiteX46" fmla="*/ 592932 w 609600"/>
                  <a:gd name="connsiteY46" fmla="*/ 197644 h 454819"/>
                  <a:gd name="connsiteX47" fmla="*/ 571500 w 609600"/>
                  <a:gd name="connsiteY47" fmla="*/ 83344 h 454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9600" h="454819">
                    <a:moveTo>
                      <a:pt x="571500" y="83344"/>
                    </a:moveTo>
                    <a:lnTo>
                      <a:pt x="528638" y="47625"/>
                    </a:lnTo>
                    <a:lnTo>
                      <a:pt x="514350" y="19050"/>
                    </a:lnTo>
                    <a:lnTo>
                      <a:pt x="457200" y="23812"/>
                    </a:lnTo>
                    <a:lnTo>
                      <a:pt x="423863" y="0"/>
                    </a:lnTo>
                    <a:lnTo>
                      <a:pt x="388144" y="45244"/>
                    </a:lnTo>
                    <a:lnTo>
                      <a:pt x="369094" y="88106"/>
                    </a:lnTo>
                    <a:lnTo>
                      <a:pt x="342900" y="114300"/>
                    </a:lnTo>
                    <a:lnTo>
                      <a:pt x="261938" y="207169"/>
                    </a:lnTo>
                    <a:lnTo>
                      <a:pt x="252413" y="140494"/>
                    </a:lnTo>
                    <a:lnTo>
                      <a:pt x="252413" y="140494"/>
                    </a:lnTo>
                    <a:lnTo>
                      <a:pt x="242888" y="126206"/>
                    </a:lnTo>
                    <a:lnTo>
                      <a:pt x="219075" y="126206"/>
                    </a:lnTo>
                    <a:lnTo>
                      <a:pt x="195263" y="116681"/>
                    </a:lnTo>
                    <a:lnTo>
                      <a:pt x="195263" y="128587"/>
                    </a:lnTo>
                    <a:lnTo>
                      <a:pt x="171450" y="102394"/>
                    </a:lnTo>
                    <a:lnTo>
                      <a:pt x="147638" y="109537"/>
                    </a:lnTo>
                    <a:lnTo>
                      <a:pt x="114300" y="142875"/>
                    </a:lnTo>
                    <a:lnTo>
                      <a:pt x="85725" y="152400"/>
                    </a:lnTo>
                    <a:lnTo>
                      <a:pt x="109538" y="173831"/>
                    </a:lnTo>
                    <a:lnTo>
                      <a:pt x="109538" y="173831"/>
                    </a:lnTo>
                    <a:lnTo>
                      <a:pt x="61913" y="192881"/>
                    </a:lnTo>
                    <a:lnTo>
                      <a:pt x="35719" y="219075"/>
                    </a:lnTo>
                    <a:lnTo>
                      <a:pt x="45244" y="242887"/>
                    </a:lnTo>
                    <a:lnTo>
                      <a:pt x="9525" y="230981"/>
                    </a:lnTo>
                    <a:lnTo>
                      <a:pt x="9525" y="230981"/>
                    </a:lnTo>
                    <a:lnTo>
                      <a:pt x="16669" y="297656"/>
                    </a:lnTo>
                    <a:lnTo>
                      <a:pt x="30957" y="352425"/>
                    </a:lnTo>
                    <a:lnTo>
                      <a:pt x="0" y="376237"/>
                    </a:lnTo>
                    <a:lnTo>
                      <a:pt x="35719" y="388144"/>
                    </a:lnTo>
                    <a:lnTo>
                      <a:pt x="61913" y="400050"/>
                    </a:lnTo>
                    <a:lnTo>
                      <a:pt x="73819" y="357187"/>
                    </a:lnTo>
                    <a:lnTo>
                      <a:pt x="145257" y="378619"/>
                    </a:lnTo>
                    <a:lnTo>
                      <a:pt x="188119" y="404812"/>
                    </a:lnTo>
                    <a:lnTo>
                      <a:pt x="252413" y="416719"/>
                    </a:lnTo>
                    <a:lnTo>
                      <a:pt x="292894" y="452437"/>
                    </a:lnTo>
                    <a:lnTo>
                      <a:pt x="323850" y="454819"/>
                    </a:lnTo>
                    <a:lnTo>
                      <a:pt x="388144" y="428625"/>
                    </a:lnTo>
                    <a:lnTo>
                      <a:pt x="411957" y="419100"/>
                    </a:lnTo>
                    <a:lnTo>
                      <a:pt x="414338" y="404812"/>
                    </a:lnTo>
                    <a:lnTo>
                      <a:pt x="459582" y="409575"/>
                    </a:lnTo>
                    <a:lnTo>
                      <a:pt x="528638" y="388144"/>
                    </a:lnTo>
                    <a:lnTo>
                      <a:pt x="504825" y="311944"/>
                    </a:lnTo>
                    <a:lnTo>
                      <a:pt x="516732" y="259556"/>
                    </a:lnTo>
                    <a:lnTo>
                      <a:pt x="552450" y="288131"/>
                    </a:lnTo>
                    <a:lnTo>
                      <a:pt x="609600" y="233362"/>
                    </a:lnTo>
                    <a:lnTo>
                      <a:pt x="592932" y="197644"/>
                    </a:lnTo>
                    <a:cubicBezTo>
                      <a:pt x="593726" y="168275"/>
                      <a:pt x="594519" y="138906"/>
                      <a:pt x="571500" y="8334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5" name="Figura a mano libera 184"/>
              <p:cNvSpPr/>
              <p:nvPr/>
            </p:nvSpPr>
            <p:spPr bwMode="auto">
              <a:xfrm>
                <a:off x="4014771" y="3400958"/>
                <a:ext cx="683672" cy="607579"/>
              </a:xfrm>
              <a:custGeom>
                <a:avLst/>
                <a:gdLst>
                  <a:gd name="connsiteX0" fmla="*/ 464344 w 912019"/>
                  <a:gd name="connsiteY0" fmla="*/ 0 h 812006"/>
                  <a:gd name="connsiteX1" fmla="*/ 369094 w 912019"/>
                  <a:gd name="connsiteY1" fmla="*/ 21431 h 812006"/>
                  <a:gd name="connsiteX2" fmla="*/ 352425 w 912019"/>
                  <a:gd name="connsiteY2" fmla="*/ 42862 h 812006"/>
                  <a:gd name="connsiteX3" fmla="*/ 330994 w 912019"/>
                  <a:gd name="connsiteY3" fmla="*/ 61912 h 812006"/>
                  <a:gd name="connsiteX4" fmla="*/ 314325 w 912019"/>
                  <a:gd name="connsiteY4" fmla="*/ 57150 h 812006"/>
                  <a:gd name="connsiteX5" fmla="*/ 278607 w 912019"/>
                  <a:gd name="connsiteY5" fmla="*/ 57150 h 812006"/>
                  <a:gd name="connsiteX6" fmla="*/ 264319 w 912019"/>
                  <a:gd name="connsiteY6" fmla="*/ 90487 h 812006"/>
                  <a:gd name="connsiteX7" fmla="*/ 257175 w 912019"/>
                  <a:gd name="connsiteY7" fmla="*/ 102393 h 812006"/>
                  <a:gd name="connsiteX8" fmla="*/ 185738 w 912019"/>
                  <a:gd name="connsiteY8" fmla="*/ 138112 h 812006"/>
                  <a:gd name="connsiteX9" fmla="*/ 202407 w 912019"/>
                  <a:gd name="connsiteY9" fmla="*/ 150018 h 812006"/>
                  <a:gd name="connsiteX10" fmla="*/ 207169 w 912019"/>
                  <a:gd name="connsiteY10" fmla="*/ 171450 h 812006"/>
                  <a:gd name="connsiteX11" fmla="*/ 197644 w 912019"/>
                  <a:gd name="connsiteY11" fmla="*/ 197643 h 812006"/>
                  <a:gd name="connsiteX12" fmla="*/ 159544 w 912019"/>
                  <a:gd name="connsiteY12" fmla="*/ 207168 h 812006"/>
                  <a:gd name="connsiteX13" fmla="*/ 102394 w 912019"/>
                  <a:gd name="connsiteY13" fmla="*/ 190500 h 812006"/>
                  <a:gd name="connsiteX14" fmla="*/ 83344 w 912019"/>
                  <a:gd name="connsiteY14" fmla="*/ 221456 h 812006"/>
                  <a:gd name="connsiteX15" fmla="*/ 90488 w 912019"/>
                  <a:gd name="connsiteY15" fmla="*/ 264318 h 812006"/>
                  <a:gd name="connsiteX16" fmla="*/ 73819 w 912019"/>
                  <a:gd name="connsiteY16" fmla="*/ 278606 h 812006"/>
                  <a:gd name="connsiteX17" fmla="*/ 50007 w 912019"/>
                  <a:gd name="connsiteY17" fmla="*/ 295275 h 812006"/>
                  <a:gd name="connsiteX18" fmla="*/ 85725 w 912019"/>
                  <a:gd name="connsiteY18" fmla="*/ 335756 h 812006"/>
                  <a:gd name="connsiteX19" fmla="*/ 97632 w 912019"/>
                  <a:gd name="connsiteY19" fmla="*/ 371475 h 812006"/>
                  <a:gd name="connsiteX20" fmla="*/ 121444 w 912019"/>
                  <a:gd name="connsiteY20" fmla="*/ 404812 h 812006"/>
                  <a:gd name="connsiteX21" fmla="*/ 154782 w 912019"/>
                  <a:gd name="connsiteY21" fmla="*/ 440531 h 812006"/>
                  <a:gd name="connsiteX22" fmla="*/ 176213 w 912019"/>
                  <a:gd name="connsiteY22" fmla="*/ 454818 h 812006"/>
                  <a:gd name="connsiteX23" fmla="*/ 178594 w 912019"/>
                  <a:gd name="connsiteY23" fmla="*/ 478631 h 812006"/>
                  <a:gd name="connsiteX24" fmla="*/ 159544 w 912019"/>
                  <a:gd name="connsiteY24" fmla="*/ 502443 h 812006"/>
                  <a:gd name="connsiteX25" fmla="*/ 135732 w 912019"/>
                  <a:gd name="connsiteY25" fmla="*/ 502443 h 812006"/>
                  <a:gd name="connsiteX26" fmla="*/ 114300 w 912019"/>
                  <a:gd name="connsiteY26" fmla="*/ 502443 h 812006"/>
                  <a:gd name="connsiteX27" fmla="*/ 97632 w 912019"/>
                  <a:gd name="connsiteY27" fmla="*/ 492918 h 812006"/>
                  <a:gd name="connsiteX28" fmla="*/ 33338 w 912019"/>
                  <a:gd name="connsiteY28" fmla="*/ 461962 h 812006"/>
                  <a:gd name="connsiteX29" fmla="*/ 30957 w 912019"/>
                  <a:gd name="connsiteY29" fmla="*/ 492918 h 812006"/>
                  <a:gd name="connsiteX30" fmla="*/ 11907 w 912019"/>
                  <a:gd name="connsiteY30" fmla="*/ 500062 h 812006"/>
                  <a:gd name="connsiteX31" fmla="*/ 0 w 912019"/>
                  <a:gd name="connsiteY31" fmla="*/ 528637 h 812006"/>
                  <a:gd name="connsiteX32" fmla="*/ 11907 w 912019"/>
                  <a:gd name="connsiteY32" fmla="*/ 569118 h 812006"/>
                  <a:gd name="connsiteX33" fmla="*/ 102394 w 912019"/>
                  <a:gd name="connsiteY33" fmla="*/ 595312 h 812006"/>
                  <a:gd name="connsiteX34" fmla="*/ 180975 w 912019"/>
                  <a:gd name="connsiteY34" fmla="*/ 640556 h 812006"/>
                  <a:gd name="connsiteX35" fmla="*/ 192882 w 912019"/>
                  <a:gd name="connsiteY35" fmla="*/ 714375 h 812006"/>
                  <a:gd name="connsiteX36" fmla="*/ 221457 w 912019"/>
                  <a:gd name="connsiteY36" fmla="*/ 700087 h 812006"/>
                  <a:gd name="connsiteX37" fmla="*/ 269082 w 912019"/>
                  <a:gd name="connsiteY37" fmla="*/ 742950 h 812006"/>
                  <a:gd name="connsiteX38" fmla="*/ 302419 w 912019"/>
                  <a:gd name="connsiteY38" fmla="*/ 735806 h 812006"/>
                  <a:gd name="connsiteX39" fmla="*/ 347663 w 912019"/>
                  <a:gd name="connsiteY39" fmla="*/ 709612 h 812006"/>
                  <a:gd name="connsiteX40" fmla="*/ 366713 w 912019"/>
                  <a:gd name="connsiteY40" fmla="*/ 728662 h 812006"/>
                  <a:gd name="connsiteX41" fmla="*/ 402432 w 912019"/>
                  <a:gd name="connsiteY41" fmla="*/ 762000 h 812006"/>
                  <a:gd name="connsiteX42" fmla="*/ 402432 w 912019"/>
                  <a:gd name="connsiteY42" fmla="*/ 762000 h 812006"/>
                  <a:gd name="connsiteX43" fmla="*/ 459582 w 912019"/>
                  <a:gd name="connsiteY43" fmla="*/ 785812 h 812006"/>
                  <a:gd name="connsiteX44" fmla="*/ 478632 w 912019"/>
                  <a:gd name="connsiteY44" fmla="*/ 812006 h 812006"/>
                  <a:gd name="connsiteX45" fmla="*/ 478632 w 912019"/>
                  <a:gd name="connsiteY45" fmla="*/ 812006 h 812006"/>
                  <a:gd name="connsiteX46" fmla="*/ 478632 w 912019"/>
                  <a:gd name="connsiteY46" fmla="*/ 783431 h 812006"/>
                  <a:gd name="connsiteX47" fmla="*/ 533400 w 912019"/>
                  <a:gd name="connsiteY47" fmla="*/ 800100 h 812006"/>
                  <a:gd name="connsiteX48" fmla="*/ 545307 w 912019"/>
                  <a:gd name="connsiteY48" fmla="*/ 735806 h 812006"/>
                  <a:gd name="connsiteX49" fmla="*/ 590550 w 912019"/>
                  <a:gd name="connsiteY49" fmla="*/ 733425 h 812006"/>
                  <a:gd name="connsiteX50" fmla="*/ 578644 w 912019"/>
                  <a:gd name="connsiteY50" fmla="*/ 707231 h 812006"/>
                  <a:gd name="connsiteX51" fmla="*/ 657225 w 912019"/>
                  <a:gd name="connsiteY51" fmla="*/ 652462 h 812006"/>
                  <a:gd name="connsiteX52" fmla="*/ 669132 w 912019"/>
                  <a:gd name="connsiteY52" fmla="*/ 683418 h 812006"/>
                  <a:gd name="connsiteX53" fmla="*/ 726282 w 912019"/>
                  <a:gd name="connsiteY53" fmla="*/ 681037 h 812006"/>
                  <a:gd name="connsiteX54" fmla="*/ 740569 w 912019"/>
                  <a:gd name="connsiteY54" fmla="*/ 685800 h 812006"/>
                  <a:gd name="connsiteX55" fmla="*/ 745332 w 912019"/>
                  <a:gd name="connsiteY55" fmla="*/ 754856 h 812006"/>
                  <a:gd name="connsiteX56" fmla="*/ 850107 w 912019"/>
                  <a:gd name="connsiteY56" fmla="*/ 640556 h 812006"/>
                  <a:gd name="connsiteX57" fmla="*/ 912019 w 912019"/>
                  <a:gd name="connsiteY57" fmla="*/ 547687 h 812006"/>
                  <a:gd name="connsiteX58" fmla="*/ 876300 w 912019"/>
                  <a:gd name="connsiteY58" fmla="*/ 542925 h 812006"/>
                  <a:gd name="connsiteX59" fmla="*/ 866775 w 912019"/>
                  <a:gd name="connsiteY59" fmla="*/ 481012 h 812006"/>
                  <a:gd name="connsiteX60" fmla="*/ 831057 w 912019"/>
                  <a:gd name="connsiteY60" fmla="*/ 457200 h 812006"/>
                  <a:gd name="connsiteX61" fmla="*/ 781050 w 912019"/>
                  <a:gd name="connsiteY61" fmla="*/ 457200 h 812006"/>
                  <a:gd name="connsiteX62" fmla="*/ 721519 w 912019"/>
                  <a:gd name="connsiteY62" fmla="*/ 395287 h 812006"/>
                  <a:gd name="connsiteX63" fmla="*/ 711994 w 912019"/>
                  <a:gd name="connsiteY63" fmla="*/ 345281 h 812006"/>
                  <a:gd name="connsiteX64" fmla="*/ 645319 w 912019"/>
                  <a:gd name="connsiteY64" fmla="*/ 314325 h 812006"/>
                  <a:gd name="connsiteX65" fmla="*/ 611982 w 912019"/>
                  <a:gd name="connsiteY65" fmla="*/ 288131 h 812006"/>
                  <a:gd name="connsiteX66" fmla="*/ 540544 w 912019"/>
                  <a:gd name="connsiteY66" fmla="*/ 188118 h 812006"/>
                  <a:gd name="connsiteX67" fmla="*/ 490538 w 912019"/>
                  <a:gd name="connsiteY67" fmla="*/ 100012 h 812006"/>
                  <a:gd name="connsiteX68" fmla="*/ 464344 w 912019"/>
                  <a:gd name="connsiteY68" fmla="*/ 0 h 812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912019" h="812006">
                    <a:moveTo>
                      <a:pt x="464344" y="0"/>
                    </a:moveTo>
                    <a:lnTo>
                      <a:pt x="369094" y="21431"/>
                    </a:lnTo>
                    <a:lnTo>
                      <a:pt x="352425" y="42862"/>
                    </a:lnTo>
                    <a:lnTo>
                      <a:pt x="330994" y="61912"/>
                    </a:lnTo>
                    <a:lnTo>
                      <a:pt x="314325" y="57150"/>
                    </a:lnTo>
                    <a:lnTo>
                      <a:pt x="278607" y="57150"/>
                    </a:lnTo>
                    <a:lnTo>
                      <a:pt x="264319" y="90487"/>
                    </a:lnTo>
                    <a:lnTo>
                      <a:pt x="257175" y="102393"/>
                    </a:lnTo>
                    <a:lnTo>
                      <a:pt x="185738" y="138112"/>
                    </a:lnTo>
                    <a:lnTo>
                      <a:pt x="202407" y="150018"/>
                    </a:lnTo>
                    <a:lnTo>
                      <a:pt x="207169" y="171450"/>
                    </a:lnTo>
                    <a:lnTo>
                      <a:pt x="197644" y="197643"/>
                    </a:lnTo>
                    <a:lnTo>
                      <a:pt x="159544" y="207168"/>
                    </a:lnTo>
                    <a:lnTo>
                      <a:pt x="102394" y="190500"/>
                    </a:lnTo>
                    <a:lnTo>
                      <a:pt x="83344" y="221456"/>
                    </a:lnTo>
                    <a:lnTo>
                      <a:pt x="90488" y="264318"/>
                    </a:lnTo>
                    <a:lnTo>
                      <a:pt x="73819" y="278606"/>
                    </a:lnTo>
                    <a:lnTo>
                      <a:pt x="50007" y="295275"/>
                    </a:lnTo>
                    <a:lnTo>
                      <a:pt x="85725" y="335756"/>
                    </a:lnTo>
                    <a:lnTo>
                      <a:pt x="97632" y="371475"/>
                    </a:lnTo>
                    <a:lnTo>
                      <a:pt x="121444" y="404812"/>
                    </a:lnTo>
                    <a:lnTo>
                      <a:pt x="154782" y="440531"/>
                    </a:lnTo>
                    <a:lnTo>
                      <a:pt x="176213" y="454818"/>
                    </a:lnTo>
                    <a:lnTo>
                      <a:pt x="178594" y="478631"/>
                    </a:lnTo>
                    <a:lnTo>
                      <a:pt x="159544" y="502443"/>
                    </a:lnTo>
                    <a:lnTo>
                      <a:pt x="135732" y="502443"/>
                    </a:lnTo>
                    <a:lnTo>
                      <a:pt x="114300" y="502443"/>
                    </a:lnTo>
                    <a:lnTo>
                      <a:pt x="97632" y="492918"/>
                    </a:lnTo>
                    <a:lnTo>
                      <a:pt x="33338" y="461962"/>
                    </a:lnTo>
                    <a:lnTo>
                      <a:pt x="30957" y="492918"/>
                    </a:lnTo>
                    <a:lnTo>
                      <a:pt x="11907" y="500062"/>
                    </a:lnTo>
                    <a:lnTo>
                      <a:pt x="0" y="528637"/>
                    </a:lnTo>
                    <a:lnTo>
                      <a:pt x="11907" y="569118"/>
                    </a:lnTo>
                    <a:lnTo>
                      <a:pt x="102394" y="595312"/>
                    </a:lnTo>
                    <a:lnTo>
                      <a:pt x="180975" y="640556"/>
                    </a:lnTo>
                    <a:lnTo>
                      <a:pt x="192882" y="714375"/>
                    </a:lnTo>
                    <a:lnTo>
                      <a:pt x="221457" y="700087"/>
                    </a:lnTo>
                    <a:lnTo>
                      <a:pt x="269082" y="742950"/>
                    </a:lnTo>
                    <a:lnTo>
                      <a:pt x="302419" y="735806"/>
                    </a:lnTo>
                    <a:lnTo>
                      <a:pt x="347663" y="709612"/>
                    </a:lnTo>
                    <a:lnTo>
                      <a:pt x="366713" y="728662"/>
                    </a:lnTo>
                    <a:lnTo>
                      <a:pt x="402432" y="762000"/>
                    </a:lnTo>
                    <a:lnTo>
                      <a:pt x="402432" y="762000"/>
                    </a:lnTo>
                    <a:lnTo>
                      <a:pt x="459582" y="785812"/>
                    </a:lnTo>
                    <a:lnTo>
                      <a:pt x="478632" y="812006"/>
                    </a:lnTo>
                    <a:lnTo>
                      <a:pt x="478632" y="812006"/>
                    </a:lnTo>
                    <a:lnTo>
                      <a:pt x="478632" y="783431"/>
                    </a:lnTo>
                    <a:lnTo>
                      <a:pt x="533400" y="800100"/>
                    </a:lnTo>
                    <a:lnTo>
                      <a:pt x="545307" y="735806"/>
                    </a:lnTo>
                    <a:lnTo>
                      <a:pt x="590550" y="733425"/>
                    </a:lnTo>
                    <a:lnTo>
                      <a:pt x="578644" y="707231"/>
                    </a:lnTo>
                    <a:lnTo>
                      <a:pt x="657225" y="652462"/>
                    </a:lnTo>
                    <a:lnTo>
                      <a:pt x="669132" y="683418"/>
                    </a:lnTo>
                    <a:lnTo>
                      <a:pt x="726282" y="681037"/>
                    </a:lnTo>
                    <a:lnTo>
                      <a:pt x="740569" y="685800"/>
                    </a:lnTo>
                    <a:lnTo>
                      <a:pt x="745332" y="754856"/>
                    </a:lnTo>
                    <a:lnTo>
                      <a:pt x="850107" y="640556"/>
                    </a:lnTo>
                    <a:lnTo>
                      <a:pt x="912019" y="547687"/>
                    </a:lnTo>
                    <a:lnTo>
                      <a:pt x="876300" y="542925"/>
                    </a:lnTo>
                    <a:lnTo>
                      <a:pt x="866775" y="481012"/>
                    </a:lnTo>
                    <a:lnTo>
                      <a:pt x="831057" y="457200"/>
                    </a:lnTo>
                    <a:lnTo>
                      <a:pt x="781050" y="457200"/>
                    </a:lnTo>
                    <a:lnTo>
                      <a:pt x="721519" y="395287"/>
                    </a:lnTo>
                    <a:lnTo>
                      <a:pt x="711994" y="345281"/>
                    </a:lnTo>
                    <a:lnTo>
                      <a:pt x="645319" y="314325"/>
                    </a:lnTo>
                    <a:lnTo>
                      <a:pt x="611982" y="288131"/>
                    </a:lnTo>
                    <a:lnTo>
                      <a:pt x="540544" y="188118"/>
                    </a:lnTo>
                    <a:lnTo>
                      <a:pt x="490538" y="100012"/>
                    </a:lnTo>
                    <a:lnTo>
                      <a:pt x="46434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6" name="Figura a mano libera 185"/>
              <p:cNvSpPr/>
              <p:nvPr/>
            </p:nvSpPr>
            <p:spPr bwMode="auto">
              <a:xfrm>
                <a:off x="1976210" y="2461590"/>
                <a:ext cx="932784" cy="407386"/>
              </a:xfrm>
              <a:custGeom>
                <a:avLst/>
                <a:gdLst>
                  <a:gd name="connsiteX0" fmla="*/ 1176337 w 1245394"/>
                  <a:gd name="connsiteY0" fmla="*/ 335756 h 545306"/>
                  <a:gd name="connsiteX1" fmla="*/ 1228725 w 1245394"/>
                  <a:gd name="connsiteY1" fmla="*/ 335756 h 545306"/>
                  <a:gd name="connsiteX2" fmla="*/ 1245394 w 1245394"/>
                  <a:gd name="connsiteY2" fmla="*/ 378618 h 545306"/>
                  <a:gd name="connsiteX3" fmla="*/ 1204912 w 1245394"/>
                  <a:gd name="connsiteY3" fmla="*/ 381000 h 545306"/>
                  <a:gd name="connsiteX4" fmla="*/ 1190625 w 1245394"/>
                  <a:gd name="connsiteY4" fmla="*/ 409575 h 545306"/>
                  <a:gd name="connsiteX5" fmla="*/ 1176337 w 1245394"/>
                  <a:gd name="connsiteY5" fmla="*/ 390525 h 545306"/>
                  <a:gd name="connsiteX6" fmla="*/ 1162050 w 1245394"/>
                  <a:gd name="connsiteY6" fmla="*/ 407193 h 545306"/>
                  <a:gd name="connsiteX7" fmla="*/ 1173956 w 1245394"/>
                  <a:gd name="connsiteY7" fmla="*/ 438150 h 545306"/>
                  <a:gd name="connsiteX8" fmla="*/ 1173956 w 1245394"/>
                  <a:gd name="connsiteY8" fmla="*/ 438150 h 545306"/>
                  <a:gd name="connsiteX9" fmla="*/ 1073944 w 1245394"/>
                  <a:gd name="connsiteY9" fmla="*/ 352425 h 545306"/>
                  <a:gd name="connsiteX10" fmla="*/ 1014412 w 1245394"/>
                  <a:gd name="connsiteY10" fmla="*/ 307181 h 545306"/>
                  <a:gd name="connsiteX11" fmla="*/ 978694 w 1245394"/>
                  <a:gd name="connsiteY11" fmla="*/ 273843 h 545306"/>
                  <a:gd name="connsiteX12" fmla="*/ 947737 w 1245394"/>
                  <a:gd name="connsiteY12" fmla="*/ 245268 h 545306"/>
                  <a:gd name="connsiteX13" fmla="*/ 885825 w 1245394"/>
                  <a:gd name="connsiteY13" fmla="*/ 219075 h 545306"/>
                  <a:gd name="connsiteX14" fmla="*/ 869156 w 1245394"/>
                  <a:gd name="connsiteY14" fmla="*/ 223837 h 545306"/>
                  <a:gd name="connsiteX15" fmla="*/ 859631 w 1245394"/>
                  <a:gd name="connsiteY15" fmla="*/ 240506 h 545306"/>
                  <a:gd name="connsiteX16" fmla="*/ 845344 w 1245394"/>
                  <a:gd name="connsiteY16" fmla="*/ 226218 h 545306"/>
                  <a:gd name="connsiteX17" fmla="*/ 828675 w 1245394"/>
                  <a:gd name="connsiteY17" fmla="*/ 204787 h 545306"/>
                  <a:gd name="connsiteX18" fmla="*/ 788194 w 1245394"/>
                  <a:gd name="connsiteY18" fmla="*/ 192881 h 545306"/>
                  <a:gd name="connsiteX19" fmla="*/ 707231 w 1245394"/>
                  <a:gd name="connsiteY19" fmla="*/ 164306 h 545306"/>
                  <a:gd name="connsiteX20" fmla="*/ 671512 w 1245394"/>
                  <a:gd name="connsiteY20" fmla="*/ 150018 h 545306"/>
                  <a:gd name="connsiteX21" fmla="*/ 614362 w 1245394"/>
                  <a:gd name="connsiteY21" fmla="*/ 171450 h 545306"/>
                  <a:gd name="connsiteX22" fmla="*/ 550069 w 1245394"/>
                  <a:gd name="connsiteY22" fmla="*/ 200025 h 545306"/>
                  <a:gd name="connsiteX23" fmla="*/ 483394 w 1245394"/>
                  <a:gd name="connsiteY23" fmla="*/ 235743 h 545306"/>
                  <a:gd name="connsiteX24" fmla="*/ 466725 w 1245394"/>
                  <a:gd name="connsiteY24" fmla="*/ 280987 h 545306"/>
                  <a:gd name="connsiteX25" fmla="*/ 445294 w 1245394"/>
                  <a:gd name="connsiteY25" fmla="*/ 314325 h 545306"/>
                  <a:gd name="connsiteX26" fmla="*/ 388144 w 1245394"/>
                  <a:gd name="connsiteY26" fmla="*/ 326231 h 545306"/>
                  <a:gd name="connsiteX27" fmla="*/ 364331 w 1245394"/>
                  <a:gd name="connsiteY27" fmla="*/ 369093 h 545306"/>
                  <a:gd name="connsiteX28" fmla="*/ 369094 w 1245394"/>
                  <a:gd name="connsiteY28" fmla="*/ 388143 h 545306"/>
                  <a:gd name="connsiteX29" fmla="*/ 342900 w 1245394"/>
                  <a:gd name="connsiteY29" fmla="*/ 411956 h 545306"/>
                  <a:gd name="connsiteX30" fmla="*/ 321469 w 1245394"/>
                  <a:gd name="connsiteY30" fmla="*/ 442912 h 545306"/>
                  <a:gd name="connsiteX31" fmla="*/ 311944 w 1245394"/>
                  <a:gd name="connsiteY31" fmla="*/ 478631 h 545306"/>
                  <a:gd name="connsiteX32" fmla="*/ 273844 w 1245394"/>
                  <a:gd name="connsiteY32" fmla="*/ 478631 h 545306"/>
                  <a:gd name="connsiteX33" fmla="*/ 235744 w 1245394"/>
                  <a:gd name="connsiteY33" fmla="*/ 502443 h 545306"/>
                  <a:gd name="connsiteX34" fmla="*/ 159544 w 1245394"/>
                  <a:gd name="connsiteY34" fmla="*/ 504825 h 545306"/>
                  <a:gd name="connsiteX35" fmla="*/ 126206 w 1245394"/>
                  <a:gd name="connsiteY35" fmla="*/ 521493 h 545306"/>
                  <a:gd name="connsiteX36" fmla="*/ 95250 w 1245394"/>
                  <a:gd name="connsiteY36" fmla="*/ 540543 h 545306"/>
                  <a:gd name="connsiteX37" fmla="*/ 64294 w 1245394"/>
                  <a:gd name="connsiteY37" fmla="*/ 542925 h 545306"/>
                  <a:gd name="connsiteX38" fmla="*/ 50006 w 1245394"/>
                  <a:gd name="connsiteY38" fmla="*/ 528637 h 545306"/>
                  <a:gd name="connsiteX39" fmla="*/ 28575 w 1245394"/>
                  <a:gd name="connsiteY39" fmla="*/ 545306 h 545306"/>
                  <a:gd name="connsiteX40" fmla="*/ 0 w 1245394"/>
                  <a:gd name="connsiteY40" fmla="*/ 545306 h 545306"/>
                  <a:gd name="connsiteX41" fmla="*/ 2381 w 1245394"/>
                  <a:gd name="connsiteY41" fmla="*/ 471487 h 545306"/>
                  <a:gd name="connsiteX42" fmla="*/ 35719 w 1245394"/>
                  <a:gd name="connsiteY42" fmla="*/ 454818 h 545306"/>
                  <a:gd name="connsiteX43" fmla="*/ 100012 w 1245394"/>
                  <a:gd name="connsiteY43" fmla="*/ 381000 h 545306"/>
                  <a:gd name="connsiteX44" fmla="*/ 130969 w 1245394"/>
                  <a:gd name="connsiteY44" fmla="*/ 340518 h 545306"/>
                  <a:gd name="connsiteX45" fmla="*/ 154781 w 1245394"/>
                  <a:gd name="connsiteY45" fmla="*/ 307181 h 545306"/>
                  <a:gd name="connsiteX46" fmla="*/ 219075 w 1245394"/>
                  <a:gd name="connsiteY46" fmla="*/ 338137 h 545306"/>
                  <a:gd name="connsiteX47" fmla="*/ 261937 w 1245394"/>
                  <a:gd name="connsiteY47" fmla="*/ 335756 h 545306"/>
                  <a:gd name="connsiteX48" fmla="*/ 283369 w 1245394"/>
                  <a:gd name="connsiteY48" fmla="*/ 302418 h 545306"/>
                  <a:gd name="connsiteX49" fmla="*/ 314325 w 1245394"/>
                  <a:gd name="connsiteY49" fmla="*/ 319087 h 545306"/>
                  <a:gd name="connsiteX50" fmla="*/ 316706 w 1245394"/>
                  <a:gd name="connsiteY50" fmla="*/ 273843 h 545306"/>
                  <a:gd name="connsiteX51" fmla="*/ 328612 w 1245394"/>
                  <a:gd name="connsiteY51" fmla="*/ 178593 h 545306"/>
                  <a:gd name="connsiteX52" fmla="*/ 354806 w 1245394"/>
                  <a:gd name="connsiteY52" fmla="*/ 157162 h 545306"/>
                  <a:gd name="connsiteX53" fmla="*/ 392906 w 1245394"/>
                  <a:gd name="connsiteY53" fmla="*/ 104775 h 545306"/>
                  <a:gd name="connsiteX54" fmla="*/ 402431 w 1245394"/>
                  <a:gd name="connsiteY54" fmla="*/ 71437 h 545306"/>
                  <a:gd name="connsiteX55" fmla="*/ 459581 w 1245394"/>
                  <a:gd name="connsiteY55" fmla="*/ 107156 h 545306"/>
                  <a:gd name="connsiteX56" fmla="*/ 528637 w 1245394"/>
                  <a:gd name="connsiteY56" fmla="*/ 88106 h 545306"/>
                  <a:gd name="connsiteX57" fmla="*/ 557212 w 1245394"/>
                  <a:gd name="connsiteY57" fmla="*/ 107156 h 545306"/>
                  <a:gd name="connsiteX58" fmla="*/ 590550 w 1245394"/>
                  <a:gd name="connsiteY58" fmla="*/ 45243 h 545306"/>
                  <a:gd name="connsiteX59" fmla="*/ 652462 w 1245394"/>
                  <a:gd name="connsiteY59" fmla="*/ 54768 h 545306"/>
                  <a:gd name="connsiteX60" fmla="*/ 676275 w 1245394"/>
                  <a:gd name="connsiteY60" fmla="*/ 102393 h 545306"/>
                  <a:gd name="connsiteX61" fmla="*/ 704850 w 1245394"/>
                  <a:gd name="connsiteY61" fmla="*/ 71437 h 545306"/>
                  <a:gd name="connsiteX62" fmla="*/ 742950 w 1245394"/>
                  <a:gd name="connsiteY62" fmla="*/ 80962 h 545306"/>
                  <a:gd name="connsiteX63" fmla="*/ 742950 w 1245394"/>
                  <a:gd name="connsiteY63" fmla="*/ 42862 h 545306"/>
                  <a:gd name="connsiteX64" fmla="*/ 776287 w 1245394"/>
                  <a:gd name="connsiteY64" fmla="*/ 0 h 545306"/>
                  <a:gd name="connsiteX65" fmla="*/ 814387 w 1245394"/>
                  <a:gd name="connsiteY65" fmla="*/ 42862 h 545306"/>
                  <a:gd name="connsiteX66" fmla="*/ 852487 w 1245394"/>
                  <a:gd name="connsiteY66" fmla="*/ 61912 h 545306"/>
                  <a:gd name="connsiteX67" fmla="*/ 859631 w 1245394"/>
                  <a:gd name="connsiteY67" fmla="*/ 78581 h 545306"/>
                  <a:gd name="connsiteX68" fmla="*/ 883444 w 1245394"/>
                  <a:gd name="connsiteY68" fmla="*/ 42862 h 545306"/>
                  <a:gd name="connsiteX69" fmla="*/ 928687 w 1245394"/>
                  <a:gd name="connsiteY69" fmla="*/ 76200 h 545306"/>
                  <a:gd name="connsiteX70" fmla="*/ 983456 w 1245394"/>
                  <a:gd name="connsiteY70" fmla="*/ 69056 h 545306"/>
                  <a:gd name="connsiteX71" fmla="*/ 1000125 w 1245394"/>
                  <a:gd name="connsiteY71" fmla="*/ 80962 h 545306"/>
                  <a:gd name="connsiteX72" fmla="*/ 1021556 w 1245394"/>
                  <a:gd name="connsiteY72" fmla="*/ 104775 h 545306"/>
                  <a:gd name="connsiteX73" fmla="*/ 1002506 w 1245394"/>
                  <a:gd name="connsiteY73" fmla="*/ 178593 h 545306"/>
                  <a:gd name="connsiteX74" fmla="*/ 1042987 w 1245394"/>
                  <a:gd name="connsiteY74" fmla="*/ 180975 h 545306"/>
                  <a:gd name="connsiteX75" fmla="*/ 1092994 w 1245394"/>
                  <a:gd name="connsiteY75" fmla="*/ 173831 h 545306"/>
                  <a:gd name="connsiteX76" fmla="*/ 1092994 w 1245394"/>
                  <a:gd name="connsiteY76" fmla="*/ 207168 h 545306"/>
                  <a:gd name="connsiteX77" fmla="*/ 1114425 w 1245394"/>
                  <a:gd name="connsiteY77" fmla="*/ 230981 h 545306"/>
                  <a:gd name="connsiteX78" fmla="*/ 1150144 w 1245394"/>
                  <a:gd name="connsiteY78" fmla="*/ 276225 h 545306"/>
                  <a:gd name="connsiteX79" fmla="*/ 1171575 w 1245394"/>
                  <a:gd name="connsiteY79" fmla="*/ 285750 h 545306"/>
                  <a:gd name="connsiteX80" fmla="*/ 1176337 w 1245394"/>
                  <a:gd name="connsiteY80" fmla="*/ 335756 h 545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1245394" h="545306">
                    <a:moveTo>
                      <a:pt x="1176337" y="335756"/>
                    </a:moveTo>
                    <a:lnTo>
                      <a:pt x="1228725" y="335756"/>
                    </a:lnTo>
                    <a:lnTo>
                      <a:pt x="1245394" y="378618"/>
                    </a:lnTo>
                    <a:lnTo>
                      <a:pt x="1204912" y="381000"/>
                    </a:lnTo>
                    <a:lnTo>
                      <a:pt x="1190625" y="409575"/>
                    </a:lnTo>
                    <a:lnTo>
                      <a:pt x="1176337" y="390525"/>
                    </a:lnTo>
                    <a:lnTo>
                      <a:pt x="1162050" y="407193"/>
                    </a:lnTo>
                    <a:lnTo>
                      <a:pt x="1173956" y="438150"/>
                    </a:lnTo>
                    <a:lnTo>
                      <a:pt x="1173956" y="438150"/>
                    </a:lnTo>
                    <a:lnTo>
                      <a:pt x="1073944" y="352425"/>
                    </a:lnTo>
                    <a:lnTo>
                      <a:pt x="1014412" y="307181"/>
                    </a:lnTo>
                    <a:lnTo>
                      <a:pt x="978694" y="273843"/>
                    </a:lnTo>
                    <a:lnTo>
                      <a:pt x="947737" y="245268"/>
                    </a:lnTo>
                    <a:lnTo>
                      <a:pt x="885825" y="219075"/>
                    </a:lnTo>
                    <a:lnTo>
                      <a:pt x="869156" y="223837"/>
                    </a:lnTo>
                    <a:lnTo>
                      <a:pt x="859631" y="240506"/>
                    </a:lnTo>
                    <a:lnTo>
                      <a:pt x="845344" y="226218"/>
                    </a:lnTo>
                    <a:lnTo>
                      <a:pt x="828675" y="204787"/>
                    </a:lnTo>
                    <a:lnTo>
                      <a:pt x="788194" y="192881"/>
                    </a:lnTo>
                    <a:lnTo>
                      <a:pt x="707231" y="164306"/>
                    </a:lnTo>
                    <a:lnTo>
                      <a:pt x="671512" y="150018"/>
                    </a:lnTo>
                    <a:lnTo>
                      <a:pt x="614362" y="171450"/>
                    </a:lnTo>
                    <a:lnTo>
                      <a:pt x="550069" y="200025"/>
                    </a:lnTo>
                    <a:lnTo>
                      <a:pt x="483394" y="235743"/>
                    </a:lnTo>
                    <a:lnTo>
                      <a:pt x="466725" y="280987"/>
                    </a:lnTo>
                    <a:lnTo>
                      <a:pt x="445294" y="314325"/>
                    </a:lnTo>
                    <a:lnTo>
                      <a:pt x="388144" y="326231"/>
                    </a:lnTo>
                    <a:lnTo>
                      <a:pt x="364331" y="369093"/>
                    </a:lnTo>
                    <a:lnTo>
                      <a:pt x="369094" y="388143"/>
                    </a:lnTo>
                    <a:lnTo>
                      <a:pt x="342900" y="411956"/>
                    </a:lnTo>
                    <a:lnTo>
                      <a:pt x="321469" y="442912"/>
                    </a:lnTo>
                    <a:lnTo>
                      <a:pt x="311944" y="478631"/>
                    </a:lnTo>
                    <a:lnTo>
                      <a:pt x="273844" y="478631"/>
                    </a:lnTo>
                    <a:lnTo>
                      <a:pt x="235744" y="502443"/>
                    </a:lnTo>
                    <a:lnTo>
                      <a:pt x="159544" y="504825"/>
                    </a:lnTo>
                    <a:lnTo>
                      <a:pt x="126206" y="521493"/>
                    </a:lnTo>
                    <a:lnTo>
                      <a:pt x="95250" y="540543"/>
                    </a:lnTo>
                    <a:lnTo>
                      <a:pt x="64294" y="542925"/>
                    </a:lnTo>
                    <a:lnTo>
                      <a:pt x="50006" y="528637"/>
                    </a:lnTo>
                    <a:lnTo>
                      <a:pt x="28575" y="545306"/>
                    </a:lnTo>
                    <a:lnTo>
                      <a:pt x="0" y="545306"/>
                    </a:lnTo>
                    <a:cubicBezTo>
                      <a:pt x="794" y="520700"/>
                      <a:pt x="1587" y="496093"/>
                      <a:pt x="2381" y="471487"/>
                    </a:cubicBezTo>
                    <a:lnTo>
                      <a:pt x="35719" y="454818"/>
                    </a:lnTo>
                    <a:lnTo>
                      <a:pt x="100012" y="381000"/>
                    </a:lnTo>
                    <a:lnTo>
                      <a:pt x="130969" y="340518"/>
                    </a:lnTo>
                    <a:lnTo>
                      <a:pt x="154781" y="307181"/>
                    </a:lnTo>
                    <a:lnTo>
                      <a:pt x="219075" y="338137"/>
                    </a:lnTo>
                    <a:lnTo>
                      <a:pt x="261937" y="335756"/>
                    </a:lnTo>
                    <a:lnTo>
                      <a:pt x="283369" y="302418"/>
                    </a:lnTo>
                    <a:lnTo>
                      <a:pt x="314325" y="319087"/>
                    </a:lnTo>
                    <a:lnTo>
                      <a:pt x="316706" y="273843"/>
                    </a:lnTo>
                    <a:lnTo>
                      <a:pt x="328612" y="178593"/>
                    </a:lnTo>
                    <a:lnTo>
                      <a:pt x="354806" y="157162"/>
                    </a:lnTo>
                    <a:lnTo>
                      <a:pt x="392906" y="104775"/>
                    </a:lnTo>
                    <a:lnTo>
                      <a:pt x="402431" y="71437"/>
                    </a:lnTo>
                    <a:lnTo>
                      <a:pt x="459581" y="107156"/>
                    </a:lnTo>
                    <a:lnTo>
                      <a:pt x="528637" y="88106"/>
                    </a:lnTo>
                    <a:lnTo>
                      <a:pt x="557212" y="107156"/>
                    </a:lnTo>
                    <a:lnTo>
                      <a:pt x="590550" y="45243"/>
                    </a:lnTo>
                    <a:lnTo>
                      <a:pt x="652462" y="54768"/>
                    </a:lnTo>
                    <a:lnTo>
                      <a:pt x="676275" y="102393"/>
                    </a:lnTo>
                    <a:lnTo>
                      <a:pt x="704850" y="71437"/>
                    </a:lnTo>
                    <a:lnTo>
                      <a:pt x="742950" y="80962"/>
                    </a:lnTo>
                    <a:lnTo>
                      <a:pt x="742950" y="42862"/>
                    </a:lnTo>
                    <a:lnTo>
                      <a:pt x="776287" y="0"/>
                    </a:lnTo>
                    <a:lnTo>
                      <a:pt x="814387" y="42862"/>
                    </a:lnTo>
                    <a:lnTo>
                      <a:pt x="852487" y="61912"/>
                    </a:lnTo>
                    <a:lnTo>
                      <a:pt x="859631" y="78581"/>
                    </a:lnTo>
                    <a:lnTo>
                      <a:pt x="883444" y="42862"/>
                    </a:lnTo>
                    <a:lnTo>
                      <a:pt x="928687" y="76200"/>
                    </a:lnTo>
                    <a:lnTo>
                      <a:pt x="983456" y="69056"/>
                    </a:lnTo>
                    <a:lnTo>
                      <a:pt x="1000125" y="80962"/>
                    </a:lnTo>
                    <a:lnTo>
                      <a:pt x="1021556" y="104775"/>
                    </a:lnTo>
                    <a:lnTo>
                      <a:pt x="1002506" y="178593"/>
                    </a:lnTo>
                    <a:lnTo>
                      <a:pt x="1042987" y="180975"/>
                    </a:lnTo>
                    <a:lnTo>
                      <a:pt x="1092994" y="173831"/>
                    </a:lnTo>
                    <a:lnTo>
                      <a:pt x="1092994" y="207168"/>
                    </a:lnTo>
                    <a:lnTo>
                      <a:pt x="1114425" y="230981"/>
                    </a:lnTo>
                    <a:lnTo>
                      <a:pt x="1150144" y="276225"/>
                    </a:lnTo>
                    <a:lnTo>
                      <a:pt x="1171575" y="285750"/>
                    </a:lnTo>
                    <a:lnTo>
                      <a:pt x="1176337" y="3357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7" name="Figura a mano libera 186"/>
              <p:cNvSpPr/>
              <p:nvPr/>
            </p:nvSpPr>
            <p:spPr bwMode="auto">
              <a:xfrm>
                <a:off x="2628050" y="2259997"/>
                <a:ext cx="1327212" cy="708375"/>
              </a:xfrm>
              <a:custGeom>
                <a:avLst/>
                <a:gdLst>
                  <a:gd name="connsiteX0" fmla="*/ 11906 w 1774031"/>
                  <a:gd name="connsiteY0" fmla="*/ 311944 h 947738"/>
                  <a:gd name="connsiteX1" fmla="*/ 0 w 1774031"/>
                  <a:gd name="connsiteY1" fmla="*/ 292894 h 947738"/>
                  <a:gd name="connsiteX2" fmla="*/ 16669 w 1774031"/>
                  <a:gd name="connsiteY2" fmla="*/ 264319 h 947738"/>
                  <a:gd name="connsiteX3" fmla="*/ 52388 w 1774031"/>
                  <a:gd name="connsiteY3" fmla="*/ 266700 h 947738"/>
                  <a:gd name="connsiteX4" fmla="*/ 52388 w 1774031"/>
                  <a:gd name="connsiteY4" fmla="*/ 266700 h 947738"/>
                  <a:gd name="connsiteX5" fmla="*/ 83344 w 1774031"/>
                  <a:gd name="connsiteY5" fmla="*/ 242888 h 947738"/>
                  <a:gd name="connsiteX6" fmla="*/ 54769 w 1774031"/>
                  <a:gd name="connsiteY6" fmla="*/ 211932 h 947738"/>
                  <a:gd name="connsiteX7" fmla="*/ 85725 w 1774031"/>
                  <a:gd name="connsiteY7" fmla="*/ 180975 h 947738"/>
                  <a:gd name="connsiteX8" fmla="*/ 95250 w 1774031"/>
                  <a:gd name="connsiteY8" fmla="*/ 142875 h 947738"/>
                  <a:gd name="connsiteX9" fmla="*/ 64294 w 1774031"/>
                  <a:gd name="connsiteY9" fmla="*/ 135732 h 947738"/>
                  <a:gd name="connsiteX10" fmla="*/ 76200 w 1774031"/>
                  <a:gd name="connsiteY10" fmla="*/ 90488 h 947738"/>
                  <a:gd name="connsiteX11" fmla="*/ 121444 w 1774031"/>
                  <a:gd name="connsiteY11" fmla="*/ 33338 h 947738"/>
                  <a:gd name="connsiteX12" fmla="*/ 133350 w 1774031"/>
                  <a:gd name="connsiteY12" fmla="*/ 16669 h 947738"/>
                  <a:gd name="connsiteX13" fmla="*/ 145256 w 1774031"/>
                  <a:gd name="connsiteY13" fmla="*/ 4763 h 947738"/>
                  <a:gd name="connsiteX14" fmla="*/ 178594 w 1774031"/>
                  <a:gd name="connsiteY14" fmla="*/ 2382 h 947738"/>
                  <a:gd name="connsiteX15" fmla="*/ 180975 w 1774031"/>
                  <a:gd name="connsiteY15" fmla="*/ 21432 h 947738"/>
                  <a:gd name="connsiteX16" fmla="*/ 204788 w 1774031"/>
                  <a:gd name="connsiteY16" fmla="*/ 33338 h 947738"/>
                  <a:gd name="connsiteX17" fmla="*/ 235744 w 1774031"/>
                  <a:gd name="connsiteY17" fmla="*/ 33338 h 947738"/>
                  <a:gd name="connsiteX18" fmla="*/ 271463 w 1774031"/>
                  <a:gd name="connsiteY18" fmla="*/ 23813 h 947738"/>
                  <a:gd name="connsiteX19" fmla="*/ 295275 w 1774031"/>
                  <a:gd name="connsiteY19" fmla="*/ 11907 h 947738"/>
                  <a:gd name="connsiteX20" fmla="*/ 297656 w 1774031"/>
                  <a:gd name="connsiteY20" fmla="*/ 23813 h 947738"/>
                  <a:gd name="connsiteX21" fmla="*/ 328613 w 1774031"/>
                  <a:gd name="connsiteY21" fmla="*/ 23813 h 947738"/>
                  <a:gd name="connsiteX22" fmla="*/ 328613 w 1774031"/>
                  <a:gd name="connsiteY22" fmla="*/ 23813 h 947738"/>
                  <a:gd name="connsiteX23" fmla="*/ 371475 w 1774031"/>
                  <a:gd name="connsiteY23" fmla="*/ 0 h 947738"/>
                  <a:gd name="connsiteX24" fmla="*/ 376238 w 1774031"/>
                  <a:gd name="connsiteY24" fmla="*/ 28575 h 947738"/>
                  <a:gd name="connsiteX25" fmla="*/ 411956 w 1774031"/>
                  <a:gd name="connsiteY25" fmla="*/ 2382 h 947738"/>
                  <a:gd name="connsiteX26" fmla="*/ 440531 w 1774031"/>
                  <a:gd name="connsiteY26" fmla="*/ 23813 h 947738"/>
                  <a:gd name="connsiteX27" fmla="*/ 445294 w 1774031"/>
                  <a:gd name="connsiteY27" fmla="*/ 50007 h 947738"/>
                  <a:gd name="connsiteX28" fmla="*/ 466725 w 1774031"/>
                  <a:gd name="connsiteY28" fmla="*/ 66675 h 947738"/>
                  <a:gd name="connsiteX29" fmla="*/ 514350 w 1774031"/>
                  <a:gd name="connsiteY29" fmla="*/ 59532 h 947738"/>
                  <a:gd name="connsiteX30" fmla="*/ 514350 w 1774031"/>
                  <a:gd name="connsiteY30" fmla="*/ 83344 h 947738"/>
                  <a:gd name="connsiteX31" fmla="*/ 545306 w 1774031"/>
                  <a:gd name="connsiteY31" fmla="*/ 85725 h 947738"/>
                  <a:gd name="connsiteX32" fmla="*/ 564356 w 1774031"/>
                  <a:gd name="connsiteY32" fmla="*/ 102394 h 947738"/>
                  <a:gd name="connsiteX33" fmla="*/ 583406 w 1774031"/>
                  <a:gd name="connsiteY33" fmla="*/ 111919 h 947738"/>
                  <a:gd name="connsiteX34" fmla="*/ 602456 w 1774031"/>
                  <a:gd name="connsiteY34" fmla="*/ 119063 h 947738"/>
                  <a:gd name="connsiteX35" fmla="*/ 647700 w 1774031"/>
                  <a:gd name="connsiteY35" fmla="*/ 142875 h 947738"/>
                  <a:gd name="connsiteX36" fmla="*/ 700088 w 1774031"/>
                  <a:gd name="connsiteY36" fmla="*/ 164307 h 947738"/>
                  <a:gd name="connsiteX37" fmla="*/ 750094 w 1774031"/>
                  <a:gd name="connsiteY37" fmla="*/ 121444 h 947738"/>
                  <a:gd name="connsiteX38" fmla="*/ 766763 w 1774031"/>
                  <a:gd name="connsiteY38" fmla="*/ 109538 h 947738"/>
                  <a:gd name="connsiteX39" fmla="*/ 785813 w 1774031"/>
                  <a:gd name="connsiteY39" fmla="*/ 135732 h 947738"/>
                  <a:gd name="connsiteX40" fmla="*/ 807244 w 1774031"/>
                  <a:gd name="connsiteY40" fmla="*/ 152400 h 947738"/>
                  <a:gd name="connsiteX41" fmla="*/ 873919 w 1774031"/>
                  <a:gd name="connsiteY41" fmla="*/ 157163 h 947738"/>
                  <a:gd name="connsiteX42" fmla="*/ 907256 w 1774031"/>
                  <a:gd name="connsiteY42" fmla="*/ 135732 h 947738"/>
                  <a:gd name="connsiteX43" fmla="*/ 969169 w 1774031"/>
                  <a:gd name="connsiteY43" fmla="*/ 138113 h 947738"/>
                  <a:gd name="connsiteX44" fmla="*/ 992981 w 1774031"/>
                  <a:gd name="connsiteY44" fmla="*/ 145257 h 947738"/>
                  <a:gd name="connsiteX45" fmla="*/ 1023938 w 1774031"/>
                  <a:gd name="connsiteY45" fmla="*/ 147638 h 947738"/>
                  <a:gd name="connsiteX46" fmla="*/ 1066800 w 1774031"/>
                  <a:gd name="connsiteY46" fmla="*/ 133350 h 947738"/>
                  <a:gd name="connsiteX47" fmla="*/ 1131094 w 1774031"/>
                  <a:gd name="connsiteY47" fmla="*/ 142875 h 947738"/>
                  <a:gd name="connsiteX48" fmla="*/ 1176338 w 1774031"/>
                  <a:gd name="connsiteY48" fmla="*/ 161925 h 947738"/>
                  <a:gd name="connsiteX49" fmla="*/ 1200150 w 1774031"/>
                  <a:gd name="connsiteY49" fmla="*/ 192882 h 947738"/>
                  <a:gd name="connsiteX50" fmla="*/ 1264444 w 1774031"/>
                  <a:gd name="connsiteY50" fmla="*/ 157163 h 947738"/>
                  <a:gd name="connsiteX51" fmla="*/ 1314450 w 1774031"/>
                  <a:gd name="connsiteY51" fmla="*/ 130969 h 947738"/>
                  <a:gd name="connsiteX52" fmla="*/ 1354931 w 1774031"/>
                  <a:gd name="connsiteY52" fmla="*/ 138113 h 947738"/>
                  <a:gd name="connsiteX53" fmla="*/ 1409700 w 1774031"/>
                  <a:gd name="connsiteY53" fmla="*/ 138113 h 947738"/>
                  <a:gd name="connsiteX54" fmla="*/ 1438275 w 1774031"/>
                  <a:gd name="connsiteY54" fmla="*/ 157163 h 947738"/>
                  <a:gd name="connsiteX55" fmla="*/ 1495425 w 1774031"/>
                  <a:gd name="connsiteY55" fmla="*/ 183357 h 947738"/>
                  <a:gd name="connsiteX56" fmla="*/ 1524000 w 1774031"/>
                  <a:gd name="connsiteY56" fmla="*/ 157163 h 947738"/>
                  <a:gd name="connsiteX57" fmla="*/ 1540669 w 1774031"/>
                  <a:gd name="connsiteY57" fmla="*/ 226219 h 947738"/>
                  <a:gd name="connsiteX58" fmla="*/ 1512094 w 1774031"/>
                  <a:gd name="connsiteY58" fmla="*/ 247650 h 947738"/>
                  <a:gd name="connsiteX59" fmla="*/ 1500188 w 1774031"/>
                  <a:gd name="connsiteY59" fmla="*/ 288132 h 947738"/>
                  <a:gd name="connsiteX60" fmla="*/ 1512094 w 1774031"/>
                  <a:gd name="connsiteY60" fmla="*/ 364332 h 947738"/>
                  <a:gd name="connsiteX61" fmla="*/ 1524000 w 1774031"/>
                  <a:gd name="connsiteY61" fmla="*/ 452438 h 947738"/>
                  <a:gd name="connsiteX62" fmla="*/ 1526381 w 1774031"/>
                  <a:gd name="connsiteY62" fmla="*/ 490538 h 947738"/>
                  <a:gd name="connsiteX63" fmla="*/ 1552575 w 1774031"/>
                  <a:gd name="connsiteY63" fmla="*/ 559594 h 947738"/>
                  <a:gd name="connsiteX64" fmla="*/ 1559719 w 1774031"/>
                  <a:gd name="connsiteY64" fmla="*/ 607219 h 947738"/>
                  <a:gd name="connsiteX65" fmla="*/ 1574006 w 1774031"/>
                  <a:gd name="connsiteY65" fmla="*/ 664369 h 947738"/>
                  <a:gd name="connsiteX66" fmla="*/ 1638300 w 1774031"/>
                  <a:gd name="connsiteY66" fmla="*/ 723900 h 947738"/>
                  <a:gd name="connsiteX67" fmla="*/ 1674019 w 1774031"/>
                  <a:gd name="connsiteY67" fmla="*/ 759619 h 947738"/>
                  <a:gd name="connsiteX68" fmla="*/ 1712119 w 1774031"/>
                  <a:gd name="connsiteY68" fmla="*/ 788194 h 947738"/>
                  <a:gd name="connsiteX69" fmla="*/ 1750219 w 1774031"/>
                  <a:gd name="connsiteY69" fmla="*/ 804863 h 947738"/>
                  <a:gd name="connsiteX70" fmla="*/ 1774031 w 1774031"/>
                  <a:gd name="connsiteY70" fmla="*/ 812007 h 947738"/>
                  <a:gd name="connsiteX71" fmla="*/ 1747838 w 1774031"/>
                  <a:gd name="connsiteY71" fmla="*/ 869157 h 947738"/>
                  <a:gd name="connsiteX72" fmla="*/ 1716881 w 1774031"/>
                  <a:gd name="connsiteY72" fmla="*/ 876300 h 947738"/>
                  <a:gd name="connsiteX73" fmla="*/ 1690688 w 1774031"/>
                  <a:gd name="connsiteY73" fmla="*/ 904875 h 947738"/>
                  <a:gd name="connsiteX74" fmla="*/ 1654969 w 1774031"/>
                  <a:gd name="connsiteY74" fmla="*/ 873919 h 947738"/>
                  <a:gd name="connsiteX75" fmla="*/ 1621631 w 1774031"/>
                  <a:gd name="connsiteY75" fmla="*/ 831057 h 947738"/>
                  <a:gd name="connsiteX76" fmla="*/ 1595438 w 1774031"/>
                  <a:gd name="connsiteY76" fmla="*/ 850107 h 947738"/>
                  <a:gd name="connsiteX77" fmla="*/ 1576388 w 1774031"/>
                  <a:gd name="connsiteY77" fmla="*/ 809625 h 947738"/>
                  <a:gd name="connsiteX78" fmla="*/ 1502569 w 1774031"/>
                  <a:gd name="connsiteY78" fmla="*/ 835819 h 947738"/>
                  <a:gd name="connsiteX79" fmla="*/ 1466850 w 1774031"/>
                  <a:gd name="connsiteY79" fmla="*/ 838200 h 947738"/>
                  <a:gd name="connsiteX80" fmla="*/ 1452563 w 1774031"/>
                  <a:gd name="connsiteY80" fmla="*/ 838200 h 947738"/>
                  <a:gd name="connsiteX81" fmla="*/ 1407319 w 1774031"/>
                  <a:gd name="connsiteY81" fmla="*/ 947738 h 947738"/>
                  <a:gd name="connsiteX82" fmla="*/ 1338263 w 1774031"/>
                  <a:gd name="connsiteY82" fmla="*/ 909638 h 947738"/>
                  <a:gd name="connsiteX83" fmla="*/ 1231106 w 1774031"/>
                  <a:gd name="connsiteY83" fmla="*/ 871538 h 947738"/>
                  <a:gd name="connsiteX84" fmla="*/ 1233488 w 1774031"/>
                  <a:gd name="connsiteY84" fmla="*/ 821532 h 947738"/>
                  <a:gd name="connsiteX85" fmla="*/ 1209675 w 1774031"/>
                  <a:gd name="connsiteY85" fmla="*/ 809625 h 947738"/>
                  <a:gd name="connsiteX86" fmla="*/ 1262063 w 1774031"/>
                  <a:gd name="connsiteY86" fmla="*/ 695325 h 947738"/>
                  <a:gd name="connsiteX87" fmla="*/ 1183481 w 1774031"/>
                  <a:gd name="connsiteY87" fmla="*/ 711994 h 947738"/>
                  <a:gd name="connsiteX88" fmla="*/ 1185863 w 1774031"/>
                  <a:gd name="connsiteY88" fmla="*/ 669132 h 947738"/>
                  <a:gd name="connsiteX89" fmla="*/ 1131094 w 1774031"/>
                  <a:gd name="connsiteY89" fmla="*/ 669132 h 947738"/>
                  <a:gd name="connsiteX90" fmla="*/ 1095375 w 1774031"/>
                  <a:gd name="connsiteY90" fmla="*/ 626269 h 947738"/>
                  <a:gd name="connsiteX91" fmla="*/ 1078706 w 1774031"/>
                  <a:gd name="connsiteY91" fmla="*/ 619125 h 947738"/>
                  <a:gd name="connsiteX92" fmla="*/ 1050131 w 1774031"/>
                  <a:gd name="connsiteY92" fmla="*/ 645319 h 947738"/>
                  <a:gd name="connsiteX93" fmla="*/ 1009650 w 1774031"/>
                  <a:gd name="connsiteY93" fmla="*/ 669132 h 947738"/>
                  <a:gd name="connsiteX94" fmla="*/ 981075 w 1774031"/>
                  <a:gd name="connsiteY94" fmla="*/ 681038 h 947738"/>
                  <a:gd name="connsiteX95" fmla="*/ 1004888 w 1774031"/>
                  <a:gd name="connsiteY95" fmla="*/ 707232 h 947738"/>
                  <a:gd name="connsiteX96" fmla="*/ 985838 w 1774031"/>
                  <a:gd name="connsiteY96" fmla="*/ 702469 h 947738"/>
                  <a:gd name="connsiteX97" fmla="*/ 947738 w 1774031"/>
                  <a:gd name="connsiteY97" fmla="*/ 702469 h 947738"/>
                  <a:gd name="connsiteX98" fmla="*/ 947738 w 1774031"/>
                  <a:gd name="connsiteY98" fmla="*/ 702469 h 947738"/>
                  <a:gd name="connsiteX99" fmla="*/ 885825 w 1774031"/>
                  <a:gd name="connsiteY99" fmla="*/ 673894 h 947738"/>
                  <a:gd name="connsiteX100" fmla="*/ 847725 w 1774031"/>
                  <a:gd name="connsiteY100" fmla="*/ 728663 h 947738"/>
                  <a:gd name="connsiteX101" fmla="*/ 747713 w 1774031"/>
                  <a:gd name="connsiteY101" fmla="*/ 661988 h 947738"/>
                  <a:gd name="connsiteX102" fmla="*/ 704850 w 1774031"/>
                  <a:gd name="connsiteY102" fmla="*/ 657225 h 947738"/>
                  <a:gd name="connsiteX103" fmla="*/ 681038 w 1774031"/>
                  <a:gd name="connsiteY103" fmla="*/ 671513 h 947738"/>
                  <a:gd name="connsiteX104" fmla="*/ 647700 w 1774031"/>
                  <a:gd name="connsiteY104" fmla="*/ 633413 h 947738"/>
                  <a:gd name="connsiteX105" fmla="*/ 623888 w 1774031"/>
                  <a:gd name="connsiteY105" fmla="*/ 600075 h 947738"/>
                  <a:gd name="connsiteX106" fmla="*/ 573881 w 1774031"/>
                  <a:gd name="connsiteY106" fmla="*/ 566738 h 947738"/>
                  <a:gd name="connsiteX107" fmla="*/ 514350 w 1774031"/>
                  <a:gd name="connsiteY107" fmla="*/ 561975 h 947738"/>
                  <a:gd name="connsiteX108" fmla="*/ 431006 w 1774031"/>
                  <a:gd name="connsiteY108" fmla="*/ 521494 h 947738"/>
                  <a:gd name="connsiteX109" fmla="*/ 414338 w 1774031"/>
                  <a:gd name="connsiteY109" fmla="*/ 471488 h 947738"/>
                  <a:gd name="connsiteX110" fmla="*/ 404813 w 1774031"/>
                  <a:gd name="connsiteY110" fmla="*/ 423863 h 947738"/>
                  <a:gd name="connsiteX111" fmla="*/ 314325 w 1774031"/>
                  <a:gd name="connsiteY111" fmla="*/ 421482 h 947738"/>
                  <a:gd name="connsiteX112" fmla="*/ 292894 w 1774031"/>
                  <a:gd name="connsiteY112" fmla="*/ 461963 h 947738"/>
                  <a:gd name="connsiteX113" fmla="*/ 276225 w 1774031"/>
                  <a:gd name="connsiteY113" fmla="*/ 483394 h 947738"/>
                  <a:gd name="connsiteX114" fmla="*/ 233363 w 1774031"/>
                  <a:gd name="connsiteY114" fmla="*/ 495300 h 947738"/>
                  <a:gd name="connsiteX115" fmla="*/ 219075 w 1774031"/>
                  <a:gd name="connsiteY115" fmla="*/ 435769 h 947738"/>
                  <a:gd name="connsiteX116" fmla="*/ 133350 w 1774031"/>
                  <a:gd name="connsiteY116" fmla="*/ 454819 h 947738"/>
                  <a:gd name="connsiteX117" fmla="*/ 152400 w 1774031"/>
                  <a:gd name="connsiteY117" fmla="*/ 409575 h 947738"/>
                  <a:gd name="connsiteX118" fmla="*/ 164306 w 1774031"/>
                  <a:gd name="connsiteY118" fmla="*/ 369094 h 947738"/>
                  <a:gd name="connsiteX119" fmla="*/ 116681 w 1774031"/>
                  <a:gd name="connsiteY119" fmla="*/ 328613 h 947738"/>
                  <a:gd name="connsiteX120" fmla="*/ 64294 w 1774031"/>
                  <a:gd name="connsiteY120" fmla="*/ 340519 h 947738"/>
                  <a:gd name="connsiteX121" fmla="*/ 11906 w 1774031"/>
                  <a:gd name="connsiteY121" fmla="*/ 311944 h 94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1774031" h="947738">
                    <a:moveTo>
                      <a:pt x="11906" y="311944"/>
                    </a:moveTo>
                    <a:lnTo>
                      <a:pt x="0" y="292894"/>
                    </a:lnTo>
                    <a:lnTo>
                      <a:pt x="16669" y="264319"/>
                    </a:lnTo>
                    <a:lnTo>
                      <a:pt x="52388" y="266700"/>
                    </a:lnTo>
                    <a:lnTo>
                      <a:pt x="52388" y="266700"/>
                    </a:lnTo>
                    <a:lnTo>
                      <a:pt x="83344" y="242888"/>
                    </a:lnTo>
                    <a:lnTo>
                      <a:pt x="54769" y="211932"/>
                    </a:lnTo>
                    <a:lnTo>
                      <a:pt x="85725" y="180975"/>
                    </a:lnTo>
                    <a:lnTo>
                      <a:pt x="95250" y="142875"/>
                    </a:lnTo>
                    <a:lnTo>
                      <a:pt x="64294" y="135732"/>
                    </a:lnTo>
                    <a:lnTo>
                      <a:pt x="76200" y="90488"/>
                    </a:lnTo>
                    <a:lnTo>
                      <a:pt x="121444" y="33338"/>
                    </a:lnTo>
                    <a:lnTo>
                      <a:pt x="133350" y="16669"/>
                    </a:lnTo>
                    <a:lnTo>
                      <a:pt x="145256" y="4763"/>
                    </a:lnTo>
                    <a:lnTo>
                      <a:pt x="178594" y="2382"/>
                    </a:lnTo>
                    <a:lnTo>
                      <a:pt x="180975" y="21432"/>
                    </a:lnTo>
                    <a:lnTo>
                      <a:pt x="204788" y="33338"/>
                    </a:lnTo>
                    <a:lnTo>
                      <a:pt x="235744" y="33338"/>
                    </a:lnTo>
                    <a:lnTo>
                      <a:pt x="271463" y="23813"/>
                    </a:lnTo>
                    <a:lnTo>
                      <a:pt x="295275" y="11907"/>
                    </a:lnTo>
                    <a:lnTo>
                      <a:pt x="297656" y="23813"/>
                    </a:lnTo>
                    <a:lnTo>
                      <a:pt x="328613" y="23813"/>
                    </a:lnTo>
                    <a:lnTo>
                      <a:pt x="328613" y="23813"/>
                    </a:lnTo>
                    <a:lnTo>
                      <a:pt x="371475" y="0"/>
                    </a:lnTo>
                    <a:lnTo>
                      <a:pt x="376238" y="28575"/>
                    </a:lnTo>
                    <a:lnTo>
                      <a:pt x="411956" y="2382"/>
                    </a:lnTo>
                    <a:lnTo>
                      <a:pt x="440531" y="23813"/>
                    </a:lnTo>
                    <a:lnTo>
                      <a:pt x="445294" y="50007"/>
                    </a:lnTo>
                    <a:lnTo>
                      <a:pt x="466725" y="66675"/>
                    </a:lnTo>
                    <a:lnTo>
                      <a:pt x="514350" y="59532"/>
                    </a:lnTo>
                    <a:lnTo>
                      <a:pt x="514350" y="83344"/>
                    </a:lnTo>
                    <a:lnTo>
                      <a:pt x="545306" y="85725"/>
                    </a:lnTo>
                    <a:cubicBezTo>
                      <a:pt x="551656" y="91281"/>
                      <a:pt x="557403" y="97614"/>
                      <a:pt x="564356" y="102394"/>
                    </a:cubicBezTo>
                    <a:cubicBezTo>
                      <a:pt x="570206" y="106416"/>
                      <a:pt x="583406" y="111919"/>
                      <a:pt x="583406" y="111919"/>
                    </a:cubicBezTo>
                    <a:lnTo>
                      <a:pt x="602456" y="119063"/>
                    </a:lnTo>
                    <a:lnTo>
                      <a:pt x="647700" y="142875"/>
                    </a:lnTo>
                    <a:lnTo>
                      <a:pt x="700088" y="164307"/>
                    </a:lnTo>
                    <a:lnTo>
                      <a:pt x="750094" y="121444"/>
                    </a:lnTo>
                    <a:lnTo>
                      <a:pt x="766763" y="109538"/>
                    </a:lnTo>
                    <a:lnTo>
                      <a:pt x="785813" y="135732"/>
                    </a:lnTo>
                    <a:lnTo>
                      <a:pt x="807244" y="152400"/>
                    </a:lnTo>
                    <a:lnTo>
                      <a:pt x="873919" y="157163"/>
                    </a:lnTo>
                    <a:lnTo>
                      <a:pt x="907256" y="135732"/>
                    </a:lnTo>
                    <a:lnTo>
                      <a:pt x="969169" y="138113"/>
                    </a:lnTo>
                    <a:lnTo>
                      <a:pt x="992981" y="145257"/>
                    </a:lnTo>
                    <a:cubicBezTo>
                      <a:pt x="1017569" y="147989"/>
                      <a:pt x="1007225" y="147638"/>
                      <a:pt x="1023938" y="147638"/>
                    </a:cubicBezTo>
                    <a:lnTo>
                      <a:pt x="1066800" y="133350"/>
                    </a:lnTo>
                    <a:lnTo>
                      <a:pt x="1131094" y="142875"/>
                    </a:lnTo>
                    <a:lnTo>
                      <a:pt x="1176338" y="161925"/>
                    </a:lnTo>
                    <a:lnTo>
                      <a:pt x="1200150" y="192882"/>
                    </a:lnTo>
                    <a:lnTo>
                      <a:pt x="1264444" y="157163"/>
                    </a:lnTo>
                    <a:lnTo>
                      <a:pt x="1314450" y="130969"/>
                    </a:lnTo>
                    <a:lnTo>
                      <a:pt x="1354931" y="138113"/>
                    </a:lnTo>
                    <a:lnTo>
                      <a:pt x="1409700" y="138113"/>
                    </a:lnTo>
                    <a:lnTo>
                      <a:pt x="1438275" y="157163"/>
                    </a:lnTo>
                    <a:lnTo>
                      <a:pt x="1495425" y="183357"/>
                    </a:lnTo>
                    <a:lnTo>
                      <a:pt x="1524000" y="157163"/>
                    </a:lnTo>
                    <a:lnTo>
                      <a:pt x="1540669" y="226219"/>
                    </a:lnTo>
                    <a:lnTo>
                      <a:pt x="1512094" y="247650"/>
                    </a:lnTo>
                    <a:lnTo>
                      <a:pt x="1500188" y="288132"/>
                    </a:lnTo>
                    <a:lnTo>
                      <a:pt x="1512094" y="364332"/>
                    </a:lnTo>
                    <a:lnTo>
                      <a:pt x="1524000" y="452438"/>
                    </a:lnTo>
                    <a:lnTo>
                      <a:pt x="1526381" y="490538"/>
                    </a:lnTo>
                    <a:lnTo>
                      <a:pt x="1552575" y="559594"/>
                    </a:lnTo>
                    <a:lnTo>
                      <a:pt x="1559719" y="607219"/>
                    </a:lnTo>
                    <a:lnTo>
                      <a:pt x="1574006" y="664369"/>
                    </a:lnTo>
                    <a:lnTo>
                      <a:pt x="1638300" y="723900"/>
                    </a:lnTo>
                    <a:lnTo>
                      <a:pt x="1674019" y="759619"/>
                    </a:lnTo>
                    <a:lnTo>
                      <a:pt x="1712119" y="788194"/>
                    </a:lnTo>
                    <a:lnTo>
                      <a:pt x="1750219" y="804863"/>
                    </a:lnTo>
                    <a:lnTo>
                      <a:pt x="1774031" y="812007"/>
                    </a:lnTo>
                    <a:lnTo>
                      <a:pt x="1747838" y="869157"/>
                    </a:lnTo>
                    <a:lnTo>
                      <a:pt x="1716881" y="876300"/>
                    </a:lnTo>
                    <a:lnTo>
                      <a:pt x="1690688" y="904875"/>
                    </a:lnTo>
                    <a:lnTo>
                      <a:pt x="1654969" y="873919"/>
                    </a:lnTo>
                    <a:lnTo>
                      <a:pt x="1621631" y="831057"/>
                    </a:lnTo>
                    <a:lnTo>
                      <a:pt x="1595438" y="850107"/>
                    </a:lnTo>
                    <a:lnTo>
                      <a:pt x="1576388" y="809625"/>
                    </a:lnTo>
                    <a:lnTo>
                      <a:pt x="1502569" y="835819"/>
                    </a:lnTo>
                    <a:lnTo>
                      <a:pt x="1466850" y="838200"/>
                    </a:lnTo>
                    <a:lnTo>
                      <a:pt x="1452563" y="838200"/>
                    </a:lnTo>
                    <a:lnTo>
                      <a:pt x="1407319" y="947738"/>
                    </a:lnTo>
                    <a:lnTo>
                      <a:pt x="1338263" y="909638"/>
                    </a:lnTo>
                    <a:lnTo>
                      <a:pt x="1231106" y="871538"/>
                    </a:lnTo>
                    <a:lnTo>
                      <a:pt x="1233488" y="821532"/>
                    </a:lnTo>
                    <a:lnTo>
                      <a:pt x="1209675" y="809625"/>
                    </a:lnTo>
                    <a:lnTo>
                      <a:pt x="1262063" y="695325"/>
                    </a:lnTo>
                    <a:lnTo>
                      <a:pt x="1183481" y="711994"/>
                    </a:lnTo>
                    <a:lnTo>
                      <a:pt x="1185863" y="669132"/>
                    </a:lnTo>
                    <a:lnTo>
                      <a:pt x="1131094" y="669132"/>
                    </a:lnTo>
                    <a:lnTo>
                      <a:pt x="1095375" y="626269"/>
                    </a:lnTo>
                    <a:lnTo>
                      <a:pt x="1078706" y="619125"/>
                    </a:lnTo>
                    <a:lnTo>
                      <a:pt x="1050131" y="645319"/>
                    </a:lnTo>
                    <a:lnTo>
                      <a:pt x="1009650" y="669132"/>
                    </a:lnTo>
                    <a:lnTo>
                      <a:pt x="981075" y="681038"/>
                    </a:lnTo>
                    <a:lnTo>
                      <a:pt x="1004888" y="707232"/>
                    </a:lnTo>
                    <a:lnTo>
                      <a:pt x="985838" y="702469"/>
                    </a:lnTo>
                    <a:lnTo>
                      <a:pt x="947738" y="702469"/>
                    </a:lnTo>
                    <a:lnTo>
                      <a:pt x="947738" y="702469"/>
                    </a:lnTo>
                    <a:lnTo>
                      <a:pt x="885825" y="673894"/>
                    </a:lnTo>
                    <a:lnTo>
                      <a:pt x="847725" y="728663"/>
                    </a:lnTo>
                    <a:lnTo>
                      <a:pt x="747713" y="661988"/>
                    </a:lnTo>
                    <a:lnTo>
                      <a:pt x="704850" y="657225"/>
                    </a:lnTo>
                    <a:lnTo>
                      <a:pt x="681038" y="671513"/>
                    </a:lnTo>
                    <a:lnTo>
                      <a:pt x="647700" y="633413"/>
                    </a:lnTo>
                    <a:lnTo>
                      <a:pt x="623888" y="600075"/>
                    </a:lnTo>
                    <a:lnTo>
                      <a:pt x="573881" y="566738"/>
                    </a:lnTo>
                    <a:lnTo>
                      <a:pt x="514350" y="561975"/>
                    </a:lnTo>
                    <a:lnTo>
                      <a:pt x="431006" y="521494"/>
                    </a:lnTo>
                    <a:lnTo>
                      <a:pt x="414338" y="471488"/>
                    </a:lnTo>
                    <a:lnTo>
                      <a:pt x="404813" y="423863"/>
                    </a:lnTo>
                    <a:lnTo>
                      <a:pt x="314325" y="421482"/>
                    </a:lnTo>
                    <a:lnTo>
                      <a:pt x="292894" y="461963"/>
                    </a:lnTo>
                    <a:lnTo>
                      <a:pt x="276225" y="483394"/>
                    </a:lnTo>
                    <a:lnTo>
                      <a:pt x="233363" y="495300"/>
                    </a:lnTo>
                    <a:lnTo>
                      <a:pt x="219075" y="435769"/>
                    </a:lnTo>
                    <a:lnTo>
                      <a:pt x="133350" y="454819"/>
                    </a:lnTo>
                    <a:lnTo>
                      <a:pt x="152400" y="409575"/>
                    </a:lnTo>
                    <a:lnTo>
                      <a:pt x="164306" y="369094"/>
                    </a:lnTo>
                    <a:lnTo>
                      <a:pt x="116681" y="328613"/>
                    </a:lnTo>
                    <a:lnTo>
                      <a:pt x="64294" y="340519"/>
                    </a:lnTo>
                    <a:lnTo>
                      <a:pt x="11906" y="31194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8" name="Figura a mano libera 187"/>
              <p:cNvSpPr/>
              <p:nvPr/>
            </p:nvSpPr>
            <p:spPr bwMode="auto">
              <a:xfrm>
                <a:off x="1804600" y="1782613"/>
                <a:ext cx="406883" cy="250591"/>
              </a:xfrm>
              <a:custGeom>
                <a:avLst/>
                <a:gdLst>
                  <a:gd name="connsiteX0" fmla="*/ 121444 w 542925"/>
                  <a:gd name="connsiteY0" fmla="*/ 335756 h 335756"/>
                  <a:gd name="connsiteX1" fmla="*/ 135731 w 542925"/>
                  <a:gd name="connsiteY1" fmla="*/ 304800 h 335756"/>
                  <a:gd name="connsiteX2" fmla="*/ 195262 w 542925"/>
                  <a:gd name="connsiteY2" fmla="*/ 330994 h 335756"/>
                  <a:gd name="connsiteX3" fmla="*/ 242887 w 542925"/>
                  <a:gd name="connsiteY3" fmla="*/ 295275 h 335756"/>
                  <a:gd name="connsiteX4" fmla="*/ 335756 w 542925"/>
                  <a:gd name="connsiteY4" fmla="*/ 264319 h 335756"/>
                  <a:gd name="connsiteX5" fmla="*/ 404812 w 542925"/>
                  <a:gd name="connsiteY5" fmla="*/ 302419 h 335756"/>
                  <a:gd name="connsiteX6" fmla="*/ 483394 w 542925"/>
                  <a:gd name="connsiteY6" fmla="*/ 269081 h 335756"/>
                  <a:gd name="connsiteX7" fmla="*/ 521494 w 542925"/>
                  <a:gd name="connsiteY7" fmla="*/ 269081 h 335756"/>
                  <a:gd name="connsiteX8" fmla="*/ 535781 w 542925"/>
                  <a:gd name="connsiteY8" fmla="*/ 247650 h 335756"/>
                  <a:gd name="connsiteX9" fmla="*/ 526256 w 542925"/>
                  <a:gd name="connsiteY9" fmla="*/ 195263 h 335756"/>
                  <a:gd name="connsiteX10" fmla="*/ 542925 w 542925"/>
                  <a:gd name="connsiteY10" fmla="*/ 188119 h 335756"/>
                  <a:gd name="connsiteX11" fmla="*/ 511969 w 542925"/>
                  <a:gd name="connsiteY11" fmla="*/ 135731 h 335756"/>
                  <a:gd name="connsiteX12" fmla="*/ 519112 w 542925"/>
                  <a:gd name="connsiteY12" fmla="*/ 71438 h 335756"/>
                  <a:gd name="connsiteX13" fmla="*/ 521494 w 542925"/>
                  <a:gd name="connsiteY13" fmla="*/ 50006 h 335756"/>
                  <a:gd name="connsiteX14" fmla="*/ 500062 w 542925"/>
                  <a:gd name="connsiteY14" fmla="*/ 52388 h 335756"/>
                  <a:gd name="connsiteX15" fmla="*/ 452437 w 542925"/>
                  <a:gd name="connsiteY15" fmla="*/ 50006 h 335756"/>
                  <a:gd name="connsiteX16" fmla="*/ 445294 w 542925"/>
                  <a:gd name="connsiteY16" fmla="*/ 54769 h 335756"/>
                  <a:gd name="connsiteX17" fmla="*/ 426244 w 542925"/>
                  <a:gd name="connsiteY17" fmla="*/ 21431 h 335756"/>
                  <a:gd name="connsiteX18" fmla="*/ 404812 w 542925"/>
                  <a:gd name="connsiteY18" fmla="*/ 4763 h 335756"/>
                  <a:gd name="connsiteX19" fmla="*/ 364331 w 542925"/>
                  <a:gd name="connsiteY19" fmla="*/ 0 h 335756"/>
                  <a:gd name="connsiteX20" fmla="*/ 333375 w 542925"/>
                  <a:gd name="connsiteY20" fmla="*/ 30956 h 335756"/>
                  <a:gd name="connsiteX21" fmla="*/ 288131 w 542925"/>
                  <a:gd name="connsiteY21" fmla="*/ 42863 h 335756"/>
                  <a:gd name="connsiteX22" fmla="*/ 280987 w 542925"/>
                  <a:gd name="connsiteY22" fmla="*/ 64294 h 335756"/>
                  <a:gd name="connsiteX23" fmla="*/ 247650 w 542925"/>
                  <a:gd name="connsiteY23" fmla="*/ 30956 h 335756"/>
                  <a:gd name="connsiteX24" fmla="*/ 230981 w 542925"/>
                  <a:gd name="connsiteY24" fmla="*/ 54769 h 335756"/>
                  <a:gd name="connsiteX25" fmla="*/ 204787 w 542925"/>
                  <a:gd name="connsiteY25" fmla="*/ 76200 h 335756"/>
                  <a:gd name="connsiteX26" fmla="*/ 178594 w 542925"/>
                  <a:gd name="connsiteY26" fmla="*/ 78581 h 335756"/>
                  <a:gd name="connsiteX27" fmla="*/ 183356 w 542925"/>
                  <a:gd name="connsiteY27" fmla="*/ 54769 h 335756"/>
                  <a:gd name="connsiteX28" fmla="*/ 138112 w 542925"/>
                  <a:gd name="connsiteY28" fmla="*/ 64294 h 335756"/>
                  <a:gd name="connsiteX29" fmla="*/ 126206 w 542925"/>
                  <a:gd name="connsiteY29" fmla="*/ 88106 h 335756"/>
                  <a:gd name="connsiteX30" fmla="*/ 126206 w 542925"/>
                  <a:gd name="connsiteY30" fmla="*/ 52388 h 335756"/>
                  <a:gd name="connsiteX31" fmla="*/ 123825 w 542925"/>
                  <a:gd name="connsiteY31" fmla="*/ 28575 h 335756"/>
                  <a:gd name="connsiteX32" fmla="*/ 95250 w 542925"/>
                  <a:gd name="connsiteY32" fmla="*/ 45244 h 335756"/>
                  <a:gd name="connsiteX33" fmla="*/ 90487 w 542925"/>
                  <a:gd name="connsiteY33" fmla="*/ 64294 h 335756"/>
                  <a:gd name="connsiteX34" fmla="*/ 35719 w 542925"/>
                  <a:gd name="connsiteY34" fmla="*/ 69056 h 335756"/>
                  <a:gd name="connsiteX35" fmla="*/ 19050 w 542925"/>
                  <a:gd name="connsiteY35" fmla="*/ 83344 h 335756"/>
                  <a:gd name="connsiteX36" fmla="*/ 0 w 542925"/>
                  <a:gd name="connsiteY36" fmla="*/ 128588 h 335756"/>
                  <a:gd name="connsiteX37" fmla="*/ 16669 w 542925"/>
                  <a:gd name="connsiteY37" fmla="*/ 161925 h 335756"/>
                  <a:gd name="connsiteX38" fmla="*/ 50006 w 542925"/>
                  <a:gd name="connsiteY38" fmla="*/ 202406 h 335756"/>
                  <a:gd name="connsiteX39" fmla="*/ 76200 w 542925"/>
                  <a:gd name="connsiteY39" fmla="*/ 200025 h 335756"/>
                  <a:gd name="connsiteX40" fmla="*/ 88106 w 542925"/>
                  <a:gd name="connsiteY40" fmla="*/ 223838 h 335756"/>
                  <a:gd name="connsiteX41" fmla="*/ 69056 w 542925"/>
                  <a:gd name="connsiteY41" fmla="*/ 233363 h 335756"/>
                  <a:gd name="connsiteX42" fmla="*/ 52387 w 542925"/>
                  <a:gd name="connsiteY42" fmla="*/ 250031 h 335756"/>
                  <a:gd name="connsiteX43" fmla="*/ 121444 w 542925"/>
                  <a:gd name="connsiteY43" fmla="*/ 335756 h 335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42925" h="335756">
                    <a:moveTo>
                      <a:pt x="121444" y="335756"/>
                    </a:moveTo>
                    <a:lnTo>
                      <a:pt x="135731" y="304800"/>
                    </a:lnTo>
                    <a:lnTo>
                      <a:pt x="195262" y="330994"/>
                    </a:lnTo>
                    <a:lnTo>
                      <a:pt x="242887" y="295275"/>
                    </a:lnTo>
                    <a:lnTo>
                      <a:pt x="335756" y="264319"/>
                    </a:lnTo>
                    <a:lnTo>
                      <a:pt x="404812" y="302419"/>
                    </a:lnTo>
                    <a:lnTo>
                      <a:pt x="483394" y="269081"/>
                    </a:lnTo>
                    <a:lnTo>
                      <a:pt x="521494" y="269081"/>
                    </a:lnTo>
                    <a:lnTo>
                      <a:pt x="535781" y="247650"/>
                    </a:lnTo>
                    <a:lnTo>
                      <a:pt x="526256" y="195263"/>
                    </a:lnTo>
                    <a:lnTo>
                      <a:pt x="542925" y="188119"/>
                    </a:lnTo>
                    <a:lnTo>
                      <a:pt x="511969" y="135731"/>
                    </a:lnTo>
                    <a:lnTo>
                      <a:pt x="519112" y="71438"/>
                    </a:lnTo>
                    <a:lnTo>
                      <a:pt x="521494" y="50006"/>
                    </a:lnTo>
                    <a:lnTo>
                      <a:pt x="500062" y="52388"/>
                    </a:lnTo>
                    <a:lnTo>
                      <a:pt x="452437" y="50006"/>
                    </a:lnTo>
                    <a:lnTo>
                      <a:pt x="445294" y="54769"/>
                    </a:lnTo>
                    <a:lnTo>
                      <a:pt x="426244" y="21431"/>
                    </a:lnTo>
                    <a:lnTo>
                      <a:pt x="404812" y="4763"/>
                    </a:lnTo>
                    <a:lnTo>
                      <a:pt x="364331" y="0"/>
                    </a:lnTo>
                    <a:lnTo>
                      <a:pt x="333375" y="30956"/>
                    </a:lnTo>
                    <a:lnTo>
                      <a:pt x="288131" y="42863"/>
                    </a:lnTo>
                    <a:lnTo>
                      <a:pt x="280987" y="64294"/>
                    </a:lnTo>
                    <a:lnTo>
                      <a:pt x="247650" y="30956"/>
                    </a:lnTo>
                    <a:lnTo>
                      <a:pt x="230981" y="54769"/>
                    </a:lnTo>
                    <a:lnTo>
                      <a:pt x="204787" y="76200"/>
                    </a:lnTo>
                    <a:lnTo>
                      <a:pt x="178594" y="78581"/>
                    </a:lnTo>
                    <a:lnTo>
                      <a:pt x="183356" y="54769"/>
                    </a:lnTo>
                    <a:lnTo>
                      <a:pt x="138112" y="64294"/>
                    </a:lnTo>
                    <a:lnTo>
                      <a:pt x="126206" y="88106"/>
                    </a:lnTo>
                    <a:lnTo>
                      <a:pt x="126206" y="52388"/>
                    </a:lnTo>
                    <a:lnTo>
                      <a:pt x="123825" y="28575"/>
                    </a:lnTo>
                    <a:lnTo>
                      <a:pt x="95250" y="45244"/>
                    </a:lnTo>
                    <a:lnTo>
                      <a:pt x="90487" y="64294"/>
                    </a:lnTo>
                    <a:lnTo>
                      <a:pt x="35719" y="69056"/>
                    </a:lnTo>
                    <a:lnTo>
                      <a:pt x="19050" y="83344"/>
                    </a:lnTo>
                    <a:lnTo>
                      <a:pt x="0" y="128588"/>
                    </a:lnTo>
                    <a:lnTo>
                      <a:pt x="16669" y="161925"/>
                    </a:lnTo>
                    <a:lnTo>
                      <a:pt x="50006" y="202406"/>
                    </a:lnTo>
                    <a:lnTo>
                      <a:pt x="76200" y="200025"/>
                    </a:lnTo>
                    <a:lnTo>
                      <a:pt x="88106" y="223838"/>
                    </a:lnTo>
                    <a:lnTo>
                      <a:pt x="69056" y="233363"/>
                    </a:lnTo>
                    <a:lnTo>
                      <a:pt x="52387" y="250031"/>
                    </a:lnTo>
                    <a:lnTo>
                      <a:pt x="121444" y="3357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9" name="Figura a mano libera 188"/>
              <p:cNvSpPr/>
              <p:nvPr/>
            </p:nvSpPr>
            <p:spPr bwMode="auto">
              <a:xfrm>
                <a:off x="1710491" y="1576822"/>
                <a:ext cx="949390" cy="1143760"/>
              </a:xfrm>
              <a:custGeom>
                <a:avLst/>
                <a:gdLst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381125 w 1624012"/>
                  <a:gd name="connsiteY98" fmla="*/ 0 h 1533525"/>
                  <a:gd name="connsiteX99" fmla="*/ 1419225 w 1624012"/>
                  <a:gd name="connsiteY99" fmla="*/ 11906 h 1533525"/>
                  <a:gd name="connsiteX100" fmla="*/ 1440656 w 1624012"/>
                  <a:gd name="connsiteY100" fmla="*/ 7144 h 1533525"/>
                  <a:gd name="connsiteX101" fmla="*/ 1438275 w 1624012"/>
                  <a:gd name="connsiteY101" fmla="*/ 69056 h 1533525"/>
                  <a:gd name="connsiteX102" fmla="*/ 1440656 w 1624012"/>
                  <a:gd name="connsiteY102" fmla="*/ 104775 h 1533525"/>
                  <a:gd name="connsiteX103" fmla="*/ 1490662 w 1624012"/>
                  <a:gd name="connsiteY103" fmla="*/ 142875 h 1533525"/>
                  <a:gd name="connsiteX104" fmla="*/ 1543050 w 1624012"/>
                  <a:gd name="connsiteY104" fmla="*/ 147638 h 1533525"/>
                  <a:gd name="connsiteX105" fmla="*/ 1547812 w 1624012"/>
                  <a:gd name="connsiteY105" fmla="*/ 121444 h 1533525"/>
                  <a:gd name="connsiteX106" fmla="*/ 1574006 w 1624012"/>
                  <a:gd name="connsiteY106" fmla="*/ 121444 h 1533525"/>
                  <a:gd name="connsiteX107" fmla="*/ 1624012 w 1624012"/>
                  <a:gd name="connsiteY107" fmla="*/ 109538 h 1533525"/>
                  <a:gd name="connsiteX108" fmla="*/ 1057275 w 1624012"/>
                  <a:gd name="connsiteY108" fmla="*/ 264319 h 1533525"/>
                  <a:gd name="connsiteX109" fmla="*/ 1062037 w 1624012"/>
                  <a:gd name="connsiteY109" fmla="*/ 304800 h 1533525"/>
                  <a:gd name="connsiteX110" fmla="*/ 995362 w 1624012"/>
                  <a:gd name="connsiteY110" fmla="*/ 352425 h 1533525"/>
                  <a:gd name="connsiteX111" fmla="*/ 973931 w 1624012"/>
                  <a:gd name="connsiteY111" fmla="*/ 383381 h 1533525"/>
                  <a:gd name="connsiteX112" fmla="*/ 1000125 w 1624012"/>
                  <a:gd name="connsiteY112" fmla="*/ 428625 h 1533525"/>
                  <a:gd name="connsiteX113" fmla="*/ 983456 w 1624012"/>
                  <a:gd name="connsiteY113" fmla="*/ 466725 h 1533525"/>
                  <a:gd name="connsiteX114" fmla="*/ 1000125 w 1624012"/>
                  <a:gd name="connsiteY114" fmla="*/ 519113 h 1533525"/>
                  <a:gd name="connsiteX115" fmla="*/ 1033462 w 1624012"/>
                  <a:gd name="connsiteY115" fmla="*/ 519113 h 1533525"/>
                  <a:gd name="connsiteX116" fmla="*/ 1019175 w 1624012"/>
                  <a:gd name="connsiteY116" fmla="*/ 552450 h 1533525"/>
                  <a:gd name="connsiteX117" fmla="*/ 1035843 w 1624012"/>
                  <a:gd name="connsiteY117" fmla="*/ 590550 h 1533525"/>
                  <a:gd name="connsiteX118" fmla="*/ 1035843 w 1624012"/>
                  <a:gd name="connsiteY118" fmla="*/ 607219 h 1533525"/>
                  <a:gd name="connsiteX119" fmla="*/ 1045368 w 1624012"/>
                  <a:gd name="connsiteY119" fmla="*/ 645319 h 1533525"/>
                  <a:gd name="connsiteX120" fmla="*/ 1064418 w 1624012"/>
                  <a:gd name="connsiteY120" fmla="*/ 645319 h 1533525"/>
                  <a:gd name="connsiteX121" fmla="*/ 1078706 w 1624012"/>
                  <a:gd name="connsiteY121" fmla="*/ 666750 h 1533525"/>
                  <a:gd name="connsiteX122" fmla="*/ 1085850 w 1624012"/>
                  <a:gd name="connsiteY122" fmla="*/ 688181 h 1533525"/>
                  <a:gd name="connsiteX123" fmla="*/ 1076325 w 1624012"/>
                  <a:gd name="connsiteY123" fmla="*/ 719138 h 1533525"/>
                  <a:gd name="connsiteX124" fmla="*/ 1021556 w 1624012"/>
                  <a:gd name="connsiteY124" fmla="*/ 714375 h 1533525"/>
                  <a:gd name="connsiteX125" fmla="*/ 1002506 w 1624012"/>
                  <a:gd name="connsiteY125" fmla="*/ 721519 h 1533525"/>
                  <a:gd name="connsiteX126" fmla="*/ 995362 w 1624012"/>
                  <a:gd name="connsiteY126" fmla="*/ 726281 h 1533525"/>
                  <a:gd name="connsiteX127" fmla="*/ 995362 w 1624012"/>
                  <a:gd name="connsiteY127" fmla="*/ 726281 h 1533525"/>
                  <a:gd name="connsiteX128" fmla="*/ 923925 w 1624012"/>
                  <a:gd name="connsiteY128" fmla="*/ 721519 h 1533525"/>
                  <a:gd name="connsiteX129" fmla="*/ 940593 w 1624012"/>
                  <a:gd name="connsiteY129" fmla="*/ 778669 h 1533525"/>
                  <a:gd name="connsiteX130" fmla="*/ 938212 w 1624012"/>
                  <a:gd name="connsiteY130" fmla="*/ 847725 h 1533525"/>
                  <a:gd name="connsiteX131" fmla="*/ 954881 w 1624012"/>
                  <a:gd name="connsiteY131" fmla="*/ 871538 h 1533525"/>
                  <a:gd name="connsiteX132" fmla="*/ 997743 w 1624012"/>
                  <a:gd name="connsiteY132" fmla="*/ 919163 h 1533525"/>
                  <a:gd name="connsiteX133" fmla="*/ 1012031 w 1624012"/>
                  <a:gd name="connsiteY133" fmla="*/ 954881 h 1533525"/>
                  <a:gd name="connsiteX134" fmla="*/ 1031081 w 1624012"/>
                  <a:gd name="connsiteY134" fmla="*/ 954881 h 1533525"/>
                  <a:gd name="connsiteX135" fmla="*/ 1071562 w 1624012"/>
                  <a:gd name="connsiteY135" fmla="*/ 940594 h 1533525"/>
                  <a:gd name="connsiteX136" fmla="*/ 1102518 w 1624012"/>
                  <a:gd name="connsiteY136" fmla="*/ 933450 h 1533525"/>
                  <a:gd name="connsiteX137" fmla="*/ 1159668 w 1624012"/>
                  <a:gd name="connsiteY137" fmla="*/ 997744 h 1533525"/>
                  <a:gd name="connsiteX138" fmla="*/ 1178718 w 1624012"/>
                  <a:gd name="connsiteY138" fmla="*/ 1052513 h 1533525"/>
                  <a:gd name="connsiteX139" fmla="*/ 1190625 w 1624012"/>
                  <a:gd name="connsiteY139" fmla="*/ 1081088 h 1533525"/>
                  <a:gd name="connsiteX140" fmla="*/ 1212056 w 1624012"/>
                  <a:gd name="connsiteY140" fmla="*/ 1109663 h 1533525"/>
                  <a:gd name="connsiteX141" fmla="*/ 1231106 w 1624012"/>
                  <a:gd name="connsiteY141" fmla="*/ 1102519 h 1533525"/>
                  <a:gd name="connsiteX142" fmla="*/ 1231106 w 1624012"/>
                  <a:gd name="connsiteY142" fmla="*/ 1131094 h 1533525"/>
                  <a:gd name="connsiteX143" fmla="*/ 1233487 w 1624012"/>
                  <a:gd name="connsiteY143" fmla="*/ 1145381 h 1533525"/>
                  <a:gd name="connsiteX144" fmla="*/ 1266825 w 1624012"/>
                  <a:gd name="connsiteY144" fmla="*/ 1181100 h 1533525"/>
                  <a:gd name="connsiteX145" fmla="*/ 1233487 w 1624012"/>
                  <a:gd name="connsiteY145" fmla="*/ 1181100 h 1533525"/>
                  <a:gd name="connsiteX146" fmla="*/ 1228725 w 1624012"/>
                  <a:gd name="connsiteY146" fmla="*/ 1223963 h 1533525"/>
                  <a:gd name="connsiteX147" fmla="*/ 1226343 w 1624012"/>
                  <a:gd name="connsiteY147" fmla="*/ 1243013 h 1533525"/>
                  <a:gd name="connsiteX148" fmla="*/ 1216818 w 1624012"/>
                  <a:gd name="connsiteY148" fmla="*/ 1264444 h 1533525"/>
                  <a:gd name="connsiteX149" fmla="*/ 1190625 w 1624012"/>
                  <a:gd name="connsiteY149" fmla="*/ 1238250 h 1533525"/>
                  <a:gd name="connsiteX150" fmla="*/ 1157287 w 1624012"/>
                  <a:gd name="connsiteY150" fmla="*/ 1209675 h 1533525"/>
                  <a:gd name="connsiteX151" fmla="*/ 1131093 w 1624012"/>
                  <a:gd name="connsiteY151" fmla="*/ 1185863 h 1533525"/>
                  <a:gd name="connsiteX152" fmla="*/ 1107281 w 1624012"/>
                  <a:gd name="connsiteY152" fmla="*/ 1219200 h 1533525"/>
                  <a:gd name="connsiteX153" fmla="*/ 1104900 w 1624012"/>
                  <a:gd name="connsiteY153" fmla="*/ 1264444 h 1533525"/>
                  <a:gd name="connsiteX154" fmla="*/ 1062037 w 1624012"/>
                  <a:gd name="connsiteY154" fmla="*/ 1259681 h 1533525"/>
                  <a:gd name="connsiteX155" fmla="*/ 1026318 w 1624012"/>
                  <a:gd name="connsiteY155" fmla="*/ 1288256 h 1533525"/>
                  <a:gd name="connsiteX156" fmla="*/ 1007268 w 1624012"/>
                  <a:gd name="connsiteY156" fmla="*/ 1240631 h 1533525"/>
                  <a:gd name="connsiteX157" fmla="*/ 947737 w 1624012"/>
                  <a:gd name="connsiteY157" fmla="*/ 1231106 h 1533525"/>
                  <a:gd name="connsiteX158" fmla="*/ 921543 w 1624012"/>
                  <a:gd name="connsiteY158" fmla="*/ 1297781 h 1533525"/>
                  <a:gd name="connsiteX159" fmla="*/ 885825 w 1624012"/>
                  <a:gd name="connsiteY159" fmla="*/ 1278731 h 1533525"/>
                  <a:gd name="connsiteX160" fmla="*/ 816768 w 1624012"/>
                  <a:gd name="connsiteY160" fmla="*/ 1295400 h 1533525"/>
                  <a:gd name="connsiteX161" fmla="*/ 757237 w 1624012"/>
                  <a:gd name="connsiteY161" fmla="*/ 1259681 h 1533525"/>
                  <a:gd name="connsiteX162" fmla="*/ 742950 w 1624012"/>
                  <a:gd name="connsiteY162" fmla="*/ 1312069 h 1533525"/>
                  <a:gd name="connsiteX163" fmla="*/ 704850 w 1624012"/>
                  <a:gd name="connsiteY163" fmla="*/ 1345406 h 1533525"/>
                  <a:gd name="connsiteX164" fmla="*/ 692943 w 1624012"/>
                  <a:gd name="connsiteY164" fmla="*/ 1366838 h 1533525"/>
                  <a:gd name="connsiteX165" fmla="*/ 671512 w 1624012"/>
                  <a:gd name="connsiteY165" fmla="*/ 1509713 h 1533525"/>
                  <a:gd name="connsiteX166" fmla="*/ 633412 w 1624012"/>
                  <a:gd name="connsiteY166" fmla="*/ 1490663 h 1533525"/>
                  <a:gd name="connsiteX167" fmla="*/ 614362 w 1624012"/>
                  <a:gd name="connsiteY167" fmla="*/ 1504950 h 1533525"/>
                  <a:gd name="connsiteX168" fmla="*/ 581025 w 1624012"/>
                  <a:gd name="connsiteY168" fmla="*/ 1531144 h 1533525"/>
                  <a:gd name="connsiteX169" fmla="*/ 523875 w 1624012"/>
                  <a:gd name="connsiteY169" fmla="*/ 1502569 h 1533525"/>
                  <a:gd name="connsiteX170" fmla="*/ 514350 w 1624012"/>
                  <a:gd name="connsiteY170" fmla="*/ 1490663 h 1533525"/>
                  <a:gd name="connsiteX171" fmla="*/ 483393 w 1624012"/>
                  <a:gd name="connsiteY171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381125 w 1624012"/>
                  <a:gd name="connsiteY98" fmla="*/ 0 h 1533525"/>
                  <a:gd name="connsiteX99" fmla="*/ 1419225 w 1624012"/>
                  <a:gd name="connsiteY99" fmla="*/ 11906 h 1533525"/>
                  <a:gd name="connsiteX100" fmla="*/ 1438275 w 1624012"/>
                  <a:gd name="connsiteY100" fmla="*/ 69056 h 1533525"/>
                  <a:gd name="connsiteX101" fmla="*/ 1440656 w 1624012"/>
                  <a:gd name="connsiteY101" fmla="*/ 104775 h 1533525"/>
                  <a:gd name="connsiteX102" fmla="*/ 1490662 w 1624012"/>
                  <a:gd name="connsiteY102" fmla="*/ 142875 h 1533525"/>
                  <a:gd name="connsiteX103" fmla="*/ 1543050 w 1624012"/>
                  <a:gd name="connsiteY103" fmla="*/ 147638 h 1533525"/>
                  <a:gd name="connsiteX104" fmla="*/ 1547812 w 1624012"/>
                  <a:gd name="connsiteY104" fmla="*/ 121444 h 1533525"/>
                  <a:gd name="connsiteX105" fmla="*/ 1574006 w 1624012"/>
                  <a:gd name="connsiteY105" fmla="*/ 121444 h 1533525"/>
                  <a:gd name="connsiteX106" fmla="*/ 1624012 w 1624012"/>
                  <a:gd name="connsiteY106" fmla="*/ 109538 h 1533525"/>
                  <a:gd name="connsiteX107" fmla="*/ 1057275 w 1624012"/>
                  <a:gd name="connsiteY107" fmla="*/ 264319 h 1533525"/>
                  <a:gd name="connsiteX108" fmla="*/ 1062037 w 1624012"/>
                  <a:gd name="connsiteY108" fmla="*/ 304800 h 1533525"/>
                  <a:gd name="connsiteX109" fmla="*/ 995362 w 1624012"/>
                  <a:gd name="connsiteY109" fmla="*/ 352425 h 1533525"/>
                  <a:gd name="connsiteX110" fmla="*/ 973931 w 1624012"/>
                  <a:gd name="connsiteY110" fmla="*/ 383381 h 1533525"/>
                  <a:gd name="connsiteX111" fmla="*/ 1000125 w 1624012"/>
                  <a:gd name="connsiteY111" fmla="*/ 428625 h 1533525"/>
                  <a:gd name="connsiteX112" fmla="*/ 983456 w 1624012"/>
                  <a:gd name="connsiteY112" fmla="*/ 466725 h 1533525"/>
                  <a:gd name="connsiteX113" fmla="*/ 1000125 w 1624012"/>
                  <a:gd name="connsiteY113" fmla="*/ 519113 h 1533525"/>
                  <a:gd name="connsiteX114" fmla="*/ 1033462 w 1624012"/>
                  <a:gd name="connsiteY114" fmla="*/ 519113 h 1533525"/>
                  <a:gd name="connsiteX115" fmla="*/ 1019175 w 1624012"/>
                  <a:gd name="connsiteY115" fmla="*/ 552450 h 1533525"/>
                  <a:gd name="connsiteX116" fmla="*/ 1035843 w 1624012"/>
                  <a:gd name="connsiteY116" fmla="*/ 590550 h 1533525"/>
                  <a:gd name="connsiteX117" fmla="*/ 1035843 w 1624012"/>
                  <a:gd name="connsiteY117" fmla="*/ 607219 h 1533525"/>
                  <a:gd name="connsiteX118" fmla="*/ 1045368 w 1624012"/>
                  <a:gd name="connsiteY118" fmla="*/ 645319 h 1533525"/>
                  <a:gd name="connsiteX119" fmla="*/ 1064418 w 1624012"/>
                  <a:gd name="connsiteY119" fmla="*/ 645319 h 1533525"/>
                  <a:gd name="connsiteX120" fmla="*/ 1078706 w 1624012"/>
                  <a:gd name="connsiteY120" fmla="*/ 666750 h 1533525"/>
                  <a:gd name="connsiteX121" fmla="*/ 1085850 w 1624012"/>
                  <a:gd name="connsiteY121" fmla="*/ 688181 h 1533525"/>
                  <a:gd name="connsiteX122" fmla="*/ 1076325 w 1624012"/>
                  <a:gd name="connsiteY122" fmla="*/ 719138 h 1533525"/>
                  <a:gd name="connsiteX123" fmla="*/ 1021556 w 1624012"/>
                  <a:gd name="connsiteY123" fmla="*/ 714375 h 1533525"/>
                  <a:gd name="connsiteX124" fmla="*/ 1002506 w 1624012"/>
                  <a:gd name="connsiteY124" fmla="*/ 721519 h 1533525"/>
                  <a:gd name="connsiteX125" fmla="*/ 995362 w 1624012"/>
                  <a:gd name="connsiteY125" fmla="*/ 726281 h 1533525"/>
                  <a:gd name="connsiteX126" fmla="*/ 995362 w 1624012"/>
                  <a:gd name="connsiteY126" fmla="*/ 726281 h 1533525"/>
                  <a:gd name="connsiteX127" fmla="*/ 923925 w 1624012"/>
                  <a:gd name="connsiteY127" fmla="*/ 721519 h 1533525"/>
                  <a:gd name="connsiteX128" fmla="*/ 940593 w 1624012"/>
                  <a:gd name="connsiteY128" fmla="*/ 778669 h 1533525"/>
                  <a:gd name="connsiteX129" fmla="*/ 938212 w 1624012"/>
                  <a:gd name="connsiteY129" fmla="*/ 847725 h 1533525"/>
                  <a:gd name="connsiteX130" fmla="*/ 954881 w 1624012"/>
                  <a:gd name="connsiteY130" fmla="*/ 871538 h 1533525"/>
                  <a:gd name="connsiteX131" fmla="*/ 997743 w 1624012"/>
                  <a:gd name="connsiteY131" fmla="*/ 919163 h 1533525"/>
                  <a:gd name="connsiteX132" fmla="*/ 1012031 w 1624012"/>
                  <a:gd name="connsiteY132" fmla="*/ 954881 h 1533525"/>
                  <a:gd name="connsiteX133" fmla="*/ 1031081 w 1624012"/>
                  <a:gd name="connsiteY133" fmla="*/ 954881 h 1533525"/>
                  <a:gd name="connsiteX134" fmla="*/ 1071562 w 1624012"/>
                  <a:gd name="connsiteY134" fmla="*/ 940594 h 1533525"/>
                  <a:gd name="connsiteX135" fmla="*/ 1102518 w 1624012"/>
                  <a:gd name="connsiteY135" fmla="*/ 933450 h 1533525"/>
                  <a:gd name="connsiteX136" fmla="*/ 1159668 w 1624012"/>
                  <a:gd name="connsiteY136" fmla="*/ 997744 h 1533525"/>
                  <a:gd name="connsiteX137" fmla="*/ 1178718 w 1624012"/>
                  <a:gd name="connsiteY137" fmla="*/ 1052513 h 1533525"/>
                  <a:gd name="connsiteX138" fmla="*/ 1190625 w 1624012"/>
                  <a:gd name="connsiteY138" fmla="*/ 1081088 h 1533525"/>
                  <a:gd name="connsiteX139" fmla="*/ 1212056 w 1624012"/>
                  <a:gd name="connsiteY139" fmla="*/ 1109663 h 1533525"/>
                  <a:gd name="connsiteX140" fmla="*/ 1231106 w 1624012"/>
                  <a:gd name="connsiteY140" fmla="*/ 1102519 h 1533525"/>
                  <a:gd name="connsiteX141" fmla="*/ 1231106 w 1624012"/>
                  <a:gd name="connsiteY141" fmla="*/ 1131094 h 1533525"/>
                  <a:gd name="connsiteX142" fmla="*/ 1233487 w 1624012"/>
                  <a:gd name="connsiteY142" fmla="*/ 1145381 h 1533525"/>
                  <a:gd name="connsiteX143" fmla="*/ 1266825 w 1624012"/>
                  <a:gd name="connsiteY143" fmla="*/ 1181100 h 1533525"/>
                  <a:gd name="connsiteX144" fmla="*/ 1233487 w 1624012"/>
                  <a:gd name="connsiteY144" fmla="*/ 1181100 h 1533525"/>
                  <a:gd name="connsiteX145" fmla="*/ 1228725 w 1624012"/>
                  <a:gd name="connsiteY145" fmla="*/ 1223963 h 1533525"/>
                  <a:gd name="connsiteX146" fmla="*/ 1226343 w 1624012"/>
                  <a:gd name="connsiteY146" fmla="*/ 1243013 h 1533525"/>
                  <a:gd name="connsiteX147" fmla="*/ 1216818 w 1624012"/>
                  <a:gd name="connsiteY147" fmla="*/ 1264444 h 1533525"/>
                  <a:gd name="connsiteX148" fmla="*/ 1190625 w 1624012"/>
                  <a:gd name="connsiteY148" fmla="*/ 1238250 h 1533525"/>
                  <a:gd name="connsiteX149" fmla="*/ 1157287 w 1624012"/>
                  <a:gd name="connsiteY149" fmla="*/ 1209675 h 1533525"/>
                  <a:gd name="connsiteX150" fmla="*/ 1131093 w 1624012"/>
                  <a:gd name="connsiteY150" fmla="*/ 1185863 h 1533525"/>
                  <a:gd name="connsiteX151" fmla="*/ 1107281 w 1624012"/>
                  <a:gd name="connsiteY151" fmla="*/ 1219200 h 1533525"/>
                  <a:gd name="connsiteX152" fmla="*/ 1104900 w 1624012"/>
                  <a:gd name="connsiteY152" fmla="*/ 1264444 h 1533525"/>
                  <a:gd name="connsiteX153" fmla="*/ 1062037 w 1624012"/>
                  <a:gd name="connsiteY153" fmla="*/ 1259681 h 1533525"/>
                  <a:gd name="connsiteX154" fmla="*/ 1026318 w 1624012"/>
                  <a:gd name="connsiteY154" fmla="*/ 1288256 h 1533525"/>
                  <a:gd name="connsiteX155" fmla="*/ 1007268 w 1624012"/>
                  <a:gd name="connsiteY155" fmla="*/ 1240631 h 1533525"/>
                  <a:gd name="connsiteX156" fmla="*/ 947737 w 1624012"/>
                  <a:gd name="connsiteY156" fmla="*/ 1231106 h 1533525"/>
                  <a:gd name="connsiteX157" fmla="*/ 921543 w 1624012"/>
                  <a:gd name="connsiteY157" fmla="*/ 1297781 h 1533525"/>
                  <a:gd name="connsiteX158" fmla="*/ 885825 w 1624012"/>
                  <a:gd name="connsiteY158" fmla="*/ 1278731 h 1533525"/>
                  <a:gd name="connsiteX159" fmla="*/ 816768 w 1624012"/>
                  <a:gd name="connsiteY159" fmla="*/ 1295400 h 1533525"/>
                  <a:gd name="connsiteX160" fmla="*/ 757237 w 1624012"/>
                  <a:gd name="connsiteY160" fmla="*/ 1259681 h 1533525"/>
                  <a:gd name="connsiteX161" fmla="*/ 742950 w 1624012"/>
                  <a:gd name="connsiteY161" fmla="*/ 1312069 h 1533525"/>
                  <a:gd name="connsiteX162" fmla="*/ 704850 w 1624012"/>
                  <a:gd name="connsiteY162" fmla="*/ 1345406 h 1533525"/>
                  <a:gd name="connsiteX163" fmla="*/ 692943 w 1624012"/>
                  <a:gd name="connsiteY163" fmla="*/ 1366838 h 1533525"/>
                  <a:gd name="connsiteX164" fmla="*/ 671512 w 1624012"/>
                  <a:gd name="connsiteY164" fmla="*/ 1509713 h 1533525"/>
                  <a:gd name="connsiteX165" fmla="*/ 633412 w 1624012"/>
                  <a:gd name="connsiteY165" fmla="*/ 1490663 h 1533525"/>
                  <a:gd name="connsiteX166" fmla="*/ 614362 w 1624012"/>
                  <a:gd name="connsiteY166" fmla="*/ 1504950 h 1533525"/>
                  <a:gd name="connsiteX167" fmla="*/ 581025 w 1624012"/>
                  <a:gd name="connsiteY167" fmla="*/ 1531144 h 1533525"/>
                  <a:gd name="connsiteX168" fmla="*/ 523875 w 1624012"/>
                  <a:gd name="connsiteY168" fmla="*/ 1502569 h 1533525"/>
                  <a:gd name="connsiteX169" fmla="*/ 514350 w 1624012"/>
                  <a:gd name="connsiteY169" fmla="*/ 1490663 h 1533525"/>
                  <a:gd name="connsiteX170" fmla="*/ 483393 w 1624012"/>
                  <a:gd name="connsiteY170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419225 w 1624012"/>
                  <a:gd name="connsiteY98" fmla="*/ 11906 h 1533525"/>
                  <a:gd name="connsiteX99" fmla="*/ 1438275 w 1624012"/>
                  <a:gd name="connsiteY99" fmla="*/ 69056 h 1533525"/>
                  <a:gd name="connsiteX100" fmla="*/ 1440656 w 1624012"/>
                  <a:gd name="connsiteY100" fmla="*/ 104775 h 1533525"/>
                  <a:gd name="connsiteX101" fmla="*/ 1490662 w 1624012"/>
                  <a:gd name="connsiteY101" fmla="*/ 142875 h 1533525"/>
                  <a:gd name="connsiteX102" fmla="*/ 1543050 w 1624012"/>
                  <a:gd name="connsiteY102" fmla="*/ 147638 h 1533525"/>
                  <a:gd name="connsiteX103" fmla="*/ 1547812 w 1624012"/>
                  <a:gd name="connsiteY103" fmla="*/ 121444 h 1533525"/>
                  <a:gd name="connsiteX104" fmla="*/ 1574006 w 1624012"/>
                  <a:gd name="connsiteY104" fmla="*/ 121444 h 1533525"/>
                  <a:gd name="connsiteX105" fmla="*/ 1624012 w 1624012"/>
                  <a:gd name="connsiteY105" fmla="*/ 109538 h 1533525"/>
                  <a:gd name="connsiteX106" fmla="*/ 1057275 w 1624012"/>
                  <a:gd name="connsiteY106" fmla="*/ 264319 h 1533525"/>
                  <a:gd name="connsiteX107" fmla="*/ 1062037 w 1624012"/>
                  <a:gd name="connsiteY107" fmla="*/ 304800 h 1533525"/>
                  <a:gd name="connsiteX108" fmla="*/ 995362 w 1624012"/>
                  <a:gd name="connsiteY108" fmla="*/ 352425 h 1533525"/>
                  <a:gd name="connsiteX109" fmla="*/ 973931 w 1624012"/>
                  <a:gd name="connsiteY109" fmla="*/ 383381 h 1533525"/>
                  <a:gd name="connsiteX110" fmla="*/ 1000125 w 1624012"/>
                  <a:gd name="connsiteY110" fmla="*/ 428625 h 1533525"/>
                  <a:gd name="connsiteX111" fmla="*/ 983456 w 1624012"/>
                  <a:gd name="connsiteY111" fmla="*/ 466725 h 1533525"/>
                  <a:gd name="connsiteX112" fmla="*/ 1000125 w 1624012"/>
                  <a:gd name="connsiteY112" fmla="*/ 519113 h 1533525"/>
                  <a:gd name="connsiteX113" fmla="*/ 1033462 w 1624012"/>
                  <a:gd name="connsiteY113" fmla="*/ 519113 h 1533525"/>
                  <a:gd name="connsiteX114" fmla="*/ 1019175 w 1624012"/>
                  <a:gd name="connsiteY114" fmla="*/ 552450 h 1533525"/>
                  <a:gd name="connsiteX115" fmla="*/ 1035843 w 1624012"/>
                  <a:gd name="connsiteY115" fmla="*/ 590550 h 1533525"/>
                  <a:gd name="connsiteX116" fmla="*/ 1035843 w 1624012"/>
                  <a:gd name="connsiteY116" fmla="*/ 607219 h 1533525"/>
                  <a:gd name="connsiteX117" fmla="*/ 1045368 w 1624012"/>
                  <a:gd name="connsiteY117" fmla="*/ 645319 h 1533525"/>
                  <a:gd name="connsiteX118" fmla="*/ 1064418 w 1624012"/>
                  <a:gd name="connsiteY118" fmla="*/ 645319 h 1533525"/>
                  <a:gd name="connsiteX119" fmla="*/ 1078706 w 1624012"/>
                  <a:gd name="connsiteY119" fmla="*/ 666750 h 1533525"/>
                  <a:gd name="connsiteX120" fmla="*/ 1085850 w 1624012"/>
                  <a:gd name="connsiteY120" fmla="*/ 688181 h 1533525"/>
                  <a:gd name="connsiteX121" fmla="*/ 1076325 w 1624012"/>
                  <a:gd name="connsiteY121" fmla="*/ 719138 h 1533525"/>
                  <a:gd name="connsiteX122" fmla="*/ 1021556 w 1624012"/>
                  <a:gd name="connsiteY122" fmla="*/ 714375 h 1533525"/>
                  <a:gd name="connsiteX123" fmla="*/ 1002506 w 1624012"/>
                  <a:gd name="connsiteY123" fmla="*/ 721519 h 1533525"/>
                  <a:gd name="connsiteX124" fmla="*/ 995362 w 1624012"/>
                  <a:gd name="connsiteY124" fmla="*/ 726281 h 1533525"/>
                  <a:gd name="connsiteX125" fmla="*/ 995362 w 1624012"/>
                  <a:gd name="connsiteY125" fmla="*/ 726281 h 1533525"/>
                  <a:gd name="connsiteX126" fmla="*/ 923925 w 1624012"/>
                  <a:gd name="connsiteY126" fmla="*/ 721519 h 1533525"/>
                  <a:gd name="connsiteX127" fmla="*/ 940593 w 1624012"/>
                  <a:gd name="connsiteY127" fmla="*/ 778669 h 1533525"/>
                  <a:gd name="connsiteX128" fmla="*/ 938212 w 1624012"/>
                  <a:gd name="connsiteY128" fmla="*/ 847725 h 1533525"/>
                  <a:gd name="connsiteX129" fmla="*/ 954881 w 1624012"/>
                  <a:gd name="connsiteY129" fmla="*/ 871538 h 1533525"/>
                  <a:gd name="connsiteX130" fmla="*/ 997743 w 1624012"/>
                  <a:gd name="connsiteY130" fmla="*/ 919163 h 1533525"/>
                  <a:gd name="connsiteX131" fmla="*/ 1012031 w 1624012"/>
                  <a:gd name="connsiteY131" fmla="*/ 954881 h 1533525"/>
                  <a:gd name="connsiteX132" fmla="*/ 1031081 w 1624012"/>
                  <a:gd name="connsiteY132" fmla="*/ 954881 h 1533525"/>
                  <a:gd name="connsiteX133" fmla="*/ 1071562 w 1624012"/>
                  <a:gd name="connsiteY133" fmla="*/ 940594 h 1533525"/>
                  <a:gd name="connsiteX134" fmla="*/ 1102518 w 1624012"/>
                  <a:gd name="connsiteY134" fmla="*/ 933450 h 1533525"/>
                  <a:gd name="connsiteX135" fmla="*/ 1159668 w 1624012"/>
                  <a:gd name="connsiteY135" fmla="*/ 997744 h 1533525"/>
                  <a:gd name="connsiteX136" fmla="*/ 1178718 w 1624012"/>
                  <a:gd name="connsiteY136" fmla="*/ 1052513 h 1533525"/>
                  <a:gd name="connsiteX137" fmla="*/ 1190625 w 1624012"/>
                  <a:gd name="connsiteY137" fmla="*/ 1081088 h 1533525"/>
                  <a:gd name="connsiteX138" fmla="*/ 1212056 w 1624012"/>
                  <a:gd name="connsiteY138" fmla="*/ 1109663 h 1533525"/>
                  <a:gd name="connsiteX139" fmla="*/ 1231106 w 1624012"/>
                  <a:gd name="connsiteY139" fmla="*/ 1102519 h 1533525"/>
                  <a:gd name="connsiteX140" fmla="*/ 1231106 w 1624012"/>
                  <a:gd name="connsiteY140" fmla="*/ 1131094 h 1533525"/>
                  <a:gd name="connsiteX141" fmla="*/ 1233487 w 1624012"/>
                  <a:gd name="connsiteY141" fmla="*/ 1145381 h 1533525"/>
                  <a:gd name="connsiteX142" fmla="*/ 1266825 w 1624012"/>
                  <a:gd name="connsiteY142" fmla="*/ 1181100 h 1533525"/>
                  <a:gd name="connsiteX143" fmla="*/ 1233487 w 1624012"/>
                  <a:gd name="connsiteY143" fmla="*/ 1181100 h 1533525"/>
                  <a:gd name="connsiteX144" fmla="*/ 1228725 w 1624012"/>
                  <a:gd name="connsiteY144" fmla="*/ 1223963 h 1533525"/>
                  <a:gd name="connsiteX145" fmla="*/ 1226343 w 1624012"/>
                  <a:gd name="connsiteY145" fmla="*/ 1243013 h 1533525"/>
                  <a:gd name="connsiteX146" fmla="*/ 1216818 w 1624012"/>
                  <a:gd name="connsiteY146" fmla="*/ 1264444 h 1533525"/>
                  <a:gd name="connsiteX147" fmla="*/ 1190625 w 1624012"/>
                  <a:gd name="connsiteY147" fmla="*/ 1238250 h 1533525"/>
                  <a:gd name="connsiteX148" fmla="*/ 1157287 w 1624012"/>
                  <a:gd name="connsiteY148" fmla="*/ 1209675 h 1533525"/>
                  <a:gd name="connsiteX149" fmla="*/ 1131093 w 1624012"/>
                  <a:gd name="connsiteY149" fmla="*/ 1185863 h 1533525"/>
                  <a:gd name="connsiteX150" fmla="*/ 1107281 w 1624012"/>
                  <a:gd name="connsiteY150" fmla="*/ 1219200 h 1533525"/>
                  <a:gd name="connsiteX151" fmla="*/ 1104900 w 1624012"/>
                  <a:gd name="connsiteY151" fmla="*/ 1264444 h 1533525"/>
                  <a:gd name="connsiteX152" fmla="*/ 1062037 w 1624012"/>
                  <a:gd name="connsiteY152" fmla="*/ 1259681 h 1533525"/>
                  <a:gd name="connsiteX153" fmla="*/ 1026318 w 1624012"/>
                  <a:gd name="connsiteY153" fmla="*/ 1288256 h 1533525"/>
                  <a:gd name="connsiteX154" fmla="*/ 1007268 w 1624012"/>
                  <a:gd name="connsiteY154" fmla="*/ 1240631 h 1533525"/>
                  <a:gd name="connsiteX155" fmla="*/ 947737 w 1624012"/>
                  <a:gd name="connsiteY155" fmla="*/ 1231106 h 1533525"/>
                  <a:gd name="connsiteX156" fmla="*/ 921543 w 1624012"/>
                  <a:gd name="connsiteY156" fmla="*/ 1297781 h 1533525"/>
                  <a:gd name="connsiteX157" fmla="*/ 885825 w 1624012"/>
                  <a:gd name="connsiteY157" fmla="*/ 1278731 h 1533525"/>
                  <a:gd name="connsiteX158" fmla="*/ 816768 w 1624012"/>
                  <a:gd name="connsiteY158" fmla="*/ 1295400 h 1533525"/>
                  <a:gd name="connsiteX159" fmla="*/ 757237 w 1624012"/>
                  <a:gd name="connsiteY159" fmla="*/ 1259681 h 1533525"/>
                  <a:gd name="connsiteX160" fmla="*/ 742950 w 1624012"/>
                  <a:gd name="connsiteY160" fmla="*/ 1312069 h 1533525"/>
                  <a:gd name="connsiteX161" fmla="*/ 704850 w 1624012"/>
                  <a:gd name="connsiteY161" fmla="*/ 1345406 h 1533525"/>
                  <a:gd name="connsiteX162" fmla="*/ 692943 w 1624012"/>
                  <a:gd name="connsiteY162" fmla="*/ 1366838 h 1533525"/>
                  <a:gd name="connsiteX163" fmla="*/ 671512 w 1624012"/>
                  <a:gd name="connsiteY163" fmla="*/ 1509713 h 1533525"/>
                  <a:gd name="connsiteX164" fmla="*/ 633412 w 1624012"/>
                  <a:gd name="connsiteY164" fmla="*/ 1490663 h 1533525"/>
                  <a:gd name="connsiteX165" fmla="*/ 614362 w 1624012"/>
                  <a:gd name="connsiteY165" fmla="*/ 1504950 h 1533525"/>
                  <a:gd name="connsiteX166" fmla="*/ 581025 w 1624012"/>
                  <a:gd name="connsiteY166" fmla="*/ 1531144 h 1533525"/>
                  <a:gd name="connsiteX167" fmla="*/ 523875 w 1624012"/>
                  <a:gd name="connsiteY167" fmla="*/ 1502569 h 1533525"/>
                  <a:gd name="connsiteX168" fmla="*/ 514350 w 1624012"/>
                  <a:gd name="connsiteY168" fmla="*/ 1490663 h 1533525"/>
                  <a:gd name="connsiteX169" fmla="*/ 483393 w 1624012"/>
                  <a:gd name="connsiteY169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438275 w 1624012"/>
                  <a:gd name="connsiteY98" fmla="*/ 69056 h 1533525"/>
                  <a:gd name="connsiteX99" fmla="*/ 1440656 w 1624012"/>
                  <a:gd name="connsiteY99" fmla="*/ 104775 h 1533525"/>
                  <a:gd name="connsiteX100" fmla="*/ 1490662 w 1624012"/>
                  <a:gd name="connsiteY100" fmla="*/ 142875 h 1533525"/>
                  <a:gd name="connsiteX101" fmla="*/ 1543050 w 1624012"/>
                  <a:gd name="connsiteY101" fmla="*/ 147638 h 1533525"/>
                  <a:gd name="connsiteX102" fmla="*/ 1547812 w 1624012"/>
                  <a:gd name="connsiteY102" fmla="*/ 121444 h 1533525"/>
                  <a:gd name="connsiteX103" fmla="*/ 1574006 w 1624012"/>
                  <a:gd name="connsiteY103" fmla="*/ 121444 h 1533525"/>
                  <a:gd name="connsiteX104" fmla="*/ 1624012 w 1624012"/>
                  <a:gd name="connsiteY104" fmla="*/ 109538 h 1533525"/>
                  <a:gd name="connsiteX105" fmla="*/ 1057275 w 1624012"/>
                  <a:gd name="connsiteY105" fmla="*/ 264319 h 1533525"/>
                  <a:gd name="connsiteX106" fmla="*/ 1062037 w 1624012"/>
                  <a:gd name="connsiteY106" fmla="*/ 304800 h 1533525"/>
                  <a:gd name="connsiteX107" fmla="*/ 995362 w 1624012"/>
                  <a:gd name="connsiteY107" fmla="*/ 352425 h 1533525"/>
                  <a:gd name="connsiteX108" fmla="*/ 973931 w 1624012"/>
                  <a:gd name="connsiteY108" fmla="*/ 383381 h 1533525"/>
                  <a:gd name="connsiteX109" fmla="*/ 1000125 w 1624012"/>
                  <a:gd name="connsiteY109" fmla="*/ 428625 h 1533525"/>
                  <a:gd name="connsiteX110" fmla="*/ 983456 w 1624012"/>
                  <a:gd name="connsiteY110" fmla="*/ 466725 h 1533525"/>
                  <a:gd name="connsiteX111" fmla="*/ 1000125 w 1624012"/>
                  <a:gd name="connsiteY111" fmla="*/ 519113 h 1533525"/>
                  <a:gd name="connsiteX112" fmla="*/ 1033462 w 1624012"/>
                  <a:gd name="connsiteY112" fmla="*/ 519113 h 1533525"/>
                  <a:gd name="connsiteX113" fmla="*/ 1019175 w 1624012"/>
                  <a:gd name="connsiteY113" fmla="*/ 552450 h 1533525"/>
                  <a:gd name="connsiteX114" fmla="*/ 1035843 w 1624012"/>
                  <a:gd name="connsiteY114" fmla="*/ 590550 h 1533525"/>
                  <a:gd name="connsiteX115" fmla="*/ 1035843 w 1624012"/>
                  <a:gd name="connsiteY115" fmla="*/ 607219 h 1533525"/>
                  <a:gd name="connsiteX116" fmla="*/ 1045368 w 1624012"/>
                  <a:gd name="connsiteY116" fmla="*/ 645319 h 1533525"/>
                  <a:gd name="connsiteX117" fmla="*/ 1064418 w 1624012"/>
                  <a:gd name="connsiteY117" fmla="*/ 645319 h 1533525"/>
                  <a:gd name="connsiteX118" fmla="*/ 1078706 w 1624012"/>
                  <a:gd name="connsiteY118" fmla="*/ 666750 h 1533525"/>
                  <a:gd name="connsiteX119" fmla="*/ 1085850 w 1624012"/>
                  <a:gd name="connsiteY119" fmla="*/ 688181 h 1533525"/>
                  <a:gd name="connsiteX120" fmla="*/ 1076325 w 1624012"/>
                  <a:gd name="connsiteY120" fmla="*/ 719138 h 1533525"/>
                  <a:gd name="connsiteX121" fmla="*/ 1021556 w 1624012"/>
                  <a:gd name="connsiteY121" fmla="*/ 714375 h 1533525"/>
                  <a:gd name="connsiteX122" fmla="*/ 1002506 w 1624012"/>
                  <a:gd name="connsiteY122" fmla="*/ 721519 h 1533525"/>
                  <a:gd name="connsiteX123" fmla="*/ 995362 w 1624012"/>
                  <a:gd name="connsiteY123" fmla="*/ 726281 h 1533525"/>
                  <a:gd name="connsiteX124" fmla="*/ 995362 w 1624012"/>
                  <a:gd name="connsiteY124" fmla="*/ 726281 h 1533525"/>
                  <a:gd name="connsiteX125" fmla="*/ 923925 w 1624012"/>
                  <a:gd name="connsiteY125" fmla="*/ 721519 h 1533525"/>
                  <a:gd name="connsiteX126" fmla="*/ 940593 w 1624012"/>
                  <a:gd name="connsiteY126" fmla="*/ 778669 h 1533525"/>
                  <a:gd name="connsiteX127" fmla="*/ 938212 w 1624012"/>
                  <a:gd name="connsiteY127" fmla="*/ 847725 h 1533525"/>
                  <a:gd name="connsiteX128" fmla="*/ 954881 w 1624012"/>
                  <a:gd name="connsiteY128" fmla="*/ 871538 h 1533525"/>
                  <a:gd name="connsiteX129" fmla="*/ 997743 w 1624012"/>
                  <a:gd name="connsiteY129" fmla="*/ 919163 h 1533525"/>
                  <a:gd name="connsiteX130" fmla="*/ 1012031 w 1624012"/>
                  <a:gd name="connsiteY130" fmla="*/ 954881 h 1533525"/>
                  <a:gd name="connsiteX131" fmla="*/ 1031081 w 1624012"/>
                  <a:gd name="connsiteY131" fmla="*/ 954881 h 1533525"/>
                  <a:gd name="connsiteX132" fmla="*/ 1071562 w 1624012"/>
                  <a:gd name="connsiteY132" fmla="*/ 940594 h 1533525"/>
                  <a:gd name="connsiteX133" fmla="*/ 1102518 w 1624012"/>
                  <a:gd name="connsiteY133" fmla="*/ 933450 h 1533525"/>
                  <a:gd name="connsiteX134" fmla="*/ 1159668 w 1624012"/>
                  <a:gd name="connsiteY134" fmla="*/ 997744 h 1533525"/>
                  <a:gd name="connsiteX135" fmla="*/ 1178718 w 1624012"/>
                  <a:gd name="connsiteY135" fmla="*/ 1052513 h 1533525"/>
                  <a:gd name="connsiteX136" fmla="*/ 1190625 w 1624012"/>
                  <a:gd name="connsiteY136" fmla="*/ 1081088 h 1533525"/>
                  <a:gd name="connsiteX137" fmla="*/ 1212056 w 1624012"/>
                  <a:gd name="connsiteY137" fmla="*/ 1109663 h 1533525"/>
                  <a:gd name="connsiteX138" fmla="*/ 1231106 w 1624012"/>
                  <a:gd name="connsiteY138" fmla="*/ 1102519 h 1533525"/>
                  <a:gd name="connsiteX139" fmla="*/ 1231106 w 1624012"/>
                  <a:gd name="connsiteY139" fmla="*/ 1131094 h 1533525"/>
                  <a:gd name="connsiteX140" fmla="*/ 1233487 w 1624012"/>
                  <a:gd name="connsiteY140" fmla="*/ 1145381 h 1533525"/>
                  <a:gd name="connsiteX141" fmla="*/ 1266825 w 1624012"/>
                  <a:gd name="connsiteY141" fmla="*/ 1181100 h 1533525"/>
                  <a:gd name="connsiteX142" fmla="*/ 1233487 w 1624012"/>
                  <a:gd name="connsiteY142" fmla="*/ 1181100 h 1533525"/>
                  <a:gd name="connsiteX143" fmla="*/ 1228725 w 1624012"/>
                  <a:gd name="connsiteY143" fmla="*/ 1223963 h 1533525"/>
                  <a:gd name="connsiteX144" fmla="*/ 1226343 w 1624012"/>
                  <a:gd name="connsiteY144" fmla="*/ 1243013 h 1533525"/>
                  <a:gd name="connsiteX145" fmla="*/ 1216818 w 1624012"/>
                  <a:gd name="connsiteY145" fmla="*/ 1264444 h 1533525"/>
                  <a:gd name="connsiteX146" fmla="*/ 1190625 w 1624012"/>
                  <a:gd name="connsiteY146" fmla="*/ 1238250 h 1533525"/>
                  <a:gd name="connsiteX147" fmla="*/ 1157287 w 1624012"/>
                  <a:gd name="connsiteY147" fmla="*/ 1209675 h 1533525"/>
                  <a:gd name="connsiteX148" fmla="*/ 1131093 w 1624012"/>
                  <a:gd name="connsiteY148" fmla="*/ 1185863 h 1533525"/>
                  <a:gd name="connsiteX149" fmla="*/ 1107281 w 1624012"/>
                  <a:gd name="connsiteY149" fmla="*/ 1219200 h 1533525"/>
                  <a:gd name="connsiteX150" fmla="*/ 1104900 w 1624012"/>
                  <a:gd name="connsiteY150" fmla="*/ 1264444 h 1533525"/>
                  <a:gd name="connsiteX151" fmla="*/ 1062037 w 1624012"/>
                  <a:gd name="connsiteY151" fmla="*/ 1259681 h 1533525"/>
                  <a:gd name="connsiteX152" fmla="*/ 1026318 w 1624012"/>
                  <a:gd name="connsiteY152" fmla="*/ 1288256 h 1533525"/>
                  <a:gd name="connsiteX153" fmla="*/ 1007268 w 1624012"/>
                  <a:gd name="connsiteY153" fmla="*/ 1240631 h 1533525"/>
                  <a:gd name="connsiteX154" fmla="*/ 947737 w 1624012"/>
                  <a:gd name="connsiteY154" fmla="*/ 1231106 h 1533525"/>
                  <a:gd name="connsiteX155" fmla="*/ 921543 w 1624012"/>
                  <a:gd name="connsiteY155" fmla="*/ 1297781 h 1533525"/>
                  <a:gd name="connsiteX156" fmla="*/ 885825 w 1624012"/>
                  <a:gd name="connsiteY156" fmla="*/ 1278731 h 1533525"/>
                  <a:gd name="connsiteX157" fmla="*/ 816768 w 1624012"/>
                  <a:gd name="connsiteY157" fmla="*/ 1295400 h 1533525"/>
                  <a:gd name="connsiteX158" fmla="*/ 757237 w 1624012"/>
                  <a:gd name="connsiteY158" fmla="*/ 1259681 h 1533525"/>
                  <a:gd name="connsiteX159" fmla="*/ 742950 w 1624012"/>
                  <a:gd name="connsiteY159" fmla="*/ 1312069 h 1533525"/>
                  <a:gd name="connsiteX160" fmla="*/ 704850 w 1624012"/>
                  <a:gd name="connsiteY160" fmla="*/ 1345406 h 1533525"/>
                  <a:gd name="connsiteX161" fmla="*/ 692943 w 1624012"/>
                  <a:gd name="connsiteY161" fmla="*/ 1366838 h 1533525"/>
                  <a:gd name="connsiteX162" fmla="*/ 671512 w 1624012"/>
                  <a:gd name="connsiteY162" fmla="*/ 1509713 h 1533525"/>
                  <a:gd name="connsiteX163" fmla="*/ 633412 w 1624012"/>
                  <a:gd name="connsiteY163" fmla="*/ 1490663 h 1533525"/>
                  <a:gd name="connsiteX164" fmla="*/ 614362 w 1624012"/>
                  <a:gd name="connsiteY164" fmla="*/ 1504950 h 1533525"/>
                  <a:gd name="connsiteX165" fmla="*/ 581025 w 1624012"/>
                  <a:gd name="connsiteY165" fmla="*/ 1531144 h 1533525"/>
                  <a:gd name="connsiteX166" fmla="*/ 523875 w 1624012"/>
                  <a:gd name="connsiteY166" fmla="*/ 1502569 h 1533525"/>
                  <a:gd name="connsiteX167" fmla="*/ 514350 w 1624012"/>
                  <a:gd name="connsiteY167" fmla="*/ 1490663 h 1533525"/>
                  <a:gd name="connsiteX168" fmla="*/ 483393 w 1624012"/>
                  <a:gd name="connsiteY168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38275 w 1624012"/>
                  <a:gd name="connsiteY97" fmla="*/ 69056 h 1533525"/>
                  <a:gd name="connsiteX98" fmla="*/ 1440656 w 1624012"/>
                  <a:gd name="connsiteY98" fmla="*/ 104775 h 1533525"/>
                  <a:gd name="connsiteX99" fmla="*/ 1490662 w 1624012"/>
                  <a:gd name="connsiteY99" fmla="*/ 142875 h 1533525"/>
                  <a:gd name="connsiteX100" fmla="*/ 1543050 w 1624012"/>
                  <a:gd name="connsiteY100" fmla="*/ 147638 h 1533525"/>
                  <a:gd name="connsiteX101" fmla="*/ 1547812 w 1624012"/>
                  <a:gd name="connsiteY101" fmla="*/ 121444 h 1533525"/>
                  <a:gd name="connsiteX102" fmla="*/ 1574006 w 1624012"/>
                  <a:gd name="connsiteY102" fmla="*/ 121444 h 1533525"/>
                  <a:gd name="connsiteX103" fmla="*/ 1624012 w 1624012"/>
                  <a:gd name="connsiteY103" fmla="*/ 109538 h 1533525"/>
                  <a:gd name="connsiteX104" fmla="*/ 1057275 w 1624012"/>
                  <a:gd name="connsiteY104" fmla="*/ 264319 h 1533525"/>
                  <a:gd name="connsiteX105" fmla="*/ 1062037 w 1624012"/>
                  <a:gd name="connsiteY105" fmla="*/ 304800 h 1533525"/>
                  <a:gd name="connsiteX106" fmla="*/ 995362 w 1624012"/>
                  <a:gd name="connsiteY106" fmla="*/ 352425 h 1533525"/>
                  <a:gd name="connsiteX107" fmla="*/ 973931 w 1624012"/>
                  <a:gd name="connsiteY107" fmla="*/ 383381 h 1533525"/>
                  <a:gd name="connsiteX108" fmla="*/ 1000125 w 1624012"/>
                  <a:gd name="connsiteY108" fmla="*/ 428625 h 1533525"/>
                  <a:gd name="connsiteX109" fmla="*/ 983456 w 1624012"/>
                  <a:gd name="connsiteY109" fmla="*/ 466725 h 1533525"/>
                  <a:gd name="connsiteX110" fmla="*/ 1000125 w 1624012"/>
                  <a:gd name="connsiteY110" fmla="*/ 519113 h 1533525"/>
                  <a:gd name="connsiteX111" fmla="*/ 1033462 w 1624012"/>
                  <a:gd name="connsiteY111" fmla="*/ 519113 h 1533525"/>
                  <a:gd name="connsiteX112" fmla="*/ 1019175 w 1624012"/>
                  <a:gd name="connsiteY112" fmla="*/ 552450 h 1533525"/>
                  <a:gd name="connsiteX113" fmla="*/ 1035843 w 1624012"/>
                  <a:gd name="connsiteY113" fmla="*/ 590550 h 1533525"/>
                  <a:gd name="connsiteX114" fmla="*/ 1035843 w 1624012"/>
                  <a:gd name="connsiteY114" fmla="*/ 607219 h 1533525"/>
                  <a:gd name="connsiteX115" fmla="*/ 1045368 w 1624012"/>
                  <a:gd name="connsiteY115" fmla="*/ 645319 h 1533525"/>
                  <a:gd name="connsiteX116" fmla="*/ 1064418 w 1624012"/>
                  <a:gd name="connsiteY116" fmla="*/ 645319 h 1533525"/>
                  <a:gd name="connsiteX117" fmla="*/ 1078706 w 1624012"/>
                  <a:gd name="connsiteY117" fmla="*/ 666750 h 1533525"/>
                  <a:gd name="connsiteX118" fmla="*/ 1085850 w 1624012"/>
                  <a:gd name="connsiteY118" fmla="*/ 688181 h 1533525"/>
                  <a:gd name="connsiteX119" fmla="*/ 1076325 w 1624012"/>
                  <a:gd name="connsiteY119" fmla="*/ 719138 h 1533525"/>
                  <a:gd name="connsiteX120" fmla="*/ 1021556 w 1624012"/>
                  <a:gd name="connsiteY120" fmla="*/ 714375 h 1533525"/>
                  <a:gd name="connsiteX121" fmla="*/ 1002506 w 1624012"/>
                  <a:gd name="connsiteY121" fmla="*/ 721519 h 1533525"/>
                  <a:gd name="connsiteX122" fmla="*/ 995362 w 1624012"/>
                  <a:gd name="connsiteY122" fmla="*/ 726281 h 1533525"/>
                  <a:gd name="connsiteX123" fmla="*/ 995362 w 1624012"/>
                  <a:gd name="connsiteY123" fmla="*/ 726281 h 1533525"/>
                  <a:gd name="connsiteX124" fmla="*/ 923925 w 1624012"/>
                  <a:gd name="connsiteY124" fmla="*/ 721519 h 1533525"/>
                  <a:gd name="connsiteX125" fmla="*/ 940593 w 1624012"/>
                  <a:gd name="connsiteY125" fmla="*/ 778669 h 1533525"/>
                  <a:gd name="connsiteX126" fmla="*/ 938212 w 1624012"/>
                  <a:gd name="connsiteY126" fmla="*/ 847725 h 1533525"/>
                  <a:gd name="connsiteX127" fmla="*/ 954881 w 1624012"/>
                  <a:gd name="connsiteY127" fmla="*/ 871538 h 1533525"/>
                  <a:gd name="connsiteX128" fmla="*/ 997743 w 1624012"/>
                  <a:gd name="connsiteY128" fmla="*/ 919163 h 1533525"/>
                  <a:gd name="connsiteX129" fmla="*/ 1012031 w 1624012"/>
                  <a:gd name="connsiteY129" fmla="*/ 954881 h 1533525"/>
                  <a:gd name="connsiteX130" fmla="*/ 1031081 w 1624012"/>
                  <a:gd name="connsiteY130" fmla="*/ 954881 h 1533525"/>
                  <a:gd name="connsiteX131" fmla="*/ 1071562 w 1624012"/>
                  <a:gd name="connsiteY131" fmla="*/ 940594 h 1533525"/>
                  <a:gd name="connsiteX132" fmla="*/ 1102518 w 1624012"/>
                  <a:gd name="connsiteY132" fmla="*/ 933450 h 1533525"/>
                  <a:gd name="connsiteX133" fmla="*/ 1159668 w 1624012"/>
                  <a:gd name="connsiteY133" fmla="*/ 997744 h 1533525"/>
                  <a:gd name="connsiteX134" fmla="*/ 1178718 w 1624012"/>
                  <a:gd name="connsiteY134" fmla="*/ 1052513 h 1533525"/>
                  <a:gd name="connsiteX135" fmla="*/ 1190625 w 1624012"/>
                  <a:gd name="connsiteY135" fmla="*/ 1081088 h 1533525"/>
                  <a:gd name="connsiteX136" fmla="*/ 1212056 w 1624012"/>
                  <a:gd name="connsiteY136" fmla="*/ 1109663 h 1533525"/>
                  <a:gd name="connsiteX137" fmla="*/ 1231106 w 1624012"/>
                  <a:gd name="connsiteY137" fmla="*/ 1102519 h 1533525"/>
                  <a:gd name="connsiteX138" fmla="*/ 1231106 w 1624012"/>
                  <a:gd name="connsiteY138" fmla="*/ 1131094 h 1533525"/>
                  <a:gd name="connsiteX139" fmla="*/ 1233487 w 1624012"/>
                  <a:gd name="connsiteY139" fmla="*/ 1145381 h 1533525"/>
                  <a:gd name="connsiteX140" fmla="*/ 1266825 w 1624012"/>
                  <a:gd name="connsiteY140" fmla="*/ 1181100 h 1533525"/>
                  <a:gd name="connsiteX141" fmla="*/ 1233487 w 1624012"/>
                  <a:gd name="connsiteY141" fmla="*/ 1181100 h 1533525"/>
                  <a:gd name="connsiteX142" fmla="*/ 1228725 w 1624012"/>
                  <a:gd name="connsiteY142" fmla="*/ 1223963 h 1533525"/>
                  <a:gd name="connsiteX143" fmla="*/ 1226343 w 1624012"/>
                  <a:gd name="connsiteY143" fmla="*/ 1243013 h 1533525"/>
                  <a:gd name="connsiteX144" fmla="*/ 1216818 w 1624012"/>
                  <a:gd name="connsiteY144" fmla="*/ 1264444 h 1533525"/>
                  <a:gd name="connsiteX145" fmla="*/ 1190625 w 1624012"/>
                  <a:gd name="connsiteY145" fmla="*/ 1238250 h 1533525"/>
                  <a:gd name="connsiteX146" fmla="*/ 1157287 w 1624012"/>
                  <a:gd name="connsiteY146" fmla="*/ 1209675 h 1533525"/>
                  <a:gd name="connsiteX147" fmla="*/ 1131093 w 1624012"/>
                  <a:gd name="connsiteY147" fmla="*/ 1185863 h 1533525"/>
                  <a:gd name="connsiteX148" fmla="*/ 1107281 w 1624012"/>
                  <a:gd name="connsiteY148" fmla="*/ 1219200 h 1533525"/>
                  <a:gd name="connsiteX149" fmla="*/ 1104900 w 1624012"/>
                  <a:gd name="connsiteY149" fmla="*/ 1264444 h 1533525"/>
                  <a:gd name="connsiteX150" fmla="*/ 1062037 w 1624012"/>
                  <a:gd name="connsiteY150" fmla="*/ 1259681 h 1533525"/>
                  <a:gd name="connsiteX151" fmla="*/ 1026318 w 1624012"/>
                  <a:gd name="connsiteY151" fmla="*/ 1288256 h 1533525"/>
                  <a:gd name="connsiteX152" fmla="*/ 1007268 w 1624012"/>
                  <a:gd name="connsiteY152" fmla="*/ 1240631 h 1533525"/>
                  <a:gd name="connsiteX153" fmla="*/ 947737 w 1624012"/>
                  <a:gd name="connsiteY153" fmla="*/ 1231106 h 1533525"/>
                  <a:gd name="connsiteX154" fmla="*/ 921543 w 1624012"/>
                  <a:gd name="connsiteY154" fmla="*/ 1297781 h 1533525"/>
                  <a:gd name="connsiteX155" fmla="*/ 885825 w 1624012"/>
                  <a:gd name="connsiteY155" fmla="*/ 1278731 h 1533525"/>
                  <a:gd name="connsiteX156" fmla="*/ 816768 w 1624012"/>
                  <a:gd name="connsiteY156" fmla="*/ 1295400 h 1533525"/>
                  <a:gd name="connsiteX157" fmla="*/ 757237 w 1624012"/>
                  <a:gd name="connsiteY157" fmla="*/ 1259681 h 1533525"/>
                  <a:gd name="connsiteX158" fmla="*/ 742950 w 1624012"/>
                  <a:gd name="connsiteY158" fmla="*/ 1312069 h 1533525"/>
                  <a:gd name="connsiteX159" fmla="*/ 704850 w 1624012"/>
                  <a:gd name="connsiteY159" fmla="*/ 1345406 h 1533525"/>
                  <a:gd name="connsiteX160" fmla="*/ 692943 w 1624012"/>
                  <a:gd name="connsiteY160" fmla="*/ 1366838 h 1533525"/>
                  <a:gd name="connsiteX161" fmla="*/ 671512 w 1624012"/>
                  <a:gd name="connsiteY161" fmla="*/ 1509713 h 1533525"/>
                  <a:gd name="connsiteX162" fmla="*/ 633412 w 1624012"/>
                  <a:gd name="connsiteY162" fmla="*/ 1490663 h 1533525"/>
                  <a:gd name="connsiteX163" fmla="*/ 614362 w 1624012"/>
                  <a:gd name="connsiteY163" fmla="*/ 1504950 h 1533525"/>
                  <a:gd name="connsiteX164" fmla="*/ 581025 w 1624012"/>
                  <a:gd name="connsiteY164" fmla="*/ 1531144 h 1533525"/>
                  <a:gd name="connsiteX165" fmla="*/ 523875 w 1624012"/>
                  <a:gd name="connsiteY165" fmla="*/ 1502569 h 1533525"/>
                  <a:gd name="connsiteX166" fmla="*/ 514350 w 1624012"/>
                  <a:gd name="connsiteY166" fmla="*/ 1490663 h 1533525"/>
                  <a:gd name="connsiteX167" fmla="*/ 483393 w 1624012"/>
                  <a:gd name="connsiteY167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40656 w 1624012"/>
                  <a:gd name="connsiteY97" fmla="*/ 104775 h 1533525"/>
                  <a:gd name="connsiteX98" fmla="*/ 1490662 w 1624012"/>
                  <a:gd name="connsiteY98" fmla="*/ 142875 h 1533525"/>
                  <a:gd name="connsiteX99" fmla="*/ 1543050 w 1624012"/>
                  <a:gd name="connsiteY99" fmla="*/ 147638 h 1533525"/>
                  <a:gd name="connsiteX100" fmla="*/ 1547812 w 1624012"/>
                  <a:gd name="connsiteY100" fmla="*/ 121444 h 1533525"/>
                  <a:gd name="connsiteX101" fmla="*/ 1574006 w 1624012"/>
                  <a:gd name="connsiteY101" fmla="*/ 121444 h 1533525"/>
                  <a:gd name="connsiteX102" fmla="*/ 1624012 w 1624012"/>
                  <a:gd name="connsiteY102" fmla="*/ 109538 h 1533525"/>
                  <a:gd name="connsiteX103" fmla="*/ 1057275 w 1624012"/>
                  <a:gd name="connsiteY103" fmla="*/ 264319 h 1533525"/>
                  <a:gd name="connsiteX104" fmla="*/ 1062037 w 1624012"/>
                  <a:gd name="connsiteY104" fmla="*/ 304800 h 1533525"/>
                  <a:gd name="connsiteX105" fmla="*/ 995362 w 1624012"/>
                  <a:gd name="connsiteY105" fmla="*/ 352425 h 1533525"/>
                  <a:gd name="connsiteX106" fmla="*/ 973931 w 1624012"/>
                  <a:gd name="connsiteY106" fmla="*/ 383381 h 1533525"/>
                  <a:gd name="connsiteX107" fmla="*/ 1000125 w 1624012"/>
                  <a:gd name="connsiteY107" fmla="*/ 428625 h 1533525"/>
                  <a:gd name="connsiteX108" fmla="*/ 983456 w 1624012"/>
                  <a:gd name="connsiteY108" fmla="*/ 466725 h 1533525"/>
                  <a:gd name="connsiteX109" fmla="*/ 1000125 w 1624012"/>
                  <a:gd name="connsiteY109" fmla="*/ 519113 h 1533525"/>
                  <a:gd name="connsiteX110" fmla="*/ 1033462 w 1624012"/>
                  <a:gd name="connsiteY110" fmla="*/ 519113 h 1533525"/>
                  <a:gd name="connsiteX111" fmla="*/ 1019175 w 1624012"/>
                  <a:gd name="connsiteY111" fmla="*/ 552450 h 1533525"/>
                  <a:gd name="connsiteX112" fmla="*/ 1035843 w 1624012"/>
                  <a:gd name="connsiteY112" fmla="*/ 590550 h 1533525"/>
                  <a:gd name="connsiteX113" fmla="*/ 1035843 w 1624012"/>
                  <a:gd name="connsiteY113" fmla="*/ 607219 h 1533525"/>
                  <a:gd name="connsiteX114" fmla="*/ 1045368 w 1624012"/>
                  <a:gd name="connsiteY114" fmla="*/ 645319 h 1533525"/>
                  <a:gd name="connsiteX115" fmla="*/ 1064418 w 1624012"/>
                  <a:gd name="connsiteY115" fmla="*/ 645319 h 1533525"/>
                  <a:gd name="connsiteX116" fmla="*/ 1078706 w 1624012"/>
                  <a:gd name="connsiteY116" fmla="*/ 666750 h 1533525"/>
                  <a:gd name="connsiteX117" fmla="*/ 1085850 w 1624012"/>
                  <a:gd name="connsiteY117" fmla="*/ 688181 h 1533525"/>
                  <a:gd name="connsiteX118" fmla="*/ 1076325 w 1624012"/>
                  <a:gd name="connsiteY118" fmla="*/ 719138 h 1533525"/>
                  <a:gd name="connsiteX119" fmla="*/ 1021556 w 1624012"/>
                  <a:gd name="connsiteY119" fmla="*/ 714375 h 1533525"/>
                  <a:gd name="connsiteX120" fmla="*/ 1002506 w 1624012"/>
                  <a:gd name="connsiteY120" fmla="*/ 721519 h 1533525"/>
                  <a:gd name="connsiteX121" fmla="*/ 995362 w 1624012"/>
                  <a:gd name="connsiteY121" fmla="*/ 726281 h 1533525"/>
                  <a:gd name="connsiteX122" fmla="*/ 995362 w 1624012"/>
                  <a:gd name="connsiteY122" fmla="*/ 726281 h 1533525"/>
                  <a:gd name="connsiteX123" fmla="*/ 923925 w 1624012"/>
                  <a:gd name="connsiteY123" fmla="*/ 721519 h 1533525"/>
                  <a:gd name="connsiteX124" fmla="*/ 940593 w 1624012"/>
                  <a:gd name="connsiteY124" fmla="*/ 778669 h 1533525"/>
                  <a:gd name="connsiteX125" fmla="*/ 938212 w 1624012"/>
                  <a:gd name="connsiteY125" fmla="*/ 847725 h 1533525"/>
                  <a:gd name="connsiteX126" fmla="*/ 954881 w 1624012"/>
                  <a:gd name="connsiteY126" fmla="*/ 871538 h 1533525"/>
                  <a:gd name="connsiteX127" fmla="*/ 997743 w 1624012"/>
                  <a:gd name="connsiteY127" fmla="*/ 919163 h 1533525"/>
                  <a:gd name="connsiteX128" fmla="*/ 1012031 w 1624012"/>
                  <a:gd name="connsiteY128" fmla="*/ 954881 h 1533525"/>
                  <a:gd name="connsiteX129" fmla="*/ 1031081 w 1624012"/>
                  <a:gd name="connsiteY129" fmla="*/ 954881 h 1533525"/>
                  <a:gd name="connsiteX130" fmla="*/ 1071562 w 1624012"/>
                  <a:gd name="connsiteY130" fmla="*/ 940594 h 1533525"/>
                  <a:gd name="connsiteX131" fmla="*/ 1102518 w 1624012"/>
                  <a:gd name="connsiteY131" fmla="*/ 933450 h 1533525"/>
                  <a:gd name="connsiteX132" fmla="*/ 1159668 w 1624012"/>
                  <a:gd name="connsiteY132" fmla="*/ 997744 h 1533525"/>
                  <a:gd name="connsiteX133" fmla="*/ 1178718 w 1624012"/>
                  <a:gd name="connsiteY133" fmla="*/ 1052513 h 1533525"/>
                  <a:gd name="connsiteX134" fmla="*/ 1190625 w 1624012"/>
                  <a:gd name="connsiteY134" fmla="*/ 1081088 h 1533525"/>
                  <a:gd name="connsiteX135" fmla="*/ 1212056 w 1624012"/>
                  <a:gd name="connsiteY135" fmla="*/ 1109663 h 1533525"/>
                  <a:gd name="connsiteX136" fmla="*/ 1231106 w 1624012"/>
                  <a:gd name="connsiteY136" fmla="*/ 1102519 h 1533525"/>
                  <a:gd name="connsiteX137" fmla="*/ 1231106 w 1624012"/>
                  <a:gd name="connsiteY137" fmla="*/ 1131094 h 1533525"/>
                  <a:gd name="connsiteX138" fmla="*/ 1233487 w 1624012"/>
                  <a:gd name="connsiteY138" fmla="*/ 1145381 h 1533525"/>
                  <a:gd name="connsiteX139" fmla="*/ 1266825 w 1624012"/>
                  <a:gd name="connsiteY139" fmla="*/ 1181100 h 1533525"/>
                  <a:gd name="connsiteX140" fmla="*/ 1233487 w 1624012"/>
                  <a:gd name="connsiteY140" fmla="*/ 1181100 h 1533525"/>
                  <a:gd name="connsiteX141" fmla="*/ 1228725 w 1624012"/>
                  <a:gd name="connsiteY141" fmla="*/ 1223963 h 1533525"/>
                  <a:gd name="connsiteX142" fmla="*/ 1226343 w 1624012"/>
                  <a:gd name="connsiteY142" fmla="*/ 1243013 h 1533525"/>
                  <a:gd name="connsiteX143" fmla="*/ 1216818 w 1624012"/>
                  <a:gd name="connsiteY143" fmla="*/ 1264444 h 1533525"/>
                  <a:gd name="connsiteX144" fmla="*/ 1190625 w 1624012"/>
                  <a:gd name="connsiteY144" fmla="*/ 1238250 h 1533525"/>
                  <a:gd name="connsiteX145" fmla="*/ 1157287 w 1624012"/>
                  <a:gd name="connsiteY145" fmla="*/ 1209675 h 1533525"/>
                  <a:gd name="connsiteX146" fmla="*/ 1131093 w 1624012"/>
                  <a:gd name="connsiteY146" fmla="*/ 1185863 h 1533525"/>
                  <a:gd name="connsiteX147" fmla="*/ 1107281 w 1624012"/>
                  <a:gd name="connsiteY147" fmla="*/ 1219200 h 1533525"/>
                  <a:gd name="connsiteX148" fmla="*/ 1104900 w 1624012"/>
                  <a:gd name="connsiteY148" fmla="*/ 1264444 h 1533525"/>
                  <a:gd name="connsiteX149" fmla="*/ 1062037 w 1624012"/>
                  <a:gd name="connsiteY149" fmla="*/ 1259681 h 1533525"/>
                  <a:gd name="connsiteX150" fmla="*/ 1026318 w 1624012"/>
                  <a:gd name="connsiteY150" fmla="*/ 1288256 h 1533525"/>
                  <a:gd name="connsiteX151" fmla="*/ 1007268 w 1624012"/>
                  <a:gd name="connsiteY151" fmla="*/ 1240631 h 1533525"/>
                  <a:gd name="connsiteX152" fmla="*/ 947737 w 1624012"/>
                  <a:gd name="connsiteY152" fmla="*/ 1231106 h 1533525"/>
                  <a:gd name="connsiteX153" fmla="*/ 921543 w 1624012"/>
                  <a:gd name="connsiteY153" fmla="*/ 1297781 h 1533525"/>
                  <a:gd name="connsiteX154" fmla="*/ 885825 w 1624012"/>
                  <a:gd name="connsiteY154" fmla="*/ 1278731 h 1533525"/>
                  <a:gd name="connsiteX155" fmla="*/ 816768 w 1624012"/>
                  <a:gd name="connsiteY155" fmla="*/ 1295400 h 1533525"/>
                  <a:gd name="connsiteX156" fmla="*/ 757237 w 1624012"/>
                  <a:gd name="connsiteY156" fmla="*/ 1259681 h 1533525"/>
                  <a:gd name="connsiteX157" fmla="*/ 742950 w 1624012"/>
                  <a:gd name="connsiteY157" fmla="*/ 1312069 h 1533525"/>
                  <a:gd name="connsiteX158" fmla="*/ 704850 w 1624012"/>
                  <a:gd name="connsiteY158" fmla="*/ 1345406 h 1533525"/>
                  <a:gd name="connsiteX159" fmla="*/ 692943 w 1624012"/>
                  <a:gd name="connsiteY159" fmla="*/ 1366838 h 1533525"/>
                  <a:gd name="connsiteX160" fmla="*/ 671512 w 1624012"/>
                  <a:gd name="connsiteY160" fmla="*/ 1509713 h 1533525"/>
                  <a:gd name="connsiteX161" fmla="*/ 633412 w 1624012"/>
                  <a:gd name="connsiteY161" fmla="*/ 1490663 h 1533525"/>
                  <a:gd name="connsiteX162" fmla="*/ 614362 w 1624012"/>
                  <a:gd name="connsiteY162" fmla="*/ 1504950 h 1533525"/>
                  <a:gd name="connsiteX163" fmla="*/ 581025 w 1624012"/>
                  <a:gd name="connsiteY163" fmla="*/ 1531144 h 1533525"/>
                  <a:gd name="connsiteX164" fmla="*/ 523875 w 1624012"/>
                  <a:gd name="connsiteY164" fmla="*/ 1502569 h 1533525"/>
                  <a:gd name="connsiteX165" fmla="*/ 514350 w 1624012"/>
                  <a:gd name="connsiteY165" fmla="*/ 1490663 h 1533525"/>
                  <a:gd name="connsiteX166" fmla="*/ 483393 w 1624012"/>
                  <a:gd name="connsiteY166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90662 w 1624012"/>
                  <a:gd name="connsiteY97" fmla="*/ 142875 h 1533525"/>
                  <a:gd name="connsiteX98" fmla="*/ 1543050 w 1624012"/>
                  <a:gd name="connsiteY98" fmla="*/ 147638 h 1533525"/>
                  <a:gd name="connsiteX99" fmla="*/ 1547812 w 1624012"/>
                  <a:gd name="connsiteY99" fmla="*/ 121444 h 1533525"/>
                  <a:gd name="connsiteX100" fmla="*/ 1574006 w 1624012"/>
                  <a:gd name="connsiteY100" fmla="*/ 121444 h 1533525"/>
                  <a:gd name="connsiteX101" fmla="*/ 1624012 w 1624012"/>
                  <a:gd name="connsiteY101" fmla="*/ 109538 h 1533525"/>
                  <a:gd name="connsiteX102" fmla="*/ 1057275 w 1624012"/>
                  <a:gd name="connsiteY102" fmla="*/ 264319 h 1533525"/>
                  <a:gd name="connsiteX103" fmla="*/ 1062037 w 1624012"/>
                  <a:gd name="connsiteY103" fmla="*/ 304800 h 1533525"/>
                  <a:gd name="connsiteX104" fmla="*/ 995362 w 1624012"/>
                  <a:gd name="connsiteY104" fmla="*/ 352425 h 1533525"/>
                  <a:gd name="connsiteX105" fmla="*/ 973931 w 1624012"/>
                  <a:gd name="connsiteY105" fmla="*/ 383381 h 1533525"/>
                  <a:gd name="connsiteX106" fmla="*/ 1000125 w 1624012"/>
                  <a:gd name="connsiteY106" fmla="*/ 428625 h 1533525"/>
                  <a:gd name="connsiteX107" fmla="*/ 983456 w 1624012"/>
                  <a:gd name="connsiteY107" fmla="*/ 466725 h 1533525"/>
                  <a:gd name="connsiteX108" fmla="*/ 1000125 w 1624012"/>
                  <a:gd name="connsiteY108" fmla="*/ 519113 h 1533525"/>
                  <a:gd name="connsiteX109" fmla="*/ 1033462 w 1624012"/>
                  <a:gd name="connsiteY109" fmla="*/ 519113 h 1533525"/>
                  <a:gd name="connsiteX110" fmla="*/ 1019175 w 1624012"/>
                  <a:gd name="connsiteY110" fmla="*/ 552450 h 1533525"/>
                  <a:gd name="connsiteX111" fmla="*/ 1035843 w 1624012"/>
                  <a:gd name="connsiteY111" fmla="*/ 590550 h 1533525"/>
                  <a:gd name="connsiteX112" fmla="*/ 1035843 w 1624012"/>
                  <a:gd name="connsiteY112" fmla="*/ 607219 h 1533525"/>
                  <a:gd name="connsiteX113" fmla="*/ 1045368 w 1624012"/>
                  <a:gd name="connsiteY113" fmla="*/ 645319 h 1533525"/>
                  <a:gd name="connsiteX114" fmla="*/ 1064418 w 1624012"/>
                  <a:gd name="connsiteY114" fmla="*/ 645319 h 1533525"/>
                  <a:gd name="connsiteX115" fmla="*/ 1078706 w 1624012"/>
                  <a:gd name="connsiteY115" fmla="*/ 666750 h 1533525"/>
                  <a:gd name="connsiteX116" fmla="*/ 1085850 w 1624012"/>
                  <a:gd name="connsiteY116" fmla="*/ 688181 h 1533525"/>
                  <a:gd name="connsiteX117" fmla="*/ 1076325 w 1624012"/>
                  <a:gd name="connsiteY117" fmla="*/ 719138 h 1533525"/>
                  <a:gd name="connsiteX118" fmla="*/ 1021556 w 1624012"/>
                  <a:gd name="connsiteY118" fmla="*/ 714375 h 1533525"/>
                  <a:gd name="connsiteX119" fmla="*/ 1002506 w 1624012"/>
                  <a:gd name="connsiteY119" fmla="*/ 721519 h 1533525"/>
                  <a:gd name="connsiteX120" fmla="*/ 995362 w 1624012"/>
                  <a:gd name="connsiteY120" fmla="*/ 726281 h 1533525"/>
                  <a:gd name="connsiteX121" fmla="*/ 995362 w 1624012"/>
                  <a:gd name="connsiteY121" fmla="*/ 726281 h 1533525"/>
                  <a:gd name="connsiteX122" fmla="*/ 923925 w 1624012"/>
                  <a:gd name="connsiteY122" fmla="*/ 721519 h 1533525"/>
                  <a:gd name="connsiteX123" fmla="*/ 940593 w 1624012"/>
                  <a:gd name="connsiteY123" fmla="*/ 778669 h 1533525"/>
                  <a:gd name="connsiteX124" fmla="*/ 938212 w 1624012"/>
                  <a:gd name="connsiteY124" fmla="*/ 847725 h 1533525"/>
                  <a:gd name="connsiteX125" fmla="*/ 954881 w 1624012"/>
                  <a:gd name="connsiteY125" fmla="*/ 871538 h 1533525"/>
                  <a:gd name="connsiteX126" fmla="*/ 997743 w 1624012"/>
                  <a:gd name="connsiteY126" fmla="*/ 919163 h 1533525"/>
                  <a:gd name="connsiteX127" fmla="*/ 1012031 w 1624012"/>
                  <a:gd name="connsiteY127" fmla="*/ 954881 h 1533525"/>
                  <a:gd name="connsiteX128" fmla="*/ 1031081 w 1624012"/>
                  <a:gd name="connsiteY128" fmla="*/ 954881 h 1533525"/>
                  <a:gd name="connsiteX129" fmla="*/ 1071562 w 1624012"/>
                  <a:gd name="connsiteY129" fmla="*/ 940594 h 1533525"/>
                  <a:gd name="connsiteX130" fmla="*/ 1102518 w 1624012"/>
                  <a:gd name="connsiteY130" fmla="*/ 933450 h 1533525"/>
                  <a:gd name="connsiteX131" fmla="*/ 1159668 w 1624012"/>
                  <a:gd name="connsiteY131" fmla="*/ 997744 h 1533525"/>
                  <a:gd name="connsiteX132" fmla="*/ 1178718 w 1624012"/>
                  <a:gd name="connsiteY132" fmla="*/ 1052513 h 1533525"/>
                  <a:gd name="connsiteX133" fmla="*/ 1190625 w 1624012"/>
                  <a:gd name="connsiteY133" fmla="*/ 1081088 h 1533525"/>
                  <a:gd name="connsiteX134" fmla="*/ 1212056 w 1624012"/>
                  <a:gd name="connsiteY134" fmla="*/ 1109663 h 1533525"/>
                  <a:gd name="connsiteX135" fmla="*/ 1231106 w 1624012"/>
                  <a:gd name="connsiteY135" fmla="*/ 1102519 h 1533525"/>
                  <a:gd name="connsiteX136" fmla="*/ 1231106 w 1624012"/>
                  <a:gd name="connsiteY136" fmla="*/ 1131094 h 1533525"/>
                  <a:gd name="connsiteX137" fmla="*/ 1233487 w 1624012"/>
                  <a:gd name="connsiteY137" fmla="*/ 1145381 h 1533525"/>
                  <a:gd name="connsiteX138" fmla="*/ 1266825 w 1624012"/>
                  <a:gd name="connsiteY138" fmla="*/ 1181100 h 1533525"/>
                  <a:gd name="connsiteX139" fmla="*/ 1233487 w 1624012"/>
                  <a:gd name="connsiteY139" fmla="*/ 1181100 h 1533525"/>
                  <a:gd name="connsiteX140" fmla="*/ 1228725 w 1624012"/>
                  <a:gd name="connsiteY140" fmla="*/ 1223963 h 1533525"/>
                  <a:gd name="connsiteX141" fmla="*/ 1226343 w 1624012"/>
                  <a:gd name="connsiteY141" fmla="*/ 1243013 h 1533525"/>
                  <a:gd name="connsiteX142" fmla="*/ 1216818 w 1624012"/>
                  <a:gd name="connsiteY142" fmla="*/ 1264444 h 1533525"/>
                  <a:gd name="connsiteX143" fmla="*/ 1190625 w 1624012"/>
                  <a:gd name="connsiteY143" fmla="*/ 1238250 h 1533525"/>
                  <a:gd name="connsiteX144" fmla="*/ 1157287 w 1624012"/>
                  <a:gd name="connsiteY144" fmla="*/ 1209675 h 1533525"/>
                  <a:gd name="connsiteX145" fmla="*/ 1131093 w 1624012"/>
                  <a:gd name="connsiteY145" fmla="*/ 1185863 h 1533525"/>
                  <a:gd name="connsiteX146" fmla="*/ 1107281 w 1624012"/>
                  <a:gd name="connsiteY146" fmla="*/ 1219200 h 1533525"/>
                  <a:gd name="connsiteX147" fmla="*/ 1104900 w 1624012"/>
                  <a:gd name="connsiteY147" fmla="*/ 1264444 h 1533525"/>
                  <a:gd name="connsiteX148" fmla="*/ 1062037 w 1624012"/>
                  <a:gd name="connsiteY148" fmla="*/ 1259681 h 1533525"/>
                  <a:gd name="connsiteX149" fmla="*/ 1026318 w 1624012"/>
                  <a:gd name="connsiteY149" fmla="*/ 1288256 h 1533525"/>
                  <a:gd name="connsiteX150" fmla="*/ 1007268 w 1624012"/>
                  <a:gd name="connsiteY150" fmla="*/ 1240631 h 1533525"/>
                  <a:gd name="connsiteX151" fmla="*/ 947737 w 1624012"/>
                  <a:gd name="connsiteY151" fmla="*/ 1231106 h 1533525"/>
                  <a:gd name="connsiteX152" fmla="*/ 921543 w 1624012"/>
                  <a:gd name="connsiteY152" fmla="*/ 1297781 h 1533525"/>
                  <a:gd name="connsiteX153" fmla="*/ 885825 w 1624012"/>
                  <a:gd name="connsiteY153" fmla="*/ 1278731 h 1533525"/>
                  <a:gd name="connsiteX154" fmla="*/ 816768 w 1624012"/>
                  <a:gd name="connsiteY154" fmla="*/ 1295400 h 1533525"/>
                  <a:gd name="connsiteX155" fmla="*/ 757237 w 1624012"/>
                  <a:gd name="connsiteY155" fmla="*/ 1259681 h 1533525"/>
                  <a:gd name="connsiteX156" fmla="*/ 742950 w 1624012"/>
                  <a:gd name="connsiteY156" fmla="*/ 1312069 h 1533525"/>
                  <a:gd name="connsiteX157" fmla="*/ 704850 w 1624012"/>
                  <a:gd name="connsiteY157" fmla="*/ 1345406 h 1533525"/>
                  <a:gd name="connsiteX158" fmla="*/ 692943 w 1624012"/>
                  <a:gd name="connsiteY158" fmla="*/ 1366838 h 1533525"/>
                  <a:gd name="connsiteX159" fmla="*/ 671512 w 1624012"/>
                  <a:gd name="connsiteY159" fmla="*/ 1509713 h 1533525"/>
                  <a:gd name="connsiteX160" fmla="*/ 633412 w 1624012"/>
                  <a:gd name="connsiteY160" fmla="*/ 1490663 h 1533525"/>
                  <a:gd name="connsiteX161" fmla="*/ 614362 w 1624012"/>
                  <a:gd name="connsiteY161" fmla="*/ 1504950 h 1533525"/>
                  <a:gd name="connsiteX162" fmla="*/ 581025 w 1624012"/>
                  <a:gd name="connsiteY162" fmla="*/ 1531144 h 1533525"/>
                  <a:gd name="connsiteX163" fmla="*/ 523875 w 1624012"/>
                  <a:gd name="connsiteY163" fmla="*/ 1502569 h 1533525"/>
                  <a:gd name="connsiteX164" fmla="*/ 514350 w 1624012"/>
                  <a:gd name="connsiteY164" fmla="*/ 1490663 h 1533525"/>
                  <a:gd name="connsiteX165" fmla="*/ 483393 w 1624012"/>
                  <a:gd name="connsiteY165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543050 w 1624012"/>
                  <a:gd name="connsiteY97" fmla="*/ 147638 h 1533525"/>
                  <a:gd name="connsiteX98" fmla="*/ 1547812 w 1624012"/>
                  <a:gd name="connsiteY98" fmla="*/ 121444 h 1533525"/>
                  <a:gd name="connsiteX99" fmla="*/ 1574006 w 1624012"/>
                  <a:gd name="connsiteY99" fmla="*/ 121444 h 1533525"/>
                  <a:gd name="connsiteX100" fmla="*/ 1624012 w 1624012"/>
                  <a:gd name="connsiteY100" fmla="*/ 109538 h 1533525"/>
                  <a:gd name="connsiteX101" fmla="*/ 1057275 w 1624012"/>
                  <a:gd name="connsiteY101" fmla="*/ 264319 h 1533525"/>
                  <a:gd name="connsiteX102" fmla="*/ 1062037 w 1624012"/>
                  <a:gd name="connsiteY102" fmla="*/ 304800 h 1533525"/>
                  <a:gd name="connsiteX103" fmla="*/ 995362 w 1624012"/>
                  <a:gd name="connsiteY103" fmla="*/ 352425 h 1533525"/>
                  <a:gd name="connsiteX104" fmla="*/ 973931 w 1624012"/>
                  <a:gd name="connsiteY104" fmla="*/ 383381 h 1533525"/>
                  <a:gd name="connsiteX105" fmla="*/ 1000125 w 1624012"/>
                  <a:gd name="connsiteY105" fmla="*/ 428625 h 1533525"/>
                  <a:gd name="connsiteX106" fmla="*/ 983456 w 1624012"/>
                  <a:gd name="connsiteY106" fmla="*/ 466725 h 1533525"/>
                  <a:gd name="connsiteX107" fmla="*/ 1000125 w 1624012"/>
                  <a:gd name="connsiteY107" fmla="*/ 519113 h 1533525"/>
                  <a:gd name="connsiteX108" fmla="*/ 1033462 w 1624012"/>
                  <a:gd name="connsiteY108" fmla="*/ 519113 h 1533525"/>
                  <a:gd name="connsiteX109" fmla="*/ 1019175 w 1624012"/>
                  <a:gd name="connsiteY109" fmla="*/ 552450 h 1533525"/>
                  <a:gd name="connsiteX110" fmla="*/ 1035843 w 1624012"/>
                  <a:gd name="connsiteY110" fmla="*/ 590550 h 1533525"/>
                  <a:gd name="connsiteX111" fmla="*/ 1035843 w 1624012"/>
                  <a:gd name="connsiteY111" fmla="*/ 607219 h 1533525"/>
                  <a:gd name="connsiteX112" fmla="*/ 1045368 w 1624012"/>
                  <a:gd name="connsiteY112" fmla="*/ 645319 h 1533525"/>
                  <a:gd name="connsiteX113" fmla="*/ 1064418 w 1624012"/>
                  <a:gd name="connsiteY113" fmla="*/ 645319 h 1533525"/>
                  <a:gd name="connsiteX114" fmla="*/ 1078706 w 1624012"/>
                  <a:gd name="connsiteY114" fmla="*/ 666750 h 1533525"/>
                  <a:gd name="connsiteX115" fmla="*/ 1085850 w 1624012"/>
                  <a:gd name="connsiteY115" fmla="*/ 688181 h 1533525"/>
                  <a:gd name="connsiteX116" fmla="*/ 1076325 w 1624012"/>
                  <a:gd name="connsiteY116" fmla="*/ 719138 h 1533525"/>
                  <a:gd name="connsiteX117" fmla="*/ 1021556 w 1624012"/>
                  <a:gd name="connsiteY117" fmla="*/ 714375 h 1533525"/>
                  <a:gd name="connsiteX118" fmla="*/ 1002506 w 1624012"/>
                  <a:gd name="connsiteY118" fmla="*/ 721519 h 1533525"/>
                  <a:gd name="connsiteX119" fmla="*/ 995362 w 1624012"/>
                  <a:gd name="connsiteY119" fmla="*/ 726281 h 1533525"/>
                  <a:gd name="connsiteX120" fmla="*/ 995362 w 1624012"/>
                  <a:gd name="connsiteY120" fmla="*/ 726281 h 1533525"/>
                  <a:gd name="connsiteX121" fmla="*/ 923925 w 1624012"/>
                  <a:gd name="connsiteY121" fmla="*/ 721519 h 1533525"/>
                  <a:gd name="connsiteX122" fmla="*/ 940593 w 1624012"/>
                  <a:gd name="connsiteY122" fmla="*/ 778669 h 1533525"/>
                  <a:gd name="connsiteX123" fmla="*/ 938212 w 1624012"/>
                  <a:gd name="connsiteY123" fmla="*/ 847725 h 1533525"/>
                  <a:gd name="connsiteX124" fmla="*/ 954881 w 1624012"/>
                  <a:gd name="connsiteY124" fmla="*/ 871538 h 1533525"/>
                  <a:gd name="connsiteX125" fmla="*/ 997743 w 1624012"/>
                  <a:gd name="connsiteY125" fmla="*/ 919163 h 1533525"/>
                  <a:gd name="connsiteX126" fmla="*/ 1012031 w 1624012"/>
                  <a:gd name="connsiteY126" fmla="*/ 954881 h 1533525"/>
                  <a:gd name="connsiteX127" fmla="*/ 1031081 w 1624012"/>
                  <a:gd name="connsiteY127" fmla="*/ 954881 h 1533525"/>
                  <a:gd name="connsiteX128" fmla="*/ 1071562 w 1624012"/>
                  <a:gd name="connsiteY128" fmla="*/ 940594 h 1533525"/>
                  <a:gd name="connsiteX129" fmla="*/ 1102518 w 1624012"/>
                  <a:gd name="connsiteY129" fmla="*/ 933450 h 1533525"/>
                  <a:gd name="connsiteX130" fmla="*/ 1159668 w 1624012"/>
                  <a:gd name="connsiteY130" fmla="*/ 997744 h 1533525"/>
                  <a:gd name="connsiteX131" fmla="*/ 1178718 w 1624012"/>
                  <a:gd name="connsiteY131" fmla="*/ 1052513 h 1533525"/>
                  <a:gd name="connsiteX132" fmla="*/ 1190625 w 1624012"/>
                  <a:gd name="connsiteY132" fmla="*/ 1081088 h 1533525"/>
                  <a:gd name="connsiteX133" fmla="*/ 1212056 w 1624012"/>
                  <a:gd name="connsiteY133" fmla="*/ 1109663 h 1533525"/>
                  <a:gd name="connsiteX134" fmla="*/ 1231106 w 1624012"/>
                  <a:gd name="connsiteY134" fmla="*/ 1102519 h 1533525"/>
                  <a:gd name="connsiteX135" fmla="*/ 1231106 w 1624012"/>
                  <a:gd name="connsiteY135" fmla="*/ 1131094 h 1533525"/>
                  <a:gd name="connsiteX136" fmla="*/ 1233487 w 1624012"/>
                  <a:gd name="connsiteY136" fmla="*/ 1145381 h 1533525"/>
                  <a:gd name="connsiteX137" fmla="*/ 1266825 w 1624012"/>
                  <a:gd name="connsiteY137" fmla="*/ 1181100 h 1533525"/>
                  <a:gd name="connsiteX138" fmla="*/ 1233487 w 1624012"/>
                  <a:gd name="connsiteY138" fmla="*/ 1181100 h 1533525"/>
                  <a:gd name="connsiteX139" fmla="*/ 1228725 w 1624012"/>
                  <a:gd name="connsiteY139" fmla="*/ 1223963 h 1533525"/>
                  <a:gd name="connsiteX140" fmla="*/ 1226343 w 1624012"/>
                  <a:gd name="connsiteY140" fmla="*/ 1243013 h 1533525"/>
                  <a:gd name="connsiteX141" fmla="*/ 1216818 w 1624012"/>
                  <a:gd name="connsiteY141" fmla="*/ 1264444 h 1533525"/>
                  <a:gd name="connsiteX142" fmla="*/ 1190625 w 1624012"/>
                  <a:gd name="connsiteY142" fmla="*/ 1238250 h 1533525"/>
                  <a:gd name="connsiteX143" fmla="*/ 1157287 w 1624012"/>
                  <a:gd name="connsiteY143" fmla="*/ 1209675 h 1533525"/>
                  <a:gd name="connsiteX144" fmla="*/ 1131093 w 1624012"/>
                  <a:gd name="connsiteY144" fmla="*/ 1185863 h 1533525"/>
                  <a:gd name="connsiteX145" fmla="*/ 1107281 w 1624012"/>
                  <a:gd name="connsiteY145" fmla="*/ 1219200 h 1533525"/>
                  <a:gd name="connsiteX146" fmla="*/ 1104900 w 1624012"/>
                  <a:gd name="connsiteY146" fmla="*/ 1264444 h 1533525"/>
                  <a:gd name="connsiteX147" fmla="*/ 1062037 w 1624012"/>
                  <a:gd name="connsiteY147" fmla="*/ 1259681 h 1533525"/>
                  <a:gd name="connsiteX148" fmla="*/ 1026318 w 1624012"/>
                  <a:gd name="connsiteY148" fmla="*/ 1288256 h 1533525"/>
                  <a:gd name="connsiteX149" fmla="*/ 1007268 w 1624012"/>
                  <a:gd name="connsiteY149" fmla="*/ 1240631 h 1533525"/>
                  <a:gd name="connsiteX150" fmla="*/ 947737 w 1624012"/>
                  <a:gd name="connsiteY150" fmla="*/ 1231106 h 1533525"/>
                  <a:gd name="connsiteX151" fmla="*/ 921543 w 1624012"/>
                  <a:gd name="connsiteY151" fmla="*/ 1297781 h 1533525"/>
                  <a:gd name="connsiteX152" fmla="*/ 885825 w 1624012"/>
                  <a:gd name="connsiteY152" fmla="*/ 1278731 h 1533525"/>
                  <a:gd name="connsiteX153" fmla="*/ 816768 w 1624012"/>
                  <a:gd name="connsiteY153" fmla="*/ 1295400 h 1533525"/>
                  <a:gd name="connsiteX154" fmla="*/ 757237 w 1624012"/>
                  <a:gd name="connsiteY154" fmla="*/ 1259681 h 1533525"/>
                  <a:gd name="connsiteX155" fmla="*/ 742950 w 1624012"/>
                  <a:gd name="connsiteY155" fmla="*/ 1312069 h 1533525"/>
                  <a:gd name="connsiteX156" fmla="*/ 704850 w 1624012"/>
                  <a:gd name="connsiteY156" fmla="*/ 1345406 h 1533525"/>
                  <a:gd name="connsiteX157" fmla="*/ 692943 w 1624012"/>
                  <a:gd name="connsiteY157" fmla="*/ 1366838 h 1533525"/>
                  <a:gd name="connsiteX158" fmla="*/ 671512 w 1624012"/>
                  <a:gd name="connsiteY158" fmla="*/ 1509713 h 1533525"/>
                  <a:gd name="connsiteX159" fmla="*/ 633412 w 1624012"/>
                  <a:gd name="connsiteY159" fmla="*/ 1490663 h 1533525"/>
                  <a:gd name="connsiteX160" fmla="*/ 614362 w 1624012"/>
                  <a:gd name="connsiteY160" fmla="*/ 1504950 h 1533525"/>
                  <a:gd name="connsiteX161" fmla="*/ 581025 w 1624012"/>
                  <a:gd name="connsiteY161" fmla="*/ 1531144 h 1533525"/>
                  <a:gd name="connsiteX162" fmla="*/ 523875 w 1624012"/>
                  <a:gd name="connsiteY162" fmla="*/ 1502569 h 1533525"/>
                  <a:gd name="connsiteX163" fmla="*/ 514350 w 1624012"/>
                  <a:gd name="connsiteY163" fmla="*/ 1490663 h 1533525"/>
                  <a:gd name="connsiteX164" fmla="*/ 483393 w 1624012"/>
                  <a:gd name="connsiteY164" fmla="*/ 1533525 h 1533525"/>
                  <a:gd name="connsiteX0" fmla="*/ 483393 w 1574006"/>
                  <a:gd name="connsiteY0" fmla="*/ 1533525 h 1533525"/>
                  <a:gd name="connsiteX1" fmla="*/ 459581 w 1574006"/>
                  <a:gd name="connsiteY1" fmla="*/ 1481138 h 1533525"/>
                  <a:gd name="connsiteX2" fmla="*/ 438150 w 1574006"/>
                  <a:gd name="connsiteY2" fmla="*/ 1471613 h 1533525"/>
                  <a:gd name="connsiteX3" fmla="*/ 400050 w 1574006"/>
                  <a:gd name="connsiteY3" fmla="*/ 1485900 h 1533525"/>
                  <a:gd name="connsiteX4" fmla="*/ 338137 w 1574006"/>
                  <a:gd name="connsiteY4" fmla="*/ 1490663 h 1533525"/>
                  <a:gd name="connsiteX5" fmla="*/ 330993 w 1574006"/>
                  <a:gd name="connsiteY5" fmla="*/ 1497806 h 1533525"/>
                  <a:gd name="connsiteX6" fmla="*/ 271462 w 1574006"/>
                  <a:gd name="connsiteY6" fmla="*/ 1471613 h 1533525"/>
                  <a:gd name="connsiteX7" fmla="*/ 219075 w 1574006"/>
                  <a:gd name="connsiteY7" fmla="*/ 1443038 h 1533525"/>
                  <a:gd name="connsiteX8" fmla="*/ 138112 w 1574006"/>
                  <a:gd name="connsiteY8" fmla="*/ 1402556 h 1533525"/>
                  <a:gd name="connsiteX9" fmla="*/ 95250 w 1574006"/>
                  <a:gd name="connsiteY9" fmla="*/ 1316831 h 1533525"/>
                  <a:gd name="connsiteX10" fmla="*/ 80962 w 1574006"/>
                  <a:gd name="connsiteY10" fmla="*/ 1288256 h 1533525"/>
                  <a:gd name="connsiteX11" fmla="*/ 104775 w 1574006"/>
                  <a:gd name="connsiteY11" fmla="*/ 1266825 h 1533525"/>
                  <a:gd name="connsiteX12" fmla="*/ 76200 w 1574006"/>
                  <a:gd name="connsiteY12" fmla="*/ 1212056 h 1533525"/>
                  <a:gd name="connsiteX13" fmla="*/ 109537 w 1574006"/>
                  <a:gd name="connsiteY13" fmla="*/ 1193006 h 1533525"/>
                  <a:gd name="connsiteX14" fmla="*/ 140493 w 1574006"/>
                  <a:gd name="connsiteY14" fmla="*/ 1143000 h 1533525"/>
                  <a:gd name="connsiteX15" fmla="*/ 123825 w 1574006"/>
                  <a:gd name="connsiteY15" fmla="*/ 1107281 h 1533525"/>
                  <a:gd name="connsiteX16" fmla="*/ 178593 w 1574006"/>
                  <a:gd name="connsiteY16" fmla="*/ 1107281 h 1533525"/>
                  <a:gd name="connsiteX17" fmla="*/ 192881 w 1574006"/>
                  <a:gd name="connsiteY17" fmla="*/ 1109663 h 1533525"/>
                  <a:gd name="connsiteX18" fmla="*/ 159543 w 1574006"/>
                  <a:gd name="connsiteY18" fmla="*/ 1064419 h 1533525"/>
                  <a:gd name="connsiteX19" fmla="*/ 169068 w 1574006"/>
                  <a:gd name="connsiteY19" fmla="*/ 1014413 h 1533525"/>
                  <a:gd name="connsiteX20" fmla="*/ 123825 w 1574006"/>
                  <a:gd name="connsiteY20" fmla="*/ 997744 h 1533525"/>
                  <a:gd name="connsiteX21" fmla="*/ 61912 w 1574006"/>
                  <a:gd name="connsiteY21" fmla="*/ 954881 h 1533525"/>
                  <a:gd name="connsiteX22" fmla="*/ 45243 w 1574006"/>
                  <a:gd name="connsiteY22" fmla="*/ 938213 h 1533525"/>
                  <a:gd name="connsiteX23" fmla="*/ 64293 w 1574006"/>
                  <a:gd name="connsiteY23" fmla="*/ 909638 h 1533525"/>
                  <a:gd name="connsiteX24" fmla="*/ 47625 w 1574006"/>
                  <a:gd name="connsiteY24" fmla="*/ 897731 h 1533525"/>
                  <a:gd name="connsiteX25" fmla="*/ 47625 w 1574006"/>
                  <a:gd name="connsiteY25" fmla="*/ 881063 h 1533525"/>
                  <a:gd name="connsiteX26" fmla="*/ 26193 w 1574006"/>
                  <a:gd name="connsiteY26" fmla="*/ 881063 h 1533525"/>
                  <a:gd name="connsiteX27" fmla="*/ 7143 w 1574006"/>
                  <a:gd name="connsiteY27" fmla="*/ 847725 h 1533525"/>
                  <a:gd name="connsiteX28" fmla="*/ 0 w 1574006"/>
                  <a:gd name="connsiteY28" fmla="*/ 816769 h 1533525"/>
                  <a:gd name="connsiteX29" fmla="*/ 54768 w 1574006"/>
                  <a:gd name="connsiteY29" fmla="*/ 800100 h 1533525"/>
                  <a:gd name="connsiteX30" fmla="*/ 76200 w 1574006"/>
                  <a:gd name="connsiteY30" fmla="*/ 788194 h 1533525"/>
                  <a:gd name="connsiteX31" fmla="*/ 128587 w 1574006"/>
                  <a:gd name="connsiteY31" fmla="*/ 821531 h 1533525"/>
                  <a:gd name="connsiteX32" fmla="*/ 126206 w 1574006"/>
                  <a:gd name="connsiteY32" fmla="*/ 800100 h 1533525"/>
                  <a:gd name="connsiteX33" fmla="*/ 164306 w 1574006"/>
                  <a:gd name="connsiteY33" fmla="*/ 795338 h 1533525"/>
                  <a:gd name="connsiteX34" fmla="*/ 173831 w 1574006"/>
                  <a:gd name="connsiteY34" fmla="*/ 759619 h 1533525"/>
                  <a:gd name="connsiteX35" fmla="*/ 235743 w 1574006"/>
                  <a:gd name="connsiteY35" fmla="*/ 764381 h 1533525"/>
                  <a:gd name="connsiteX36" fmla="*/ 235743 w 1574006"/>
                  <a:gd name="connsiteY36" fmla="*/ 764381 h 1533525"/>
                  <a:gd name="connsiteX37" fmla="*/ 245268 w 1574006"/>
                  <a:gd name="connsiteY37" fmla="*/ 704850 h 1533525"/>
                  <a:gd name="connsiteX38" fmla="*/ 276225 w 1574006"/>
                  <a:gd name="connsiteY38" fmla="*/ 666750 h 1533525"/>
                  <a:gd name="connsiteX39" fmla="*/ 292893 w 1574006"/>
                  <a:gd name="connsiteY39" fmla="*/ 638175 h 1533525"/>
                  <a:gd name="connsiteX40" fmla="*/ 245268 w 1574006"/>
                  <a:gd name="connsiteY40" fmla="*/ 602456 h 1533525"/>
                  <a:gd name="connsiteX41" fmla="*/ 264318 w 1574006"/>
                  <a:gd name="connsiteY41" fmla="*/ 585788 h 1533525"/>
                  <a:gd name="connsiteX42" fmla="*/ 311943 w 1574006"/>
                  <a:gd name="connsiteY42" fmla="*/ 602456 h 1533525"/>
                  <a:gd name="connsiteX43" fmla="*/ 369093 w 1574006"/>
                  <a:gd name="connsiteY43" fmla="*/ 573881 h 1533525"/>
                  <a:gd name="connsiteX44" fmla="*/ 457200 w 1574006"/>
                  <a:gd name="connsiteY44" fmla="*/ 545306 h 1533525"/>
                  <a:gd name="connsiteX45" fmla="*/ 538162 w 1574006"/>
                  <a:gd name="connsiteY45" fmla="*/ 578644 h 1533525"/>
                  <a:gd name="connsiteX46" fmla="*/ 614362 w 1574006"/>
                  <a:gd name="connsiteY46" fmla="*/ 550069 h 1533525"/>
                  <a:gd name="connsiteX47" fmla="*/ 650081 w 1574006"/>
                  <a:gd name="connsiteY47" fmla="*/ 552450 h 1533525"/>
                  <a:gd name="connsiteX48" fmla="*/ 654843 w 1574006"/>
                  <a:gd name="connsiteY48" fmla="*/ 523875 h 1533525"/>
                  <a:gd name="connsiteX49" fmla="*/ 654843 w 1574006"/>
                  <a:gd name="connsiteY49" fmla="*/ 490538 h 1533525"/>
                  <a:gd name="connsiteX50" fmla="*/ 669131 w 1574006"/>
                  <a:gd name="connsiteY50" fmla="*/ 469106 h 1533525"/>
                  <a:gd name="connsiteX51" fmla="*/ 652462 w 1574006"/>
                  <a:gd name="connsiteY51" fmla="*/ 450056 h 1533525"/>
                  <a:gd name="connsiteX52" fmla="*/ 642937 w 1574006"/>
                  <a:gd name="connsiteY52" fmla="*/ 411956 h 1533525"/>
                  <a:gd name="connsiteX53" fmla="*/ 642937 w 1574006"/>
                  <a:gd name="connsiteY53" fmla="*/ 330994 h 1533525"/>
                  <a:gd name="connsiteX54" fmla="*/ 633412 w 1574006"/>
                  <a:gd name="connsiteY54" fmla="*/ 319088 h 1533525"/>
                  <a:gd name="connsiteX55" fmla="*/ 664368 w 1574006"/>
                  <a:gd name="connsiteY55" fmla="*/ 285750 h 1533525"/>
                  <a:gd name="connsiteX56" fmla="*/ 721518 w 1574006"/>
                  <a:gd name="connsiteY56" fmla="*/ 292894 h 1533525"/>
                  <a:gd name="connsiteX57" fmla="*/ 733425 w 1574006"/>
                  <a:gd name="connsiteY57" fmla="*/ 264319 h 1533525"/>
                  <a:gd name="connsiteX58" fmla="*/ 731043 w 1574006"/>
                  <a:gd name="connsiteY58" fmla="*/ 228600 h 1533525"/>
                  <a:gd name="connsiteX59" fmla="*/ 790575 w 1574006"/>
                  <a:gd name="connsiteY59" fmla="*/ 192881 h 1533525"/>
                  <a:gd name="connsiteX60" fmla="*/ 804862 w 1574006"/>
                  <a:gd name="connsiteY60" fmla="*/ 166688 h 1533525"/>
                  <a:gd name="connsiteX61" fmla="*/ 778668 w 1574006"/>
                  <a:gd name="connsiteY61" fmla="*/ 128588 h 1533525"/>
                  <a:gd name="connsiteX62" fmla="*/ 771525 w 1574006"/>
                  <a:gd name="connsiteY62" fmla="*/ 104775 h 1533525"/>
                  <a:gd name="connsiteX63" fmla="*/ 823912 w 1574006"/>
                  <a:gd name="connsiteY63" fmla="*/ 97631 h 1533525"/>
                  <a:gd name="connsiteX64" fmla="*/ 869156 w 1574006"/>
                  <a:gd name="connsiteY64" fmla="*/ 52388 h 1533525"/>
                  <a:gd name="connsiteX65" fmla="*/ 890587 w 1574006"/>
                  <a:gd name="connsiteY65" fmla="*/ 23813 h 1533525"/>
                  <a:gd name="connsiteX66" fmla="*/ 923925 w 1574006"/>
                  <a:gd name="connsiteY66" fmla="*/ 9525 h 1533525"/>
                  <a:gd name="connsiteX67" fmla="*/ 971550 w 1574006"/>
                  <a:gd name="connsiteY67" fmla="*/ 0 h 1533525"/>
                  <a:gd name="connsiteX68" fmla="*/ 971550 w 1574006"/>
                  <a:gd name="connsiteY68" fmla="*/ 40481 h 1533525"/>
                  <a:gd name="connsiteX69" fmla="*/ 950118 w 1574006"/>
                  <a:gd name="connsiteY69" fmla="*/ 80963 h 1533525"/>
                  <a:gd name="connsiteX70" fmla="*/ 950118 w 1574006"/>
                  <a:gd name="connsiteY70" fmla="*/ 140494 h 1533525"/>
                  <a:gd name="connsiteX71" fmla="*/ 969168 w 1574006"/>
                  <a:gd name="connsiteY71" fmla="*/ 161925 h 1533525"/>
                  <a:gd name="connsiteX72" fmla="*/ 1007268 w 1574006"/>
                  <a:gd name="connsiteY72" fmla="*/ 188119 h 1533525"/>
                  <a:gd name="connsiteX73" fmla="*/ 1019175 w 1574006"/>
                  <a:gd name="connsiteY73" fmla="*/ 216694 h 1533525"/>
                  <a:gd name="connsiteX74" fmla="*/ 1004887 w 1574006"/>
                  <a:gd name="connsiteY74" fmla="*/ 226219 h 1533525"/>
                  <a:gd name="connsiteX75" fmla="*/ 1057275 w 1574006"/>
                  <a:gd name="connsiteY75" fmla="*/ 250031 h 1533525"/>
                  <a:gd name="connsiteX76" fmla="*/ 1073943 w 1574006"/>
                  <a:gd name="connsiteY76" fmla="*/ 228600 h 1533525"/>
                  <a:gd name="connsiteX77" fmla="*/ 1083468 w 1574006"/>
                  <a:gd name="connsiteY77" fmla="*/ 252413 h 1533525"/>
                  <a:gd name="connsiteX78" fmla="*/ 1116806 w 1574006"/>
                  <a:gd name="connsiteY78" fmla="*/ 252413 h 1533525"/>
                  <a:gd name="connsiteX79" fmla="*/ 1123950 w 1574006"/>
                  <a:gd name="connsiteY79" fmla="*/ 257175 h 1533525"/>
                  <a:gd name="connsiteX80" fmla="*/ 1116806 w 1574006"/>
                  <a:gd name="connsiteY80" fmla="*/ 276225 h 1533525"/>
                  <a:gd name="connsiteX81" fmla="*/ 1088231 w 1574006"/>
                  <a:gd name="connsiteY81" fmla="*/ 309563 h 1533525"/>
                  <a:gd name="connsiteX82" fmla="*/ 1123950 w 1574006"/>
                  <a:gd name="connsiteY82" fmla="*/ 333375 h 1533525"/>
                  <a:gd name="connsiteX83" fmla="*/ 1135856 w 1574006"/>
                  <a:gd name="connsiteY83" fmla="*/ 347663 h 1533525"/>
                  <a:gd name="connsiteX84" fmla="*/ 1135856 w 1574006"/>
                  <a:gd name="connsiteY84" fmla="*/ 376238 h 1533525"/>
                  <a:gd name="connsiteX85" fmla="*/ 1119187 w 1574006"/>
                  <a:gd name="connsiteY85" fmla="*/ 411956 h 1533525"/>
                  <a:gd name="connsiteX86" fmla="*/ 1162050 w 1574006"/>
                  <a:gd name="connsiteY86" fmla="*/ 423863 h 1533525"/>
                  <a:gd name="connsiteX87" fmla="*/ 1233487 w 1574006"/>
                  <a:gd name="connsiteY87" fmla="*/ 416719 h 1533525"/>
                  <a:gd name="connsiteX88" fmla="*/ 1223962 w 1574006"/>
                  <a:gd name="connsiteY88" fmla="*/ 385763 h 1533525"/>
                  <a:gd name="connsiteX89" fmla="*/ 1188243 w 1574006"/>
                  <a:gd name="connsiteY89" fmla="*/ 347663 h 1533525"/>
                  <a:gd name="connsiteX90" fmla="*/ 1181100 w 1574006"/>
                  <a:gd name="connsiteY90" fmla="*/ 333375 h 1533525"/>
                  <a:gd name="connsiteX91" fmla="*/ 1207293 w 1574006"/>
                  <a:gd name="connsiteY91" fmla="*/ 326231 h 1533525"/>
                  <a:gd name="connsiteX92" fmla="*/ 1200150 w 1574006"/>
                  <a:gd name="connsiteY92" fmla="*/ 302419 h 1533525"/>
                  <a:gd name="connsiteX93" fmla="*/ 1223962 w 1574006"/>
                  <a:gd name="connsiteY93" fmla="*/ 283369 h 1533525"/>
                  <a:gd name="connsiteX94" fmla="*/ 1250156 w 1574006"/>
                  <a:gd name="connsiteY94" fmla="*/ 242888 h 1533525"/>
                  <a:gd name="connsiteX95" fmla="*/ 1302543 w 1574006"/>
                  <a:gd name="connsiteY95" fmla="*/ 211931 h 1533525"/>
                  <a:gd name="connsiteX96" fmla="*/ 1350168 w 1574006"/>
                  <a:gd name="connsiteY96" fmla="*/ 123825 h 1533525"/>
                  <a:gd name="connsiteX97" fmla="*/ 1543050 w 1574006"/>
                  <a:gd name="connsiteY97" fmla="*/ 147638 h 1533525"/>
                  <a:gd name="connsiteX98" fmla="*/ 1547812 w 1574006"/>
                  <a:gd name="connsiteY98" fmla="*/ 121444 h 1533525"/>
                  <a:gd name="connsiteX99" fmla="*/ 1574006 w 1574006"/>
                  <a:gd name="connsiteY99" fmla="*/ 121444 h 1533525"/>
                  <a:gd name="connsiteX100" fmla="*/ 1057275 w 1574006"/>
                  <a:gd name="connsiteY100" fmla="*/ 264319 h 1533525"/>
                  <a:gd name="connsiteX101" fmla="*/ 1062037 w 1574006"/>
                  <a:gd name="connsiteY101" fmla="*/ 304800 h 1533525"/>
                  <a:gd name="connsiteX102" fmla="*/ 995362 w 1574006"/>
                  <a:gd name="connsiteY102" fmla="*/ 352425 h 1533525"/>
                  <a:gd name="connsiteX103" fmla="*/ 973931 w 1574006"/>
                  <a:gd name="connsiteY103" fmla="*/ 383381 h 1533525"/>
                  <a:gd name="connsiteX104" fmla="*/ 1000125 w 1574006"/>
                  <a:gd name="connsiteY104" fmla="*/ 428625 h 1533525"/>
                  <a:gd name="connsiteX105" fmla="*/ 983456 w 1574006"/>
                  <a:gd name="connsiteY105" fmla="*/ 466725 h 1533525"/>
                  <a:gd name="connsiteX106" fmla="*/ 1000125 w 1574006"/>
                  <a:gd name="connsiteY106" fmla="*/ 519113 h 1533525"/>
                  <a:gd name="connsiteX107" fmla="*/ 1033462 w 1574006"/>
                  <a:gd name="connsiteY107" fmla="*/ 519113 h 1533525"/>
                  <a:gd name="connsiteX108" fmla="*/ 1019175 w 1574006"/>
                  <a:gd name="connsiteY108" fmla="*/ 552450 h 1533525"/>
                  <a:gd name="connsiteX109" fmla="*/ 1035843 w 1574006"/>
                  <a:gd name="connsiteY109" fmla="*/ 590550 h 1533525"/>
                  <a:gd name="connsiteX110" fmla="*/ 1035843 w 1574006"/>
                  <a:gd name="connsiteY110" fmla="*/ 607219 h 1533525"/>
                  <a:gd name="connsiteX111" fmla="*/ 1045368 w 1574006"/>
                  <a:gd name="connsiteY111" fmla="*/ 645319 h 1533525"/>
                  <a:gd name="connsiteX112" fmla="*/ 1064418 w 1574006"/>
                  <a:gd name="connsiteY112" fmla="*/ 645319 h 1533525"/>
                  <a:gd name="connsiteX113" fmla="*/ 1078706 w 1574006"/>
                  <a:gd name="connsiteY113" fmla="*/ 666750 h 1533525"/>
                  <a:gd name="connsiteX114" fmla="*/ 1085850 w 1574006"/>
                  <a:gd name="connsiteY114" fmla="*/ 688181 h 1533525"/>
                  <a:gd name="connsiteX115" fmla="*/ 1076325 w 1574006"/>
                  <a:gd name="connsiteY115" fmla="*/ 719138 h 1533525"/>
                  <a:gd name="connsiteX116" fmla="*/ 1021556 w 1574006"/>
                  <a:gd name="connsiteY116" fmla="*/ 714375 h 1533525"/>
                  <a:gd name="connsiteX117" fmla="*/ 1002506 w 1574006"/>
                  <a:gd name="connsiteY117" fmla="*/ 721519 h 1533525"/>
                  <a:gd name="connsiteX118" fmla="*/ 995362 w 1574006"/>
                  <a:gd name="connsiteY118" fmla="*/ 726281 h 1533525"/>
                  <a:gd name="connsiteX119" fmla="*/ 995362 w 1574006"/>
                  <a:gd name="connsiteY119" fmla="*/ 726281 h 1533525"/>
                  <a:gd name="connsiteX120" fmla="*/ 923925 w 1574006"/>
                  <a:gd name="connsiteY120" fmla="*/ 721519 h 1533525"/>
                  <a:gd name="connsiteX121" fmla="*/ 940593 w 1574006"/>
                  <a:gd name="connsiteY121" fmla="*/ 778669 h 1533525"/>
                  <a:gd name="connsiteX122" fmla="*/ 938212 w 1574006"/>
                  <a:gd name="connsiteY122" fmla="*/ 847725 h 1533525"/>
                  <a:gd name="connsiteX123" fmla="*/ 954881 w 1574006"/>
                  <a:gd name="connsiteY123" fmla="*/ 871538 h 1533525"/>
                  <a:gd name="connsiteX124" fmla="*/ 997743 w 1574006"/>
                  <a:gd name="connsiteY124" fmla="*/ 919163 h 1533525"/>
                  <a:gd name="connsiteX125" fmla="*/ 1012031 w 1574006"/>
                  <a:gd name="connsiteY125" fmla="*/ 954881 h 1533525"/>
                  <a:gd name="connsiteX126" fmla="*/ 1031081 w 1574006"/>
                  <a:gd name="connsiteY126" fmla="*/ 954881 h 1533525"/>
                  <a:gd name="connsiteX127" fmla="*/ 1071562 w 1574006"/>
                  <a:gd name="connsiteY127" fmla="*/ 940594 h 1533525"/>
                  <a:gd name="connsiteX128" fmla="*/ 1102518 w 1574006"/>
                  <a:gd name="connsiteY128" fmla="*/ 933450 h 1533525"/>
                  <a:gd name="connsiteX129" fmla="*/ 1159668 w 1574006"/>
                  <a:gd name="connsiteY129" fmla="*/ 997744 h 1533525"/>
                  <a:gd name="connsiteX130" fmla="*/ 1178718 w 1574006"/>
                  <a:gd name="connsiteY130" fmla="*/ 1052513 h 1533525"/>
                  <a:gd name="connsiteX131" fmla="*/ 1190625 w 1574006"/>
                  <a:gd name="connsiteY131" fmla="*/ 1081088 h 1533525"/>
                  <a:gd name="connsiteX132" fmla="*/ 1212056 w 1574006"/>
                  <a:gd name="connsiteY132" fmla="*/ 1109663 h 1533525"/>
                  <a:gd name="connsiteX133" fmla="*/ 1231106 w 1574006"/>
                  <a:gd name="connsiteY133" fmla="*/ 1102519 h 1533525"/>
                  <a:gd name="connsiteX134" fmla="*/ 1231106 w 1574006"/>
                  <a:gd name="connsiteY134" fmla="*/ 1131094 h 1533525"/>
                  <a:gd name="connsiteX135" fmla="*/ 1233487 w 1574006"/>
                  <a:gd name="connsiteY135" fmla="*/ 1145381 h 1533525"/>
                  <a:gd name="connsiteX136" fmla="*/ 1266825 w 1574006"/>
                  <a:gd name="connsiteY136" fmla="*/ 1181100 h 1533525"/>
                  <a:gd name="connsiteX137" fmla="*/ 1233487 w 1574006"/>
                  <a:gd name="connsiteY137" fmla="*/ 1181100 h 1533525"/>
                  <a:gd name="connsiteX138" fmla="*/ 1228725 w 1574006"/>
                  <a:gd name="connsiteY138" fmla="*/ 1223963 h 1533525"/>
                  <a:gd name="connsiteX139" fmla="*/ 1226343 w 1574006"/>
                  <a:gd name="connsiteY139" fmla="*/ 1243013 h 1533525"/>
                  <a:gd name="connsiteX140" fmla="*/ 1216818 w 1574006"/>
                  <a:gd name="connsiteY140" fmla="*/ 1264444 h 1533525"/>
                  <a:gd name="connsiteX141" fmla="*/ 1190625 w 1574006"/>
                  <a:gd name="connsiteY141" fmla="*/ 1238250 h 1533525"/>
                  <a:gd name="connsiteX142" fmla="*/ 1157287 w 1574006"/>
                  <a:gd name="connsiteY142" fmla="*/ 1209675 h 1533525"/>
                  <a:gd name="connsiteX143" fmla="*/ 1131093 w 1574006"/>
                  <a:gd name="connsiteY143" fmla="*/ 1185863 h 1533525"/>
                  <a:gd name="connsiteX144" fmla="*/ 1107281 w 1574006"/>
                  <a:gd name="connsiteY144" fmla="*/ 1219200 h 1533525"/>
                  <a:gd name="connsiteX145" fmla="*/ 1104900 w 1574006"/>
                  <a:gd name="connsiteY145" fmla="*/ 1264444 h 1533525"/>
                  <a:gd name="connsiteX146" fmla="*/ 1062037 w 1574006"/>
                  <a:gd name="connsiteY146" fmla="*/ 1259681 h 1533525"/>
                  <a:gd name="connsiteX147" fmla="*/ 1026318 w 1574006"/>
                  <a:gd name="connsiteY147" fmla="*/ 1288256 h 1533525"/>
                  <a:gd name="connsiteX148" fmla="*/ 1007268 w 1574006"/>
                  <a:gd name="connsiteY148" fmla="*/ 1240631 h 1533525"/>
                  <a:gd name="connsiteX149" fmla="*/ 947737 w 1574006"/>
                  <a:gd name="connsiteY149" fmla="*/ 1231106 h 1533525"/>
                  <a:gd name="connsiteX150" fmla="*/ 921543 w 1574006"/>
                  <a:gd name="connsiteY150" fmla="*/ 1297781 h 1533525"/>
                  <a:gd name="connsiteX151" fmla="*/ 885825 w 1574006"/>
                  <a:gd name="connsiteY151" fmla="*/ 1278731 h 1533525"/>
                  <a:gd name="connsiteX152" fmla="*/ 816768 w 1574006"/>
                  <a:gd name="connsiteY152" fmla="*/ 1295400 h 1533525"/>
                  <a:gd name="connsiteX153" fmla="*/ 757237 w 1574006"/>
                  <a:gd name="connsiteY153" fmla="*/ 1259681 h 1533525"/>
                  <a:gd name="connsiteX154" fmla="*/ 742950 w 1574006"/>
                  <a:gd name="connsiteY154" fmla="*/ 1312069 h 1533525"/>
                  <a:gd name="connsiteX155" fmla="*/ 704850 w 1574006"/>
                  <a:gd name="connsiteY155" fmla="*/ 1345406 h 1533525"/>
                  <a:gd name="connsiteX156" fmla="*/ 692943 w 1574006"/>
                  <a:gd name="connsiteY156" fmla="*/ 1366838 h 1533525"/>
                  <a:gd name="connsiteX157" fmla="*/ 671512 w 1574006"/>
                  <a:gd name="connsiteY157" fmla="*/ 1509713 h 1533525"/>
                  <a:gd name="connsiteX158" fmla="*/ 633412 w 1574006"/>
                  <a:gd name="connsiteY158" fmla="*/ 1490663 h 1533525"/>
                  <a:gd name="connsiteX159" fmla="*/ 614362 w 1574006"/>
                  <a:gd name="connsiteY159" fmla="*/ 1504950 h 1533525"/>
                  <a:gd name="connsiteX160" fmla="*/ 581025 w 1574006"/>
                  <a:gd name="connsiteY160" fmla="*/ 1531144 h 1533525"/>
                  <a:gd name="connsiteX161" fmla="*/ 523875 w 1574006"/>
                  <a:gd name="connsiteY161" fmla="*/ 1502569 h 1533525"/>
                  <a:gd name="connsiteX162" fmla="*/ 514350 w 1574006"/>
                  <a:gd name="connsiteY162" fmla="*/ 1490663 h 1533525"/>
                  <a:gd name="connsiteX163" fmla="*/ 483393 w 1574006"/>
                  <a:gd name="connsiteY163" fmla="*/ 1533525 h 1533525"/>
                  <a:gd name="connsiteX0" fmla="*/ 483393 w 1547812"/>
                  <a:gd name="connsiteY0" fmla="*/ 1533525 h 1533525"/>
                  <a:gd name="connsiteX1" fmla="*/ 459581 w 1547812"/>
                  <a:gd name="connsiteY1" fmla="*/ 1481138 h 1533525"/>
                  <a:gd name="connsiteX2" fmla="*/ 438150 w 1547812"/>
                  <a:gd name="connsiteY2" fmla="*/ 1471613 h 1533525"/>
                  <a:gd name="connsiteX3" fmla="*/ 400050 w 1547812"/>
                  <a:gd name="connsiteY3" fmla="*/ 1485900 h 1533525"/>
                  <a:gd name="connsiteX4" fmla="*/ 338137 w 1547812"/>
                  <a:gd name="connsiteY4" fmla="*/ 1490663 h 1533525"/>
                  <a:gd name="connsiteX5" fmla="*/ 330993 w 1547812"/>
                  <a:gd name="connsiteY5" fmla="*/ 1497806 h 1533525"/>
                  <a:gd name="connsiteX6" fmla="*/ 271462 w 1547812"/>
                  <a:gd name="connsiteY6" fmla="*/ 1471613 h 1533525"/>
                  <a:gd name="connsiteX7" fmla="*/ 219075 w 1547812"/>
                  <a:gd name="connsiteY7" fmla="*/ 1443038 h 1533525"/>
                  <a:gd name="connsiteX8" fmla="*/ 138112 w 1547812"/>
                  <a:gd name="connsiteY8" fmla="*/ 1402556 h 1533525"/>
                  <a:gd name="connsiteX9" fmla="*/ 95250 w 1547812"/>
                  <a:gd name="connsiteY9" fmla="*/ 1316831 h 1533525"/>
                  <a:gd name="connsiteX10" fmla="*/ 80962 w 1547812"/>
                  <a:gd name="connsiteY10" fmla="*/ 1288256 h 1533525"/>
                  <a:gd name="connsiteX11" fmla="*/ 104775 w 1547812"/>
                  <a:gd name="connsiteY11" fmla="*/ 1266825 h 1533525"/>
                  <a:gd name="connsiteX12" fmla="*/ 76200 w 1547812"/>
                  <a:gd name="connsiteY12" fmla="*/ 1212056 h 1533525"/>
                  <a:gd name="connsiteX13" fmla="*/ 109537 w 1547812"/>
                  <a:gd name="connsiteY13" fmla="*/ 1193006 h 1533525"/>
                  <a:gd name="connsiteX14" fmla="*/ 140493 w 1547812"/>
                  <a:gd name="connsiteY14" fmla="*/ 1143000 h 1533525"/>
                  <a:gd name="connsiteX15" fmla="*/ 123825 w 1547812"/>
                  <a:gd name="connsiteY15" fmla="*/ 1107281 h 1533525"/>
                  <a:gd name="connsiteX16" fmla="*/ 178593 w 1547812"/>
                  <a:gd name="connsiteY16" fmla="*/ 1107281 h 1533525"/>
                  <a:gd name="connsiteX17" fmla="*/ 192881 w 1547812"/>
                  <a:gd name="connsiteY17" fmla="*/ 1109663 h 1533525"/>
                  <a:gd name="connsiteX18" fmla="*/ 159543 w 1547812"/>
                  <a:gd name="connsiteY18" fmla="*/ 1064419 h 1533525"/>
                  <a:gd name="connsiteX19" fmla="*/ 169068 w 1547812"/>
                  <a:gd name="connsiteY19" fmla="*/ 1014413 h 1533525"/>
                  <a:gd name="connsiteX20" fmla="*/ 123825 w 1547812"/>
                  <a:gd name="connsiteY20" fmla="*/ 997744 h 1533525"/>
                  <a:gd name="connsiteX21" fmla="*/ 61912 w 1547812"/>
                  <a:gd name="connsiteY21" fmla="*/ 954881 h 1533525"/>
                  <a:gd name="connsiteX22" fmla="*/ 45243 w 1547812"/>
                  <a:gd name="connsiteY22" fmla="*/ 938213 h 1533525"/>
                  <a:gd name="connsiteX23" fmla="*/ 64293 w 1547812"/>
                  <a:gd name="connsiteY23" fmla="*/ 909638 h 1533525"/>
                  <a:gd name="connsiteX24" fmla="*/ 47625 w 1547812"/>
                  <a:gd name="connsiteY24" fmla="*/ 897731 h 1533525"/>
                  <a:gd name="connsiteX25" fmla="*/ 47625 w 1547812"/>
                  <a:gd name="connsiteY25" fmla="*/ 881063 h 1533525"/>
                  <a:gd name="connsiteX26" fmla="*/ 26193 w 1547812"/>
                  <a:gd name="connsiteY26" fmla="*/ 881063 h 1533525"/>
                  <a:gd name="connsiteX27" fmla="*/ 7143 w 1547812"/>
                  <a:gd name="connsiteY27" fmla="*/ 847725 h 1533525"/>
                  <a:gd name="connsiteX28" fmla="*/ 0 w 1547812"/>
                  <a:gd name="connsiteY28" fmla="*/ 816769 h 1533525"/>
                  <a:gd name="connsiteX29" fmla="*/ 54768 w 1547812"/>
                  <a:gd name="connsiteY29" fmla="*/ 800100 h 1533525"/>
                  <a:gd name="connsiteX30" fmla="*/ 76200 w 1547812"/>
                  <a:gd name="connsiteY30" fmla="*/ 788194 h 1533525"/>
                  <a:gd name="connsiteX31" fmla="*/ 128587 w 1547812"/>
                  <a:gd name="connsiteY31" fmla="*/ 821531 h 1533525"/>
                  <a:gd name="connsiteX32" fmla="*/ 126206 w 1547812"/>
                  <a:gd name="connsiteY32" fmla="*/ 800100 h 1533525"/>
                  <a:gd name="connsiteX33" fmla="*/ 164306 w 1547812"/>
                  <a:gd name="connsiteY33" fmla="*/ 795338 h 1533525"/>
                  <a:gd name="connsiteX34" fmla="*/ 173831 w 1547812"/>
                  <a:gd name="connsiteY34" fmla="*/ 759619 h 1533525"/>
                  <a:gd name="connsiteX35" fmla="*/ 235743 w 1547812"/>
                  <a:gd name="connsiteY35" fmla="*/ 764381 h 1533525"/>
                  <a:gd name="connsiteX36" fmla="*/ 235743 w 1547812"/>
                  <a:gd name="connsiteY36" fmla="*/ 764381 h 1533525"/>
                  <a:gd name="connsiteX37" fmla="*/ 245268 w 1547812"/>
                  <a:gd name="connsiteY37" fmla="*/ 704850 h 1533525"/>
                  <a:gd name="connsiteX38" fmla="*/ 276225 w 1547812"/>
                  <a:gd name="connsiteY38" fmla="*/ 666750 h 1533525"/>
                  <a:gd name="connsiteX39" fmla="*/ 292893 w 1547812"/>
                  <a:gd name="connsiteY39" fmla="*/ 638175 h 1533525"/>
                  <a:gd name="connsiteX40" fmla="*/ 245268 w 1547812"/>
                  <a:gd name="connsiteY40" fmla="*/ 602456 h 1533525"/>
                  <a:gd name="connsiteX41" fmla="*/ 264318 w 1547812"/>
                  <a:gd name="connsiteY41" fmla="*/ 585788 h 1533525"/>
                  <a:gd name="connsiteX42" fmla="*/ 311943 w 1547812"/>
                  <a:gd name="connsiteY42" fmla="*/ 602456 h 1533525"/>
                  <a:gd name="connsiteX43" fmla="*/ 369093 w 1547812"/>
                  <a:gd name="connsiteY43" fmla="*/ 573881 h 1533525"/>
                  <a:gd name="connsiteX44" fmla="*/ 457200 w 1547812"/>
                  <a:gd name="connsiteY44" fmla="*/ 545306 h 1533525"/>
                  <a:gd name="connsiteX45" fmla="*/ 538162 w 1547812"/>
                  <a:gd name="connsiteY45" fmla="*/ 578644 h 1533525"/>
                  <a:gd name="connsiteX46" fmla="*/ 614362 w 1547812"/>
                  <a:gd name="connsiteY46" fmla="*/ 550069 h 1533525"/>
                  <a:gd name="connsiteX47" fmla="*/ 650081 w 1547812"/>
                  <a:gd name="connsiteY47" fmla="*/ 552450 h 1533525"/>
                  <a:gd name="connsiteX48" fmla="*/ 654843 w 1547812"/>
                  <a:gd name="connsiteY48" fmla="*/ 523875 h 1533525"/>
                  <a:gd name="connsiteX49" fmla="*/ 654843 w 1547812"/>
                  <a:gd name="connsiteY49" fmla="*/ 490538 h 1533525"/>
                  <a:gd name="connsiteX50" fmla="*/ 669131 w 1547812"/>
                  <a:gd name="connsiteY50" fmla="*/ 469106 h 1533525"/>
                  <a:gd name="connsiteX51" fmla="*/ 652462 w 1547812"/>
                  <a:gd name="connsiteY51" fmla="*/ 450056 h 1533525"/>
                  <a:gd name="connsiteX52" fmla="*/ 642937 w 1547812"/>
                  <a:gd name="connsiteY52" fmla="*/ 411956 h 1533525"/>
                  <a:gd name="connsiteX53" fmla="*/ 642937 w 1547812"/>
                  <a:gd name="connsiteY53" fmla="*/ 330994 h 1533525"/>
                  <a:gd name="connsiteX54" fmla="*/ 633412 w 1547812"/>
                  <a:gd name="connsiteY54" fmla="*/ 319088 h 1533525"/>
                  <a:gd name="connsiteX55" fmla="*/ 664368 w 1547812"/>
                  <a:gd name="connsiteY55" fmla="*/ 285750 h 1533525"/>
                  <a:gd name="connsiteX56" fmla="*/ 721518 w 1547812"/>
                  <a:gd name="connsiteY56" fmla="*/ 292894 h 1533525"/>
                  <a:gd name="connsiteX57" fmla="*/ 733425 w 1547812"/>
                  <a:gd name="connsiteY57" fmla="*/ 264319 h 1533525"/>
                  <a:gd name="connsiteX58" fmla="*/ 731043 w 1547812"/>
                  <a:gd name="connsiteY58" fmla="*/ 228600 h 1533525"/>
                  <a:gd name="connsiteX59" fmla="*/ 790575 w 1547812"/>
                  <a:gd name="connsiteY59" fmla="*/ 192881 h 1533525"/>
                  <a:gd name="connsiteX60" fmla="*/ 804862 w 1547812"/>
                  <a:gd name="connsiteY60" fmla="*/ 166688 h 1533525"/>
                  <a:gd name="connsiteX61" fmla="*/ 778668 w 1547812"/>
                  <a:gd name="connsiteY61" fmla="*/ 128588 h 1533525"/>
                  <a:gd name="connsiteX62" fmla="*/ 771525 w 1547812"/>
                  <a:gd name="connsiteY62" fmla="*/ 104775 h 1533525"/>
                  <a:gd name="connsiteX63" fmla="*/ 823912 w 1547812"/>
                  <a:gd name="connsiteY63" fmla="*/ 97631 h 1533525"/>
                  <a:gd name="connsiteX64" fmla="*/ 869156 w 1547812"/>
                  <a:gd name="connsiteY64" fmla="*/ 52388 h 1533525"/>
                  <a:gd name="connsiteX65" fmla="*/ 890587 w 1547812"/>
                  <a:gd name="connsiteY65" fmla="*/ 23813 h 1533525"/>
                  <a:gd name="connsiteX66" fmla="*/ 923925 w 1547812"/>
                  <a:gd name="connsiteY66" fmla="*/ 9525 h 1533525"/>
                  <a:gd name="connsiteX67" fmla="*/ 971550 w 1547812"/>
                  <a:gd name="connsiteY67" fmla="*/ 0 h 1533525"/>
                  <a:gd name="connsiteX68" fmla="*/ 971550 w 1547812"/>
                  <a:gd name="connsiteY68" fmla="*/ 40481 h 1533525"/>
                  <a:gd name="connsiteX69" fmla="*/ 950118 w 1547812"/>
                  <a:gd name="connsiteY69" fmla="*/ 80963 h 1533525"/>
                  <a:gd name="connsiteX70" fmla="*/ 950118 w 1547812"/>
                  <a:gd name="connsiteY70" fmla="*/ 140494 h 1533525"/>
                  <a:gd name="connsiteX71" fmla="*/ 969168 w 1547812"/>
                  <a:gd name="connsiteY71" fmla="*/ 161925 h 1533525"/>
                  <a:gd name="connsiteX72" fmla="*/ 1007268 w 1547812"/>
                  <a:gd name="connsiteY72" fmla="*/ 188119 h 1533525"/>
                  <a:gd name="connsiteX73" fmla="*/ 1019175 w 1547812"/>
                  <a:gd name="connsiteY73" fmla="*/ 216694 h 1533525"/>
                  <a:gd name="connsiteX74" fmla="*/ 1004887 w 1547812"/>
                  <a:gd name="connsiteY74" fmla="*/ 226219 h 1533525"/>
                  <a:gd name="connsiteX75" fmla="*/ 1057275 w 1547812"/>
                  <a:gd name="connsiteY75" fmla="*/ 250031 h 1533525"/>
                  <a:gd name="connsiteX76" fmla="*/ 1073943 w 1547812"/>
                  <a:gd name="connsiteY76" fmla="*/ 228600 h 1533525"/>
                  <a:gd name="connsiteX77" fmla="*/ 1083468 w 1547812"/>
                  <a:gd name="connsiteY77" fmla="*/ 252413 h 1533525"/>
                  <a:gd name="connsiteX78" fmla="*/ 1116806 w 1547812"/>
                  <a:gd name="connsiteY78" fmla="*/ 252413 h 1533525"/>
                  <a:gd name="connsiteX79" fmla="*/ 1123950 w 1547812"/>
                  <a:gd name="connsiteY79" fmla="*/ 257175 h 1533525"/>
                  <a:gd name="connsiteX80" fmla="*/ 1116806 w 1547812"/>
                  <a:gd name="connsiteY80" fmla="*/ 276225 h 1533525"/>
                  <a:gd name="connsiteX81" fmla="*/ 1088231 w 1547812"/>
                  <a:gd name="connsiteY81" fmla="*/ 309563 h 1533525"/>
                  <a:gd name="connsiteX82" fmla="*/ 1123950 w 1547812"/>
                  <a:gd name="connsiteY82" fmla="*/ 333375 h 1533525"/>
                  <a:gd name="connsiteX83" fmla="*/ 1135856 w 1547812"/>
                  <a:gd name="connsiteY83" fmla="*/ 347663 h 1533525"/>
                  <a:gd name="connsiteX84" fmla="*/ 1135856 w 1547812"/>
                  <a:gd name="connsiteY84" fmla="*/ 376238 h 1533525"/>
                  <a:gd name="connsiteX85" fmla="*/ 1119187 w 1547812"/>
                  <a:gd name="connsiteY85" fmla="*/ 411956 h 1533525"/>
                  <a:gd name="connsiteX86" fmla="*/ 1162050 w 1547812"/>
                  <a:gd name="connsiteY86" fmla="*/ 423863 h 1533525"/>
                  <a:gd name="connsiteX87" fmla="*/ 1233487 w 1547812"/>
                  <a:gd name="connsiteY87" fmla="*/ 416719 h 1533525"/>
                  <a:gd name="connsiteX88" fmla="*/ 1223962 w 1547812"/>
                  <a:gd name="connsiteY88" fmla="*/ 385763 h 1533525"/>
                  <a:gd name="connsiteX89" fmla="*/ 1188243 w 1547812"/>
                  <a:gd name="connsiteY89" fmla="*/ 347663 h 1533525"/>
                  <a:gd name="connsiteX90" fmla="*/ 1181100 w 1547812"/>
                  <a:gd name="connsiteY90" fmla="*/ 333375 h 1533525"/>
                  <a:gd name="connsiteX91" fmla="*/ 1207293 w 1547812"/>
                  <a:gd name="connsiteY91" fmla="*/ 326231 h 1533525"/>
                  <a:gd name="connsiteX92" fmla="*/ 1200150 w 1547812"/>
                  <a:gd name="connsiteY92" fmla="*/ 302419 h 1533525"/>
                  <a:gd name="connsiteX93" fmla="*/ 1223962 w 1547812"/>
                  <a:gd name="connsiteY93" fmla="*/ 283369 h 1533525"/>
                  <a:gd name="connsiteX94" fmla="*/ 1250156 w 1547812"/>
                  <a:gd name="connsiteY94" fmla="*/ 242888 h 1533525"/>
                  <a:gd name="connsiteX95" fmla="*/ 1302543 w 1547812"/>
                  <a:gd name="connsiteY95" fmla="*/ 211931 h 1533525"/>
                  <a:gd name="connsiteX96" fmla="*/ 1350168 w 1547812"/>
                  <a:gd name="connsiteY96" fmla="*/ 123825 h 1533525"/>
                  <a:gd name="connsiteX97" fmla="*/ 1543050 w 1547812"/>
                  <a:gd name="connsiteY97" fmla="*/ 147638 h 1533525"/>
                  <a:gd name="connsiteX98" fmla="*/ 1547812 w 1547812"/>
                  <a:gd name="connsiteY98" fmla="*/ 121444 h 1533525"/>
                  <a:gd name="connsiteX99" fmla="*/ 1057275 w 1547812"/>
                  <a:gd name="connsiteY99" fmla="*/ 264319 h 1533525"/>
                  <a:gd name="connsiteX100" fmla="*/ 1062037 w 1547812"/>
                  <a:gd name="connsiteY100" fmla="*/ 304800 h 1533525"/>
                  <a:gd name="connsiteX101" fmla="*/ 995362 w 1547812"/>
                  <a:gd name="connsiteY101" fmla="*/ 352425 h 1533525"/>
                  <a:gd name="connsiteX102" fmla="*/ 973931 w 1547812"/>
                  <a:gd name="connsiteY102" fmla="*/ 383381 h 1533525"/>
                  <a:gd name="connsiteX103" fmla="*/ 1000125 w 1547812"/>
                  <a:gd name="connsiteY103" fmla="*/ 428625 h 1533525"/>
                  <a:gd name="connsiteX104" fmla="*/ 983456 w 1547812"/>
                  <a:gd name="connsiteY104" fmla="*/ 466725 h 1533525"/>
                  <a:gd name="connsiteX105" fmla="*/ 1000125 w 1547812"/>
                  <a:gd name="connsiteY105" fmla="*/ 519113 h 1533525"/>
                  <a:gd name="connsiteX106" fmla="*/ 1033462 w 1547812"/>
                  <a:gd name="connsiteY106" fmla="*/ 519113 h 1533525"/>
                  <a:gd name="connsiteX107" fmla="*/ 1019175 w 1547812"/>
                  <a:gd name="connsiteY107" fmla="*/ 552450 h 1533525"/>
                  <a:gd name="connsiteX108" fmla="*/ 1035843 w 1547812"/>
                  <a:gd name="connsiteY108" fmla="*/ 590550 h 1533525"/>
                  <a:gd name="connsiteX109" fmla="*/ 1035843 w 1547812"/>
                  <a:gd name="connsiteY109" fmla="*/ 607219 h 1533525"/>
                  <a:gd name="connsiteX110" fmla="*/ 1045368 w 1547812"/>
                  <a:gd name="connsiteY110" fmla="*/ 645319 h 1533525"/>
                  <a:gd name="connsiteX111" fmla="*/ 1064418 w 1547812"/>
                  <a:gd name="connsiteY111" fmla="*/ 645319 h 1533525"/>
                  <a:gd name="connsiteX112" fmla="*/ 1078706 w 1547812"/>
                  <a:gd name="connsiteY112" fmla="*/ 666750 h 1533525"/>
                  <a:gd name="connsiteX113" fmla="*/ 1085850 w 1547812"/>
                  <a:gd name="connsiteY113" fmla="*/ 688181 h 1533525"/>
                  <a:gd name="connsiteX114" fmla="*/ 1076325 w 1547812"/>
                  <a:gd name="connsiteY114" fmla="*/ 719138 h 1533525"/>
                  <a:gd name="connsiteX115" fmla="*/ 1021556 w 1547812"/>
                  <a:gd name="connsiteY115" fmla="*/ 714375 h 1533525"/>
                  <a:gd name="connsiteX116" fmla="*/ 1002506 w 1547812"/>
                  <a:gd name="connsiteY116" fmla="*/ 721519 h 1533525"/>
                  <a:gd name="connsiteX117" fmla="*/ 995362 w 1547812"/>
                  <a:gd name="connsiteY117" fmla="*/ 726281 h 1533525"/>
                  <a:gd name="connsiteX118" fmla="*/ 995362 w 1547812"/>
                  <a:gd name="connsiteY118" fmla="*/ 726281 h 1533525"/>
                  <a:gd name="connsiteX119" fmla="*/ 923925 w 1547812"/>
                  <a:gd name="connsiteY119" fmla="*/ 721519 h 1533525"/>
                  <a:gd name="connsiteX120" fmla="*/ 940593 w 1547812"/>
                  <a:gd name="connsiteY120" fmla="*/ 778669 h 1533525"/>
                  <a:gd name="connsiteX121" fmla="*/ 938212 w 1547812"/>
                  <a:gd name="connsiteY121" fmla="*/ 847725 h 1533525"/>
                  <a:gd name="connsiteX122" fmla="*/ 954881 w 1547812"/>
                  <a:gd name="connsiteY122" fmla="*/ 871538 h 1533525"/>
                  <a:gd name="connsiteX123" fmla="*/ 997743 w 1547812"/>
                  <a:gd name="connsiteY123" fmla="*/ 919163 h 1533525"/>
                  <a:gd name="connsiteX124" fmla="*/ 1012031 w 1547812"/>
                  <a:gd name="connsiteY124" fmla="*/ 954881 h 1533525"/>
                  <a:gd name="connsiteX125" fmla="*/ 1031081 w 1547812"/>
                  <a:gd name="connsiteY125" fmla="*/ 954881 h 1533525"/>
                  <a:gd name="connsiteX126" fmla="*/ 1071562 w 1547812"/>
                  <a:gd name="connsiteY126" fmla="*/ 940594 h 1533525"/>
                  <a:gd name="connsiteX127" fmla="*/ 1102518 w 1547812"/>
                  <a:gd name="connsiteY127" fmla="*/ 933450 h 1533525"/>
                  <a:gd name="connsiteX128" fmla="*/ 1159668 w 1547812"/>
                  <a:gd name="connsiteY128" fmla="*/ 997744 h 1533525"/>
                  <a:gd name="connsiteX129" fmla="*/ 1178718 w 1547812"/>
                  <a:gd name="connsiteY129" fmla="*/ 1052513 h 1533525"/>
                  <a:gd name="connsiteX130" fmla="*/ 1190625 w 1547812"/>
                  <a:gd name="connsiteY130" fmla="*/ 1081088 h 1533525"/>
                  <a:gd name="connsiteX131" fmla="*/ 1212056 w 1547812"/>
                  <a:gd name="connsiteY131" fmla="*/ 1109663 h 1533525"/>
                  <a:gd name="connsiteX132" fmla="*/ 1231106 w 1547812"/>
                  <a:gd name="connsiteY132" fmla="*/ 1102519 h 1533525"/>
                  <a:gd name="connsiteX133" fmla="*/ 1231106 w 1547812"/>
                  <a:gd name="connsiteY133" fmla="*/ 1131094 h 1533525"/>
                  <a:gd name="connsiteX134" fmla="*/ 1233487 w 1547812"/>
                  <a:gd name="connsiteY134" fmla="*/ 1145381 h 1533525"/>
                  <a:gd name="connsiteX135" fmla="*/ 1266825 w 1547812"/>
                  <a:gd name="connsiteY135" fmla="*/ 1181100 h 1533525"/>
                  <a:gd name="connsiteX136" fmla="*/ 1233487 w 1547812"/>
                  <a:gd name="connsiteY136" fmla="*/ 1181100 h 1533525"/>
                  <a:gd name="connsiteX137" fmla="*/ 1228725 w 1547812"/>
                  <a:gd name="connsiteY137" fmla="*/ 1223963 h 1533525"/>
                  <a:gd name="connsiteX138" fmla="*/ 1226343 w 1547812"/>
                  <a:gd name="connsiteY138" fmla="*/ 1243013 h 1533525"/>
                  <a:gd name="connsiteX139" fmla="*/ 1216818 w 1547812"/>
                  <a:gd name="connsiteY139" fmla="*/ 1264444 h 1533525"/>
                  <a:gd name="connsiteX140" fmla="*/ 1190625 w 1547812"/>
                  <a:gd name="connsiteY140" fmla="*/ 1238250 h 1533525"/>
                  <a:gd name="connsiteX141" fmla="*/ 1157287 w 1547812"/>
                  <a:gd name="connsiteY141" fmla="*/ 1209675 h 1533525"/>
                  <a:gd name="connsiteX142" fmla="*/ 1131093 w 1547812"/>
                  <a:gd name="connsiteY142" fmla="*/ 1185863 h 1533525"/>
                  <a:gd name="connsiteX143" fmla="*/ 1107281 w 1547812"/>
                  <a:gd name="connsiteY143" fmla="*/ 1219200 h 1533525"/>
                  <a:gd name="connsiteX144" fmla="*/ 1104900 w 1547812"/>
                  <a:gd name="connsiteY144" fmla="*/ 1264444 h 1533525"/>
                  <a:gd name="connsiteX145" fmla="*/ 1062037 w 1547812"/>
                  <a:gd name="connsiteY145" fmla="*/ 1259681 h 1533525"/>
                  <a:gd name="connsiteX146" fmla="*/ 1026318 w 1547812"/>
                  <a:gd name="connsiteY146" fmla="*/ 1288256 h 1533525"/>
                  <a:gd name="connsiteX147" fmla="*/ 1007268 w 1547812"/>
                  <a:gd name="connsiteY147" fmla="*/ 1240631 h 1533525"/>
                  <a:gd name="connsiteX148" fmla="*/ 947737 w 1547812"/>
                  <a:gd name="connsiteY148" fmla="*/ 1231106 h 1533525"/>
                  <a:gd name="connsiteX149" fmla="*/ 921543 w 1547812"/>
                  <a:gd name="connsiteY149" fmla="*/ 1297781 h 1533525"/>
                  <a:gd name="connsiteX150" fmla="*/ 885825 w 1547812"/>
                  <a:gd name="connsiteY150" fmla="*/ 1278731 h 1533525"/>
                  <a:gd name="connsiteX151" fmla="*/ 816768 w 1547812"/>
                  <a:gd name="connsiteY151" fmla="*/ 1295400 h 1533525"/>
                  <a:gd name="connsiteX152" fmla="*/ 757237 w 1547812"/>
                  <a:gd name="connsiteY152" fmla="*/ 1259681 h 1533525"/>
                  <a:gd name="connsiteX153" fmla="*/ 742950 w 1547812"/>
                  <a:gd name="connsiteY153" fmla="*/ 1312069 h 1533525"/>
                  <a:gd name="connsiteX154" fmla="*/ 704850 w 1547812"/>
                  <a:gd name="connsiteY154" fmla="*/ 1345406 h 1533525"/>
                  <a:gd name="connsiteX155" fmla="*/ 692943 w 1547812"/>
                  <a:gd name="connsiteY155" fmla="*/ 1366838 h 1533525"/>
                  <a:gd name="connsiteX156" fmla="*/ 671512 w 1547812"/>
                  <a:gd name="connsiteY156" fmla="*/ 1509713 h 1533525"/>
                  <a:gd name="connsiteX157" fmla="*/ 633412 w 1547812"/>
                  <a:gd name="connsiteY157" fmla="*/ 1490663 h 1533525"/>
                  <a:gd name="connsiteX158" fmla="*/ 614362 w 1547812"/>
                  <a:gd name="connsiteY158" fmla="*/ 1504950 h 1533525"/>
                  <a:gd name="connsiteX159" fmla="*/ 581025 w 1547812"/>
                  <a:gd name="connsiteY159" fmla="*/ 1531144 h 1533525"/>
                  <a:gd name="connsiteX160" fmla="*/ 523875 w 1547812"/>
                  <a:gd name="connsiteY160" fmla="*/ 1502569 h 1533525"/>
                  <a:gd name="connsiteX161" fmla="*/ 514350 w 1547812"/>
                  <a:gd name="connsiteY161" fmla="*/ 1490663 h 1533525"/>
                  <a:gd name="connsiteX162" fmla="*/ 483393 w 1547812"/>
                  <a:gd name="connsiteY162" fmla="*/ 1533525 h 1533525"/>
                  <a:gd name="connsiteX0" fmla="*/ 483393 w 1543050"/>
                  <a:gd name="connsiteY0" fmla="*/ 1533525 h 1533525"/>
                  <a:gd name="connsiteX1" fmla="*/ 459581 w 1543050"/>
                  <a:gd name="connsiteY1" fmla="*/ 1481138 h 1533525"/>
                  <a:gd name="connsiteX2" fmla="*/ 438150 w 1543050"/>
                  <a:gd name="connsiteY2" fmla="*/ 1471613 h 1533525"/>
                  <a:gd name="connsiteX3" fmla="*/ 400050 w 1543050"/>
                  <a:gd name="connsiteY3" fmla="*/ 1485900 h 1533525"/>
                  <a:gd name="connsiteX4" fmla="*/ 338137 w 1543050"/>
                  <a:gd name="connsiteY4" fmla="*/ 1490663 h 1533525"/>
                  <a:gd name="connsiteX5" fmla="*/ 330993 w 1543050"/>
                  <a:gd name="connsiteY5" fmla="*/ 1497806 h 1533525"/>
                  <a:gd name="connsiteX6" fmla="*/ 271462 w 1543050"/>
                  <a:gd name="connsiteY6" fmla="*/ 1471613 h 1533525"/>
                  <a:gd name="connsiteX7" fmla="*/ 219075 w 1543050"/>
                  <a:gd name="connsiteY7" fmla="*/ 1443038 h 1533525"/>
                  <a:gd name="connsiteX8" fmla="*/ 138112 w 1543050"/>
                  <a:gd name="connsiteY8" fmla="*/ 1402556 h 1533525"/>
                  <a:gd name="connsiteX9" fmla="*/ 95250 w 1543050"/>
                  <a:gd name="connsiteY9" fmla="*/ 1316831 h 1533525"/>
                  <a:gd name="connsiteX10" fmla="*/ 80962 w 1543050"/>
                  <a:gd name="connsiteY10" fmla="*/ 1288256 h 1533525"/>
                  <a:gd name="connsiteX11" fmla="*/ 104775 w 1543050"/>
                  <a:gd name="connsiteY11" fmla="*/ 1266825 h 1533525"/>
                  <a:gd name="connsiteX12" fmla="*/ 76200 w 1543050"/>
                  <a:gd name="connsiteY12" fmla="*/ 1212056 h 1533525"/>
                  <a:gd name="connsiteX13" fmla="*/ 109537 w 1543050"/>
                  <a:gd name="connsiteY13" fmla="*/ 1193006 h 1533525"/>
                  <a:gd name="connsiteX14" fmla="*/ 140493 w 1543050"/>
                  <a:gd name="connsiteY14" fmla="*/ 1143000 h 1533525"/>
                  <a:gd name="connsiteX15" fmla="*/ 123825 w 1543050"/>
                  <a:gd name="connsiteY15" fmla="*/ 1107281 h 1533525"/>
                  <a:gd name="connsiteX16" fmla="*/ 178593 w 1543050"/>
                  <a:gd name="connsiteY16" fmla="*/ 1107281 h 1533525"/>
                  <a:gd name="connsiteX17" fmla="*/ 192881 w 1543050"/>
                  <a:gd name="connsiteY17" fmla="*/ 1109663 h 1533525"/>
                  <a:gd name="connsiteX18" fmla="*/ 159543 w 1543050"/>
                  <a:gd name="connsiteY18" fmla="*/ 1064419 h 1533525"/>
                  <a:gd name="connsiteX19" fmla="*/ 169068 w 1543050"/>
                  <a:gd name="connsiteY19" fmla="*/ 1014413 h 1533525"/>
                  <a:gd name="connsiteX20" fmla="*/ 123825 w 1543050"/>
                  <a:gd name="connsiteY20" fmla="*/ 997744 h 1533525"/>
                  <a:gd name="connsiteX21" fmla="*/ 61912 w 1543050"/>
                  <a:gd name="connsiteY21" fmla="*/ 954881 h 1533525"/>
                  <a:gd name="connsiteX22" fmla="*/ 45243 w 1543050"/>
                  <a:gd name="connsiteY22" fmla="*/ 938213 h 1533525"/>
                  <a:gd name="connsiteX23" fmla="*/ 64293 w 1543050"/>
                  <a:gd name="connsiteY23" fmla="*/ 909638 h 1533525"/>
                  <a:gd name="connsiteX24" fmla="*/ 47625 w 1543050"/>
                  <a:gd name="connsiteY24" fmla="*/ 897731 h 1533525"/>
                  <a:gd name="connsiteX25" fmla="*/ 47625 w 1543050"/>
                  <a:gd name="connsiteY25" fmla="*/ 881063 h 1533525"/>
                  <a:gd name="connsiteX26" fmla="*/ 26193 w 1543050"/>
                  <a:gd name="connsiteY26" fmla="*/ 881063 h 1533525"/>
                  <a:gd name="connsiteX27" fmla="*/ 7143 w 1543050"/>
                  <a:gd name="connsiteY27" fmla="*/ 847725 h 1533525"/>
                  <a:gd name="connsiteX28" fmla="*/ 0 w 1543050"/>
                  <a:gd name="connsiteY28" fmla="*/ 816769 h 1533525"/>
                  <a:gd name="connsiteX29" fmla="*/ 54768 w 1543050"/>
                  <a:gd name="connsiteY29" fmla="*/ 800100 h 1533525"/>
                  <a:gd name="connsiteX30" fmla="*/ 76200 w 1543050"/>
                  <a:gd name="connsiteY30" fmla="*/ 788194 h 1533525"/>
                  <a:gd name="connsiteX31" fmla="*/ 128587 w 1543050"/>
                  <a:gd name="connsiteY31" fmla="*/ 821531 h 1533525"/>
                  <a:gd name="connsiteX32" fmla="*/ 126206 w 1543050"/>
                  <a:gd name="connsiteY32" fmla="*/ 800100 h 1533525"/>
                  <a:gd name="connsiteX33" fmla="*/ 164306 w 1543050"/>
                  <a:gd name="connsiteY33" fmla="*/ 795338 h 1533525"/>
                  <a:gd name="connsiteX34" fmla="*/ 173831 w 1543050"/>
                  <a:gd name="connsiteY34" fmla="*/ 759619 h 1533525"/>
                  <a:gd name="connsiteX35" fmla="*/ 235743 w 1543050"/>
                  <a:gd name="connsiteY35" fmla="*/ 764381 h 1533525"/>
                  <a:gd name="connsiteX36" fmla="*/ 235743 w 1543050"/>
                  <a:gd name="connsiteY36" fmla="*/ 764381 h 1533525"/>
                  <a:gd name="connsiteX37" fmla="*/ 245268 w 1543050"/>
                  <a:gd name="connsiteY37" fmla="*/ 704850 h 1533525"/>
                  <a:gd name="connsiteX38" fmla="*/ 276225 w 1543050"/>
                  <a:gd name="connsiteY38" fmla="*/ 666750 h 1533525"/>
                  <a:gd name="connsiteX39" fmla="*/ 292893 w 1543050"/>
                  <a:gd name="connsiteY39" fmla="*/ 638175 h 1533525"/>
                  <a:gd name="connsiteX40" fmla="*/ 245268 w 1543050"/>
                  <a:gd name="connsiteY40" fmla="*/ 602456 h 1533525"/>
                  <a:gd name="connsiteX41" fmla="*/ 264318 w 1543050"/>
                  <a:gd name="connsiteY41" fmla="*/ 585788 h 1533525"/>
                  <a:gd name="connsiteX42" fmla="*/ 311943 w 1543050"/>
                  <a:gd name="connsiteY42" fmla="*/ 602456 h 1533525"/>
                  <a:gd name="connsiteX43" fmla="*/ 369093 w 1543050"/>
                  <a:gd name="connsiteY43" fmla="*/ 573881 h 1533525"/>
                  <a:gd name="connsiteX44" fmla="*/ 457200 w 1543050"/>
                  <a:gd name="connsiteY44" fmla="*/ 545306 h 1533525"/>
                  <a:gd name="connsiteX45" fmla="*/ 538162 w 1543050"/>
                  <a:gd name="connsiteY45" fmla="*/ 578644 h 1533525"/>
                  <a:gd name="connsiteX46" fmla="*/ 614362 w 1543050"/>
                  <a:gd name="connsiteY46" fmla="*/ 550069 h 1533525"/>
                  <a:gd name="connsiteX47" fmla="*/ 650081 w 1543050"/>
                  <a:gd name="connsiteY47" fmla="*/ 552450 h 1533525"/>
                  <a:gd name="connsiteX48" fmla="*/ 654843 w 1543050"/>
                  <a:gd name="connsiteY48" fmla="*/ 523875 h 1533525"/>
                  <a:gd name="connsiteX49" fmla="*/ 654843 w 1543050"/>
                  <a:gd name="connsiteY49" fmla="*/ 490538 h 1533525"/>
                  <a:gd name="connsiteX50" fmla="*/ 669131 w 1543050"/>
                  <a:gd name="connsiteY50" fmla="*/ 469106 h 1533525"/>
                  <a:gd name="connsiteX51" fmla="*/ 652462 w 1543050"/>
                  <a:gd name="connsiteY51" fmla="*/ 450056 h 1533525"/>
                  <a:gd name="connsiteX52" fmla="*/ 642937 w 1543050"/>
                  <a:gd name="connsiteY52" fmla="*/ 411956 h 1533525"/>
                  <a:gd name="connsiteX53" fmla="*/ 642937 w 1543050"/>
                  <a:gd name="connsiteY53" fmla="*/ 330994 h 1533525"/>
                  <a:gd name="connsiteX54" fmla="*/ 633412 w 1543050"/>
                  <a:gd name="connsiteY54" fmla="*/ 319088 h 1533525"/>
                  <a:gd name="connsiteX55" fmla="*/ 664368 w 1543050"/>
                  <a:gd name="connsiteY55" fmla="*/ 285750 h 1533525"/>
                  <a:gd name="connsiteX56" fmla="*/ 721518 w 1543050"/>
                  <a:gd name="connsiteY56" fmla="*/ 292894 h 1533525"/>
                  <a:gd name="connsiteX57" fmla="*/ 733425 w 1543050"/>
                  <a:gd name="connsiteY57" fmla="*/ 264319 h 1533525"/>
                  <a:gd name="connsiteX58" fmla="*/ 731043 w 1543050"/>
                  <a:gd name="connsiteY58" fmla="*/ 228600 h 1533525"/>
                  <a:gd name="connsiteX59" fmla="*/ 790575 w 1543050"/>
                  <a:gd name="connsiteY59" fmla="*/ 192881 h 1533525"/>
                  <a:gd name="connsiteX60" fmla="*/ 804862 w 1543050"/>
                  <a:gd name="connsiteY60" fmla="*/ 166688 h 1533525"/>
                  <a:gd name="connsiteX61" fmla="*/ 778668 w 1543050"/>
                  <a:gd name="connsiteY61" fmla="*/ 128588 h 1533525"/>
                  <a:gd name="connsiteX62" fmla="*/ 771525 w 1543050"/>
                  <a:gd name="connsiteY62" fmla="*/ 104775 h 1533525"/>
                  <a:gd name="connsiteX63" fmla="*/ 823912 w 1543050"/>
                  <a:gd name="connsiteY63" fmla="*/ 97631 h 1533525"/>
                  <a:gd name="connsiteX64" fmla="*/ 869156 w 1543050"/>
                  <a:gd name="connsiteY64" fmla="*/ 52388 h 1533525"/>
                  <a:gd name="connsiteX65" fmla="*/ 890587 w 1543050"/>
                  <a:gd name="connsiteY65" fmla="*/ 23813 h 1533525"/>
                  <a:gd name="connsiteX66" fmla="*/ 923925 w 1543050"/>
                  <a:gd name="connsiteY66" fmla="*/ 9525 h 1533525"/>
                  <a:gd name="connsiteX67" fmla="*/ 971550 w 1543050"/>
                  <a:gd name="connsiteY67" fmla="*/ 0 h 1533525"/>
                  <a:gd name="connsiteX68" fmla="*/ 971550 w 1543050"/>
                  <a:gd name="connsiteY68" fmla="*/ 40481 h 1533525"/>
                  <a:gd name="connsiteX69" fmla="*/ 950118 w 1543050"/>
                  <a:gd name="connsiteY69" fmla="*/ 80963 h 1533525"/>
                  <a:gd name="connsiteX70" fmla="*/ 950118 w 1543050"/>
                  <a:gd name="connsiteY70" fmla="*/ 140494 h 1533525"/>
                  <a:gd name="connsiteX71" fmla="*/ 969168 w 1543050"/>
                  <a:gd name="connsiteY71" fmla="*/ 161925 h 1533525"/>
                  <a:gd name="connsiteX72" fmla="*/ 1007268 w 1543050"/>
                  <a:gd name="connsiteY72" fmla="*/ 188119 h 1533525"/>
                  <a:gd name="connsiteX73" fmla="*/ 1019175 w 1543050"/>
                  <a:gd name="connsiteY73" fmla="*/ 216694 h 1533525"/>
                  <a:gd name="connsiteX74" fmla="*/ 1004887 w 1543050"/>
                  <a:gd name="connsiteY74" fmla="*/ 226219 h 1533525"/>
                  <a:gd name="connsiteX75" fmla="*/ 1057275 w 1543050"/>
                  <a:gd name="connsiteY75" fmla="*/ 250031 h 1533525"/>
                  <a:gd name="connsiteX76" fmla="*/ 1073943 w 1543050"/>
                  <a:gd name="connsiteY76" fmla="*/ 228600 h 1533525"/>
                  <a:gd name="connsiteX77" fmla="*/ 1083468 w 1543050"/>
                  <a:gd name="connsiteY77" fmla="*/ 252413 h 1533525"/>
                  <a:gd name="connsiteX78" fmla="*/ 1116806 w 1543050"/>
                  <a:gd name="connsiteY78" fmla="*/ 252413 h 1533525"/>
                  <a:gd name="connsiteX79" fmla="*/ 1123950 w 1543050"/>
                  <a:gd name="connsiteY79" fmla="*/ 257175 h 1533525"/>
                  <a:gd name="connsiteX80" fmla="*/ 1116806 w 1543050"/>
                  <a:gd name="connsiteY80" fmla="*/ 276225 h 1533525"/>
                  <a:gd name="connsiteX81" fmla="*/ 1088231 w 1543050"/>
                  <a:gd name="connsiteY81" fmla="*/ 309563 h 1533525"/>
                  <a:gd name="connsiteX82" fmla="*/ 1123950 w 1543050"/>
                  <a:gd name="connsiteY82" fmla="*/ 333375 h 1533525"/>
                  <a:gd name="connsiteX83" fmla="*/ 1135856 w 1543050"/>
                  <a:gd name="connsiteY83" fmla="*/ 347663 h 1533525"/>
                  <a:gd name="connsiteX84" fmla="*/ 1135856 w 1543050"/>
                  <a:gd name="connsiteY84" fmla="*/ 376238 h 1533525"/>
                  <a:gd name="connsiteX85" fmla="*/ 1119187 w 1543050"/>
                  <a:gd name="connsiteY85" fmla="*/ 411956 h 1533525"/>
                  <a:gd name="connsiteX86" fmla="*/ 1162050 w 1543050"/>
                  <a:gd name="connsiteY86" fmla="*/ 423863 h 1533525"/>
                  <a:gd name="connsiteX87" fmla="*/ 1233487 w 1543050"/>
                  <a:gd name="connsiteY87" fmla="*/ 416719 h 1533525"/>
                  <a:gd name="connsiteX88" fmla="*/ 1223962 w 1543050"/>
                  <a:gd name="connsiteY88" fmla="*/ 385763 h 1533525"/>
                  <a:gd name="connsiteX89" fmla="*/ 1188243 w 1543050"/>
                  <a:gd name="connsiteY89" fmla="*/ 347663 h 1533525"/>
                  <a:gd name="connsiteX90" fmla="*/ 1181100 w 1543050"/>
                  <a:gd name="connsiteY90" fmla="*/ 333375 h 1533525"/>
                  <a:gd name="connsiteX91" fmla="*/ 1207293 w 1543050"/>
                  <a:gd name="connsiteY91" fmla="*/ 326231 h 1533525"/>
                  <a:gd name="connsiteX92" fmla="*/ 1200150 w 1543050"/>
                  <a:gd name="connsiteY92" fmla="*/ 302419 h 1533525"/>
                  <a:gd name="connsiteX93" fmla="*/ 1223962 w 1543050"/>
                  <a:gd name="connsiteY93" fmla="*/ 283369 h 1533525"/>
                  <a:gd name="connsiteX94" fmla="*/ 1250156 w 1543050"/>
                  <a:gd name="connsiteY94" fmla="*/ 242888 h 1533525"/>
                  <a:gd name="connsiteX95" fmla="*/ 1302543 w 1543050"/>
                  <a:gd name="connsiteY95" fmla="*/ 211931 h 1533525"/>
                  <a:gd name="connsiteX96" fmla="*/ 1350168 w 1543050"/>
                  <a:gd name="connsiteY96" fmla="*/ 123825 h 1533525"/>
                  <a:gd name="connsiteX97" fmla="*/ 1543050 w 1543050"/>
                  <a:gd name="connsiteY97" fmla="*/ 147638 h 1533525"/>
                  <a:gd name="connsiteX98" fmla="*/ 1057275 w 1543050"/>
                  <a:gd name="connsiteY98" fmla="*/ 264319 h 1533525"/>
                  <a:gd name="connsiteX99" fmla="*/ 1062037 w 1543050"/>
                  <a:gd name="connsiteY99" fmla="*/ 304800 h 1533525"/>
                  <a:gd name="connsiteX100" fmla="*/ 995362 w 1543050"/>
                  <a:gd name="connsiteY100" fmla="*/ 352425 h 1533525"/>
                  <a:gd name="connsiteX101" fmla="*/ 973931 w 1543050"/>
                  <a:gd name="connsiteY101" fmla="*/ 383381 h 1533525"/>
                  <a:gd name="connsiteX102" fmla="*/ 1000125 w 1543050"/>
                  <a:gd name="connsiteY102" fmla="*/ 428625 h 1533525"/>
                  <a:gd name="connsiteX103" fmla="*/ 983456 w 1543050"/>
                  <a:gd name="connsiteY103" fmla="*/ 466725 h 1533525"/>
                  <a:gd name="connsiteX104" fmla="*/ 1000125 w 1543050"/>
                  <a:gd name="connsiteY104" fmla="*/ 519113 h 1533525"/>
                  <a:gd name="connsiteX105" fmla="*/ 1033462 w 1543050"/>
                  <a:gd name="connsiteY105" fmla="*/ 519113 h 1533525"/>
                  <a:gd name="connsiteX106" fmla="*/ 1019175 w 1543050"/>
                  <a:gd name="connsiteY106" fmla="*/ 552450 h 1533525"/>
                  <a:gd name="connsiteX107" fmla="*/ 1035843 w 1543050"/>
                  <a:gd name="connsiteY107" fmla="*/ 590550 h 1533525"/>
                  <a:gd name="connsiteX108" fmla="*/ 1035843 w 1543050"/>
                  <a:gd name="connsiteY108" fmla="*/ 607219 h 1533525"/>
                  <a:gd name="connsiteX109" fmla="*/ 1045368 w 1543050"/>
                  <a:gd name="connsiteY109" fmla="*/ 645319 h 1533525"/>
                  <a:gd name="connsiteX110" fmla="*/ 1064418 w 1543050"/>
                  <a:gd name="connsiteY110" fmla="*/ 645319 h 1533525"/>
                  <a:gd name="connsiteX111" fmla="*/ 1078706 w 1543050"/>
                  <a:gd name="connsiteY111" fmla="*/ 666750 h 1533525"/>
                  <a:gd name="connsiteX112" fmla="*/ 1085850 w 1543050"/>
                  <a:gd name="connsiteY112" fmla="*/ 688181 h 1533525"/>
                  <a:gd name="connsiteX113" fmla="*/ 1076325 w 1543050"/>
                  <a:gd name="connsiteY113" fmla="*/ 719138 h 1533525"/>
                  <a:gd name="connsiteX114" fmla="*/ 1021556 w 1543050"/>
                  <a:gd name="connsiteY114" fmla="*/ 714375 h 1533525"/>
                  <a:gd name="connsiteX115" fmla="*/ 1002506 w 1543050"/>
                  <a:gd name="connsiteY115" fmla="*/ 721519 h 1533525"/>
                  <a:gd name="connsiteX116" fmla="*/ 995362 w 1543050"/>
                  <a:gd name="connsiteY116" fmla="*/ 726281 h 1533525"/>
                  <a:gd name="connsiteX117" fmla="*/ 995362 w 1543050"/>
                  <a:gd name="connsiteY117" fmla="*/ 726281 h 1533525"/>
                  <a:gd name="connsiteX118" fmla="*/ 923925 w 1543050"/>
                  <a:gd name="connsiteY118" fmla="*/ 721519 h 1533525"/>
                  <a:gd name="connsiteX119" fmla="*/ 940593 w 1543050"/>
                  <a:gd name="connsiteY119" fmla="*/ 778669 h 1533525"/>
                  <a:gd name="connsiteX120" fmla="*/ 938212 w 1543050"/>
                  <a:gd name="connsiteY120" fmla="*/ 847725 h 1533525"/>
                  <a:gd name="connsiteX121" fmla="*/ 954881 w 1543050"/>
                  <a:gd name="connsiteY121" fmla="*/ 871538 h 1533525"/>
                  <a:gd name="connsiteX122" fmla="*/ 997743 w 1543050"/>
                  <a:gd name="connsiteY122" fmla="*/ 919163 h 1533525"/>
                  <a:gd name="connsiteX123" fmla="*/ 1012031 w 1543050"/>
                  <a:gd name="connsiteY123" fmla="*/ 954881 h 1533525"/>
                  <a:gd name="connsiteX124" fmla="*/ 1031081 w 1543050"/>
                  <a:gd name="connsiteY124" fmla="*/ 954881 h 1533525"/>
                  <a:gd name="connsiteX125" fmla="*/ 1071562 w 1543050"/>
                  <a:gd name="connsiteY125" fmla="*/ 940594 h 1533525"/>
                  <a:gd name="connsiteX126" fmla="*/ 1102518 w 1543050"/>
                  <a:gd name="connsiteY126" fmla="*/ 933450 h 1533525"/>
                  <a:gd name="connsiteX127" fmla="*/ 1159668 w 1543050"/>
                  <a:gd name="connsiteY127" fmla="*/ 997744 h 1533525"/>
                  <a:gd name="connsiteX128" fmla="*/ 1178718 w 1543050"/>
                  <a:gd name="connsiteY128" fmla="*/ 1052513 h 1533525"/>
                  <a:gd name="connsiteX129" fmla="*/ 1190625 w 1543050"/>
                  <a:gd name="connsiteY129" fmla="*/ 1081088 h 1533525"/>
                  <a:gd name="connsiteX130" fmla="*/ 1212056 w 1543050"/>
                  <a:gd name="connsiteY130" fmla="*/ 1109663 h 1533525"/>
                  <a:gd name="connsiteX131" fmla="*/ 1231106 w 1543050"/>
                  <a:gd name="connsiteY131" fmla="*/ 1102519 h 1533525"/>
                  <a:gd name="connsiteX132" fmla="*/ 1231106 w 1543050"/>
                  <a:gd name="connsiteY132" fmla="*/ 1131094 h 1533525"/>
                  <a:gd name="connsiteX133" fmla="*/ 1233487 w 1543050"/>
                  <a:gd name="connsiteY133" fmla="*/ 1145381 h 1533525"/>
                  <a:gd name="connsiteX134" fmla="*/ 1266825 w 1543050"/>
                  <a:gd name="connsiteY134" fmla="*/ 1181100 h 1533525"/>
                  <a:gd name="connsiteX135" fmla="*/ 1233487 w 1543050"/>
                  <a:gd name="connsiteY135" fmla="*/ 1181100 h 1533525"/>
                  <a:gd name="connsiteX136" fmla="*/ 1228725 w 1543050"/>
                  <a:gd name="connsiteY136" fmla="*/ 1223963 h 1533525"/>
                  <a:gd name="connsiteX137" fmla="*/ 1226343 w 1543050"/>
                  <a:gd name="connsiteY137" fmla="*/ 1243013 h 1533525"/>
                  <a:gd name="connsiteX138" fmla="*/ 1216818 w 1543050"/>
                  <a:gd name="connsiteY138" fmla="*/ 1264444 h 1533525"/>
                  <a:gd name="connsiteX139" fmla="*/ 1190625 w 1543050"/>
                  <a:gd name="connsiteY139" fmla="*/ 1238250 h 1533525"/>
                  <a:gd name="connsiteX140" fmla="*/ 1157287 w 1543050"/>
                  <a:gd name="connsiteY140" fmla="*/ 1209675 h 1533525"/>
                  <a:gd name="connsiteX141" fmla="*/ 1131093 w 1543050"/>
                  <a:gd name="connsiteY141" fmla="*/ 1185863 h 1533525"/>
                  <a:gd name="connsiteX142" fmla="*/ 1107281 w 1543050"/>
                  <a:gd name="connsiteY142" fmla="*/ 1219200 h 1533525"/>
                  <a:gd name="connsiteX143" fmla="*/ 1104900 w 1543050"/>
                  <a:gd name="connsiteY143" fmla="*/ 1264444 h 1533525"/>
                  <a:gd name="connsiteX144" fmla="*/ 1062037 w 1543050"/>
                  <a:gd name="connsiteY144" fmla="*/ 1259681 h 1533525"/>
                  <a:gd name="connsiteX145" fmla="*/ 1026318 w 1543050"/>
                  <a:gd name="connsiteY145" fmla="*/ 1288256 h 1533525"/>
                  <a:gd name="connsiteX146" fmla="*/ 1007268 w 1543050"/>
                  <a:gd name="connsiteY146" fmla="*/ 1240631 h 1533525"/>
                  <a:gd name="connsiteX147" fmla="*/ 947737 w 1543050"/>
                  <a:gd name="connsiteY147" fmla="*/ 1231106 h 1533525"/>
                  <a:gd name="connsiteX148" fmla="*/ 921543 w 1543050"/>
                  <a:gd name="connsiteY148" fmla="*/ 1297781 h 1533525"/>
                  <a:gd name="connsiteX149" fmla="*/ 885825 w 1543050"/>
                  <a:gd name="connsiteY149" fmla="*/ 1278731 h 1533525"/>
                  <a:gd name="connsiteX150" fmla="*/ 816768 w 1543050"/>
                  <a:gd name="connsiteY150" fmla="*/ 1295400 h 1533525"/>
                  <a:gd name="connsiteX151" fmla="*/ 757237 w 1543050"/>
                  <a:gd name="connsiteY151" fmla="*/ 1259681 h 1533525"/>
                  <a:gd name="connsiteX152" fmla="*/ 742950 w 1543050"/>
                  <a:gd name="connsiteY152" fmla="*/ 1312069 h 1533525"/>
                  <a:gd name="connsiteX153" fmla="*/ 704850 w 1543050"/>
                  <a:gd name="connsiteY153" fmla="*/ 1345406 h 1533525"/>
                  <a:gd name="connsiteX154" fmla="*/ 692943 w 1543050"/>
                  <a:gd name="connsiteY154" fmla="*/ 1366838 h 1533525"/>
                  <a:gd name="connsiteX155" fmla="*/ 671512 w 1543050"/>
                  <a:gd name="connsiteY155" fmla="*/ 1509713 h 1533525"/>
                  <a:gd name="connsiteX156" fmla="*/ 633412 w 1543050"/>
                  <a:gd name="connsiteY156" fmla="*/ 1490663 h 1533525"/>
                  <a:gd name="connsiteX157" fmla="*/ 614362 w 1543050"/>
                  <a:gd name="connsiteY157" fmla="*/ 1504950 h 1533525"/>
                  <a:gd name="connsiteX158" fmla="*/ 581025 w 1543050"/>
                  <a:gd name="connsiteY158" fmla="*/ 1531144 h 1533525"/>
                  <a:gd name="connsiteX159" fmla="*/ 523875 w 1543050"/>
                  <a:gd name="connsiteY159" fmla="*/ 1502569 h 1533525"/>
                  <a:gd name="connsiteX160" fmla="*/ 514350 w 1543050"/>
                  <a:gd name="connsiteY160" fmla="*/ 1490663 h 1533525"/>
                  <a:gd name="connsiteX161" fmla="*/ 483393 w 1543050"/>
                  <a:gd name="connsiteY161" fmla="*/ 1533525 h 1533525"/>
                  <a:gd name="connsiteX0" fmla="*/ 483393 w 1350168"/>
                  <a:gd name="connsiteY0" fmla="*/ 1533525 h 1533525"/>
                  <a:gd name="connsiteX1" fmla="*/ 459581 w 1350168"/>
                  <a:gd name="connsiteY1" fmla="*/ 1481138 h 1533525"/>
                  <a:gd name="connsiteX2" fmla="*/ 438150 w 1350168"/>
                  <a:gd name="connsiteY2" fmla="*/ 1471613 h 1533525"/>
                  <a:gd name="connsiteX3" fmla="*/ 400050 w 1350168"/>
                  <a:gd name="connsiteY3" fmla="*/ 1485900 h 1533525"/>
                  <a:gd name="connsiteX4" fmla="*/ 338137 w 1350168"/>
                  <a:gd name="connsiteY4" fmla="*/ 1490663 h 1533525"/>
                  <a:gd name="connsiteX5" fmla="*/ 330993 w 1350168"/>
                  <a:gd name="connsiteY5" fmla="*/ 1497806 h 1533525"/>
                  <a:gd name="connsiteX6" fmla="*/ 271462 w 1350168"/>
                  <a:gd name="connsiteY6" fmla="*/ 1471613 h 1533525"/>
                  <a:gd name="connsiteX7" fmla="*/ 219075 w 1350168"/>
                  <a:gd name="connsiteY7" fmla="*/ 1443038 h 1533525"/>
                  <a:gd name="connsiteX8" fmla="*/ 138112 w 1350168"/>
                  <a:gd name="connsiteY8" fmla="*/ 1402556 h 1533525"/>
                  <a:gd name="connsiteX9" fmla="*/ 95250 w 1350168"/>
                  <a:gd name="connsiteY9" fmla="*/ 1316831 h 1533525"/>
                  <a:gd name="connsiteX10" fmla="*/ 80962 w 1350168"/>
                  <a:gd name="connsiteY10" fmla="*/ 1288256 h 1533525"/>
                  <a:gd name="connsiteX11" fmla="*/ 104775 w 1350168"/>
                  <a:gd name="connsiteY11" fmla="*/ 1266825 h 1533525"/>
                  <a:gd name="connsiteX12" fmla="*/ 76200 w 1350168"/>
                  <a:gd name="connsiteY12" fmla="*/ 1212056 h 1533525"/>
                  <a:gd name="connsiteX13" fmla="*/ 109537 w 1350168"/>
                  <a:gd name="connsiteY13" fmla="*/ 1193006 h 1533525"/>
                  <a:gd name="connsiteX14" fmla="*/ 140493 w 1350168"/>
                  <a:gd name="connsiteY14" fmla="*/ 1143000 h 1533525"/>
                  <a:gd name="connsiteX15" fmla="*/ 123825 w 1350168"/>
                  <a:gd name="connsiteY15" fmla="*/ 1107281 h 1533525"/>
                  <a:gd name="connsiteX16" fmla="*/ 178593 w 1350168"/>
                  <a:gd name="connsiteY16" fmla="*/ 1107281 h 1533525"/>
                  <a:gd name="connsiteX17" fmla="*/ 192881 w 1350168"/>
                  <a:gd name="connsiteY17" fmla="*/ 1109663 h 1533525"/>
                  <a:gd name="connsiteX18" fmla="*/ 159543 w 1350168"/>
                  <a:gd name="connsiteY18" fmla="*/ 1064419 h 1533525"/>
                  <a:gd name="connsiteX19" fmla="*/ 169068 w 1350168"/>
                  <a:gd name="connsiteY19" fmla="*/ 1014413 h 1533525"/>
                  <a:gd name="connsiteX20" fmla="*/ 123825 w 1350168"/>
                  <a:gd name="connsiteY20" fmla="*/ 997744 h 1533525"/>
                  <a:gd name="connsiteX21" fmla="*/ 61912 w 1350168"/>
                  <a:gd name="connsiteY21" fmla="*/ 954881 h 1533525"/>
                  <a:gd name="connsiteX22" fmla="*/ 45243 w 1350168"/>
                  <a:gd name="connsiteY22" fmla="*/ 938213 h 1533525"/>
                  <a:gd name="connsiteX23" fmla="*/ 64293 w 1350168"/>
                  <a:gd name="connsiteY23" fmla="*/ 909638 h 1533525"/>
                  <a:gd name="connsiteX24" fmla="*/ 47625 w 1350168"/>
                  <a:gd name="connsiteY24" fmla="*/ 897731 h 1533525"/>
                  <a:gd name="connsiteX25" fmla="*/ 47625 w 1350168"/>
                  <a:gd name="connsiteY25" fmla="*/ 881063 h 1533525"/>
                  <a:gd name="connsiteX26" fmla="*/ 26193 w 1350168"/>
                  <a:gd name="connsiteY26" fmla="*/ 881063 h 1533525"/>
                  <a:gd name="connsiteX27" fmla="*/ 7143 w 1350168"/>
                  <a:gd name="connsiteY27" fmla="*/ 847725 h 1533525"/>
                  <a:gd name="connsiteX28" fmla="*/ 0 w 1350168"/>
                  <a:gd name="connsiteY28" fmla="*/ 816769 h 1533525"/>
                  <a:gd name="connsiteX29" fmla="*/ 54768 w 1350168"/>
                  <a:gd name="connsiteY29" fmla="*/ 800100 h 1533525"/>
                  <a:gd name="connsiteX30" fmla="*/ 76200 w 1350168"/>
                  <a:gd name="connsiteY30" fmla="*/ 788194 h 1533525"/>
                  <a:gd name="connsiteX31" fmla="*/ 128587 w 1350168"/>
                  <a:gd name="connsiteY31" fmla="*/ 821531 h 1533525"/>
                  <a:gd name="connsiteX32" fmla="*/ 126206 w 1350168"/>
                  <a:gd name="connsiteY32" fmla="*/ 800100 h 1533525"/>
                  <a:gd name="connsiteX33" fmla="*/ 164306 w 1350168"/>
                  <a:gd name="connsiteY33" fmla="*/ 795338 h 1533525"/>
                  <a:gd name="connsiteX34" fmla="*/ 173831 w 1350168"/>
                  <a:gd name="connsiteY34" fmla="*/ 759619 h 1533525"/>
                  <a:gd name="connsiteX35" fmla="*/ 235743 w 1350168"/>
                  <a:gd name="connsiteY35" fmla="*/ 764381 h 1533525"/>
                  <a:gd name="connsiteX36" fmla="*/ 235743 w 1350168"/>
                  <a:gd name="connsiteY36" fmla="*/ 764381 h 1533525"/>
                  <a:gd name="connsiteX37" fmla="*/ 245268 w 1350168"/>
                  <a:gd name="connsiteY37" fmla="*/ 704850 h 1533525"/>
                  <a:gd name="connsiteX38" fmla="*/ 276225 w 1350168"/>
                  <a:gd name="connsiteY38" fmla="*/ 666750 h 1533525"/>
                  <a:gd name="connsiteX39" fmla="*/ 292893 w 1350168"/>
                  <a:gd name="connsiteY39" fmla="*/ 638175 h 1533525"/>
                  <a:gd name="connsiteX40" fmla="*/ 245268 w 1350168"/>
                  <a:gd name="connsiteY40" fmla="*/ 602456 h 1533525"/>
                  <a:gd name="connsiteX41" fmla="*/ 264318 w 1350168"/>
                  <a:gd name="connsiteY41" fmla="*/ 585788 h 1533525"/>
                  <a:gd name="connsiteX42" fmla="*/ 311943 w 1350168"/>
                  <a:gd name="connsiteY42" fmla="*/ 602456 h 1533525"/>
                  <a:gd name="connsiteX43" fmla="*/ 369093 w 1350168"/>
                  <a:gd name="connsiteY43" fmla="*/ 573881 h 1533525"/>
                  <a:gd name="connsiteX44" fmla="*/ 457200 w 1350168"/>
                  <a:gd name="connsiteY44" fmla="*/ 545306 h 1533525"/>
                  <a:gd name="connsiteX45" fmla="*/ 538162 w 1350168"/>
                  <a:gd name="connsiteY45" fmla="*/ 578644 h 1533525"/>
                  <a:gd name="connsiteX46" fmla="*/ 614362 w 1350168"/>
                  <a:gd name="connsiteY46" fmla="*/ 550069 h 1533525"/>
                  <a:gd name="connsiteX47" fmla="*/ 650081 w 1350168"/>
                  <a:gd name="connsiteY47" fmla="*/ 552450 h 1533525"/>
                  <a:gd name="connsiteX48" fmla="*/ 654843 w 1350168"/>
                  <a:gd name="connsiteY48" fmla="*/ 523875 h 1533525"/>
                  <a:gd name="connsiteX49" fmla="*/ 654843 w 1350168"/>
                  <a:gd name="connsiteY49" fmla="*/ 490538 h 1533525"/>
                  <a:gd name="connsiteX50" fmla="*/ 669131 w 1350168"/>
                  <a:gd name="connsiteY50" fmla="*/ 469106 h 1533525"/>
                  <a:gd name="connsiteX51" fmla="*/ 652462 w 1350168"/>
                  <a:gd name="connsiteY51" fmla="*/ 450056 h 1533525"/>
                  <a:gd name="connsiteX52" fmla="*/ 642937 w 1350168"/>
                  <a:gd name="connsiteY52" fmla="*/ 411956 h 1533525"/>
                  <a:gd name="connsiteX53" fmla="*/ 642937 w 1350168"/>
                  <a:gd name="connsiteY53" fmla="*/ 330994 h 1533525"/>
                  <a:gd name="connsiteX54" fmla="*/ 633412 w 1350168"/>
                  <a:gd name="connsiteY54" fmla="*/ 319088 h 1533525"/>
                  <a:gd name="connsiteX55" fmla="*/ 664368 w 1350168"/>
                  <a:gd name="connsiteY55" fmla="*/ 285750 h 1533525"/>
                  <a:gd name="connsiteX56" fmla="*/ 721518 w 1350168"/>
                  <a:gd name="connsiteY56" fmla="*/ 292894 h 1533525"/>
                  <a:gd name="connsiteX57" fmla="*/ 733425 w 1350168"/>
                  <a:gd name="connsiteY57" fmla="*/ 264319 h 1533525"/>
                  <a:gd name="connsiteX58" fmla="*/ 731043 w 1350168"/>
                  <a:gd name="connsiteY58" fmla="*/ 228600 h 1533525"/>
                  <a:gd name="connsiteX59" fmla="*/ 790575 w 1350168"/>
                  <a:gd name="connsiteY59" fmla="*/ 192881 h 1533525"/>
                  <a:gd name="connsiteX60" fmla="*/ 804862 w 1350168"/>
                  <a:gd name="connsiteY60" fmla="*/ 166688 h 1533525"/>
                  <a:gd name="connsiteX61" fmla="*/ 778668 w 1350168"/>
                  <a:gd name="connsiteY61" fmla="*/ 128588 h 1533525"/>
                  <a:gd name="connsiteX62" fmla="*/ 771525 w 1350168"/>
                  <a:gd name="connsiteY62" fmla="*/ 104775 h 1533525"/>
                  <a:gd name="connsiteX63" fmla="*/ 823912 w 1350168"/>
                  <a:gd name="connsiteY63" fmla="*/ 97631 h 1533525"/>
                  <a:gd name="connsiteX64" fmla="*/ 869156 w 1350168"/>
                  <a:gd name="connsiteY64" fmla="*/ 52388 h 1533525"/>
                  <a:gd name="connsiteX65" fmla="*/ 890587 w 1350168"/>
                  <a:gd name="connsiteY65" fmla="*/ 23813 h 1533525"/>
                  <a:gd name="connsiteX66" fmla="*/ 923925 w 1350168"/>
                  <a:gd name="connsiteY66" fmla="*/ 9525 h 1533525"/>
                  <a:gd name="connsiteX67" fmla="*/ 971550 w 1350168"/>
                  <a:gd name="connsiteY67" fmla="*/ 0 h 1533525"/>
                  <a:gd name="connsiteX68" fmla="*/ 971550 w 1350168"/>
                  <a:gd name="connsiteY68" fmla="*/ 40481 h 1533525"/>
                  <a:gd name="connsiteX69" fmla="*/ 950118 w 1350168"/>
                  <a:gd name="connsiteY69" fmla="*/ 80963 h 1533525"/>
                  <a:gd name="connsiteX70" fmla="*/ 950118 w 1350168"/>
                  <a:gd name="connsiteY70" fmla="*/ 140494 h 1533525"/>
                  <a:gd name="connsiteX71" fmla="*/ 969168 w 1350168"/>
                  <a:gd name="connsiteY71" fmla="*/ 161925 h 1533525"/>
                  <a:gd name="connsiteX72" fmla="*/ 1007268 w 1350168"/>
                  <a:gd name="connsiteY72" fmla="*/ 188119 h 1533525"/>
                  <a:gd name="connsiteX73" fmla="*/ 1019175 w 1350168"/>
                  <a:gd name="connsiteY73" fmla="*/ 216694 h 1533525"/>
                  <a:gd name="connsiteX74" fmla="*/ 1004887 w 1350168"/>
                  <a:gd name="connsiteY74" fmla="*/ 226219 h 1533525"/>
                  <a:gd name="connsiteX75" fmla="*/ 1057275 w 1350168"/>
                  <a:gd name="connsiteY75" fmla="*/ 250031 h 1533525"/>
                  <a:gd name="connsiteX76" fmla="*/ 1073943 w 1350168"/>
                  <a:gd name="connsiteY76" fmla="*/ 228600 h 1533525"/>
                  <a:gd name="connsiteX77" fmla="*/ 1083468 w 1350168"/>
                  <a:gd name="connsiteY77" fmla="*/ 252413 h 1533525"/>
                  <a:gd name="connsiteX78" fmla="*/ 1116806 w 1350168"/>
                  <a:gd name="connsiteY78" fmla="*/ 252413 h 1533525"/>
                  <a:gd name="connsiteX79" fmla="*/ 1123950 w 1350168"/>
                  <a:gd name="connsiteY79" fmla="*/ 257175 h 1533525"/>
                  <a:gd name="connsiteX80" fmla="*/ 1116806 w 1350168"/>
                  <a:gd name="connsiteY80" fmla="*/ 276225 h 1533525"/>
                  <a:gd name="connsiteX81" fmla="*/ 1088231 w 1350168"/>
                  <a:gd name="connsiteY81" fmla="*/ 309563 h 1533525"/>
                  <a:gd name="connsiteX82" fmla="*/ 1123950 w 1350168"/>
                  <a:gd name="connsiteY82" fmla="*/ 333375 h 1533525"/>
                  <a:gd name="connsiteX83" fmla="*/ 1135856 w 1350168"/>
                  <a:gd name="connsiteY83" fmla="*/ 347663 h 1533525"/>
                  <a:gd name="connsiteX84" fmla="*/ 1135856 w 1350168"/>
                  <a:gd name="connsiteY84" fmla="*/ 376238 h 1533525"/>
                  <a:gd name="connsiteX85" fmla="*/ 1119187 w 1350168"/>
                  <a:gd name="connsiteY85" fmla="*/ 411956 h 1533525"/>
                  <a:gd name="connsiteX86" fmla="*/ 1162050 w 1350168"/>
                  <a:gd name="connsiteY86" fmla="*/ 423863 h 1533525"/>
                  <a:gd name="connsiteX87" fmla="*/ 1233487 w 1350168"/>
                  <a:gd name="connsiteY87" fmla="*/ 416719 h 1533525"/>
                  <a:gd name="connsiteX88" fmla="*/ 1223962 w 1350168"/>
                  <a:gd name="connsiteY88" fmla="*/ 385763 h 1533525"/>
                  <a:gd name="connsiteX89" fmla="*/ 1188243 w 1350168"/>
                  <a:gd name="connsiteY89" fmla="*/ 347663 h 1533525"/>
                  <a:gd name="connsiteX90" fmla="*/ 1181100 w 1350168"/>
                  <a:gd name="connsiteY90" fmla="*/ 333375 h 1533525"/>
                  <a:gd name="connsiteX91" fmla="*/ 1207293 w 1350168"/>
                  <a:gd name="connsiteY91" fmla="*/ 326231 h 1533525"/>
                  <a:gd name="connsiteX92" fmla="*/ 1200150 w 1350168"/>
                  <a:gd name="connsiteY92" fmla="*/ 302419 h 1533525"/>
                  <a:gd name="connsiteX93" fmla="*/ 1223962 w 1350168"/>
                  <a:gd name="connsiteY93" fmla="*/ 283369 h 1533525"/>
                  <a:gd name="connsiteX94" fmla="*/ 1250156 w 1350168"/>
                  <a:gd name="connsiteY94" fmla="*/ 242888 h 1533525"/>
                  <a:gd name="connsiteX95" fmla="*/ 1302543 w 1350168"/>
                  <a:gd name="connsiteY95" fmla="*/ 211931 h 1533525"/>
                  <a:gd name="connsiteX96" fmla="*/ 1350168 w 1350168"/>
                  <a:gd name="connsiteY96" fmla="*/ 123825 h 1533525"/>
                  <a:gd name="connsiteX97" fmla="*/ 1057275 w 1350168"/>
                  <a:gd name="connsiteY97" fmla="*/ 264319 h 1533525"/>
                  <a:gd name="connsiteX98" fmla="*/ 1062037 w 1350168"/>
                  <a:gd name="connsiteY98" fmla="*/ 304800 h 1533525"/>
                  <a:gd name="connsiteX99" fmla="*/ 995362 w 1350168"/>
                  <a:gd name="connsiteY99" fmla="*/ 352425 h 1533525"/>
                  <a:gd name="connsiteX100" fmla="*/ 973931 w 1350168"/>
                  <a:gd name="connsiteY100" fmla="*/ 383381 h 1533525"/>
                  <a:gd name="connsiteX101" fmla="*/ 1000125 w 1350168"/>
                  <a:gd name="connsiteY101" fmla="*/ 428625 h 1533525"/>
                  <a:gd name="connsiteX102" fmla="*/ 983456 w 1350168"/>
                  <a:gd name="connsiteY102" fmla="*/ 466725 h 1533525"/>
                  <a:gd name="connsiteX103" fmla="*/ 1000125 w 1350168"/>
                  <a:gd name="connsiteY103" fmla="*/ 519113 h 1533525"/>
                  <a:gd name="connsiteX104" fmla="*/ 1033462 w 1350168"/>
                  <a:gd name="connsiteY104" fmla="*/ 519113 h 1533525"/>
                  <a:gd name="connsiteX105" fmla="*/ 1019175 w 1350168"/>
                  <a:gd name="connsiteY105" fmla="*/ 552450 h 1533525"/>
                  <a:gd name="connsiteX106" fmla="*/ 1035843 w 1350168"/>
                  <a:gd name="connsiteY106" fmla="*/ 590550 h 1533525"/>
                  <a:gd name="connsiteX107" fmla="*/ 1035843 w 1350168"/>
                  <a:gd name="connsiteY107" fmla="*/ 607219 h 1533525"/>
                  <a:gd name="connsiteX108" fmla="*/ 1045368 w 1350168"/>
                  <a:gd name="connsiteY108" fmla="*/ 645319 h 1533525"/>
                  <a:gd name="connsiteX109" fmla="*/ 1064418 w 1350168"/>
                  <a:gd name="connsiteY109" fmla="*/ 645319 h 1533525"/>
                  <a:gd name="connsiteX110" fmla="*/ 1078706 w 1350168"/>
                  <a:gd name="connsiteY110" fmla="*/ 666750 h 1533525"/>
                  <a:gd name="connsiteX111" fmla="*/ 1085850 w 1350168"/>
                  <a:gd name="connsiteY111" fmla="*/ 688181 h 1533525"/>
                  <a:gd name="connsiteX112" fmla="*/ 1076325 w 1350168"/>
                  <a:gd name="connsiteY112" fmla="*/ 719138 h 1533525"/>
                  <a:gd name="connsiteX113" fmla="*/ 1021556 w 1350168"/>
                  <a:gd name="connsiteY113" fmla="*/ 714375 h 1533525"/>
                  <a:gd name="connsiteX114" fmla="*/ 1002506 w 1350168"/>
                  <a:gd name="connsiteY114" fmla="*/ 721519 h 1533525"/>
                  <a:gd name="connsiteX115" fmla="*/ 995362 w 1350168"/>
                  <a:gd name="connsiteY115" fmla="*/ 726281 h 1533525"/>
                  <a:gd name="connsiteX116" fmla="*/ 995362 w 1350168"/>
                  <a:gd name="connsiteY116" fmla="*/ 726281 h 1533525"/>
                  <a:gd name="connsiteX117" fmla="*/ 923925 w 1350168"/>
                  <a:gd name="connsiteY117" fmla="*/ 721519 h 1533525"/>
                  <a:gd name="connsiteX118" fmla="*/ 940593 w 1350168"/>
                  <a:gd name="connsiteY118" fmla="*/ 778669 h 1533525"/>
                  <a:gd name="connsiteX119" fmla="*/ 938212 w 1350168"/>
                  <a:gd name="connsiteY119" fmla="*/ 847725 h 1533525"/>
                  <a:gd name="connsiteX120" fmla="*/ 954881 w 1350168"/>
                  <a:gd name="connsiteY120" fmla="*/ 871538 h 1533525"/>
                  <a:gd name="connsiteX121" fmla="*/ 997743 w 1350168"/>
                  <a:gd name="connsiteY121" fmla="*/ 919163 h 1533525"/>
                  <a:gd name="connsiteX122" fmla="*/ 1012031 w 1350168"/>
                  <a:gd name="connsiteY122" fmla="*/ 954881 h 1533525"/>
                  <a:gd name="connsiteX123" fmla="*/ 1031081 w 1350168"/>
                  <a:gd name="connsiteY123" fmla="*/ 954881 h 1533525"/>
                  <a:gd name="connsiteX124" fmla="*/ 1071562 w 1350168"/>
                  <a:gd name="connsiteY124" fmla="*/ 940594 h 1533525"/>
                  <a:gd name="connsiteX125" fmla="*/ 1102518 w 1350168"/>
                  <a:gd name="connsiteY125" fmla="*/ 933450 h 1533525"/>
                  <a:gd name="connsiteX126" fmla="*/ 1159668 w 1350168"/>
                  <a:gd name="connsiteY126" fmla="*/ 997744 h 1533525"/>
                  <a:gd name="connsiteX127" fmla="*/ 1178718 w 1350168"/>
                  <a:gd name="connsiteY127" fmla="*/ 1052513 h 1533525"/>
                  <a:gd name="connsiteX128" fmla="*/ 1190625 w 1350168"/>
                  <a:gd name="connsiteY128" fmla="*/ 1081088 h 1533525"/>
                  <a:gd name="connsiteX129" fmla="*/ 1212056 w 1350168"/>
                  <a:gd name="connsiteY129" fmla="*/ 1109663 h 1533525"/>
                  <a:gd name="connsiteX130" fmla="*/ 1231106 w 1350168"/>
                  <a:gd name="connsiteY130" fmla="*/ 1102519 h 1533525"/>
                  <a:gd name="connsiteX131" fmla="*/ 1231106 w 1350168"/>
                  <a:gd name="connsiteY131" fmla="*/ 1131094 h 1533525"/>
                  <a:gd name="connsiteX132" fmla="*/ 1233487 w 1350168"/>
                  <a:gd name="connsiteY132" fmla="*/ 1145381 h 1533525"/>
                  <a:gd name="connsiteX133" fmla="*/ 1266825 w 1350168"/>
                  <a:gd name="connsiteY133" fmla="*/ 1181100 h 1533525"/>
                  <a:gd name="connsiteX134" fmla="*/ 1233487 w 1350168"/>
                  <a:gd name="connsiteY134" fmla="*/ 1181100 h 1533525"/>
                  <a:gd name="connsiteX135" fmla="*/ 1228725 w 1350168"/>
                  <a:gd name="connsiteY135" fmla="*/ 1223963 h 1533525"/>
                  <a:gd name="connsiteX136" fmla="*/ 1226343 w 1350168"/>
                  <a:gd name="connsiteY136" fmla="*/ 1243013 h 1533525"/>
                  <a:gd name="connsiteX137" fmla="*/ 1216818 w 1350168"/>
                  <a:gd name="connsiteY137" fmla="*/ 1264444 h 1533525"/>
                  <a:gd name="connsiteX138" fmla="*/ 1190625 w 1350168"/>
                  <a:gd name="connsiteY138" fmla="*/ 1238250 h 1533525"/>
                  <a:gd name="connsiteX139" fmla="*/ 1157287 w 1350168"/>
                  <a:gd name="connsiteY139" fmla="*/ 1209675 h 1533525"/>
                  <a:gd name="connsiteX140" fmla="*/ 1131093 w 1350168"/>
                  <a:gd name="connsiteY140" fmla="*/ 1185863 h 1533525"/>
                  <a:gd name="connsiteX141" fmla="*/ 1107281 w 1350168"/>
                  <a:gd name="connsiteY141" fmla="*/ 1219200 h 1533525"/>
                  <a:gd name="connsiteX142" fmla="*/ 1104900 w 1350168"/>
                  <a:gd name="connsiteY142" fmla="*/ 1264444 h 1533525"/>
                  <a:gd name="connsiteX143" fmla="*/ 1062037 w 1350168"/>
                  <a:gd name="connsiteY143" fmla="*/ 1259681 h 1533525"/>
                  <a:gd name="connsiteX144" fmla="*/ 1026318 w 1350168"/>
                  <a:gd name="connsiteY144" fmla="*/ 1288256 h 1533525"/>
                  <a:gd name="connsiteX145" fmla="*/ 1007268 w 1350168"/>
                  <a:gd name="connsiteY145" fmla="*/ 1240631 h 1533525"/>
                  <a:gd name="connsiteX146" fmla="*/ 947737 w 1350168"/>
                  <a:gd name="connsiteY146" fmla="*/ 1231106 h 1533525"/>
                  <a:gd name="connsiteX147" fmla="*/ 921543 w 1350168"/>
                  <a:gd name="connsiteY147" fmla="*/ 1297781 h 1533525"/>
                  <a:gd name="connsiteX148" fmla="*/ 885825 w 1350168"/>
                  <a:gd name="connsiteY148" fmla="*/ 1278731 h 1533525"/>
                  <a:gd name="connsiteX149" fmla="*/ 816768 w 1350168"/>
                  <a:gd name="connsiteY149" fmla="*/ 1295400 h 1533525"/>
                  <a:gd name="connsiteX150" fmla="*/ 757237 w 1350168"/>
                  <a:gd name="connsiteY150" fmla="*/ 1259681 h 1533525"/>
                  <a:gd name="connsiteX151" fmla="*/ 742950 w 1350168"/>
                  <a:gd name="connsiteY151" fmla="*/ 1312069 h 1533525"/>
                  <a:gd name="connsiteX152" fmla="*/ 704850 w 1350168"/>
                  <a:gd name="connsiteY152" fmla="*/ 1345406 h 1533525"/>
                  <a:gd name="connsiteX153" fmla="*/ 692943 w 1350168"/>
                  <a:gd name="connsiteY153" fmla="*/ 1366838 h 1533525"/>
                  <a:gd name="connsiteX154" fmla="*/ 671512 w 1350168"/>
                  <a:gd name="connsiteY154" fmla="*/ 1509713 h 1533525"/>
                  <a:gd name="connsiteX155" fmla="*/ 633412 w 1350168"/>
                  <a:gd name="connsiteY155" fmla="*/ 1490663 h 1533525"/>
                  <a:gd name="connsiteX156" fmla="*/ 614362 w 1350168"/>
                  <a:gd name="connsiteY156" fmla="*/ 1504950 h 1533525"/>
                  <a:gd name="connsiteX157" fmla="*/ 581025 w 1350168"/>
                  <a:gd name="connsiteY157" fmla="*/ 1531144 h 1533525"/>
                  <a:gd name="connsiteX158" fmla="*/ 523875 w 1350168"/>
                  <a:gd name="connsiteY158" fmla="*/ 1502569 h 1533525"/>
                  <a:gd name="connsiteX159" fmla="*/ 514350 w 1350168"/>
                  <a:gd name="connsiteY159" fmla="*/ 1490663 h 1533525"/>
                  <a:gd name="connsiteX160" fmla="*/ 483393 w 1350168"/>
                  <a:gd name="connsiteY160" fmla="*/ 1533525 h 1533525"/>
                  <a:gd name="connsiteX0" fmla="*/ 483393 w 1302543"/>
                  <a:gd name="connsiteY0" fmla="*/ 1533525 h 1533525"/>
                  <a:gd name="connsiteX1" fmla="*/ 459581 w 1302543"/>
                  <a:gd name="connsiteY1" fmla="*/ 1481138 h 1533525"/>
                  <a:gd name="connsiteX2" fmla="*/ 438150 w 1302543"/>
                  <a:gd name="connsiteY2" fmla="*/ 1471613 h 1533525"/>
                  <a:gd name="connsiteX3" fmla="*/ 400050 w 1302543"/>
                  <a:gd name="connsiteY3" fmla="*/ 1485900 h 1533525"/>
                  <a:gd name="connsiteX4" fmla="*/ 338137 w 1302543"/>
                  <a:gd name="connsiteY4" fmla="*/ 1490663 h 1533525"/>
                  <a:gd name="connsiteX5" fmla="*/ 330993 w 1302543"/>
                  <a:gd name="connsiteY5" fmla="*/ 1497806 h 1533525"/>
                  <a:gd name="connsiteX6" fmla="*/ 271462 w 1302543"/>
                  <a:gd name="connsiteY6" fmla="*/ 1471613 h 1533525"/>
                  <a:gd name="connsiteX7" fmla="*/ 219075 w 1302543"/>
                  <a:gd name="connsiteY7" fmla="*/ 1443038 h 1533525"/>
                  <a:gd name="connsiteX8" fmla="*/ 138112 w 1302543"/>
                  <a:gd name="connsiteY8" fmla="*/ 1402556 h 1533525"/>
                  <a:gd name="connsiteX9" fmla="*/ 95250 w 1302543"/>
                  <a:gd name="connsiteY9" fmla="*/ 1316831 h 1533525"/>
                  <a:gd name="connsiteX10" fmla="*/ 80962 w 1302543"/>
                  <a:gd name="connsiteY10" fmla="*/ 1288256 h 1533525"/>
                  <a:gd name="connsiteX11" fmla="*/ 104775 w 1302543"/>
                  <a:gd name="connsiteY11" fmla="*/ 1266825 h 1533525"/>
                  <a:gd name="connsiteX12" fmla="*/ 76200 w 1302543"/>
                  <a:gd name="connsiteY12" fmla="*/ 1212056 h 1533525"/>
                  <a:gd name="connsiteX13" fmla="*/ 109537 w 1302543"/>
                  <a:gd name="connsiteY13" fmla="*/ 1193006 h 1533525"/>
                  <a:gd name="connsiteX14" fmla="*/ 140493 w 1302543"/>
                  <a:gd name="connsiteY14" fmla="*/ 1143000 h 1533525"/>
                  <a:gd name="connsiteX15" fmla="*/ 123825 w 1302543"/>
                  <a:gd name="connsiteY15" fmla="*/ 1107281 h 1533525"/>
                  <a:gd name="connsiteX16" fmla="*/ 178593 w 1302543"/>
                  <a:gd name="connsiteY16" fmla="*/ 1107281 h 1533525"/>
                  <a:gd name="connsiteX17" fmla="*/ 192881 w 1302543"/>
                  <a:gd name="connsiteY17" fmla="*/ 1109663 h 1533525"/>
                  <a:gd name="connsiteX18" fmla="*/ 159543 w 1302543"/>
                  <a:gd name="connsiteY18" fmla="*/ 1064419 h 1533525"/>
                  <a:gd name="connsiteX19" fmla="*/ 169068 w 1302543"/>
                  <a:gd name="connsiteY19" fmla="*/ 1014413 h 1533525"/>
                  <a:gd name="connsiteX20" fmla="*/ 123825 w 1302543"/>
                  <a:gd name="connsiteY20" fmla="*/ 997744 h 1533525"/>
                  <a:gd name="connsiteX21" fmla="*/ 61912 w 1302543"/>
                  <a:gd name="connsiteY21" fmla="*/ 954881 h 1533525"/>
                  <a:gd name="connsiteX22" fmla="*/ 45243 w 1302543"/>
                  <a:gd name="connsiteY22" fmla="*/ 938213 h 1533525"/>
                  <a:gd name="connsiteX23" fmla="*/ 64293 w 1302543"/>
                  <a:gd name="connsiteY23" fmla="*/ 909638 h 1533525"/>
                  <a:gd name="connsiteX24" fmla="*/ 47625 w 1302543"/>
                  <a:gd name="connsiteY24" fmla="*/ 897731 h 1533525"/>
                  <a:gd name="connsiteX25" fmla="*/ 47625 w 1302543"/>
                  <a:gd name="connsiteY25" fmla="*/ 881063 h 1533525"/>
                  <a:gd name="connsiteX26" fmla="*/ 26193 w 1302543"/>
                  <a:gd name="connsiteY26" fmla="*/ 881063 h 1533525"/>
                  <a:gd name="connsiteX27" fmla="*/ 7143 w 1302543"/>
                  <a:gd name="connsiteY27" fmla="*/ 847725 h 1533525"/>
                  <a:gd name="connsiteX28" fmla="*/ 0 w 1302543"/>
                  <a:gd name="connsiteY28" fmla="*/ 816769 h 1533525"/>
                  <a:gd name="connsiteX29" fmla="*/ 54768 w 1302543"/>
                  <a:gd name="connsiteY29" fmla="*/ 800100 h 1533525"/>
                  <a:gd name="connsiteX30" fmla="*/ 76200 w 1302543"/>
                  <a:gd name="connsiteY30" fmla="*/ 788194 h 1533525"/>
                  <a:gd name="connsiteX31" fmla="*/ 128587 w 1302543"/>
                  <a:gd name="connsiteY31" fmla="*/ 821531 h 1533525"/>
                  <a:gd name="connsiteX32" fmla="*/ 126206 w 1302543"/>
                  <a:gd name="connsiteY32" fmla="*/ 800100 h 1533525"/>
                  <a:gd name="connsiteX33" fmla="*/ 164306 w 1302543"/>
                  <a:gd name="connsiteY33" fmla="*/ 795338 h 1533525"/>
                  <a:gd name="connsiteX34" fmla="*/ 173831 w 1302543"/>
                  <a:gd name="connsiteY34" fmla="*/ 759619 h 1533525"/>
                  <a:gd name="connsiteX35" fmla="*/ 235743 w 1302543"/>
                  <a:gd name="connsiteY35" fmla="*/ 764381 h 1533525"/>
                  <a:gd name="connsiteX36" fmla="*/ 235743 w 1302543"/>
                  <a:gd name="connsiteY36" fmla="*/ 764381 h 1533525"/>
                  <a:gd name="connsiteX37" fmla="*/ 245268 w 1302543"/>
                  <a:gd name="connsiteY37" fmla="*/ 704850 h 1533525"/>
                  <a:gd name="connsiteX38" fmla="*/ 276225 w 1302543"/>
                  <a:gd name="connsiteY38" fmla="*/ 666750 h 1533525"/>
                  <a:gd name="connsiteX39" fmla="*/ 292893 w 1302543"/>
                  <a:gd name="connsiteY39" fmla="*/ 638175 h 1533525"/>
                  <a:gd name="connsiteX40" fmla="*/ 245268 w 1302543"/>
                  <a:gd name="connsiteY40" fmla="*/ 602456 h 1533525"/>
                  <a:gd name="connsiteX41" fmla="*/ 264318 w 1302543"/>
                  <a:gd name="connsiteY41" fmla="*/ 585788 h 1533525"/>
                  <a:gd name="connsiteX42" fmla="*/ 311943 w 1302543"/>
                  <a:gd name="connsiteY42" fmla="*/ 602456 h 1533525"/>
                  <a:gd name="connsiteX43" fmla="*/ 369093 w 1302543"/>
                  <a:gd name="connsiteY43" fmla="*/ 573881 h 1533525"/>
                  <a:gd name="connsiteX44" fmla="*/ 457200 w 1302543"/>
                  <a:gd name="connsiteY44" fmla="*/ 545306 h 1533525"/>
                  <a:gd name="connsiteX45" fmla="*/ 538162 w 1302543"/>
                  <a:gd name="connsiteY45" fmla="*/ 578644 h 1533525"/>
                  <a:gd name="connsiteX46" fmla="*/ 614362 w 1302543"/>
                  <a:gd name="connsiteY46" fmla="*/ 550069 h 1533525"/>
                  <a:gd name="connsiteX47" fmla="*/ 650081 w 1302543"/>
                  <a:gd name="connsiteY47" fmla="*/ 552450 h 1533525"/>
                  <a:gd name="connsiteX48" fmla="*/ 654843 w 1302543"/>
                  <a:gd name="connsiteY48" fmla="*/ 523875 h 1533525"/>
                  <a:gd name="connsiteX49" fmla="*/ 654843 w 1302543"/>
                  <a:gd name="connsiteY49" fmla="*/ 490538 h 1533525"/>
                  <a:gd name="connsiteX50" fmla="*/ 669131 w 1302543"/>
                  <a:gd name="connsiteY50" fmla="*/ 469106 h 1533525"/>
                  <a:gd name="connsiteX51" fmla="*/ 652462 w 1302543"/>
                  <a:gd name="connsiteY51" fmla="*/ 450056 h 1533525"/>
                  <a:gd name="connsiteX52" fmla="*/ 642937 w 1302543"/>
                  <a:gd name="connsiteY52" fmla="*/ 411956 h 1533525"/>
                  <a:gd name="connsiteX53" fmla="*/ 642937 w 1302543"/>
                  <a:gd name="connsiteY53" fmla="*/ 330994 h 1533525"/>
                  <a:gd name="connsiteX54" fmla="*/ 633412 w 1302543"/>
                  <a:gd name="connsiteY54" fmla="*/ 319088 h 1533525"/>
                  <a:gd name="connsiteX55" fmla="*/ 664368 w 1302543"/>
                  <a:gd name="connsiteY55" fmla="*/ 285750 h 1533525"/>
                  <a:gd name="connsiteX56" fmla="*/ 721518 w 1302543"/>
                  <a:gd name="connsiteY56" fmla="*/ 292894 h 1533525"/>
                  <a:gd name="connsiteX57" fmla="*/ 733425 w 1302543"/>
                  <a:gd name="connsiteY57" fmla="*/ 264319 h 1533525"/>
                  <a:gd name="connsiteX58" fmla="*/ 731043 w 1302543"/>
                  <a:gd name="connsiteY58" fmla="*/ 228600 h 1533525"/>
                  <a:gd name="connsiteX59" fmla="*/ 790575 w 1302543"/>
                  <a:gd name="connsiteY59" fmla="*/ 192881 h 1533525"/>
                  <a:gd name="connsiteX60" fmla="*/ 804862 w 1302543"/>
                  <a:gd name="connsiteY60" fmla="*/ 166688 h 1533525"/>
                  <a:gd name="connsiteX61" fmla="*/ 778668 w 1302543"/>
                  <a:gd name="connsiteY61" fmla="*/ 128588 h 1533525"/>
                  <a:gd name="connsiteX62" fmla="*/ 771525 w 1302543"/>
                  <a:gd name="connsiteY62" fmla="*/ 104775 h 1533525"/>
                  <a:gd name="connsiteX63" fmla="*/ 823912 w 1302543"/>
                  <a:gd name="connsiteY63" fmla="*/ 97631 h 1533525"/>
                  <a:gd name="connsiteX64" fmla="*/ 869156 w 1302543"/>
                  <a:gd name="connsiteY64" fmla="*/ 52388 h 1533525"/>
                  <a:gd name="connsiteX65" fmla="*/ 890587 w 1302543"/>
                  <a:gd name="connsiteY65" fmla="*/ 23813 h 1533525"/>
                  <a:gd name="connsiteX66" fmla="*/ 923925 w 1302543"/>
                  <a:gd name="connsiteY66" fmla="*/ 9525 h 1533525"/>
                  <a:gd name="connsiteX67" fmla="*/ 971550 w 1302543"/>
                  <a:gd name="connsiteY67" fmla="*/ 0 h 1533525"/>
                  <a:gd name="connsiteX68" fmla="*/ 971550 w 1302543"/>
                  <a:gd name="connsiteY68" fmla="*/ 40481 h 1533525"/>
                  <a:gd name="connsiteX69" fmla="*/ 950118 w 1302543"/>
                  <a:gd name="connsiteY69" fmla="*/ 80963 h 1533525"/>
                  <a:gd name="connsiteX70" fmla="*/ 950118 w 1302543"/>
                  <a:gd name="connsiteY70" fmla="*/ 140494 h 1533525"/>
                  <a:gd name="connsiteX71" fmla="*/ 969168 w 1302543"/>
                  <a:gd name="connsiteY71" fmla="*/ 161925 h 1533525"/>
                  <a:gd name="connsiteX72" fmla="*/ 1007268 w 1302543"/>
                  <a:gd name="connsiteY72" fmla="*/ 188119 h 1533525"/>
                  <a:gd name="connsiteX73" fmla="*/ 1019175 w 1302543"/>
                  <a:gd name="connsiteY73" fmla="*/ 216694 h 1533525"/>
                  <a:gd name="connsiteX74" fmla="*/ 1004887 w 1302543"/>
                  <a:gd name="connsiteY74" fmla="*/ 226219 h 1533525"/>
                  <a:gd name="connsiteX75" fmla="*/ 1057275 w 1302543"/>
                  <a:gd name="connsiteY75" fmla="*/ 250031 h 1533525"/>
                  <a:gd name="connsiteX76" fmla="*/ 1073943 w 1302543"/>
                  <a:gd name="connsiteY76" fmla="*/ 228600 h 1533525"/>
                  <a:gd name="connsiteX77" fmla="*/ 1083468 w 1302543"/>
                  <a:gd name="connsiteY77" fmla="*/ 252413 h 1533525"/>
                  <a:gd name="connsiteX78" fmla="*/ 1116806 w 1302543"/>
                  <a:gd name="connsiteY78" fmla="*/ 252413 h 1533525"/>
                  <a:gd name="connsiteX79" fmla="*/ 1123950 w 1302543"/>
                  <a:gd name="connsiteY79" fmla="*/ 257175 h 1533525"/>
                  <a:gd name="connsiteX80" fmla="*/ 1116806 w 1302543"/>
                  <a:gd name="connsiteY80" fmla="*/ 276225 h 1533525"/>
                  <a:gd name="connsiteX81" fmla="*/ 1088231 w 1302543"/>
                  <a:gd name="connsiteY81" fmla="*/ 309563 h 1533525"/>
                  <a:gd name="connsiteX82" fmla="*/ 1123950 w 1302543"/>
                  <a:gd name="connsiteY82" fmla="*/ 333375 h 1533525"/>
                  <a:gd name="connsiteX83" fmla="*/ 1135856 w 1302543"/>
                  <a:gd name="connsiteY83" fmla="*/ 347663 h 1533525"/>
                  <a:gd name="connsiteX84" fmla="*/ 1135856 w 1302543"/>
                  <a:gd name="connsiteY84" fmla="*/ 376238 h 1533525"/>
                  <a:gd name="connsiteX85" fmla="*/ 1119187 w 1302543"/>
                  <a:gd name="connsiteY85" fmla="*/ 411956 h 1533525"/>
                  <a:gd name="connsiteX86" fmla="*/ 1162050 w 1302543"/>
                  <a:gd name="connsiteY86" fmla="*/ 423863 h 1533525"/>
                  <a:gd name="connsiteX87" fmla="*/ 1233487 w 1302543"/>
                  <a:gd name="connsiteY87" fmla="*/ 416719 h 1533525"/>
                  <a:gd name="connsiteX88" fmla="*/ 1223962 w 1302543"/>
                  <a:gd name="connsiteY88" fmla="*/ 385763 h 1533525"/>
                  <a:gd name="connsiteX89" fmla="*/ 1188243 w 1302543"/>
                  <a:gd name="connsiteY89" fmla="*/ 347663 h 1533525"/>
                  <a:gd name="connsiteX90" fmla="*/ 1181100 w 1302543"/>
                  <a:gd name="connsiteY90" fmla="*/ 333375 h 1533525"/>
                  <a:gd name="connsiteX91" fmla="*/ 1207293 w 1302543"/>
                  <a:gd name="connsiteY91" fmla="*/ 326231 h 1533525"/>
                  <a:gd name="connsiteX92" fmla="*/ 1200150 w 1302543"/>
                  <a:gd name="connsiteY92" fmla="*/ 302419 h 1533525"/>
                  <a:gd name="connsiteX93" fmla="*/ 1223962 w 1302543"/>
                  <a:gd name="connsiteY93" fmla="*/ 283369 h 1533525"/>
                  <a:gd name="connsiteX94" fmla="*/ 1250156 w 1302543"/>
                  <a:gd name="connsiteY94" fmla="*/ 242888 h 1533525"/>
                  <a:gd name="connsiteX95" fmla="*/ 1302543 w 1302543"/>
                  <a:gd name="connsiteY95" fmla="*/ 211931 h 1533525"/>
                  <a:gd name="connsiteX96" fmla="*/ 1057275 w 1302543"/>
                  <a:gd name="connsiteY96" fmla="*/ 264319 h 1533525"/>
                  <a:gd name="connsiteX97" fmla="*/ 1062037 w 1302543"/>
                  <a:gd name="connsiteY97" fmla="*/ 304800 h 1533525"/>
                  <a:gd name="connsiteX98" fmla="*/ 995362 w 1302543"/>
                  <a:gd name="connsiteY98" fmla="*/ 352425 h 1533525"/>
                  <a:gd name="connsiteX99" fmla="*/ 973931 w 1302543"/>
                  <a:gd name="connsiteY99" fmla="*/ 383381 h 1533525"/>
                  <a:gd name="connsiteX100" fmla="*/ 1000125 w 1302543"/>
                  <a:gd name="connsiteY100" fmla="*/ 428625 h 1533525"/>
                  <a:gd name="connsiteX101" fmla="*/ 983456 w 1302543"/>
                  <a:gd name="connsiteY101" fmla="*/ 466725 h 1533525"/>
                  <a:gd name="connsiteX102" fmla="*/ 1000125 w 1302543"/>
                  <a:gd name="connsiteY102" fmla="*/ 519113 h 1533525"/>
                  <a:gd name="connsiteX103" fmla="*/ 1033462 w 1302543"/>
                  <a:gd name="connsiteY103" fmla="*/ 519113 h 1533525"/>
                  <a:gd name="connsiteX104" fmla="*/ 1019175 w 1302543"/>
                  <a:gd name="connsiteY104" fmla="*/ 552450 h 1533525"/>
                  <a:gd name="connsiteX105" fmla="*/ 1035843 w 1302543"/>
                  <a:gd name="connsiteY105" fmla="*/ 590550 h 1533525"/>
                  <a:gd name="connsiteX106" fmla="*/ 1035843 w 1302543"/>
                  <a:gd name="connsiteY106" fmla="*/ 607219 h 1533525"/>
                  <a:gd name="connsiteX107" fmla="*/ 1045368 w 1302543"/>
                  <a:gd name="connsiteY107" fmla="*/ 645319 h 1533525"/>
                  <a:gd name="connsiteX108" fmla="*/ 1064418 w 1302543"/>
                  <a:gd name="connsiteY108" fmla="*/ 645319 h 1533525"/>
                  <a:gd name="connsiteX109" fmla="*/ 1078706 w 1302543"/>
                  <a:gd name="connsiteY109" fmla="*/ 666750 h 1533525"/>
                  <a:gd name="connsiteX110" fmla="*/ 1085850 w 1302543"/>
                  <a:gd name="connsiteY110" fmla="*/ 688181 h 1533525"/>
                  <a:gd name="connsiteX111" fmla="*/ 1076325 w 1302543"/>
                  <a:gd name="connsiteY111" fmla="*/ 719138 h 1533525"/>
                  <a:gd name="connsiteX112" fmla="*/ 1021556 w 1302543"/>
                  <a:gd name="connsiteY112" fmla="*/ 714375 h 1533525"/>
                  <a:gd name="connsiteX113" fmla="*/ 1002506 w 1302543"/>
                  <a:gd name="connsiteY113" fmla="*/ 721519 h 1533525"/>
                  <a:gd name="connsiteX114" fmla="*/ 995362 w 1302543"/>
                  <a:gd name="connsiteY114" fmla="*/ 726281 h 1533525"/>
                  <a:gd name="connsiteX115" fmla="*/ 995362 w 1302543"/>
                  <a:gd name="connsiteY115" fmla="*/ 726281 h 1533525"/>
                  <a:gd name="connsiteX116" fmla="*/ 923925 w 1302543"/>
                  <a:gd name="connsiteY116" fmla="*/ 721519 h 1533525"/>
                  <a:gd name="connsiteX117" fmla="*/ 940593 w 1302543"/>
                  <a:gd name="connsiteY117" fmla="*/ 778669 h 1533525"/>
                  <a:gd name="connsiteX118" fmla="*/ 938212 w 1302543"/>
                  <a:gd name="connsiteY118" fmla="*/ 847725 h 1533525"/>
                  <a:gd name="connsiteX119" fmla="*/ 954881 w 1302543"/>
                  <a:gd name="connsiteY119" fmla="*/ 871538 h 1533525"/>
                  <a:gd name="connsiteX120" fmla="*/ 997743 w 1302543"/>
                  <a:gd name="connsiteY120" fmla="*/ 919163 h 1533525"/>
                  <a:gd name="connsiteX121" fmla="*/ 1012031 w 1302543"/>
                  <a:gd name="connsiteY121" fmla="*/ 954881 h 1533525"/>
                  <a:gd name="connsiteX122" fmla="*/ 1031081 w 1302543"/>
                  <a:gd name="connsiteY122" fmla="*/ 954881 h 1533525"/>
                  <a:gd name="connsiteX123" fmla="*/ 1071562 w 1302543"/>
                  <a:gd name="connsiteY123" fmla="*/ 940594 h 1533525"/>
                  <a:gd name="connsiteX124" fmla="*/ 1102518 w 1302543"/>
                  <a:gd name="connsiteY124" fmla="*/ 933450 h 1533525"/>
                  <a:gd name="connsiteX125" fmla="*/ 1159668 w 1302543"/>
                  <a:gd name="connsiteY125" fmla="*/ 997744 h 1533525"/>
                  <a:gd name="connsiteX126" fmla="*/ 1178718 w 1302543"/>
                  <a:gd name="connsiteY126" fmla="*/ 1052513 h 1533525"/>
                  <a:gd name="connsiteX127" fmla="*/ 1190625 w 1302543"/>
                  <a:gd name="connsiteY127" fmla="*/ 1081088 h 1533525"/>
                  <a:gd name="connsiteX128" fmla="*/ 1212056 w 1302543"/>
                  <a:gd name="connsiteY128" fmla="*/ 1109663 h 1533525"/>
                  <a:gd name="connsiteX129" fmla="*/ 1231106 w 1302543"/>
                  <a:gd name="connsiteY129" fmla="*/ 1102519 h 1533525"/>
                  <a:gd name="connsiteX130" fmla="*/ 1231106 w 1302543"/>
                  <a:gd name="connsiteY130" fmla="*/ 1131094 h 1533525"/>
                  <a:gd name="connsiteX131" fmla="*/ 1233487 w 1302543"/>
                  <a:gd name="connsiteY131" fmla="*/ 1145381 h 1533525"/>
                  <a:gd name="connsiteX132" fmla="*/ 1266825 w 1302543"/>
                  <a:gd name="connsiteY132" fmla="*/ 1181100 h 1533525"/>
                  <a:gd name="connsiteX133" fmla="*/ 1233487 w 1302543"/>
                  <a:gd name="connsiteY133" fmla="*/ 1181100 h 1533525"/>
                  <a:gd name="connsiteX134" fmla="*/ 1228725 w 1302543"/>
                  <a:gd name="connsiteY134" fmla="*/ 1223963 h 1533525"/>
                  <a:gd name="connsiteX135" fmla="*/ 1226343 w 1302543"/>
                  <a:gd name="connsiteY135" fmla="*/ 1243013 h 1533525"/>
                  <a:gd name="connsiteX136" fmla="*/ 1216818 w 1302543"/>
                  <a:gd name="connsiteY136" fmla="*/ 1264444 h 1533525"/>
                  <a:gd name="connsiteX137" fmla="*/ 1190625 w 1302543"/>
                  <a:gd name="connsiteY137" fmla="*/ 1238250 h 1533525"/>
                  <a:gd name="connsiteX138" fmla="*/ 1157287 w 1302543"/>
                  <a:gd name="connsiteY138" fmla="*/ 1209675 h 1533525"/>
                  <a:gd name="connsiteX139" fmla="*/ 1131093 w 1302543"/>
                  <a:gd name="connsiteY139" fmla="*/ 1185863 h 1533525"/>
                  <a:gd name="connsiteX140" fmla="*/ 1107281 w 1302543"/>
                  <a:gd name="connsiteY140" fmla="*/ 1219200 h 1533525"/>
                  <a:gd name="connsiteX141" fmla="*/ 1104900 w 1302543"/>
                  <a:gd name="connsiteY141" fmla="*/ 1264444 h 1533525"/>
                  <a:gd name="connsiteX142" fmla="*/ 1062037 w 1302543"/>
                  <a:gd name="connsiteY142" fmla="*/ 1259681 h 1533525"/>
                  <a:gd name="connsiteX143" fmla="*/ 1026318 w 1302543"/>
                  <a:gd name="connsiteY143" fmla="*/ 1288256 h 1533525"/>
                  <a:gd name="connsiteX144" fmla="*/ 1007268 w 1302543"/>
                  <a:gd name="connsiteY144" fmla="*/ 1240631 h 1533525"/>
                  <a:gd name="connsiteX145" fmla="*/ 947737 w 1302543"/>
                  <a:gd name="connsiteY145" fmla="*/ 1231106 h 1533525"/>
                  <a:gd name="connsiteX146" fmla="*/ 921543 w 1302543"/>
                  <a:gd name="connsiteY146" fmla="*/ 1297781 h 1533525"/>
                  <a:gd name="connsiteX147" fmla="*/ 885825 w 1302543"/>
                  <a:gd name="connsiteY147" fmla="*/ 1278731 h 1533525"/>
                  <a:gd name="connsiteX148" fmla="*/ 816768 w 1302543"/>
                  <a:gd name="connsiteY148" fmla="*/ 1295400 h 1533525"/>
                  <a:gd name="connsiteX149" fmla="*/ 757237 w 1302543"/>
                  <a:gd name="connsiteY149" fmla="*/ 1259681 h 1533525"/>
                  <a:gd name="connsiteX150" fmla="*/ 742950 w 1302543"/>
                  <a:gd name="connsiteY150" fmla="*/ 1312069 h 1533525"/>
                  <a:gd name="connsiteX151" fmla="*/ 704850 w 1302543"/>
                  <a:gd name="connsiteY151" fmla="*/ 1345406 h 1533525"/>
                  <a:gd name="connsiteX152" fmla="*/ 692943 w 1302543"/>
                  <a:gd name="connsiteY152" fmla="*/ 1366838 h 1533525"/>
                  <a:gd name="connsiteX153" fmla="*/ 671512 w 1302543"/>
                  <a:gd name="connsiteY153" fmla="*/ 1509713 h 1533525"/>
                  <a:gd name="connsiteX154" fmla="*/ 633412 w 1302543"/>
                  <a:gd name="connsiteY154" fmla="*/ 1490663 h 1533525"/>
                  <a:gd name="connsiteX155" fmla="*/ 614362 w 1302543"/>
                  <a:gd name="connsiteY155" fmla="*/ 1504950 h 1533525"/>
                  <a:gd name="connsiteX156" fmla="*/ 581025 w 1302543"/>
                  <a:gd name="connsiteY156" fmla="*/ 1531144 h 1533525"/>
                  <a:gd name="connsiteX157" fmla="*/ 523875 w 1302543"/>
                  <a:gd name="connsiteY157" fmla="*/ 1502569 h 1533525"/>
                  <a:gd name="connsiteX158" fmla="*/ 514350 w 1302543"/>
                  <a:gd name="connsiteY158" fmla="*/ 1490663 h 1533525"/>
                  <a:gd name="connsiteX159" fmla="*/ 483393 w 1302543"/>
                  <a:gd name="connsiteY159" fmla="*/ 1533525 h 1533525"/>
                  <a:gd name="connsiteX0" fmla="*/ 1057275 w 1393983"/>
                  <a:gd name="connsiteY0" fmla="*/ 264319 h 1533525"/>
                  <a:gd name="connsiteX1" fmla="*/ 1062037 w 1393983"/>
                  <a:gd name="connsiteY1" fmla="*/ 304800 h 1533525"/>
                  <a:gd name="connsiteX2" fmla="*/ 995362 w 1393983"/>
                  <a:gd name="connsiteY2" fmla="*/ 352425 h 1533525"/>
                  <a:gd name="connsiteX3" fmla="*/ 973931 w 1393983"/>
                  <a:gd name="connsiteY3" fmla="*/ 383381 h 1533525"/>
                  <a:gd name="connsiteX4" fmla="*/ 1000125 w 1393983"/>
                  <a:gd name="connsiteY4" fmla="*/ 428625 h 1533525"/>
                  <a:gd name="connsiteX5" fmla="*/ 983456 w 1393983"/>
                  <a:gd name="connsiteY5" fmla="*/ 466725 h 1533525"/>
                  <a:gd name="connsiteX6" fmla="*/ 1000125 w 1393983"/>
                  <a:gd name="connsiteY6" fmla="*/ 519113 h 1533525"/>
                  <a:gd name="connsiteX7" fmla="*/ 1033462 w 1393983"/>
                  <a:gd name="connsiteY7" fmla="*/ 519113 h 1533525"/>
                  <a:gd name="connsiteX8" fmla="*/ 1019175 w 1393983"/>
                  <a:gd name="connsiteY8" fmla="*/ 552450 h 1533525"/>
                  <a:gd name="connsiteX9" fmla="*/ 1035843 w 1393983"/>
                  <a:gd name="connsiteY9" fmla="*/ 590550 h 1533525"/>
                  <a:gd name="connsiteX10" fmla="*/ 1035843 w 1393983"/>
                  <a:gd name="connsiteY10" fmla="*/ 607219 h 1533525"/>
                  <a:gd name="connsiteX11" fmla="*/ 1045368 w 1393983"/>
                  <a:gd name="connsiteY11" fmla="*/ 645319 h 1533525"/>
                  <a:gd name="connsiteX12" fmla="*/ 1064418 w 1393983"/>
                  <a:gd name="connsiteY12" fmla="*/ 645319 h 1533525"/>
                  <a:gd name="connsiteX13" fmla="*/ 1078706 w 1393983"/>
                  <a:gd name="connsiteY13" fmla="*/ 666750 h 1533525"/>
                  <a:gd name="connsiteX14" fmla="*/ 1085850 w 1393983"/>
                  <a:gd name="connsiteY14" fmla="*/ 688181 h 1533525"/>
                  <a:gd name="connsiteX15" fmla="*/ 1076325 w 1393983"/>
                  <a:gd name="connsiteY15" fmla="*/ 719138 h 1533525"/>
                  <a:gd name="connsiteX16" fmla="*/ 1021556 w 1393983"/>
                  <a:gd name="connsiteY16" fmla="*/ 714375 h 1533525"/>
                  <a:gd name="connsiteX17" fmla="*/ 1002506 w 1393983"/>
                  <a:gd name="connsiteY17" fmla="*/ 721519 h 1533525"/>
                  <a:gd name="connsiteX18" fmla="*/ 995362 w 1393983"/>
                  <a:gd name="connsiteY18" fmla="*/ 726281 h 1533525"/>
                  <a:gd name="connsiteX19" fmla="*/ 995362 w 1393983"/>
                  <a:gd name="connsiteY19" fmla="*/ 726281 h 1533525"/>
                  <a:gd name="connsiteX20" fmla="*/ 923925 w 1393983"/>
                  <a:gd name="connsiteY20" fmla="*/ 721519 h 1533525"/>
                  <a:gd name="connsiteX21" fmla="*/ 940593 w 1393983"/>
                  <a:gd name="connsiteY21" fmla="*/ 778669 h 1533525"/>
                  <a:gd name="connsiteX22" fmla="*/ 938212 w 1393983"/>
                  <a:gd name="connsiteY22" fmla="*/ 847725 h 1533525"/>
                  <a:gd name="connsiteX23" fmla="*/ 954881 w 1393983"/>
                  <a:gd name="connsiteY23" fmla="*/ 871538 h 1533525"/>
                  <a:gd name="connsiteX24" fmla="*/ 997743 w 1393983"/>
                  <a:gd name="connsiteY24" fmla="*/ 919163 h 1533525"/>
                  <a:gd name="connsiteX25" fmla="*/ 1012031 w 1393983"/>
                  <a:gd name="connsiteY25" fmla="*/ 954881 h 1533525"/>
                  <a:gd name="connsiteX26" fmla="*/ 1031081 w 1393983"/>
                  <a:gd name="connsiteY26" fmla="*/ 954881 h 1533525"/>
                  <a:gd name="connsiteX27" fmla="*/ 1071562 w 1393983"/>
                  <a:gd name="connsiteY27" fmla="*/ 940594 h 1533525"/>
                  <a:gd name="connsiteX28" fmla="*/ 1102518 w 1393983"/>
                  <a:gd name="connsiteY28" fmla="*/ 933450 h 1533525"/>
                  <a:gd name="connsiteX29" fmla="*/ 1159668 w 1393983"/>
                  <a:gd name="connsiteY29" fmla="*/ 997744 h 1533525"/>
                  <a:gd name="connsiteX30" fmla="*/ 1178718 w 1393983"/>
                  <a:gd name="connsiteY30" fmla="*/ 1052513 h 1533525"/>
                  <a:gd name="connsiteX31" fmla="*/ 1190625 w 1393983"/>
                  <a:gd name="connsiteY31" fmla="*/ 1081088 h 1533525"/>
                  <a:gd name="connsiteX32" fmla="*/ 1212056 w 1393983"/>
                  <a:gd name="connsiteY32" fmla="*/ 1109663 h 1533525"/>
                  <a:gd name="connsiteX33" fmla="*/ 1231106 w 1393983"/>
                  <a:gd name="connsiteY33" fmla="*/ 1102519 h 1533525"/>
                  <a:gd name="connsiteX34" fmla="*/ 1231106 w 1393983"/>
                  <a:gd name="connsiteY34" fmla="*/ 1131094 h 1533525"/>
                  <a:gd name="connsiteX35" fmla="*/ 1233487 w 1393983"/>
                  <a:gd name="connsiteY35" fmla="*/ 1145381 h 1533525"/>
                  <a:gd name="connsiteX36" fmla="*/ 1266825 w 1393983"/>
                  <a:gd name="connsiteY36" fmla="*/ 1181100 h 1533525"/>
                  <a:gd name="connsiteX37" fmla="*/ 1233487 w 1393983"/>
                  <a:gd name="connsiteY37" fmla="*/ 1181100 h 1533525"/>
                  <a:gd name="connsiteX38" fmla="*/ 1228725 w 1393983"/>
                  <a:gd name="connsiteY38" fmla="*/ 1223963 h 1533525"/>
                  <a:gd name="connsiteX39" fmla="*/ 1226343 w 1393983"/>
                  <a:gd name="connsiteY39" fmla="*/ 1243013 h 1533525"/>
                  <a:gd name="connsiteX40" fmla="*/ 1216818 w 1393983"/>
                  <a:gd name="connsiteY40" fmla="*/ 1264444 h 1533525"/>
                  <a:gd name="connsiteX41" fmla="*/ 1190625 w 1393983"/>
                  <a:gd name="connsiteY41" fmla="*/ 1238250 h 1533525"/>
                  <a:gd name="connsiteX42" fmla="*/ 1157287 w 1393983"/>
                  <a:gd name="connsiteY42" fmla="*/ 1209675 h 1533525"/>
                  <a:gd name="connsiteX43" fmla="*/ 1131093 w 1393983"/>
                  <a:gd name="connsiteY43" fmla="*/ 1185863 h 1533525"/>
                  <a:gd name="connsiteX44" fmla="*/ 1107281 w 1393983"/>
                  <a:gd name="connsiteY44" fmla="*/ 1219200 h 1533525"/>
                  <a:gd name="connsiteX45" fmla="*/ 1104900 w 1393983"/>
                  <a:gd name="connsiteY45" fmla="*/ 1264444 h 1533525"/>
                  <a:gd name="connsiteX46" fmla="*/ 1062037 w 1393983"/>
                  <a:gd name="connsiteY46" fmla="*/ 1259681 h 1533525"/>
                  <a:gd name="connsiteX47" fmla="*/ 1026318 w 1393983"/>
                  <a:gd name="connsiteY47" fmla="*/ 1288256 h 1533525"/>
                  <a:gd name="connsiteX48" fmla="*/ 1007268 w 1393983"/>
                  <a:gd name="connsiteY48" fmla="*/ 1240631 h 1533525"/>
                  <a:gd name="connsiteX49" fmla="*/ 947737 w 1393983"/>
                  <a:gd name="connsiteY49" fmla="*/ 1231106 h 1533525"/>
                  <a:gd name="connsiteX50" fmla="*/ 921543 w 1393983"/>
                  <a:gd name="connsiteY50" fmla="*/ 1297781 h 1533525"/>
                  <a:gd name="connsiteX51" fmla="*/ 885825 w 1393983"/>
                  <a:gd name="connsiteY51" fmla="*/ 1278731 h 1533525"/>
                  <a:gd name="connsiteX52" fmla="*/ 816768 w 1393983"/>
                  <a:gd name="connsiteY52" fmla="*/ 1295400 h 1533525"/>
                  <a:gd name="connsiteX53" fmla="*/ 757237 w 1393983"/>
                  <a:gd name="connsiteY53" fmla="*/ 1259681 h 1533525"/>
                  <a:gd name="connsiteX54" fmla="*/ 742950 w 1393983"/>
                  <a:gd name="connsiteY54" fmla="*/ 1312069 h 1533525"/>
                  <a:gd name="connsiteX55" fmla="*/ 704850 w 1393983"/>
                  <a:gd name="connsiteY55" fmla="*/ 1345406 h 1533525"/>
                  <a:gd name="connsiteX56" fmla="*/ 692943 w 1393983"/>
                  <a:gd name="connsiteY56" fmla="*/ 1366838 h 1533525"/>
                  <a:gd name="connsiteX57" fmla="*/ 671512 w 1393983"/>
                  <a:gd name="connsiteY57" fmla="*/ 1509713 h 1533525"/>
                  <a:gd name="connsiteX58" fmla="*/ 633412 w 1393983"/>
                  <a:gd name="connsiteY58" fmla="*/ 1490663 h 1533525"/>
                  <a:gd name="connsiteX59" fmla="*/ 614362 w 1393983"/>
                  <a:gd name="connsiteY59" fmla="*/ 1504950 h 1533525"/>
                  <a:gd name="connsiteX60" fmla="*/ 581025 w 1393983"/>
                  <a:gd name="connsiteY60" fmla="*/ 1531144 h 1533525"/>
                  <a:gd name="connsiteX61" fmla="*/ 523875 w 1393983"/>
                  <a:gd name="connsiteY61" fmla="*/ 1502569 h 1533525"/>
                  <a:gd name="connsiteX62" fmla="*/ 514350 w 1393983"/>
                  <a:gd name="connsiteY62" fmla="*/ 1490663 h 1533525"/>
                  <a:gd name="connsiteX63" fmla="*/ 483393 w 1393983"/>
                  <a:gd name="connsiteY63" fmla="*/ 1533525 h 1533525"/>
                  <a:gd name="connsiteX64" fmla="*/ 459581 w 1393983"/>
                  <a:gd name="connsiteY64" fmla="*/ 1481138 h 1533525"/>
                  <a:gd name="connsiteX65" fmla="*/ 438150 w 1393983"/>
                  <a:gd name="connsiteY65" fmla="*/ 1471613 h 1533525"/>
                  <a:gd name="connsiteX66" fmla="*/ 400050 w 1393983"/>
                  <a:gd name="connsiteY66" fmla="*/ 1485900 h 1533525"/>
                  <a:gd name="connsiteX67" fmla="*/ 338137 w 1393983"/>
                  <a:gd name="connsiteY67" fmla="*/ 1490663 h 1533525"/>
                  <a:gd name="connsiteX68" fmla="*/ 330993 w 1393983"/>
                  <a:gd name="connsiteY68" fmla="*/ 1497806 h 1533525"/>
                  <a:gd name="connsiteX69" fmla="*/ 271462 w 1393983"/>
                  <a:gd name="connsiteY69" fmla="*/ 1471613 h 1533525"/>
                  <a:gd name="connsiteX70" fmla="*/ 219075 w 1393983"/>
                  <a:gd name="connsiteY70" fmla="*/ 1443038 h 1533525"/>
                  <a:gd name="connsiteX71" fmla="*/ 138112 w 1393983"/>
                  <a:gd name="connsiteY71" fmla="*/ 1402556 h 1533525"/>
                  <a:gd name="connsiteX72" fmla="*/ 95250 w 1393983"/>
                  <a:gd name="connsiteY72" fmla="*/ 1316831 h 1533525"/>
                  <a:gd name="connsiteX73" fmla="*/ 80962 w 1393983"/>
                  <a:gd name="connsiteY73" fmla="*/ 1288256 h 1533525"/>
                  <a:gd name="connsiteX74" fmla="*/ 104775 w 1393983"/>
                  <a:gd name="connsiteY74" fmla="*/ 1266825 h 1533525"/>
                  <a:gd name="connsiteX75" fmla="*/ 76200 w 1393983"/>
                  <a:gd name="connsiteY75" fmla="*/ 1212056 h 1533525"/>
                  <a:gd name="connsiteX76" fmla="*/ 109537 w 1393983"/>
                  <a:gd name="connsiteY76" fmla="*/ 1193006 h 1533525"/>
                  <a:gd name="connsiteX77" fmla="*/ 140493 w 1393983"/>
                  <a:gd name="connsiteY77" fmla="*/ 1143000 h 1533525"/>
                  <a:gd name="connsiteX78" fmla="*/ 123825 w 1393983"/>
                  <a:gd name="connsiteY78" fmla="*/ 1107281 h 1533525"/>
                  <a:gd name="connsiteX79" fmla="*/ 178593 w 1393983"/>
                  <a:gd name="connsiteY79" fmla="*/ 1107281 h 1533525"/>
                  <a:gd name="connsiteX80" fmla="*/ 192881 w 1393983"/>
                  <a:gd name="connsiteY80" fmla="*/ 1109663 h 1533525"/>
                  <a:gd name="connsiteX81" fmla="*/ 159543 w 1393983"/>
                  <a:gd name="connsiteY81" fmla="*/ 1064419 h 1533525"/>
                  <a:gd name="connsiteX82" fmla="*/ 169068 w 1393983"/>
                  <a:gd name="connsiteY82" fmla="*/ 1014413 h 1533525"/>
                  <a:gd name="connsiteX83" fmla="*/ 123825 w 1393983"/>
                  <a:gd name="connsiteY83" fmla="*/ 997744 h 1533525"/>
                  <a:gd name="connsiteX84" fmla="*/ 61912 w 1393983"/>
                  <a:gd name="connsiteY84" fmla="*/ 954881 h 1533525"/>
                  <a:gd name="connsiteX85" fmla="*/ 45243 w 1393983"/>
                  <a:gd name="connsiteY85" fmla="*/ 938213 h 1533525"/>
                  <a:gd name="connsiteX86" fmla="*/ 64293 w 1393983"/>
                  <a:gd name="connsiteY86" fmla="*/ 909638 h 1533525"/>
                  <a:gd name="connsiteX87" fmla="*/ 47625 w 1393983"/>
                  <a:gd name="connsiteY87" fmla="*/ 897731 h 1533525"/>
                  <a:gd name="connsiteX88" fmla="*/ 47625 w 1393983"/>
                  <a:gd name="connsiteY88" fmla="*/ 881063 h 1533525"/>
                  <a:gd name="connsiteX89" fmla="*/ 26193 w 1393983"/>
                  <a:gd name="connsiteY89" fmla="*/ 881063 h 1533525"/>
                  <a:gd name="connsiteX90" fmla="*/ 7143 w 1393983"/>
                  <a:gd name="connsiteY90" fmla="*/ 847725 h 1533525"/>
                  <a:gd name="connsiteX91" fmla="*/ 0 w 1393983"/>
                  <a:gd name="connsiteY91" fmla="*/ 816769 h 1533525"/>
                  <a:gd name="connsiteX92" fmla="*/ 54768 w 1393983"/>
                  <a:gd name="connsiteY92" fmla="*/ 800100 h 1533525"/>
                  <a:gd name="connsiteX93" fmla="*/ 76200 w 1393983"/>
                  <a:gd name="connsiteY93" fmla="*/ 788194 h 1533525"/>
                  <a:gd name="connsiteX94" fmla="*/ 128587 w 1393983"/>
                  <a:gd name="connsiteY94" fmla="*/ 821531 h 1533525"/>
                  <a:gd name="connsiteX95" fmla="*/ 126206 w 1393983"/>
                  <a:gd name="connsiteY95" fmla="*/ 800100 h 1533525"/>
                  <a:gd name="connsiteX96" fmla="*/ 164306 w 1393983"/>
                  <a:gd name="connsiteY96" fmla="*/ 795338 h 1533525"/>
                  <a:gd name="connsiteX97" fmla="*/ 173831 w 1393983"/>
                  <a:gd name="connsiteY97" fmla="*/ 759619 h 1533525"/>
                  <a:gd name="connsiteX98" fmla="*/ 235743 w 1393983"/>
                  <a:gd name="connsiteY98" fmla="*/ 764381 h 1533525"/>
                  <a:gd name="connsiteX99" fmla="*/ 235743 w 1393983"/>
                  <a:gd name="connsiteY99" fmla="*/ 764381 h 1533525"/>
                  <a:gd name="connsiteX100" fmla="*/ 245268 w 1393983"/>
                  <a:gd name="connsiteY100" fmla="*/ 704850 h 1533525"/>
                  <a:gd name="connsiteX101" fmla="*/ 276225 w 1393983"/>
                  <a:gd name="connsiteY101" fmla="*/ 666750 h 1533525"/>
                  <a:gd name="connsiteX102" fmla="*/ 292893 w 1393983"/>
                  <a:gd name="connsiteY102" fmla="*/ 638175 h 1533525"/>
                  <a:gd name="connsiteX103" fmla="*/ 245268 w 1393983"/>
                  <a:gd name="connsiteY103" fmla="*/ 602456 h 1533525"/>
                  <a:gd name="connsiteX104" fmla="*/ 264318 w 1393983"/>
                  <a:gd name="connsiteY104" fmla="*/ 585788 h 1533525"/>
                  <a:gd name="connsiteX105" fmla="*/ 311943 w 1393983"/>
                  <a:gd name="connsiteY105" fmla="*/ 602456 h 1533525"/>
                  <a:gd name="connsiteX106" fmla="*/ 369093 w 1393983"/>
                  <a:gd name="connsiteY106" fmla="*/ 573881 h 1533525"/>
                  <a:gd name="connsiteX107" fmla="*/ 457200 w 1393983"/>
                  <a:gd name="connsiteY107" fmla="*/ 545306 h 1533525"/>
                  <a:gd name="connsiteX108" fmla="*/ 538162 w 1393983"/>
                  <a:gd name="connsiteY108" fmla="*/ 578644 h 1533525"/>
                  <a:gd name="connsiteX109" fmla="*/ 614362 w 1393983"/>
                  <a:gd name="connsiteY109" fmla="*/ 550069 h 1533525"/>
                  <a:gd name="connsiteX110" fmla="*/ 650081 w 1393983"/>
                  <a:gd name="connsiteY110" fmla="*/ 552450 h 1533525"/>
                  <a:gd name="connsiteX111" fmla="*/ 654843 w 1393983"/>
                  <a:gd name="connsiteY111" fmla="*/ 523875 h 1533525"/>
                  <a:gd name="connsiteX112" fmla="*/ 654843 w 1393983"/>
                  <a:gd name="connsiteY112" fmla="*/ 490538 h 1533525"/>
                  <a:gd name="connsiteX113" fmla="*/ 669131 w 1393983"/>
                  <a:gd name="connsiteY113" fmla="*/ 469106 h 1533525"/>
                  <a:gd name="connsiteX114" fmla="*/ 652462 w 1393983"/>
                  <a:gd name="connsiteY114" fmla="*/ 450056 h 1533525"/>
                  <a:gd name="connsiteX115" fmla="*/ 642937 w 1393983"/>
                  <a:gd name="connsiteY115" fmla="*/ 411956 h 1533525"/>
                  <a:gd name="connsiteX116" fmla="*/ 642937 w 1393983"/>
                  <a:gd name="connsiteY116" fmla="*/ 330994 h 1533525"/>
                  <a:gd name="connsiteX117" fmla="*/ 633412 w 1393983"/>
                  <a:gd name="connsiteY117" fmla="*/ 319088 h 1533525"/>
                  <a:gd name="connsiteX118" fmla="*/ 664368 w 1393983"/>
                  <a:gd name="connsiteY118" fmla="*/ 285750 h 1533525"/>
                  <a:gd name="connsiteX119" fmla="*/ 721518 w 1393983"/>
                  <a:gd name="connsiteY119" fmla="*/ 292894 h 1533525"/>
                  <a:gd name="connsiteX120" fmla="*/ 733425 w 1393983"/>
                  <a:gd name="connsiteY120" fmla="*/ 264319 h 1533525"/>
                  <a:gd name="connsiteX121" fmla="*/ 731043 w 1393983"/>
                  <a:gd name="connsiteY121" fmla="*/ 228600 h 1533525"/>
                  <a:gd name="connsiteX122" fmla="*/ 790575 w 1393983"/>
                  <a:gd name="connsiteY122" fmla="*/ 192881 h 1533525"/>
                  <a:gd name="connsiteX123" fmla="*/ 804862 w 1393983"/>
                  <a:gd name="connsiteY123" fmla="*/ 166688 h 1533525"/>
                  <a:gd name="connsiteX124" fmla="*/ 778668 w 1393983"/>
                  <a:gd name="connsiteY124" fmla="*/ 128588 h 1533525"/>
                  <a:gd name="connsiteX125" fmla="*/ 771525 w 1393983"/>
                  <a:gd name="connsiteY125" fmla="*/ 104775 h 1533525"/>
                  <a:gd name="connsiteX126" fmla="*/ 823912 w 1393983"/>
                  <a:gd name="connsiteY126" fmla="*/ 97631 h 1533525"/>
                  <a:gd name="connsiteX127" fmla="*/ 869156 w 1393983"/>
                  <a:gd name="connsiteY127" fmla="*/ 52388 h 1533525"/>
                  <a:gd name="connsiteX128" fmla="*/ 890587 w 1393983"/>
                  <a:gd name="connsiteY128" fmla="*/ 23813 h 1533525"/>
                  <a:gd name="connsiteX129" fmla="*/ 923925 w 1393983"/>
                  <a:gd name="connsiteY129" fmla="*/ 9525 h 1533525"/>
                  <a:gd name="connsiteX130" fmla="*/ 971550 w 1393983"/>
                  <a:gd name="connsiteY130" fmla="*/ 0 h 1533525"/>
                  <a:gd name="connsiteX131" fmla="*/ 971550 w 1393983"/>
                  <a:gd name="connsiteY131" fmla="*/ 40481 h 1533525"/>
                  <a:gd name="connsiteX132" fmla="*/ 950118 w 1393983"/>
                  <a:gd name="connsiteY132" fmla="*/ 80963 h 1533525"/>
                  <a:gd name="connsiteX133" fmla="*/ 950118 w 1393983"/>
                  <a:gd name="connsiteY133" fmla="*/ 140494 h 1533525"/>
                  <a:gd name="connsiteX134" fmla="*/ 969168 w 1393983"/>
                  <a:gd name="connsiteY134" fmla="*/ 161925 h 1533525"/>
                  <a:gd name="connsiteX135" fmla="*/ 1007268 w 1393983"/>
                  <a:gd name="connsiteY135" fmla="*/ 188119 h 1533525"/>
                  <a:gd name="connsiteX136" fmla="*/ 1019175 w 1393983"/>
                  <a:gd name="connsiteY136" fmla="*/ 216694 h 1533525"/>
                  <a:gd name="connsiteX137" fmla="*/ 1004887 w 1393983"/>
                  <a:gd name="connsiteY137" fmla="*/ 226219 h 1533525"/>
                  <a:gd name="connsiteX138" fmla="*/ 1057275 w 1393983"/>
                  <a:gd name="connsiteY138" fmla="*/ 250031 h 1533525"/>
                  <a:gd name="connsiteX139" fmla="*/ 1073943 w 1393983"/>
                  <a:gd name="connsiteY139" fmla="*/ 228600 h 1533525"/>
                  <a:gd name="connsiteX140" fmla="*/ 1083468 w 1393983"/>
                  <a:gd name="connsiteY140" fmla="*/ 252413 h 1533525"/>
                  <a:gd name="connsiteX141" fmla="*/ 1116806 w 1393983"/>
                  <a:gd name="connsiteY141" fmla="*/ 252413 h 1533525"/>
                  <a:gd name="connsiteX142" fmla="*/ 1123950 w 1393983"/>
                  <a:gd name="connsiteY142" fmla="*/ 257175 h 1533525"/>
                  <a:gd name="connsiteX143" fmla="*/ 1116806 w 1393983"/>
                  <a:gd name="connsiteY143" fmla="*/ 276225 h 1533525"/>
                  <a:gd name="connsiteX144" fmla="*/ 1088231 w 1393983"/>
                  <a:gd name="connsiteY144" fmla="*/ 309563 h 1533525"/>
                  <a:gd name="connsiteX145" fmla="*/ 1123950 w 1393983"/>
                  <a:gd name="connsiteY145" fmla="*/ 333375 h 1533525"/>
                  <a:gd name="connsiteX146" fmla="*/ 1135856 w 1393983"/>
                  <a:gd name="connsiteY146" fmla="*/ 347663 h 1533525"/>
                  <a:gd name="connsiteX147" fmla="*/ 1135856 w 1393983"/>
                  <a:gd name="connsiteY147" fmla="*/ 376238 h 1533525"/>
                  <a:gd name="connsiteX148" fmla="*/ 1119187 w 1393983"/>
                  <a:gd name="connsiteY148" fmla="*/ 411956 h 1533525"/>
                  <a:gd name="connsiteX149" fmla="*/ 1162050 w 1393983"/>
                  <a:gd name="connsiteY149" fmla="*/ 423863 h 1533525"/>
                  <a:gd name="connsiteX150" fmla="*/ 1233487 w 1393983"/>
                  <a:gd name="connsiteY150" fmla="*/ 416719 h 1533525"/>
                  <a:gd name="connsiteX151" fmla="*/ 1223962 w 1393983"/>
                  <a:gd name="connsiteY151" fmla="*/ 385763 h 1533525"/>
                  <a:gd name="connsiteX152" fmla="*/ 1188243 w 1393983"/>
                  <a:gd name="connsiteY152" fmla="*/ 347663 h 1533525"/>
                  <a:gd name="connsiteX153" fmla="*/ 1181100 w 1393983"/>
                  <a:gd name="connsiteY153" fmla="*/ 333375 h 1533525"/>
                  <a:gd name="connsiteX154" fmla="*/ 1207293 w 1393983"/>
                  <a:gd name="connsiteY154" fmla="*/ 326231 h 1533525"/>
                  <a:gd name="connsiteX155" fmla="*/ 1200150 w 1393983"/>
                  <a:gd name="connsiteY155" fmla="*/ 302419 h 1533525"/>
                  <a:gd name="connsiteX156" fmla="*/ 1223962 w 1393983"/>
                  <a:gd name="connsiteY156" fmla="*/ 283369 h 1533525"/>
                  <a:gd name="connsiteX157" fmla="*/ 1250156 w 1393983"/>
                  <a:gd name="connsiteY157" fmla="*/ 242888 h 1533525"/>
                  <a:gd name="connsiteX158" fmla="*/ 1393983 w 1393983"/>
                  <a:gd name="connsiteY158" fmla="*/ 303371 h 1533525"/>
                  <a:gd name="connsiteX0" fmla="*/ 1057275 w 1393983"/>
                  <a:gd name="connsiteY0" fmla="*/ 264319 h 1533525"/>
                  <a:gd name="connsiteX1" fmla="*/ 1062037 w 1393983"/>
                  <a:gd name="connsiteY1" fmla="*/ 304800 h 1533525"/>
                  <a:gd name="connsiteX2" fmla="*/ 995362 w 1393983"/>
                  <a:gd name="connsiteY2" fmla="*/ 352425 h 1533525"/>
                  <a:gd name="connsiteX3" fmla="*/ 973931 w 1393983"/>
                  <a:gd name="connsiteY3" fmla="*/ 383381 h 1533525"/>
                  <a:gd name="connsiteX4" fmla="*/ 1000125 w 1393983"/>
                  <a:gd name="connsiteY4" fmla="*/ 428625 h 1533525"/>
                  <a:gd name="connsiteX5" fmla="*/ 983456 w 1393983"/>
                  <a:gd name="connsiteY5" fmla="*/ 466725 h 1533525"/>
                  <a:gd name="connsiteX6" fmla="*/ 1000125 w 1393983"/>
                  <a:gd name="connsiteY6" fmla="*/ 519113 h 1533525"/>
                  <a:gd name="connsiteX7" fmla="*/ 1033462 w 1393983"/>
                  <a:gd name="connsiteY7" fmla="*/ 519113 h 1533525"/>
                  <a:gd name="connsiteX8" fmla="*/ 1019175 w 1393983"/>
                  <a:gd name="connsiteY8" fmla="*/ 552450 h 1533525"/>
                  <a:gd name="connsiteX9" fmla="*/ 1035843 w 1393983"/>
                  <a:gd name="connsiteY9" fmla="*/ 590550 h 1533525"/>
                  <a:gd name="connsiteX10" fmla="*/ 1035843 w 1393983"/>
                  <a:gd name="connsiteY10" fmla="*/ 607219 h 1533525"/>
                  <a:gd name="connsiteX11" fmla="*/ 1045368 w 1393983"/>
                  <a:gd name="connsiteY11" fmla="*/ 645319 h 1533525"/>
                  <a:gd name="connsiteX12" fmla="*/ 1064418 w 1393983"/>
                  <a:gd name="connsiteY12" fmla="*/ 645319 h 1533525"/>
                  <a:gd name="connsiteX13" fmla="*/ 1078706 w 1393983"/>
                  <a:gd name="connsiteY13" fmla="*/ 666750 h 1533525"/>
                  <a:gd name="connsiteX14" fmla="*/ 1085850 w 1393983"/>
                  <a:gd name="connsiteY14" fmla="*/ 688181 h 1533525"/>
                  <a:gd name="connsiteX15" fmla="*/ 1076325 w 1393983"/>
                  <a:gd name="connsiteY15" fmla="*/ 719138 h 1533525"/>
                  <a:gd name="connsiteX16" fmla="*/ 1021556 w 1393983"/>
                  <a:gd name="connsiteY16" fmla="*/ 714375 h 1533525"/>
                  <a:gd name="connsiteX17" fmla="*/ 1002506 w 1393983"/>
                  <a:gd name="connsiteY17" fmla="*/ 721519 h 1533525"/>
                  <a:gd name="connsiteX18" fmla="*/ 995362 w 1393983"/>
                  <a:gd name="connsiteY18" fmla="*/ 726281 h 1533525"/>
                  <a:gd name="connsiteX19" fmla="*/ 995362 w 1393983"/>
                  <a:gd name="connsiteY19" fmla="*/ 726281 h 1533525"/>
                  <a:gd name="connsiteX20" fmla="*/ 923925 w 1393983"/>
                  <a:gd name="connsiteY20" fmla="*/ 721519 h 1533525"/>
                  <a:gd name="connsiteX21" fmla="*/ 940593 w 1393983"/>
                  <a:gd name="connsiteY21" fmla="*/ 778669 h 1533525"/>
                  <a:gd name="connsiteX22" fmla="*/ 938212 w 1393983"/>
                  <a:gd name="connsiteY22" fmla="*/ 847725 h 1533525"/>
                  <a:gd name="connsiteX23" fmla="*/ 954881 w 1393983"/>
                  <a:gd name="connsiteY23" fmla="*/ 871538 h 1533525"/>
                  <a:gd name="connsiteX24" fmla="*/ 997743 w 1393983"/>
                  <a:gd name="connsiteY24" fmla="*/ 919163 h 1533525"/>
                  <a:gd name="connsiteX25" fmla="*/ 1012031 w 1393983"/>
                  <a:gd name="connsiteY25" fmla="*/ 954881 h 1533525"/>
                  <a:gd name="connsiteX26" fmla="*/ 1031081 w 1393983"/>
                  <a:gd name="connsiteY26" fmla="*/ 954881 h 1533525"/>
                  <a:gd name="connsiteX27" fmla="*/ 1071562 w 1393983"/>
                  <a:gd name="connsiteY27" fmla="*/ 940594 h 1533525"/>
                  <a:gd name="connsiteX28" fmla="*/ 1102518 w 1393983"/>
                  <a:gd name="connsiteY28" fmla="*/ 933450 h 1533525"/>
                  <a:gd name="connsiteX29" fmla="*/ 1159668 w 1393983"/>
                  <a:gd name="connsiteY29" fmla="*/ 997744 h 1533525"/>
                  <a:gd name="connsiteX30" fmla="*/ 1178718 w 1393983"/>
                  <a:gd name="connsiteY30" fmla="*/ 1052513 h 1533525"/>
                  <a:gd name="connsiteX31" fmla="*/ 1190625 w 1393983"/>
                  <a:gd name="connsiteY31" fmla="*/ 1081088 h 1533525"/>
                  <a:gd name="connsiteX32" fmla="*/ 1212056 w 1393983"/>
                  <a:gd name="connsiteY32" fmla="*/ 1109663 h 1533525"/>
                  <a:gd name="connsiteX33" fmla="*/ 1231106 w 1393983"/>
                  <a:gd name="connsiteY33" fmla="*/ 1102519 h 1533525"/>
                  <a:gd name="connsiteX34" fmla="*/ 1231106 w 1393983"/>
                  <a:gd name="connsiteY34" fmla="*/ 1131094 h 1533525"/>
                  <a:gd name="connsiteX35" fmla="*/ 1233487 w 1393983"/>
                  <a:gd name="connsiteY35" fmla="*/ 1145381 h 1533525"/>
                  <a:gd name="connsiteX36" fmla="*/ 1266825 w 1393983"/>
                  <a:gd name="connsiteY36" fmla="*/ 1181100 h 1533525"/>
                  <a:gd name="connsiteX37" fmla="*/ 1233487 w 1393983"/>
                  <a:gd name="connsiteY37" fmla="*/ 1181100 h 1533525"/>
                  <a:gd name="connsiteX38" fmla="*/ 1228725 w 1393983"/>
                  <a:gd name="connsiteY38" fmla="*/ 1223963 h 1533525"/>
                  <a:gd name="connsiteX39" fmla="*/ 1226343 w 1393983"/>
                  <a:gd name="connsiteY39" fmla="*/ 1243013 h 1533525"/>
                  <a:gd name="connsiteX40" fmla="*/ 1216818 w 1393983"/>
                  <a:gd name="connsiteY40" fmla="*/ 1264444 h 1533525"/>
                  <a:gd name="connsiteX41" fmla="*/ 1190625 w 1393983"/>
                  <a:gd name="connsiteY41" fmla="*/ 1238250 h 1533525"/>
                  <a:gd name="connsiteX42" fmla="*/ 1157287 w 1393983"/>
                  <a:gd name="connsiteY42" fmla="*/ 1209675 h 1533525"/>
                  <a:gd name="connsiteX43" fmla="*/ 1131093 w 1393983"/>
                  <a:gd name="connsiteY43" fmla="*/ 1185863 h 1533525"/>
                  <a:gd name="connsiteX44" fmla="*/ 1107281 w 1393983"/>
                  <a:gd name="connsiteY44" fmla="*/ 1219200 h 1533525"/>
                  <a:gd name="connsiteX45" fmla="*/ 1104900 w 1393983"/>
                  <a:gd name="connsiteY45" fmla="*/ 1264444 h 1533525"/>
                  <a:gd name="connsiteX46" fmla="*/ 1062037 w 1393983"/>
                  <a:gd name="connsiteY46" fmla="*/ 1259681 h 1533525"/>
                  <a:gd name="connsiteX47" fmla="*/ 1026318 w 1393983"/>
                  <a:gd name="connsiteY47" fmla="*/ 1288256 h 1533525"/>
                  <a:gd name="connsiteX48" fmla="*/ 1007268 w 1393983"/>
                  <a:gd name="connsiteY48" fmla="*/ 1240631 h 1533525"/>
                  <a:gd name="connsiteX49" fmla="*/ 947737 w 1393983"/>
                  <a:gd name="connsiteY49" fmla="*/ 1231106 h 1533525"/>
                  <a:gd name="connsiteX50" fmla="*/ 921543 w 1393983"/>
                  <a:gd name="connsiteY50" fmla="*/ 1297781 h 1533525"/>
                  <a:gd name="connsiteX51" fmla="*/ 885825 w 1393983"/>
                  <a:gd name="connsiteY51" fmla="*/ 1278731 h 1533525"/>
                  <a:gd name="connsiteX52" fmla="*/ 816768 w 1393983"/>
                  <a:gd name="connsiteY52" fmla="*/ 1295400 h 1533525"/>
                  <a:gd name="connsiteX53" fmla="*/ 757237 w 1393983"/>
                  <a:gd name="connsiteY53" fmla="*/ 1259681 h 1533525"/>
                  <a:gd name="connsiteX54" fmla="*/ 742950 w 1393983"/>
                  <a:gd name="connsiteY54" fmla="*/ 1312069 h 1533525"/>
                  <a:gd name="connsiteX55" fmla="*/ 704850 w 1393983"/>
                  <a:gd name="connsiteY55" fmla="*/ 1345406 h 1533525"/>
                  <a:gd name="connsiteX56" fmla="*/ 692943 w 1393983"/>
                  <a:gd name="connsiteY56" fmla="*/ 1366838 h 1533525"/>
                  <a:gd name="connsiteX57" fmla="*/ 671512 w 1393983"/>
                  <a:gd name="connsiteY57" fmla="*/ 1509713 h 1533525"/>
                  <a:gd name="connsiteX58" fmla="*/ 633412 w 1393983"/>
                  <a:gd name="connsiteY58" fmla="*/ 1490663 h 1533525"/>
                  <a:gd name="connsiteX59" fmla="*/ 614362 w 1393983"/>
                  <a:gd name="connsiteY59" fmla="*/ 1504950 h 1533525"/>
                  <a:gd name="connsiteX60" fmla="*/ 581025 w 1393983"/>
                  <a:gd name="connsiteY60" fmla="*/ 1531144 h 1533525"/>
                  <a:gd name="connsiteX61" fmla="*/ 523875 w 1393983"/>
                  <a:gd name="connsiteY61" fmla="*/ 1502569 h 1533525"/>
                  <a:gd name="connsiteX62" fmla="*/ 514350 w 1393983"/>
                  <a:gd name="connsiteY62" fmla="*/ 1490663 h 1533525"/>
                  <a:gd name="connsiteX63" fmla="*/ 483393 w 1393983"/>
                  <a:gd name="connsiteY63" fmla="*/ 1533525 h 1533525"/>
                  <a:gd name="connsiteX64" fmla="*/ 459581 w 1393983"/>
                  <a:gd name="connsiteY64" fmla="*/ 1481138 h 1533525"/>
                  <a:gd name="connsiteX65" fmla="*/ 438150 w 1393983"/>
                  <a:gd name="connsiteY65" fmla="*/ 1471613 h 1533525"/>
                  <a:gd name="connsiteX66" fmla="*/ 400050 w 1393983"/>
                  <a:gd name="connsiteY66" fmla="*/ 1485900 h 1533525"/>
                  <a:gd name="connsiteX67" fmla="*/ 338137 w 1393983"/>
                  <a:gd name="connsiteY67" fmla="*/ 1490663 h 1533525"/>
                  <a:gd name="connsiteX68" fmla="*/ 330993 w 1393983"/>
                  <a:gd name="connsiteY68" fmla="*/ 1497806 h 1533525"/>
                  <a:gd name="connsiteX69" fmla="*/ 271462 w 1393983"/>
                  <a:gd name="connsiteY69" fmla="*/ 1471613 h 1533525"/>
                  <a:gd name="connsiteX70" fmla="*/ 219075 w 1393983"/>
                  <a:gd name="connsiteY70" fmla="*/ 1443038 h 1533525"/>
                  <a:gd name="connsiteX71" fmla="*/ 138112 w 1393983"/>
                  <a:gd name="connsiteY71" fmla="*/ 1402556 h 1533525"/>
                  <a:gd name="connsiteX72" fmla="*/ 95250 w 1393983"/>
                  <a:gd name="connsiteY72" fmla="*/ 1316831 h 1533525"/>
                  <a:gd name="connsiteX73" fmla="*/ 80962 w 1393983"/>
                  <a:gd name="connsiteY73" fmla="*/ 1288256 h 1533525"/>
                  <a:gd name="connsiteX74" fmla="*/ 104775 w 1393983"/>
                  <a:gd name="connsiteY74" fmla="*/ 1266825 h 1533525"/>
                  <a:gd name="connsiteX75" fmla="*/ 76200 w 1393983"/>
                  <a:gd name="connsiteY75" fmla="*/ 1212056 h 1533525"/>
                  <a:gd name="connsiteX76" fmla="*/ 109537 w 1393983"/>
                  <a:gd name="connsiteY76" fmla="*/ 1193006 h 1533525"/>
                  <a:gd name="connsiteX77" fmla="*/ 140493 w 1393983"/>
                  <a:gd name="connsiteY77" fmla="*/ 1143000 h 1533525"/>
                  <a:gd name="connsiteX78" fmla="*/ 123825 w 1393983"/>
                  <a:gd name="connsiteY78" fmla="*/ 1107281 h 1533525"/>
                  <a:gd name="connsiteX79" fmla="*/ 178593 w 1393983"/>
                  <a:gd name="connsiteY79" fmla="*/ 1107281 h 1533525"/>
                  <a:gd name="connsiteX80" fmla="*/ 192881 w 1393983"/>
                  <a:gd name="connsiteY80" fmla="*/ 1109663 h 1533525"/>
                  <a:gd name="connsiteX81" fmla="*/ 159543 w 1393983"/>
                  <a:gd name="connsiteY81" fmla="*/ 1064419 h 1533525"/>
                  <a:gd name="connsiteX82" fmla="*/ 169068 w 1393983"/>
                  <a:gd name="connsiteY82" fmla="*/ 1014413 h 1533525"/>
                  <a:gd name="connsiteX83" fmla="*/ 123825 w 1393983"/>
                  <a:gd name="connsiteY83" fmla="*/ 997744 h 1533525"/>
                  <a:gd name="connsiteX84" fmla="*/ 61912 w 1393983"/>
                  <a:gd name="connsiteY84" fmla="*/ 954881 h 1533525"/>
                  <a:gd name="connsiteX85" fmla="*/ 45243 w 1393983"/>
                  <a:gd name="connsiteY85" fmla="*/ 938213 h 1533525"/>
                  <a:gd name="connsiteX86" fmla="*/ 64293 w 1393983"/>
                  <a:gd name="connsiteY86" fmla="*/ 909638 h 1533525"/>
                  <a:gd name="connsiteX87" fmla="*/ 47625 w 1393983"/>
                  <a:gd name="connsiteY87" fmla="*/ 897731 h 1533525"/>
                  <a:gd name="connsiteX88" fmla="*/ 47625 w 1393983"/>
                  <a:gd name="connsiteY88" fmla="*/ 881063 h 1533525"/>
                  <a:gd name="connsiteX89" fmla="*/ 26193 w 1393983"/>
                  <a:gd name="connsiteY89" fmla="*/ 881063 h 1533525"/>
                  <a:gd name="connsiteX90" fmla="*/ 7143 w 1393983"/>
                  <a:gd name="connsiteY90" fmla="*/ 847725 h 1533525"/>
                  <a:gd name="connsiteX91" fmla="*/ 0 w 1393983"/>
                  <a:gd name="connsiteY91" fmla="*/ 816769 h 1533525"/>
                  <a:gd name="connsiteX92" fmla="*/ 54768 w 1393983"/>
                  <a:gd name="connsiteY92" fmla="*/ 800100 h 1533525"/>
                  <a:gd name="connsiteX93" fmla="*/ 76200 w 1393983"/>
                  <a:gd name="connsiteY93" fmla="*/ 788194 h 1533525"/>
                  <a:gd name="connsiteX94" fmla="*/ 128587 w 1393983"/>
                  <a:gd name="connsiteY94" fmla="*/ 821531 h 1533525"/>
                  <a:gd name="connsiteX95" fmla="*/ 126206 w 1393983"/>
                  <a:gd name="connsiteY95" fmla="*/ 800100 h 1533525"/>
                  <a:gd name="connsiteX96" fmla="*/ 164306 w 1393983"/>
                  <a:gd name="connsiteY96" fmla="*/ 795338 h 1533525"/>
                  <a:gd name="connsiteX97" fmla="*/ 173831 w 1393983"/>
                  <a:gd name="connsiteY97" fmla="*/ 759619 h 1533525"/>
                  <a:gd name="connsiteX98" fmla="*/ 235743 w 1393983"/>
                  <a:gd name="connsiteY98" fmla="*/ 764381 h 1533525"/>
                  <a:gd name="connsiteX99" fmla="*/ 235743 w 1393983"/>
                  <a:gd name="connsiteY99" fmla="*/ 764381 h 1533525"/>
                  <a:gd name="connsiteX100" fmla="*/ 245268 w 1393983"/>
                  <a:gd name="connsiteY100" fmla="*/ 704850 h 1533525"/>
                  <a:gd name="connsiteX101" fmla="*/ 276225 w 1393983"/>
                  <a:gd name="connsiteY101" fmla="*/ 666750 h 1533525"/>
                  <a:gd name="connsiteX102" fmla="*/ 292893 w 1393983"/>
                  <a:gd name="connsiteY102" fmla="*/ 638175 h 1533525"/>
                  <a:gd name="connsiteX103" fmla="*/ 245268 w 1393983"/>
                  <a:gd name="connsiteY103" fmla="*/ 602456 h 1533525"/>
                  <a:gd name="connsiteX104" fmla="*/ 264318 w 1393983"/>
                  <a:gd name="connsiteY104" fmla="*/ 585788 h 1533525"/>
                  <a:gd name="connsiteX105" fmla="*/ 311943 w 1393983"/>
                  <a:gd name="connsiteY105" fmla="*/ 602456 h 1533525"/>
                  <a:gd name="connsiteX106" fmla="*/ 369093 w 1393983"/>
                  <a:gd name="connsiteY106" fmla="*/ 573881 h 1533525"/>
                  <a:gd name="connsiteX107" fmla="*/ 457200 w 1393983"/>
                  <a:gd name="connsiteY107" fmla="*/ 545306 h 1533525"/>
                  <a:gd name="connsiteX108" fmla="*/ 538162 w 1393983"/>
                  <a:gd name="connsiteY108" fmla="*/ 578644 h 1533525"/>
                  <a:gd name="connsiteX109" fmla="*/ 614362 w 1393983"/>
                  <a:gd name="connsiteY109" fmla="*/ 550069 h 1533525"/>
                  <a:gd name="connsiteX110" fmla="*/ 650081 w 1393983"/>
                  <a:gd name="connsiteY110" fmla="*/ 552450 h 1533525"/>
                  <a:gd name="connsiteX111" fmla="*/ 654843 w 1393983"/>
                  <a:gd name="connsiteY111" fmla="*/ 523875 h 1533525"/>
                  <a:gd name="connsiteX112" fmla="*/ 654843 w 1393983"/>
                  <a:gd name="connsiteY112" fmla="*/ 490538 h 1533525"/>
                  <a:gd name="connsiteX113" fmla="*/ 669131 w 1393983"/>
                  <a:gd name="connsiteY113" fmla="*/ 469106 h 1533525"/>
                  <a:gd name="connsiteX114" fmla="*/ 652462 w 1393983"/>
                  <a:gd name="connsiteY114" fmla="*/ 450056 h 1533525"/>
                  <a:gd name="connsiteX115" fmla="*/ 642937 w 1393983"/>
                  <a:gd name="connsiteY115" fmla="*/ 411956 h 1533525"/>
                  <a:gd name="connsiteX116" fmla="*/ 642937 w 1393983"/>
                  <a:gd name="connsiteY116" fmla="*/ 330994 h 1533525"/>
                  <a:gd name="connsiteX117" fmla="*/ 633412 w 1393983"/>
                  <a:gd name="connsiteY117" fmla="*/ 319088 h 1533525"/>
                  <a:gd name="connsiteX118" fmla="*/ 664368 w 1393983"/>
                  <a:gd name="connsiteY118" fmla="*/ 285750 h 1533525"/>
                  <a:gd name="connsiteX119" fmla="*/ 721518 w 1393983"/>
                  <a:gd name="connsiteY119" fmla="*/ 292894 h 1533525"/>
                  <a:gd name="connsiteX120" fmla="*/ 733425 w 1393983"/>
                  <a:gd name="connsiteY120" fmla="*/ 264319 h 1533525"/>
                  <a:gd name="connsiteX121" fmla="*/ 731043 w 1393983"/>
                  <a:gd name="connsiteY121" fmla="*/ 228600 h 1533525"/>
                  <a:gd name="connsiteX122" fmla="*/ 790575 w 1393983"/>
                  <a:gd name="connsiteY122" fmla="*/ 192881 h 1533525"/>
                  <a:gd name="connsiteX123" fmla="*/ 804862 w 1393983"/>
                  <a:gd name="connsiteY123" fmla="*/ 166688 h 1533525"/>
                  <a:gd name="connsiteX124" fmla="*/ 778668 w 1393983"/>
                  <a:gd name="connsiteY124" fmla="*/ 128588 h 1533525"/>
                  <a:gd name="connsiteX125" fmla="*/ 771525 w 1393983"/>
                  <a:gd name="connsiteY125" fmla="*/ 104775 h 1533525"/>
                  <a:gd name="connsiteX126" fmla="*/ 823912 w 1393983"/>
                  <a:gd name="connsiteY126" fmla="*/ 97631 h 1533525"/>
                  <a:gd name="connsiteX127" fmla="*/ 869156 w 1393983"/>
                  <a:gd name="connsiteY127" fmla="*/ 52388 h 1533525"/>
                  <a:gd name="connsiteX128" fmla="*/ 890587 w 1393983"/>
                  <a:gd name="connsiteY128" fmla="*/ 23813 h 1533525"/>
                  <a:gd name="connsiteX129" fmla="*/ 923925 w 1393983"/>
                  <a:gd name="connsiteY129" fmla="*/ 9525 h 1533525"/>
                  <a:gd name="connsiteX130" fmla="*/ 971550 w 1393983"/>
                  <a:gd name="connsiteY130" fmla="*/ 0 h 1533525"/>
                  <a:gd name="connsiteX131" fmla="*/ 971550 w 1393983"/>
                  <a:gd name="connsiteY131" fmla="*/ 40481 h 1533525"/>
                  <a:gd name="connsiteX132" fmla="*/ 950118 w 1393983"/>
                  <a:gd name="connsiteY132" fmla="*/ 80963 h 1533525"/>
                  <a:gd name="connsiteX133" fmla="*/ 950118 w 1393983"/>
                  <a:gd name="connsiteY133" fmla="*/ 140494 h 1533525"/>
                  <a:gd name="connsiteX134" fmla="*/ 969168 w 1393983"/>
                  <a:gd name="connsiteY134" fmla="*/ 161925 h 1533525"/>
                  <a:gd name="connsiteX135" fmla="*/ 1007268 w 1393983"/>
                  <a:gd name="connsiteY135" fmla="*/ 188119 h 1533525"/>
                  <a:gd name="connsiteX136" fmla="*/ 1019175 w 1393983"/>
                  <a:gd name="connsiteY136" fmla="*/ 216694 h 1533525"/>
                  <a:gd name="connsiteX137" fmla="*/ 1004887 w 1393983"/>
                  <a:gd name="connsiteY137" fmla="*/ 226219 h 1533525"/>
                  <a:gd name="connsiteX138" fmla="*/ 1057275 w 1393983"/>
                  <a:gd name="connsiteY138" fmla="*/ 250031 h 1533525"/>
                  <a:gd name="connsiteX139" fmla="*/ 1073943 w 1393983"/>
                  <a:gd name="connsiteY139" fmla="*/ 228600 h 1533525"/>
                  <a:gd name="connsiteX140" fmla="*/ 1083468 w 1393983"/>
                  <a:gd name="connsiteY140" fmla="*/ 252413 h 1533525"/>
                  <a:gd name="connsiteX141" fmla="*/ 1116806 w 1393983"/>
                  <a:gd name="connsiteY141" fmla="*/ 252413 h 1533525"/>
                  <a:gd name="connsiteX142" fmla="*/ 1123950 w 1393983"/>
                  <a:gd name="connsiteY142" fmla="*/ 257175 h 1533525"/>
                  <a:gd name="connsiteX143" fmla="*/ 1116806 w 1393983"/>
                  <a:gd name="connsiteY143" fmla="*/ 276225 h 1533525"/>
                  <a:gd name="connsiteX144" fmla="*/ 1088231 w 1393983"/>
                  <a:gd name="connsiteY144" fmla="*/ 309563 h 1533525"/>
                  <a:gd name="connsiteX145" fmla="*/ 1123950 w 1393983"/>
                  <a:gd name="connsiteY145" fmla="*/ 333375 h 1533525"/>
                  <a:gd name="connsiteX146" fmla="*/ 1135856 w 1393983"/>
                  <a:gd name="connsiteY146" fmla="*/ 347663 h 1533525"/>
                  <a:gd name="connsiteX147" fmla="*/ 1135856 w 1393983"/>
                  <a:gd name="connsiteY147" fmla="*/ 376238 h 1533525"/>
                  <a:gd name="connsiteX148" fmla="*/ 1119187 w 1393983"/>
                  <a:gd name="connsiteY148" fmla="*/ 411956 h 1533525"/>
                  <a:gd name="connsiteX149" fmla="*/ 1162050 w 1393983"/>
                  <a:gd name="connsiteY149" fmla="*/ 423863 h 1533525"/>
                  <a:gd name="connsiteX150" fmla="*/ 1233487 w 1393983"/>
                  <a:gd name="connsiteY150" fmla="*/ 416719 h 1533525"/>
                  <a:gd name="connsiteX151" fmla="*/ 1223962 w 1393983"/>
                  <a:gd name="connsiteY151" fmla="*/ 385763 h 1533525"/>
                  <a:gd name="connsiteX152" fmla="*/ 1188243 w 1393983"/>
                  <a:gd name="connsiteY152" fmla="*/ 347663 h 1533525"/>
                  <a:gd name="connsiteX153" fmla="*/ 1181100 w 1393983"/>
                  <a:gd name="connsiteY153" fmla="*/ 333375 h 1533525"/>
                  <a:gd name="connsiteX154" fmla="*/ 1207293 w 1393983"/>
                  <a:gd name="connsiteY154" fmla="*/ 326231 h 1533525"/>
                  <a:gd name="connsiteX155" fmla="*/ 1200150 w 1393983"/>
                  <a:gd name="connsiteY155" fmla="*/ 302419 h 1533525"/>
                  <a:gd name="connsiteX156" fmla="*/ 1223962 w 1393983"/>
                  <a:gd name="connsiteY156" fmla="*/ 283369 h 1533525"/>
                  <a:gd name="connsiteX157" fmla="*/ 1393983 w 1393983"/>
                  <a:gd name="connsiteY157" fmla="*/ 303371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155" fmla="*/ 1200150 w 1266825"/>
                  <a:gd name="connsiteY155" fmla="*/ 302419 h 1533525"/>
                  <a:gd name="connsiteX156" fmla="*/ 1223962 w 1266825"/>
                  <a:gd name="connsiteY156" fmla="*/ 28336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155" fmla="*/ 1200150 w 1266825"/>
                  <a:gd name="connsiteY155" fmla="*/ 30241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1266825" h="1533525">
                    <a:moveTo>
                      <a:pt x="1057275" y="264319"/>
                    </a:moveTo>
                    <a:lnTo>
                      <a:pt x="1062037" y="304800"/>
                    </a:lnTo>
                    <a:lnTo>
                      <a:pt x="995362" y="352425"/>
                    </a:lnTo>
                    <a:lnTo>
                      <a:pt x="973931" y="383381"/>
                    </a:lnTo>
                    <a:lnTo>
                      <a:pt x="1000125" y="428625"/>
                    </a:lnTo>
                    <a:lnTo>
                      <a:pt x="983456" y="466725"/>
                    </a:lnTo>
                    <a:lnTo>
                      <a:pt x="1000125" y="519113"/>
                    </a:lnTo>
                    <a:lnTo>
                      <a:pt x="1033462" y="519113"/>
                    </a:lnTo>
                    <a:lnTo>
                      <a:pt x="1019175" y="552450"/>
                    </a:lnTo>
                    <a:lnTo>
                      <a:pt x="1035843" y="590550"/>
                    </a:lnTo>
                    <a:lnTo>
                      <a:pt x="1035843" y="607219"/>
                    </a:lnTo>
                    <a:lnTo>
                      <a:pt x="1045368" y="645319"/>
                    </a:lnTo>
                    <a:lnTo>
                      <a:pt x="1064418" y="645319"/>
                    </a:lnTo>
                    <a:lnTo>
                      <a:pt x="1078706" y="666750"/>
                    </a:lnTo>
                    <a:lnTo>
                      <a:pt x="1085850" y="688181"/>
                    </a:lnTo>
                    <a:lnTo>
                      <a:pt x="1076325" y="719138"/>
                    </a:lnTo>
                    <a:lnTo>
                      <a:pt x="1021556" y="714375"/>
                    </a:lnTo>
                    <a:cubicBezTo>
                      <a:pt x="1015206" y="716756"/>
                      <a:pt x="1008680" y="718713"/>
                      <a:pt x="1002506" y="721519"/>
                    </a:cubicBezTo>
                    <a:cubicBezTo>
                      <a:pt x="999901" y="722703"/>
                      <a:pt x="995362" y="726281"/>
                      <a:pt x="995362" y="726281"/>
                    </a:cubicBezTo>
                    <a:lnTo>
                      <a:pt x="995362" y="726281"/>
                    </a:lnTo>
                    <a:lnTo>
                      <a:pt x="923925" y="721519"/>
                    </a:lnTo>
                    <a:lnTo>
                      <a:pt x="940593" y="778669"/>
                    </a:lnTo>
                    <a:cubicBezTo>
                      <a:pt x="939799" y="801688"/>
                      <a:pt x="939006" y="824706"/>
                      <a:pt x="938212" y="847725"/>
                    </a:cubicBezTo>
                    <a:lnTo>
                      <a:pt x="954881" y="871538"/>
                    </a:lnTo>
                    <a:lnTo>
                      <a:pt x="997743" y="919163"/>
                    </a:lnTo>
                    <a:lnTo>
                      <a:pt x="1012031" y="954881"/>
                    </a:lnTo>
                    <a:lnTo>
                      <a:pt x="1031081" y="954881"/>
                    </a:lnTo>
                    <a:lnTo>
                      <a:pt x="1071562" y="940594"/>
                    </a:lnTo>
                    <a:lnTo>
                      <a:pt x="1102518" y="933450"/>
                    </a:lnTo>
                    <a:lnTo>
                      <a:pt x="1159668" y="997744"/>
                    </a:lnTo>
                    <a:lnTo>
                      <a:pt x="1178718" y="1052513"/>
                    </a:lnTo>
                    <a:lnTo>
                      <a:pt x="1190625" y="1081088"/>
                    </a:lnTo>
                    <a:lnTo>
                      <a:pt x="1212056" y="1109663"/>
                    </a:lnTo>
                    <a:lnTo>
                      <a:pt x="1231106" y="1102519"/>
                    </a:lnTo>
                    <a:lnTo>
                      <a:pt x="1231106" y="1131094"/>
                    </a:lnTo>
                    <a:lnTo>
                      <a:pt x="1233487" y="1145381"/>
                    </a:lnTo>
                    <a:lnTo>
                      <a:pt x="1266825" y="1181100"/>
                    </a:lnTo>
                    <a:lnTo>
                      <a:pt x="1233487" y="1181100"/>
                    </a:lnTo>
                    <a:lnTo>
                      <a:pt x="1228725" y="1223963"/>
                    </a:lnTo>
                    <a:lnTo>
                      <a:pt x="1226343" y="1243013"/>
                    </a:lnTo>
                    <a:lnTo>
                      <a:pt x="1216818" y="1264444"/>
                    </a:lnTo>
                    <a:lnTo>
                      <a:pt x="1190625" y="1238250"/>
                    </a:lnTo>
                    <a:lnTo>
                      <a:pt x="1157287" y="1209675"/>
                    </a:lnTo>
                    <a:lnTo>
                      <a:pt x="1131093" y="1185863"/>
                    </a:lnTo>
                    <a:lnTo>
                      <a:pt x="1107281" y="1219200"/>
                    </a:lnTo>
                    <a:lnTo>
                      <a:pt x="1104900" y="1264444"/>
                    </a:lnTo>
                    <a:lnTo>
                      <a:pt x="1062037" y="1259681"/>
                    </a:lnTo>
                    <a:lnTo>
                      <a:pt x="1026318" y="1288256"/>
                    </a:lnTo>
                    <a:lnTo>
                      <a:pt x="1007268" y="1240631"/>
                    </a:lnTo>
                    <a:lnTo>
                      <a:pt x="947737" y="1231106"/>
                    </a:lnTo>
                    <a:lnTo>
                      <a:pt x="921543" y="1297781"/>
                    </a:lnTo>
                    <a:lnTo>
                      <a:pt x="885825" y="1278731"/>
                    </a:lnTo>
                    <a:lnTo>
                      <a:pt x="816768" y="1295400"/>
                    </a:lnTo>
                    <a:lnTo>
                      <a:pt x="757237" y="1259681"/>
                    </a:lnTo>
                    <a:lnTo>
                      <a:pt x="742950" y="1312069"/>
                    </a:lnTo>
                    <a:lnTo>
                      <a:pt x="704850" y="1345406"/>
                    </a:lnTo>
                    <a:lnTo>
                      <a:pt x="692943" y="1366838"/>
                    </a:lnTo>
                    <a:lnTo>
                      <a:pt x="671512" y="1509713"/>
                    </a:lnTo>
                    <a:lnTo>
                      <a:pt x="633412" y="1490663"/>
                    </a:lnTo>
                    <a:lnTo>
                      <a:pt x="614362" y="1504950"/>
                    </a:lnTo>
                    <a:lnTo>
                      <a:pt x="581025" y="1531144"/>
                    </a:lnTo>
                    <a:lnTo>
                      <a:pt x="523875" y="1502569"/>
                    </a:lnTo>
                    <a:lnTo>
                      <a:pt x="514350" y="1490663"/>
                    </a:lnTo>
                    <a:lnTo>
                      <a:pt x="483393" y="1533525"/>
                    </a:lnTo>
                    <a:lnTo>
                      <a:pt x="459581" y="1481138"/>
                    </a:lnTo>
                    <a:lnTo>
                      <a:pt x="438150" y="1471613"/>
                    </a:lnTo>
                    <a:lnTo>
                      <a:pt x="400050" y="1485900"/>
                    </a:lnTo>
                    <a:lnTo>
                      <a:pt x="338137" y="1490663"/>
                    </a:lnTo>
                    <a:lnTo>
                      <a:pt x="330993" y="1497806"/>
                    </a:lnTo>
                    <a:lnTo>
                      <a:pt x="271462" y="1471613"/>
                    </a:lnTo>
                    <a:lnTo>
                      <a:pt x="219075" y="1443038"/>
                    </a:lnTo>
                    <a:lnTo>
                      <a:pt x="138112" y="1402556"/>
                    </a:lnTo>
                    <a:lnTo>
                      <a:pt x="95250" y="1316831"/>
                    </a:lnTo>
                    <a:lnTo>
                      <a:pt x="80962" y="1288256"/>
                    </a:lnTo>
                    <a:lnTo>
                      <a:pt x="104775" y="1266825"/>
                    </a:lnTo>
                    <a:lnTo>
                      <a:pt x="76200" y="1212056"/>
                    </a:lnTo>
                    <a:lnTo>
                      <a:pt x="109537" y="1193006"/>
                    </a:lnTo>
                    <a:lnTo>
                      <a:pt x="140493" y="1143000"/>
                    </a:lnTo>
                    <a:lnTo>
                      <a:pt x="123825" y="1107281"/>
                    </a:lnTo>
                    <a:lnTo>
                      <a:pt x="178593" y="1107281"/>
                    </a:lnTo>
                    <a:lnTo>
                      <a:pt x="192881" y="1109663"/>
                    </a:lnTo>
                    <a:lnTo>
                      <a:pt x="159543" y="1064419"/>
                    </a:lnTo>
                    <a:lnTo>
                      <a:pt x="169068" y="1014413"/>
                    </a:lnTo>
                    <a:lnTo>
                      <a:pt x="123825" y="997744"/>
                    </a:lnTo>
                    <a:lnTo>
                      <a:pt x="61912" y="954881"/>
                    </a:lnTo>
                    <a:lnTo>
                      <a:pt x="45243" y="938213"/>
                    </a:lnTo>
                    <a:lnTo>
                      <a:pt x="64293" y="909638"/>
                    </a:lnTo>
                    <a:lnTo>
                      <a:pt x="47625" y="897731"/>
                    </a:lnTo>
                    <a:lnTo>
                      <a:pt x="47625" y="881063"/>
                    </a:lnTo>
                    <a:lnTo>
                      <a:pt x="26193" y="881063"/>
                    </a:lnTo>
                    <a:lnTo>
                      <a:pt x="7143" y="847725"/>
                    </a:lnTo>
                    <a:lnTo>
                      <a:pt x="0" y="816769"/>
                    </a:lnTo>
                    <a:lnTo>
                      <a:pt x="54768" y="800100"/>
                    </a:lnTo>
                    <a:lnTo>
                      <a:pt x="76200" y="788194"/>
                    </a:lnTo>
                    <a:lnTo>
                      <a:pt x="128587" y="821531"/>
                    </a:lnTo>
                    <a:lnTo>
                      <a:pt x="126206" y="800100"/>
                    </a:lnTo>
                    <a:lnTo>
                      <a:pt x="164306" y="795338"/>
                    </a:lnTo>
                    <a:lnTo>
                      <a:pt x="173831" y="759619"/>
                    </a:lnTo>
                    <a:lnTo>
                      <a:pt x="235743" y="764381"/>
                    </a:lnTo>
                    <a:lnTo>
                      <a:pt x="235743" y="764381"/>
                    </a:lnTo>
                    <a:lnTo>
                      <a:pt x="245268" y="704850"/>
                    </a:lnTo>
                    <a:lnTo>
                      <a:pt x="276225" y="666750"/>
                    </a:lnTo>
                    <a:lnTo>
                      <a:pt x="292893" y="638175"/>
                    </a:lnTo>
                    <a:lnTo>
                      <a:pt x="245268" y="602456"/>
                    </a:lnTo>
                    <a:lnTo>
                      <a:pt x="264318" y="585788"/>
                    </a:lnTo>
                    <a:lnTo>
                      <a:pt x="311943" y="602456"/>
                    </a:lnTo>
                    <a:lnTo>
                      <a:pt x="369093" y="573881"/>
                    </a:lnTo>
                    <a:lnTo>
                      <a:pt x="457200" y="545306"/>
                    </a:lnTo>
                    <a:lnTo>
                      <a:pt x="538162" y="578644"/>
                    </a:lnTo>
                    <a:lnTo>
                      <a:pt x="614362" y="550069"/>
                    </a:lnTo>
                    <a:lnTo>
                      <a:pt x="650081" y="552450"/>
                    </a:lnTo>
                    <a:lnTo>
                      <a:pt x="654843" y="523875"/>
                    </a:lnTo>
                    <a:lnTo>
                      <a:pt x="654843" y="490538"/>
                    </a:lnTo>
                    <a:lnTo>
                      <a:pt x="669131" y="469106"/>
                    </a:lnTo>
                    <a:lnTo>
                      <a:pt x="652462" y="450056"/>
                    </a:lnTo>
                    <a:lnTo>
                      <a:pt x="642937" y="411956"/>
                    </a:lnTo>
                    <a:lnTo>
                      <a:pt x="642937" y="330994"/>
                    </a:lnTo>
                    <a:lnTo>
                      <a:pt x="633412" y="319088"/>
                    </a:lnTo>
                    <a:lnTo>
                      <a:pt x="664368" y="285750"/>
                    </a:lnTo>
                    <a:lnTo>
                      <a:pt x="721518" y="292894"/>
                    </a:lnTo>
                    <a:lnTo>
                      <a:pt x="733425" y="264319"/>
                    </a:lnTo>
                    <a:lnTo>
                      <a:pt x="731043" y="228600"/>
                    </a:lnTo>
                    <a:lnTo>
                      <a:pt x="790575" y="192881"/>
                    </a:lnTo>
                    <a:lnTo>
                      <a:pt x="804862" y="166688"/>
                    </a:lnTo>
                    <a:lnTo>
                      <a:pt x="778668" y="128588"/>
                    </a:lnTo>
                    <a:lnTo>
                      <a:pt x="771525" y="104775"/>
                    </a:lnTo>
                    <a:lnTo>
                      <a:pt x="823912" y="97631"/>
                    </a:lnTo>
                    <a:lnTo>
                      <a:pt x="869156" y="52388"/>
                    </a:lnTo>
                    <a:lnTo>
                      <a:pt x="890587" y="23813"/>
                    </a:lnTo>
                    <a:lnTo>
                      <a:pt x="923925" y="9525"/>
                    </a:lnTo>
                    <a:lnTo>
                      <a:pt x="971550" y="0"/>
                    </a:lnTo>
                    <a:lnTo>
                      <a:pt x="971550" y="40481"/>
                    </a:lnTo>
                    <a:lnTo>
                      <a:pt x="950118" y="80963"/>
                    </a:lnTo>
                    <a:lnTo>
                      <a:pt x="950118" y="140494"/>
                    </a:lnTo>
                    <a:lnTo>
                      <a:pt x="969168" y="161925"/>
                    </a:lnTo>
                    <a:lnTo>
                      <a:pt x="1007268" y="188119"/>
                    </a:lnTo>
                    <a:lnTo>
                      <a:pt x="1019175" y="216694"/>
                    </a:lnTo>
                    <a:lnTo>
                      <a:pt x="1004887" y="226219"/>
                    </a:lnTo>
                    <a:lnTo>
                      <a:pt x="1057275" y="250031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  <a:headEnd type="triangle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0" name="Figura a mano libera 189"/>
              <p:cNvSpPr/>
              <p:nvPr/>
            </p:nvSpPr>
            <p:spPr bwMode="auto">
              <a:xfrm>
                <a:off x="2398314" y="1534824"/>
                <a:ext cx="1046269" cy="930968"/>
              </a:xfrm>
              <a:custGeom>
                <a:avLst/>
                <a:gdLst>
                  <a:gd name="connsiteX0" fmla="*/ 147638 w 1395413"/>
                  <a:gd name="connsiteY0" fmla="*/ 302419 h 1247775"/>
                  <a:gd name="connsiteX1" fmla="*/ 204788 w 1395413"/>
                  <a:gd name="connsiteY1" fmla="*/ 314325 h 1247775"/>
                  <a:gd name="connsiteX2" fmla="*/ 216694 w 1395413"/>
                  <a:gd name="connsiteY2" fmla="*/ 335756 h 1247775"/>
                  <a:gd name="connsiteX3" fmla="*/ 180975 w 1395413"/>
                  <a:gd name="connsiteY3" fmla="*/ 369094 h 1247775"/>
                  <a:gd name="connsiteX4" fmla="*/ 233363 w 1395413"/>
                  <a:gd name="connsiteY4" fmla="*/ 402431 h 1247775"/>
                  <a:gd name="connsiteX5" fmla="*/ 221456 w 1395413"/>
                  <a:gd name="connsiteY5" fmla="*/ 431006 h 1247775"/>
                  <a:gd name="connsiteX6" fmla="*/ 202406 w 1395413"/>
                  <a:gd name="connsiteY6" fmla="*/ 461963 h 1247775"/>
                  <a:gd name="connsiteX7" fmla="*/ 252413 w 1395413"/>
                  <a:gd name="connsiteY7" fmla="*/ 488156 h 1247775"/>
                  <a:gd name="connsiteX8" fmla="*/ 304800 w 1395413"/>
                  <a:gd name="connsiteY8" fmla="*/ 471488 h 1247775"/>
                  <a:gd name="connsiteX9" fmla="*/ 307181 w 1395413"/>
                  <a:gd name="connsiteY9" fmla="*/ 450056 h 1247775"/>
                  <a:gd name="connsiteX10" fmla="*/ 290513 w 1395413"/>
                  <a:gd name="connsiteY10" fmla="*/ 421481 h 1247775"/>
                  <a:gd name="connsiteX11" fmla="*/ 257175 w 1395413"/>
                  <a:gd name="connsiteY11" fmla="*/ 400050 h 1247775"/>
                  <a:gd name="connsiteX12" fmla="*/ 292894 w 1395413"/>
                  <a:gd name="connsiteY12" fmla="*/ 383381 h 1247775"/>
                  <a:gd name="connsiteX13" fmla="*/ 271463 w 1395413"/>
                  <a:gd name="connsiteY13" fmla="*/ 342900 h 1247775"/>
                  <a:gd name="connsiteX14" fmla="*/ 321469 w 1395413"/>
                  <a:gd name="connsiteY14" fmla="*/ 338138 h 1247775"/>
                  <a:gd name="connsiteX15" fmla="*/ 321469 w 1395413"/>
                  <a:gd name="connsiteY15" fmla="*/ 297656 h 1247775"/>
                  <a:gd name="connsiteX16" fmla="*/ 411956 w 1395413"/>
                  <a:gd name="connsiteY16" fmla="*/ 219075 h 1247775"/>
                  <a:gd name="connsiteX17" fmla="*/ 423863 w 1395413"/>
                  <a:gd name="connsiteY17" fmla="*/ 147638 h 1247775"/>
                  <a:gd name="connsiteX18" fmla="*/ 433388 w 1395413"/>
                  <a:gd name="connsiteY18" fmla="*/ 109538 h 1247775"/>
                  <a:gd name="connsiteX19" fmla="*/ 414338 w 1395413"/>
                  <a:gd name="connsiteY19" fmla="*/ 92869 h 1247775"/>
                  <a:gd name="connsiteX20" fmla="*/ 433388 w 1395413"/>
                  <a:gd name="connsiteY20" fmla="*/ 71438 h 1247775"/>
                  <a:gd name="connsiteX21" fmla="*/ 440531 w 1395413"/>
                  <a:gd name="connsiteY21" fmla="*/ 54769 h 1247775"/>
                  <a:gd name="connsiteX22" fmla="*/ 483394 w 1395413"/>
                  <a:gd name="connsiteY22" fmla="*/ 61913 h 1247775"/>
                  <a:gd name="connsiteX23" fmla="*/ 483394 w 1395413"/>
                  <a:gd name="connsiteY23" fmla="*/ 80963 h 1247775"/>
                  <a:gd name="connsiteX24" fmla="*/ 521494 w 1395413"/>
                  <a:gd name="connsiteY24" fmla="*/ 71438 h 1247775"/>
                  <a:gd name="connsiteX25" fmla="*/ 526256 w 1395413"/>
                  <a:gd name="connsiteY25" fmla="*/ 100013 h 1247775"/>
                  <a:gd name="connsiteX26" fmla="*/ 507206 w 1395413"/>
                  <a:gd name="connsiteY26" fmla="*/ 128588 h 1247775"/>
                  <a:gd name="connsiteX27" fmla="*/ 564356 w 1395413"/>
                  <a:gd name="connsiteY27" fmla="*/ 190500 h 1247775"/>
                  <a:gd name="connsiteX28" fmla="*/ 626269 w 1395413"/>
                  <a:gd name="connsiteY28" fmla="*/ 204788 h 1247775"/>
                  <a:gd name="connsiteX29" fmla="*/ 635794 w 1395413"/>
                  <a:gd name="connsiteY29" fmla="*/ 173831 h 1247775"/>
                  <a:gd name="connsiteX30" fmla="*/ 671513 w 1395413"/>
                  <a:gd name="connsiteY30" fmla="*/ 173831 h 1247775"/>
                  <a:gd name="connsiteX31" fmla="*/ 726281 w 1395413"/>
                  <a:gd name="connsiteY31" fmla="*/ 164306 h 1247775"/>
                  <a:gd name="connsiteX32" fmla="*/ 738188 w 1395413"/>
                  <a:gd name="connsiteY32" fmla="*/ 157163 h 1247775"/>
                  <a:gd name="connsiteX33" fmla="*/ 738188 w 1395413"/>
                  <a:gd name="connsiteY33" fmla="*/ 157163 h 1247775"/>
                  <a:gd name="connsiteX34" fmla="*/ 766763 w 1395413"/>
                  <a:gd name="connsiteY34" fmla="*/ 183356 h 1247775"/>
                  <a:gd name="connsiteX35" fmla="*/ 752475 w 1395413"/>
                  <a:gd name="connsiteY35" fmla="*/ 207169 h 1247775"/>
                  <a:gd name="connsiteX36" fmla="*/ 778669 w 1395413"/>
                  <a:gd name="connsiteY36" fmla="*/ 233363 h 1247775"/>
                  <a:gd name="connsiteX37" fmla="*/ 778669 w 1395413"/>
                  <a:gd name="connsiteY37" fmla="*/ 252413 h 1247775"/>
                  <a:gd name="connsiteX38" fmla="*/ 778669 w 1395413"/>
                  <a:gd name="connsiteY38" fmla="*/ 252413 h 1247775"/>
                  <a:gd name="connsiteX39" fmla="*/ 862013 w 1395413"/>
                  <a:gd name="connsiteY39" fmla="*/ 257175 h 1247775"/>
                  <a:gd name="connsiteX40" fmla="*/ 826294 w 1395413"/>
                  <a:gd name="connsiteY40" fmla="*/ 197644 h 1247775"/>
                  <a:gd name="connsiteX41" fmla="*/ 833438 w 1395413"/>
                  <a:gd name="connsiteY41" fmla="*/ 169069 h 1247775"/>
                  <a:gd name="connsiteX42" fmla="*/ 845344 w 1395413"/>
                  <a:gd name="connsiteY42" fmla="*/ 130969 h 1247775"/>
                  <a:gd name="connsiteX43" fmla="*/ 788194 w 1395413"/>
                  <a:gd name="connsiteY43" fmla="*/ 123825 h 1247775"/>
                  <a:gd name="connsiteX44" fmla="*/ 792956 w 1395413"/>
                  <a:gd name="connsiteY44" fmla="*/ 57150 h 1247775"/>
                  <a:gd name="connsiteX45" fmla="*/ 812006 w 1395413"/>
                  <a:gd name="connsiteY45" fmla="*/ 26194 h 1247775"/>
                  <a:gd name="connsiteX46" fmla="*/ 866775 w 1395413"/>
                  <a:gd name="connsiteY46" fmla="*/ 0 h 1247775"/>
                  <a:gd name="connsiteX47" fmla="*/ 892969 w 1395413"/>
                  <a:gd name="connsiteY47" fmla="*/ 0 h 1247775"/>
                  <a:gd name="connsiteX48" fmla="*/ 895350 w 1395413"/>
                  <a:gd name="connsiteY48" fmla="*/ 40481 h 1247775"/>
                  <a:gd name="connsiteX49" fmla="*/ 976313 w 1395413"/>
                  <a:gd name="connsiteY49" fmla="*/ 66675 h 1247775"/>
                  <a:gd name="connsiteX50" fmla="*/ 1004888 w 1395413"/>
                  <a:gd name="connsiteY50" fmla="*/ 69056 h 1247775"/>
                  <a:gd name="connsiteX51" fmla="*/ 1019175 w 1395413"/>
                  <a:gd name="connsiteY51" fmla="*/ 102394 h 1247775"/>
                  <a:gd name="connsiteX52" fmla="*/ 1057275 w 1395413"/>
                  <a:gd name="connsiteY52" fmla="*/ 109538 h 1247775"/>
                  <a:gd name="connsiteX53" fmla="*/ 1064419 w 1395413"/>
                  <a:gd name="connsiteY53" fmla="*/ 161925 h 1247775"/>
                  <a:gd name="connsiteX54" fmla="*/ 1014413 w 1395413"/>
                  <a:gd name="connsiteY54" fmla="*/ 185738 h 1247775"/>
                  <a:gd name="connsiteX55" fmla="*/ 1040606 w 1395413"/>
                  <a:gd name="connsiteY55" fmla="*/ 240506 h 1247775"/>
                  <a:gd name="connsiteX56" fmla="*/ 1040606 w 1395413"/>
                  <a:gd name="connsiteY56" fmla="*/ 271463 h 1247775"/>
                  <a:gd name="connsiteX57" fmla="*/ 1031081 w 1395413"/>
                  <a:gd name="connsiteY57" fmla="*/ 304800 h 1247775"/>
                  <a:gd name="connsiteX58" fmla="*/ 1007269 w 1395413"/>
                  <a:gd name="connsiteY58" fmla="*/ 354806 h 1247775"/>
                  <a:gd name="connsiteX59" fmla="*/ 978694 w 1395413"/>
                  <a:gd name="connsiteY59" fmla="*/ 397669 h 1247775"/>
                  <a:gd name="connsiteX60" fmla="*/ 976313 w 1395413"/>
                  <a:gd name="connsiteY60" fmla="*/ 435769 h 1247775"/>
                  <a:gd name="connsiteX61" fmla="*/ 985838 w 1395413"/>
                  <a:gd name="connsiteY61" fmla="*/ 445294 h 1247775"/>
                  <a:gd name="connsiteX62" fmla="*/ 997744 w 1395413"/>
                  <a:gd name="connsiteY62" fmla="*/ 497681 h 1247775"/>
                  <a:gd name="connsiteX63" fmla="*/ 1028700 w 1395413"/>
                  <a:gd name="connsiteY63" fmla="*/ 545306 h 1247775"/>
                  <a:gd name="connsiteX64" fmla="*/ 1078706 w 1395413"/>
                  <a:gd name="connsiteY64" fmla="*/ 528638 h 1247775"/>
                  <a:gd name="connsiteX65" fmla="*/ 1178719 w 1395413"/>
                  <a:gd name="connsiteY65" fmla="*/ 538163 h 1247775"/>
                  <a:gd name="connsiteX66" fmla="*/ 1143000 w 1395413"/>
                  <a:gd name="connsiteY66" fmla="*/ 559594 h 1247775"/>
                  <a:gd name="connsiteX67" fmla="*/ 1102519 w 1395413"/>
                  <a:gd name="connsiteY67" fmla="*/ 609600 h 1247775"/>
                  <a:gd name="connsiteX68" fmla="*/ 1081088 w 1395413"/>
                  <a:gd name="connsiteY68" fmla="*/ 638175 h 1247775"/>
                  <a:gd name="connsiteX69" fmla="*/ 1050131 w 1395413"/>
                  <a:gd name="connsiteY69" fmla="*/ 683419 h 1247775"/>
                  <a:gd name="connsiteX70" fmla="*/ 1050131 w 1395413"/>
                  <a:gd name="connsiteY70" fmla="*/ 745331 h 1247775"/>
                  <a:gd name="connsiteX71" fmla="*/ 1057275 w 1395413"/>
                  <a:gd name="connsiteY71" fmla="*/ 783431 h 1247775"/>
                  <a:gd name="connsiteX72" fmla="*/ 1090613 w 1395413"/>
                  <a:gd name="connsiteY72" fmla="*/ 781050 h 1247775"/>
                  <a:gd name="connsiteX73" fmla="*/ 1069181 w 1395413"/>
                  <a:gd name="connsiteY73" fmla="*/ 828675 h 1247775"/>
                  <a:gd name="connsiteX74" fmla="*/ 1071563 w 1395413"/>
                  <a:gd name="connsiteY74" fmla="*/ 881063 h 1247775"/>
                  <a:gd name="connsiteX75" fmla="*/ 1092994 w 1395413"/>
                  <a:gd name="connsiteY75" fmla="*/ 881063 h 1247775"/>
                  <a:gd name="connsiteX76" fmla="*/ 1097756 w 1395413"/>
                  <a:gd name="connsiteY76" fmla="*/ 850106 h 1247775"/>
                  <a:gd name="connsiteX77" fmla="*/ 1171575 w 1395413"/>
                  <a:gd name="connsiteY77" fmla="*/ 928688 h 1247775"/>
                  <a:gd name="connsiteX78" fmla="*/ 1228725 w 1395413"/>
                  <a:gd name="connsiteY78" fmla="*/ 976313 h 1247775"/>
                  <a:gd name="connsiteX79" fmla="*/ 1223963 w 1395413"/>
                  <a:gd name="connsiteY79" fmla="*/ 1000125 h 1247775"/>
                  <a:gd name="connsiteX80" fmla="*/ 1252538 w 1395413"/>
                  <a:gd name="connsiteY80" fmla="*/ 1019175 h 1247775"/>
                  <a:gd name="connsiteX81" fmla="*/ 1288256 w 1395413"/>
                  <a:gd name="connsiteY81" fmla="*/ 1007269 h 1247775"/>
                  <a:gd name="connsiteX82" fmla="*/ 1307306 w 1395413"/>
                  <a:gd name="connsiteY82" fmla="*/ 1007269 h 1247775"/>
                  <a:gd name="connsiteX83" fmla="*/ 1321594 w 1395413"/>
                  <a:gd name="connsiteY83" fmla="*/ 1059656 h 1247775"/>
                  <a:gd name="connsiteX84" fmla="*/ 1395413 w 1395413"/>
                  <a:gd name="connsiteY84" fmla="*/ 1102519 h 1247775"/>
                  <a:gd name="connsiteX85" fmla="*/ 1364456 w 1395413"/>
                  <a:gd name="connsiteY85" fmla="*/ 1114425 h 1247775"/>
                  <a:gd name="connsiteX86" fmla="*/ 1314450 w 1395413"/>
                  <a:gd name="connsiteY86" fmla="*/ 1114425 h 1247775"/>
                  <a:gd name="connsiteX87" fmla="*/ 1254919 w 1395413"/>
                  <a:gd name="connsiteY87" fmla="*/ 1107281 h 1247775"/>
                  <a:gd name="connsiteX88" fmla="*/ 1216819 w 1395413"/>
                  <a:gd name="connsiteY88" fmla="*/ 1112044 h 1247775"/>
                  <a:gd name="connsiteX89" fmla="*/ 1181100 w 1395413"/>
                  <a:gd name="connsiteY89" fmla="*/ 1138238 h 1247775"/>
                  <a:gd name="connsiteX90" fmla="*/ 1116806 w 1395413"/>
                  <a:gd name="connsiteY90" fmla="*/ 1123950 h 1247775"/>
                  <a:gd name="connsiteX91" fmla="*/ 1071563 w 1395413"/>
                  <a:gd name="connsiteY91" fmla="*/ 1081088 h 1247775"/>
                  <a:gd name="connsiteX92" fmla="*/ 1012031 w 1395413"/>
                  <a:gd name="connsiteY92" fmla="*/ 1140619 h 1247775"/>
                  <a:gd name="connsiteX93" fmla="*/ 847725 w 1395413"/>
                  <a:gd name="connsiteY93" fmla="*/ 1066800 h 1247775"/>
                  <a:gd name="connsiteX94" fmla="*/ 823913 w 1395413"/>
                  <a:gd name="connsiteY94" fmla="*/ 1054894 h 1247775"/>
                  <a:gd name="connsiteX95" fmla="*/ 823913 w 1395413"/>
                  <a:gd name="connsiteY95" fmla="*/ 1038225 h 1247775"/>
                  <a:gd name="connsiteX96" fmla="*/ 776288 w 1395413"/>
                  <a:gd name="connsiteY96" fmla="*/ 1040606 h 1247775"/>
                  <a:gd name="connsiteX97" fmla="*/ 747713 w 1395413"/>
                  <a:gd name="connsiteY97" fmla="*/ 1023938 h 1247775"/>
                  <a:gd name="connsiteX98" fmla="*/ 752475 w 1395413"/>
                  <a:gd name="connsiteY98" fmla="*/ 997744 h 1247775"/>
                  <a:gd name="connsiteX99" fmla="*/ 740569 w 1395413"/>
                  <a:gd name="connsiteY99" fmla="*/ 971550 h 1247775"/>
                  <a:gd name="connsiteX100" fmla="*/ 678656 w 1395413"/>
                  <a:gd name="connsiteY100" fmla="*/ 1000125 h 1247775"/>
                  <a:gd name="connsiteX101" fmla="*/ 678656 w 1395413"/>
                  <a:gd name="connsiteY101" fmla="*/ 976313 h 1247775"/>
                  <a:gd name="connsiteX102" fmla="*/ 650081 w 1395413"/>
                  <a:gd name="connsiteY102" fmla="*/ 997744 h 1247775"/>
                  <a:gd name="connsiteX103" fmla="*/ 621506 w 1395413"/>
                  <a:gd name="connsiteY103" fmla="*/ 1000125 h 1247775"/>
                  <a:gd name="connsiteX104" fmla="*/ 602456 w 1395413"/>
                  <a:gd name="connsiteY104" fmla="*/ 997744 h 1247775"/>
                  <a:gd name="connsiteX105" fmla="*/ 600075 w 1395413"/>
                  <a:gd name="connsiteY105" fmla="*/ 978694 h 1247775"/>
                  <a:gd name="connsiteX106" fmla="*/ 578644 w 1395413"/>
                  <a:gd name="connsiteY106" fmla="*/ 1009650 h 1247775"/>
                  <a:gd name="connsiteX107" fmla="*/ 533400 w 1395413"/>
                  <a:gd name="connsiteY107" fmla="*/ 1012031 h 1247775"/>
                  <a:gd name="connsiteX108" fmla="*/ 490538 w 1395413"/>
                  <a:gd name="connsiteY108" fmla="*/ 1004888 h 1247775"/>
                  <a:gd name="connsiteX109" fmla="*/ 485775 w 1395413"/>
                  <a:gd name="connsiteY109" fmla="*/ 971550 h 1247775"/>
                  <a:gd name="connsiteX110" fmla="*/ 461963 w 1395413"/>
                  <a:gd name="connsiteY110" fmla="*/ 971550 h 1247775"/>
                  <a:gd name="connsiteX111" fmla="*/ 381000 w 1395413"/>
                  <a:gd name="connsiteY111" fmla="*/ 1047750 h 1247775"/>
                  <a:gd name="connsiteX112" fmla="*/ 381000 w 1395413"/>
                  <a:gd name="connsiteY112" fmla="*/ 1112044 h 1247775"/>
                  <a:gd name="connsiteX113" fmla="*/ 407194 w 1395413"/>
                  <a:gd name="connsiteY113" fmla="*/ 1126331 h 1247775"/>
                  <a:gd name="connsiteX114" fmla="*/ 383381 w 1395413"/>
                  <a:gd name="connsiteY114" fmla="*/ 1152525 h 1247775"/>
                  <a:gd name="connsiteX115" fmla="*/ 359569 w 1395413"/>
                  <a:gd name="connsiteY115" fmla="*/ 1188244 h 1247775"/>
                  <a:gd name="connsiteX116" fmla="*/ 392906 w 1395413"/>
                  <a:gd name="connsiteY116" fmla="*/ 1216819 h 1247775"/>
                  <a:gd name="connsiteX117" fmla="*/ 366713 w 1395413"/>
                  <a:gd name="connsiteY117" fmla="*/ 1247775 h 1247775"/>
                  <a:gd name="connsiteX118" fmla="*/ 314325 w 1395413"/>
                  <a:gd name="connsiteY118" fmla="*/ 1214438 h 1247775"/>
                  <a:gd name="connsiteX119" fmla="*/ 309563 w 1395413"/>
                  <a:gd name="connsiteY119" fmla="*/ 1152525 h 1247775"/>
                  <a:gd name="connsiteX120" fmla="*/ 280988 w 1395413"/>
                  <a:gd name="connsiteY120" fmla="*/ 1166813 h 1247775"/>
                  <a:gd name="connsiteX121" fmla="*/ 250031 w 1395413"/>
                  <a:gd name="connsiteY121" fmla="*/ 1054894 h 1247775"/>
                  <a:gd name="connsiteX122" fmla="*/ 190500 w 1395413"/>
                  <a:gd name="connsiteY122" fmla="*/ 978694 h 1247775"/>
                  <a:gd name="connsiteX123" fmla="*/ 92869 w 1395413"/>
                  <a:gd name="connsiteY123" fmla="*/ 1009650 h 1247775"/>
                  <a:gd name="connsiteX124" fmla="*/ 71438 w 1395413"/>
                  <a:gd name="connsiteY124" fmla="*/ 962025 h 1247775"/>
                  <a:gd name="connsiteX125" fmla="*/ 28575 w 1395413"/>
                  <a:gd name="connsiteY125" fmla="*/ 914400 h 1247775"/>
                  <a:gd name="connsiteX126" fmla="*/ 23813 w 1395413"/>
                  <a:gd name="connsiteY126" fmla="*/ 845344 h 1247775"/>
                  <a:gd name="connsiteX127" fmla="*/ 0 w 1395413"/>
                  <a:gd name="connsiteY127" fmla="*/ 776288 h 1247775"/>
                  <a:gd name="connsiteX128" fmla="*/ 71438 w 1395413"/>
                  <a:gd name="connsiteY128" fmla="*/ 783431 h 1247775"/>
                  <a:gd name="connsiteX129" fmla="*/ 121444 w 1395413"/>
                  <a:gd name="connsiteY129" fmla="*/ 776288 h 1247775"/>
                  <a:gd name="connsiteX130" fmla="*/ 159544 w 1395413"/>
                  <a:gd name="connsiteY130" fmla="*/ 776288 h 1247775"/>
                  <a:gd name="connsiteX131" fmla="*/ 173831 w 1395413"/>
                  <a:gd name="connsiteY131" fmla="*/ 745331 h 1247775"/>
                  <a:gd name="connsiteX132" fmla="*/ 154781 w 1395413"/>
                  <a:gd name="connsiteY132" fmla="*/ 704850 h 1247775"/>
                  <a:gd name="connsiteX133" fmla="*/ 133350 w 1395413"/>
                  <a:gd name="connsiteY133" fmla="*/ 704850 h 1247775"/>
                  <a:gd name="connsiteX134" fmla="*/ 123825 w 1395413"/>
                  <a:gd name="connsiteY134" fmla="*/ 642938 h 1247775"/>
                  <a:gd name="connsiteX135" fmla="*/ 95250 w 1395413"/>
                  <a:gd name="connsiteY135" fmla="*/ 621506 h 1247775"/>
                  <a:gd name="connsiteX136" fmla="*/ 133350 w 1395413"/>
                  <a:gd name="connsiteY136" fmla="*/ 573881 h 1247775"/>
                  <a:gd name="connsiteX137" fmla="*/ 83344 w 1395413"/>
                  <a:gd name="connsiteY137" fmla="*/ 573881 h 1247775"/>
                  <a:gd name="connsiteX138" fmla="*/ 59531 w 1395413"/>
                  <a:gd name="connsiteY138" fmla="*/ 550069 h 1247775"/>
                  <a:gd name="connsiteX139" fmla="*/ 83344 w 1395413"/>
                  <a:gd name="connsiteY139" fmla="*/ 478631 h 1247775"/>
                  <a:gd name="connsiteX140" fmla="*/ 54769 w 1395413"/>
                  <a:gd name="connsiteY140" fmla="*/ 440531 h 1247775"/>
                  <a:gd name="connsiteX141" fmla="*/ 97631 w 1395413"/>
                  <a:gd name="connsiteY141" fmla="*/ 395288 h 1247775"/>
                  <a:gd name="connsiteX142" fmla="*/ 147638 w 1395413"/>
                  <a:gd name="connsiteY142" fmla="*/ 373856 h 1247775"/>
                  <a:gd name="connsiteX143" fmla="*/ 147638 w 1395413"/>
                  <a:gd name="connsiteY143" fmla="*/ 302419 h 124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</a:cxnLst>
                <a:rect l="l" t="t" r="r" b="b"/>
                <a:pathLst>
                  <a:path w="1395413" h="1247775">
                    <a:moveTo>
                      <a:pt x="147638" y="302419"/>
                    </a:moveTo>
                    <a:lnTo>
                      <a:pt x="204788" y="314325"/>
                    </a:lnTo>
                    <a:lnTo>
                      <a:pt x="216694" y="335756"/>
                    </a:lnTo>
                    <a:lnTo>
                      <a:pt x="180975" y="369094"/>
                    </a:lnTo>
                    <a:lnTo>
                      <a:pt x="233363" y="402431"/>
                    </a:lnTo>
                    <a:lnTo>
                      <a:pt x="221456" y="431006"/>
                    </a:lnTo>
                    <a:lnTo>
                      <a:pt x="202406" y="461963"/>
                    </a:lnTo>
                    <a:lnTo>
                      <a:pt x="252413" y="488156"/>
                    </a:lnTo>
                    <a:lnTo>
                      <a:pt x="304800" y="471488"/>
                    </a:lnTo>
                    <a:lnTo>
                      <a:pt x="307181" y="450056"/>
                    </a:lnTo>
                    <a:lnTo>
                      <a:pt x="290513" y="421481"/>
                    </a:lnTo>
                    <a:lnTo>
                      <a:pt x="257175" y="400050"/>
                    </a:lnTo>
                    <a:lnTo>
                      <a:pt x="292894" y="383381"/>
                    </a:lnTo>
                    <a:lnTo>
                      <a:pt x="271463" y="342900"/>
                    </a:lnTo>
                    <a:lnTo>
                      <a:pt x="321469" y="338138"/>
                    </a:lnTo>
                    <a:lnTo>
                      <a:pt x="321469" y="297656"/>
                    </a:lnTo>
                    <a:lnTo>
                      <a:pt x="411956" y="219075"/>
                    </a:lnTo>
                    <a:lnTo>
                      <a:pt x="423863" y="147638"/>
                    </a:lnTo>
                    <a:lnTo>
                      <a:pt x="433388" y="109538"/>
                    </a:lnTo>
                    <a:lnTo>
                      <a:pt x="414338" y="92869"/>
                    </a:lnTo>
                    <a:lnTo>
                      <a:pt x="433388" y="71438"/>
                    </a:lnTo>
                    <a:lnTo>
                      <a:pt x="440531" y="54769"/>
                    </a:lnTo>
                    <a:lnTo>
                      <a:pt x="483394" y="61913"/>
                    </a:lnTo>
                    <a:lnTo>
                      <a:pt x="483394" y="80963"/>
                    </a:lnTo>
                    <a:lnTo>
                      <a:pt x="521494" y="71438"/>
                    </a:lnTo>
                    <a:lnTo>
                      <a:pt x="526256" y="100013"/>
                    </a:lnTo>
                    <a:lnTo>
                      <a:pt x="507206" y="128588"/>
                    </a:lnTo>
                    <a:lnTo>
                      <a:pt x="564356" y="190500"/>
                    </a:lnTo>
                    <a:lnTo>
                      <a:pt x="626269" y="204788"/>
                    </a:lnTo>
                    <a:lnTo>
                      <a:pt x="635794" y="173831"/>
                    </a:lnTo>
                    <a:lnTo>
                      <a:pt x="671513" y="173831"/>
                    </a:lnTo>
                    <a:lnTo>
                      <a:pt x="726281" y="164306"/>
                    </a:lnTo>
                    <a:lnTo>
                      <a:pt x="738188" y="157163"/>
                    </a:lnTo>
                    <a:lnTo>
                      <a:pt x="738188" y="157163"/>
                    </a:lnTo>
                    <a:lnTo>
                      <a:pt x="766763" y="183356"/>
                    </a:lnTo>
                    <a:lnTo>
                      <a:pt x="752475" y="207169"/>
                    </a:lnTo>
                    <a:lnTo>
                      <a:pt x="778669" y="233363"/>
                    </a:lnTo>
                    <a:lnTo>
                      <a:pt x="778669" y="252413"/>
                    </a:lnTo>
                    <a:lnTo>
                      <a:pt x="778669" y="252413"/>
                    </a:lnTo>
                    <a:lnTo>
                      <a:pt x="862013" y="257175"/>
                    </a:lnTo>
                    <a:lnTo>
                      <a:pt x="826294" y="197644"/>
                    </a:lnTo>
                    <a:lnTo>
                      <a:pt x="833438" y="169069"/>
                    </a:lnTo>
                    <a:lnTo>
                      <a:pt x="845344" y="130969"/>
                    </a:lnTo>
                    <a:lnTo>
                      <a:pt x="788194" y="123825"/>
                    </a:lnTo>
                    <a:lnTo>
                      <a:pt x="792956" y="57150"/>
                    </a:lnTo>
                    <a:lnTo>
                      <a:pt x="812006" y="26194"/>
                    </a:lnTo>
                    <a:lnTo>
                      <a:pt x="866775" y="0"/>
                    </a:lnTo>
                    <a:lnTo>
                      <a:pt x="892969" y="0"/>
                    </a:lnTo>
                    <a:lnTo>
                      <a:pt x="895350" y="40481"/>
                    </a:lnTo>
                    <a:lnTo>
                      <a:pt x="976313" y="66675"/>
                    </a:lnTo>
                    <a:lnTo>
                      <a:pt x="1004888" y="69056"/>
                    </a:lnTo>
                    <a:lnTo>
                      <a:pt x="1019175" y="102394"/>
                    </a:lnTo>
                    <a:lnTo>
                      <a:pt x="1057275" y="109538"/>
                    </a:lnTo>
                    <a:lnTo>
                      <a:pt x="1064419" y="161925"/>
                    </a:lnTo>
                    <a:lnTo>
                      <a:pt x="1014413" y="185738"/>
                    </a:lnTo>
                    <a:lnTo>
                      <a:pt x="1040606" y="240506"/>
                    </a:lnTo>
                    <a:lnTo>
                      <a:pt x="1040606" y="271463"/>
                    </a:lnTo>
                    <a:lnTo>
                      <a:pt x="1031081" y="304800"/>
                    </a:lnTo>
                    <a:lnTo>
                      <a:pt x="1007269" y="354806"/>
                    </a:lnTo>
                    <a:lnTo>
                      <a:pt x="978694" y="397669"/>
                    </a:lnTo>
                    <a:lnTo>
                      <a:pt x="976313" y="435769"/>
                    </a:lnTo>
                    <a:lnTo>
                      <a:pt x="985838" y="445294"/>
                    </a:lnTo>
                    <a:lnTo>
                      <a:pt x="997744" y="497681"/>
                    </a:lnTo>
                    <a:lnTo>
                      <a:pt x="1028700" y="545306"/>
                    </a:lnTo>
                    <a:lnTo>
                      <a:pt x="1078706" y="528638"/>
                    </a:lnTo>
                    <a:lnTo>
                      <a:pt x="1178719" y="538163"/>
                    </a:lnTo>
                    <a:lnTo>
                      <a:pt x="1143000" y="559594"/>
                    </a:lnTo>
                    <a:lnTo>
                      <a:pt x="1102519" y="609600"/>
                    </a:lnTo>
                    <a:lnTo>
                      <a:pt x="1081088" y="638175"/>
                    </a:lnTo>
                    <a:lnTo>
                      <a:pt x="1050131" y="683419"/>
                    </a:lnTo>
                    <a:lnTo>
                      <a:pt x="1050131" y="745331"/>
                    </a:lnTo>
                    <a:lnTo>
                      <a:pt x="1057275" y="783431"/>
                    </a:lnTo>
                    <a:lnTo>
                      <a:pt x="1090613" y="781050"/>
                    </a:lnTo>
                    <a:lnTo>
                      <a:pt x="1069181" y="828675"/>
                    </a:lnTo>
                    <a:lnTo>
                      <a:pt x="1071563" y="881063"/>
                    </a:lnTo>
                    <a:lnTo>
                      <a:pt x="1092994" y="881063"/>
                    </a:lnTo>
                    <a:lnTo>
                      <a:pt x="1097756" y="850106"/>
                    </a:lnTo>
                    <a:lnTo>
                      <a:pt x="1171575" y="928688"/>
                    </a:lnTo>
                    <a:lnTo>
                      <a:pt x="1228725" y="976313"/>
                    </a:lnTo>
                    <a:lnTo>
                      <a:pt x="1223963" y="1000125"/>
                    </a:lnTo>
                    <a:lnTo>
                      <a:pt x="1252538" y="1019175"/>
                    </a:lnTo>
                    <a:lnTo>
                      <a:pt x="1288256" y="1007269"/>
                    </a:lnTo>
                    <a:lnTo>
                      <a:pt x="1307306" y="1007269"/>
                    </a:lnTo>
                    <a:lnTo>
                      <a:pt x="1321594" y="1059656"/>
                    </a:lnTo>
                    <a:lnTo>
                      <a:pt x="1395413" y="1102519"/>
                    </a:lnTo>
                    <a:lnTo>
                      <a:pt x="1364456" y="1114425"/>
                    </a:lnTo>
                    <a:lnTo>
                      <a:pt x="1314450" y="1114425"/>
                    </a:lnTo>
                    <a:lnTo>
                      <a:pt x="1254919" y="1107281"/>
                    </a:lnTo>
                    <a:lnTo>
                      <a:pt x="1216819" y="1112044"/>
                    </a:lnTo>
                    <a:lnTo>
                      <a:pt x="1181100" y="1138238"/>
                    </a:lnTo>
                    <a:lnTo>
                      <a:pt x="1116806" y="1123950"/>
                    </a:lnTo>
                    <a:lnTo>
                      <a:pt x="1071563" y="1081088"/>
                    </a:lnTo>
                    <a:lnTo>
                      <a:pt x="1012031" y="1140619"/>
                    </a:lnTo>
                    <a:lnTo>
                      <a:pt x="847725" y="1066800"/>
                    </a:lnTo>
                    <a:lnTo>
                      <a:pt x="823913" y="1054894"/>
                    </a:lnTo>
                    <a:lnTo>
                      <a:pt x="823913" y="1038225"/>
                    </a:lnTo>
                    <a:lnTo>
                      <a:pt x="776288" y="1040606"/>
                    </a:lnTo>
                    <a:lnTo>
                      <a:pt x="747713" y="1023938"/>
                    </a:lnTo>
                    <a:lnTo>
                      <a:pt x="752475" y="997744"/>
                    </a:lnTo>
                    <a:lnTo>
                      <a:pt x="740569" y="971550"/>
                    </a:lnTo>
                    <a:lnTo>
                      <a:pt x="678656" y="1000125"/>
                    </a:lnTo>
                    <a:lnTo>
                      <a:pt x="678656" y="976313"/>
                    </a:lnTo>
                    <a:lnTo>
                      <a:pt x="650081" y="997744"/>
                    </a:lnTo>
                    <a:lnTo>
                      <a:pt x="621506" y="1000125"/>
                    </a:lnTo>
                    <a:lnTo>
                      <a:pt x="602456" y="997744"/>
                    </a:lnTo>
                    <a:lnTo>
                      <a:pt x="600075" y="978694"/>
                    </a:lnTo>
                    <a:lnTo>
                      <a:pt x="578644" y="1009650"/>
                    </a:lnTo>
                    <a:lnTo>
                      <a:pt x="533400" y="1012031"/>
                    </a:lnTo>
                    <a:lnTo>
                      <a:pt x="490538" y="1004888"/>
                    </a:lnTo>
                    <a:lnTo>
                      <a:pt x="485775" y="971550"/>
                    </a:lnTo>
                    <a:lnTo>
                      <a:pt x="461963" y="971550"/>
                    </a:lnTo>
                    <a:lnTo>
                      <a:pt x="381000" y="1047750"/>
                    </a:lnTo>
                    <a:lnTo>
                      <a:pt x="381000" y="1112044"/>
                    </a:lnTo>
                    <a:lnTo>
                      <a:pt x="407194" y="1126331"/>
                    </a:lnTo>
                    <a:lnTo>
                      <a:pt x="383381" y="1152525"/>
                    </a:lnTo>
                    <a:lnTo>
                      <a:pt x="359569" y="1188244"/>
                    </a:lnTo>
                    <a:lnTo>
                      <a:pt x="392906" y="1216819"/>
                    </a:lnTo>
                    <a:lnTo>
                      <a:pt x="366713" y="1247775"/>
                    </a:lnTo>
                    <a:lnTo>
                      <a:pt x="314325" y="1214438"/>
                    </a:lnTo>
                    <a:lnTo>
                      <a:pt x="309563" y="1152525"/>
                    </a:lnTo>
                    <a:lnTo>
                      <a:pt x="280988" y="1166813"/>
                    </a:lnTo>
                    <a:lnTo>
                      <a:pt x="250031" y="1054894"/>
                    </a:lnTo>
                    <a:lnTo>
                      <a:pt x="190500" y="978694"/>
                    </a:lnTo>
                    <a:lnTo>
                      <a:pt x="92869" y="1009650"/>
                    </a:lnTo>
                    <a:lnTo>
                      <a:pt x="71438" y="962025"/>
                    </a:lnTo>
                    <a:lnTo>
                      <a:pt x="28575" y="914400"/>
                    </a:lnTo>
                    <a:lnTo>
                      <a:pt x="23813" y="845344"/>
                    </a:lnTo>
                    <a:lnTo>
                      <a:pt x="0" y="776288"/>
                    </a:lnTo>
                    <a:lnTo>
                      <a:pt x="71438" y="783431"/>
                    </a:lnTo>
                    <a:lnTo>
                      <a:pt x="121444" y="776288"/>
                    </a:lnTo>
                    <a:lnTo>
                      <a:pt x="159544" y="776288"/>
                    </a:lnTo>
                    <a:lnTo>
                      <a:pt x="173831" y="745331"/>
                    </a:lnTo>
                    <a:lnTo>
                      <a:pt x="154781" y="704850"/>
                    </a:lnTo>
                    <a:lnTo>
                      <a:pt x="133350" y="704850"/>
                    </a:lnTo>
                    <a:lnTo>
                      <a:pt x="123825" y="642938"/>
                    </a:lnTo>
                    <a:lnTo>
                      <a:pt x="95250" y="621506"/>
                    </a:lnTo>
                    <a:lnTo>
                      <a:pt x="133350" y="573881"/>
                    </a:lnTo>
                    <a:lnTo>
                      <a:pt x="83344" y="573881"/>
                    </a:lnTo>
                    <a:lnTo>
                      <a:pt x="59531" y="550069"/>
                    </a:lnTo>
                    <a:lnTo>
                      <a:pt x="83344" y="478631"/>
                    </a:lnTo>
                    <a:lnTo>
                      <a:pt x="54769" y="440531"/>
                    </a:lnTo>
                    <a:lnTo>
                      <a:pt x="97631" y="395288"/>
                    </a:lnTo>
                    <a:lnTo>
                      <a:pt x="147638" y="373856"/>
                    </a:lnTo>
                    <a:lnTo>
                      <a:pt x="147638" y="302419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1" name="Figura a mano libera 190"/>
              <p:cNvSpPr/>
              <p:nvPr/>
            </p:nvSpPr>
            <p:spPr bwMode="auto">
              <a:xfrm>
                <a:off x="3126274" y="1334630"/>
                <a:ext cx="741798" cy="669177"/>
              </a:xfrm>
              <a:custGeom>
                <a:avLst/>
                <a:gdLst>
                  <a:gd name="connsiteX0" fmla="*/ 28575 w 990600"/>
                  <a:gd name="connsiteY0" fmla="*/ 326231 h 895350"/>
                  <a:gd name="connsiteX1" fmla="*/ 23812 w 990600"/>
                  <a:gd name="connsiteY1" fmla="*/ 264319 h 895350"/>
                  <a:gd name="connsiteX2" fmla="*/ 0 w 990600"/>
                  <a:gd name="connsiteY2" fmla="*/ 264319 h 895350"/>
                  <a:gd name="connsiteX3" fmla="*/ 0 w 990600"/>
                  <a:gd name="connsiteY3" fmla="*/ 230981 h 895350"/>
                  <a:gd name="connsiteX4" fmla="*/ 30956 w 990600"/>
                  <a:gd name="connsiteY4" fmla="*/ 180975 h 895350"/>
                  <a:gd name="connsiteX5" fmla="*/ 26194 w 990600"/>
                  <a:gd name="connsiteY5" fmla="*/ 145256 h 895350"/>
                  <a:gd name="connsiteX6" fmla="*/ 85725 w 990600"/>
                  <a:gd name="connsiteY6" fmla="*/ 123825 h 895350"/>
                  <a:gd name="connsiteX7" fmla="*/ 133350 w 990600"/>
                  <a:gd name="connsiteY7" fmla="*/ 119063 h 895350"/>
                  <a:gd name="connsiteX8" fmla="*/ 176212 w 990600"/>
                  <a:gd name="connsiteY8" fmla="*/ 157163 h 895350"/>
                  <a:gd name="connsiteX9" fmla="*/ 207169 w 990600"/>
                  <a:gd name="connsiteY9" fmla="*/ 192881 h 895350"/>
                  <a:gd name="connsiteX10" fmla="*/ 238125 w 990600"/>
                  <a:gd name="connsiteY10" fmla="*/ 192881 h 895350"/>
                  <a:gd name="connsiteX11" fmla="*/ 264319 w 990600"/>
                  <a:gd name="connsiteY11" fmla="*/ 173831 h 895350"/>
                  <a:gd name="connsiteX12" fmla="*/ 285750 w 990600"/>
                  <a:gd name="connsiteY12" fmla="*/ 197644 h 895350"/>
                  <a:gd name="connsiteX13" fmla="*/ 316706 w 990600"/>
                  <a:gd name="connsiteY13" fmla="*/ 154781 h 895350"/>
                  <a:gd name="connsiteX14" fmla="*/ 345281 w 990600"/>
                  <a:gd name="connsiteY14" fmla="*/ 109538 h 895350"/>
                  <a:gd name="connsiteX15" fmla="*/ 354806 w 990600"/>
                  <a:gd name="connsiteY15" fmla="*/ 88106 h 895350"/>
                  <a:gd name="connsiteX16" fmla="*/ 416719 w 990600"/>
                  <a:gd name="connsiteY16" fmla="*/ 54769 h 895350"/>
                  <a:gd name="connsiteX17" fmla="*/ 461962 w 990600"/>
                  <a:gd name="connsiteY17" fmla="*/ 54769 h 895350"/>
                  <a:gd name="connsiteX18" fmla="*/ 564356 w 990600"/>
                  <a:gd name="connsiteY18" fmla="*/ 61913 h 895350"/>
                  <a:gd name="connsiteX19" fmla="*/ 590550 w 990600"/>
                  <a:gd name="connsiteY19" fmla="*/ 33338 h 895350"/>
                  <a:gd name="connsiteX20" fmla="*/ 642937 w 990600"/>
                  <a:gd name="connsiteY20" fmla="*/ 69056 h 895350"/>
                  <a:gd name="connsiteX21" fmla="*/ 683419 w 990600"/>
                  <a:gd name="connsiteY21" fmla="*/ 61913 h 895350"/>
                  <a:gd name="connsiteX22" fmla="*/ 719137 w 990600"/>
                  <a:gd name="connsiteY22" fmla="*/ 40481 h 895350"/>
                  <a:gd name="connsiteX23" fmla="*/ 754856 w 990600"/>
                  <a:gd name="connsiteY23" fmla="*/ 21431 h 895350"/>
                  <a:gd name="connsiteX24" fmla="*/ 854869 w 990600"/>
                  <a:gd name="connsiteY24" fmla="*/ 11906 h 895350"/>
                  <a:gd name="connsiteX25" fmla="*/ 892969 w 990600"/>
                  <a:gd name="connsiteY25" fmla="*/ 0 h 895350"/>
                  <a:gd name="connsiteX26" fmla="*/ 873919 w 990600"/>
                  <a:gd name="connsiteY26" fmla="*/ 28575 h 895350"/>
                  <a:gd name="connsiteX27" fmla="*/ 835819 w 990600"/>
                  <a:gd name="connsiteY27" fmla="*/ 47625 h 895350"/>
                  <a:gd name="connsiteX28" fmla="*/ 850106 w 990600"/>
                  <a:gd name="connsiteY28" fmla="*/ 97631 h 895350"/>
                  <a:gd name="connsiteX29" fmla="*/ 852487 w 990600"/>
                  <a:gd name="connsiteY29" fmla="*/ 121444 h 895350"/>
                  <a:gd name="connsiteX30" fmla="*/ 897731 w 990600"/>
                  <a:gd name="connsiteY30" fmla="*/ 145256 h 895350"/>
                  <a:gd name="connsiteX31" fmla="*/ 916781 w 990600"/>
                  <a:gd name="connsiteY31" fmla="*/ 166688 h 895350"/>
                  <a:gd name="connsiteX32" fmla="*/ 916781 w 990600"/>
                  <a:gd name="connsiteY32" fmla="*/ 202406 h 895350"/>
                  <a:gd name="connsiteX33" fmla="*/ 966787 w 990600"/>
                  <a:gd name="connsiteY33" fmla="*/ 230981 h 895350"/>
                  <a:gd name="connsiteX34" fmla="*/ 990600 w 990600"/>
                  <a:gd name="connsiteY34" fmla="*/ 273844 h 895350"/>
                  <a:gd name="connsiteX35" fmla="*/ 966787 w 990600"/>
                  <a:gd name="connsiteY35" fmla="*/ 295275 h 895350"/>
                  <a:gd name="connsiteX36" fmla="*/ 890587 w 990600"/>
                  <a:gd name="connsiteY36" fmla="*/ 311944 h 895350"/>
                  <a:gd name="connsiteX37" fmla="*/ 819150 w 990600"/>
                  <a:gd name="connsiteY37" fmla="*/ 316706 h 895350"/>
                  <a:gd name="connsiteX38" fmla="*/ 816769 w 990600"/>
                  <a:gd name="connsiteY38" fmla="*/ 283369 h 895350"/>
                  <a:gd name="connsiteX39" fmla="*/ 773906 w 990600"/>
                  <a:gd name="connsiteY39" fmla="*/ 326231 h 895350"/>
                  <a:gd name="connsiteX40" fmla="*/ 773906 w 990600"/>
                  <a:gd name="connsiteY40" fmla="*/ 342900 h 895350"/>
                  <a:gd name="connsiteX41" fmla="*/ 714375 w 990600"/>
                  <a:gd name="connsiteY41" fmla="*/ 366713 h 895350"/>
                  <a:gd name="connsiteX42" fmla="*/ 664369 w 990600"/>
                  <a:gd name="connsiteY42" fmla="*/ 390525 h 895350"/>
                  <a:gd name="connsiteX43" fmla="*/ 692944 w 990600"/>
                  <a:gd name="connsiteY43" fmla="*/ 407194 h 895350"/>
                  <a:gd name="connsiteX44" fmla="*/ 695325 w 990600"/>
                  <a:gd name="connsiteY44" fmla="*/ 442913 h 895350"/>
                  <a:gd name="connsiteX45" fmla="*/ 652462 w 990600"/>
                  <a:gd name="connsiteY45" fmla="*/ 490538 h 895350"/>
                  <a:gd name="connsiteX46" fmla="*/ 676275 w 990600"/>
                  <a:gd name="connsiteY46" fmla="*/ 528638 h 895350"/>
                  <a:gd name="connsiteX47" fmla="*/ 721519 w 990600"/>
                  <a:gd name="connsiteY47" fmla="*/ 550069 h 895350"/>
                  <a:gd name="connsiteX48" fmla="*/ 726281 w 990600"/>
                  <a:gd name="connsiteY48" fmla="*/ 595313 h 895350"/>
                  <a:gd name="connsiteX49" fmla="*/ 697706 w 990600"/>
                  <a:gd name="connsiteY49" fmla="*/ 626269 h 895350"/>
                  <a:gd name="connsiteX50" fmla="*/ 642937 w 990600"/>
                  <a:gd name="connsiteY50" fmla="*/ 635794 h 895350"/>
                  <a:gd name="connsiteX51" fmla="*/ 616744 w 990600"/>
                  <a:gd name="connsiteY51" fmla="*/ 642938 h 895350"/>
                  <a:gd name="connsiteX52" fmla="*/ 623887 w 990600"/>
                  <a:gd name="connsiteY52" fmla="*/ 673894 h 895350"/>
                  <a:gd name="connsiteX53" fmla="*/ 597694 w 990600"/>
                  <a:gd name="connsiteY53" fmla="*/ 714375 h 895350"/>
                  <a:gd name="connsiteX54" fmla="*/ 573881 w 990600"/>
                  <a:gd name="connsiteY54" fmla="*/ 728663 h 895350"/>
                  <a:gd name="connsiteX55" fmla="*/ 557212 w 990600"/>
                  <a:gd name="connsiteY55" fmla="*/ 740569 h 895350"/>
                  <a:gd name="connsiteX56" fmla="*/ 550069 w 990600"/>
                  <a:gd name="connsiteY56" fmla="*/ 697706 h 895350"/>
                  <a:gd name="connsiteX57" fmla="*/ 507206 w 990600"/>
                  <a:gd name="connsiteY57" fmla="*/ 688181 h 895350"/>
                  <a:gd name="connsiteX58" fmla="*/ 504825 w 990600"/>
                  <a:gd name="connsiteY58" fmla="*/ 709613 h 895350"/>
                  <a:gd name="connsiteX59" fmla="*/ 464344 w 990600"/>
                  <a:gd name="connsiteY59" fmla="*/ 711994 h 895350"/>
                  <a:gd name="connsiteX60" fmla="*/ 452437 w 990600"/>
                  <a:gd name="connsiteY60" fmla="*/ 695325 h 895350"/>
                  <a:gd name="connsiteX61" fmla="*/ 447675 w 990600"/>
                  <a:gd name="connsiteY61" fmla="*/ 740569 h 895350"/>
                  <a:gd name="connsiteX62" fmla="*/ 426244 w 990600"/>
                  <a:gd name="connsiteY62" fmla="*/ 764381 h 895350"/>
                  <a:gd name="connsiteX63" fmla="*/ 404812 w 990600"/>
                  <a:gd name="connsiteY63" fmla="*/ 745331 h 895350"/>
                  <a:gd name="connsiteX64" fmla="*/ 371475 w 990600"/>
                  <a:gd name="connsiteY64" fmla="*/ 785813 h 895350"/>
                  <a:gd name="connsiteX65" fmla="*/ 371475 w 990600"/>
                  <a:gd name="connsiteY65" fmla="*/ 850106 h 895350"/>
                  <a:gd name="connsiteX66" fmla="*/ 347662 w 990600"/>
                  <a:gd name="connsiteY66" fmla="*/ 871538 h 895350"/>
                  <a:gd name="connsiteX67" fmla="*/ 323850 w 990600"/>
                  <a:gd name="connsiteY67" fmla="*/ 895350 h 895350"/>
                  <a:gd name="connsiteX68" fmla="*/ 278606 w 990600"/>
                  <a:gd name="connsiteY68" fmla="*/ 883444 h 895350"/>
                  <a:gd name="connsiteX69" fmla="*/ 235744 w 990600"/>
                  <a:gd name="connsiteY69" fmla="*/ 892969 h 895350"/>
                  <a:gd name="connsiteX70" fmla="*/ 183356 w 990600"/>
                  <a:gd name="connsiteY70" fmla="*/ 871538 h 895350"/>
                  <a:gd name="connsiteX71" fmla="*/ 183356 w 990600"/>
                  <a:gd name="connsiteY71" fmla="*/ 842963 h 895350"/>
                  <a:gd name="connsiteX72" fmla="*/ 202406 w 990600"/>
                  <a:gd name="connsiteY72" fmla="*/ 826294 h 895350"/>
                  <a:gd name="connsiteX73" fmla="*/ 221456 w 990600"/>
                  <a:gd name="connsiteY73" fmla="*/ 804863 h 895350"/>
                  <a:gd name="connsiteX74" fmla="*/ 114300 w 990600"/>
                  <a:gd name="connsiteY74" fmla="*/ 792956 h 895350"/>
                  <a:gd name="connsiteX75" fmla="*/ 64294 w 990600"/>
                  <a:gd name="connsiteY75" fmla="*/ 812006 h 895350"/>
                  <a:gd name="connsiteX76" fmla="*/ 33337 w 990600"/>
                  <a:gd name="connsiteY76" fmla="*/ 764381 h 895350"/>
                  <a:gd name="connsiteX77" fmla="*/ 26194 w 990600"/>
                  <a:gd name="connsiteY77" fmla="*/ 726281 h 895350"/>
                  <a:gd name="connsiteX78" fmla="*/ 7144 w 990600"/>
                  <a:gd name="connsiteY78" fmla="*/ 692944 h 895350"/>
                  <a:gd name="connsiteX79" fmla="*/ 16669 w 990600"/>
                  <a:gd name="connsiteY79" fmla="*/ 635794 h 895350"/>
                  <a:gd name="connsiteX80" fmla="*/ 66675 w 990600"/>
                  <a:gd name="connsiteY80" fmla="*/ 569119 h 895350"/>
                  <a:gd name="connsiteX81" fmla="*/ 71437 w 990600"/>
                  <a:gd name="connsiteY81" fmla="*/ 504825 h 895350"/>
                  <a:gd name="connsiteX82" fmla="*/ 64294 w 990600"/>
                  <a:gd name="connsiteY82" fmla="*/ 473869 h 895350"/>
                  <a:gd name="connsiteX83" fmla="*/ 50006 w 990600"/>
                  <a:gd name="connsiteY83" fmla="*/ 459581 h 895350"/>
                  <a:gd name="connsiteX84" fmla="*/ 85725 w 990600"/>
                  <a:gd name="connsiteY84" fmla="*/ 428625 h 895350"/>
                  <a:gd name="connsiteX85" fmla="*/ 100012 w 990600"/>
                  <a:gd name="connsiteY85" fmla="*/ 378619 h 895350"/>
                  <a:gd name="connsiteX86" fmla="*/ 85725 w 990600"/>
                  <a:gd name="connsiteY86" fmla="*/ 369094 h 895350"/>
                  <a:gd name="connsiteX87" fmla="*/ 64294 w 990600"/>
                  <a:gd name="connsiteY87" fmla="*/ 364331 h 895350"/>
                  <a:gd name="connsiteX88" fmla="*/ 28575 w 990600"/>
                  <a:gd name="connsiteY88" fmla="*/ 326231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90600" h="895350">
                    <a:moveTo>
                      <a:pt x="28575" y="326231"/>
                    </a:moveTo>
                    <a:lnTo>
                      <a:pt x="23812" y="264319"/>
                    </a:lnTo>
                    <a:lnTo>
                      <a:pt x="0" y="264319"/>
                    </a:lnTo>
                    <a:lnTo>
                      <a:pt x="0" y="230981"/>
                    </a:lnTo>
                    <a:lnTo>
                      <a:pt x="30956" y="180975"/>
                    </a:lnTo>
                    <a:lnTo>
                      <a:pt x="26194" y="145256"/>
                    </a:lnTo>
                    <a:lnTo>
                      <a:pt x="85725" y="123825"/>
                    </a:lnTo>
                    <a:lnTo>
                      <a:pt x="133350" y="119063"/>
                    </a:lnTo>
                    <a:lnTo>
                      <a:pt x="176212" y="157163"/>
                    </a:lnTo>
                    <a:lnTo>
                      <a:pt x="207169" y="192881"/>
                    </a:lnTo>
                    <a:lnTo>
                      <a:pt x="238125" y="192881"/>
                    </a:lnTo>
                    <a:lnTo>
                      <a:pt x="264319" y="173831"/>
                    </a:lnTo>
                    <a:lnTo>
                      <a:pt x="285750" y="197644"/>
                    </a:lnTo>
                    <a:lnTo>
                      <a:pt x="316706" y="154781"/>
                    </a:lnTo>
                    <a:lnTo>
                      <a:pt x="345281" y="109538"/>
                    </a:lnTo>
                    <a:lnTo>
                      <a:pt x="354806" y="88106"/>
                    </a:lnTo>
                    <a:lnTo>
                      <a:pt x="416719" y="54769"/>
                    </a:lnTo>
                    <a:lnTo>
                      <a:pt x="461962" y="54769"/>
                    </a:lnTo>
                    <a:lnTo>
                      <a:pt x="564356" y="61913"/>
                    </a:lnTo>
                    <a:lnTo>
                      <a:pt x="590550" y="33338"/>
                    </a:lnTo>
                    <a:lnTo>
                      <a:pt x="642937" y="69056"/>
                    </a:lnTo>
                    <a:lnTo>
                      <a:pt x="683419" y="61913"/>
                    </a:lnTo>
                    <a:lnTo>
                      <a:pt x="719137" y="40481"/>
                    </a:lnTo>
                    <a:lnTo>
                      <a:pt x="754856" y="21431"/>
                    </a:lnTo>
                    <a:lnTo>
                      <a:pt x="854869" y="11906"/>
                    </a:lnTo>
                    <a:lnTo>
                      <a:pt x="892969" y="0"/>
                    </a:lnTo>
                    <a:lnTo>
                      <a:pt x="873919" y="28575"/>
                    </a:lnTo>
                    <a:lnTo>
                      <a:pt x="835819" y="47625"/>
                    </a:lnTo>
                    <a:lnTo>
                      <a:pt x="850106" y="97631"/>
                    </a:lnTo>
                    <a:lnTo>
                      <a:pt x="852487" y="121444"/>
                    </a:lnTo>
                    <a:lnTo>
                      <a:pt x="897731" y="145256"/>
                    </a:lnTo>
                    <a:lnTo>
                      <a:pt x="916781" y="166688"/>
                    </a:lnTo>
                    <a:lnTo>
                      <a:pt x="916781" y="202406"/>
                    </a:lnTo>
                    <a:lnTo>
                      <a:pt x="966787" y="230981"/>
                    </a:lnTo>
                    <a:lnTo>
                      <a:pt x="990600" y="273844"/>
                    </a:lnTo>
                    <a:lnTo>
                      <a:pt x="966787" y="295275"/>
                    </a:lnTo>
                    <a:lnTo>
                      <a:pt x="890587" y="311944"/>
                    </a:lnTo>
                    <a:lnTo>
                      <a:pt x="819150" y="316706"/>
                    </a:lnTo>
                    <a:lnTo>
                      <a:pt x="816769" y="283369"/>
                    </a:lnTo>
                    <a:lnTo>
                      <a:pt x="773906" y="326231"/>
                    </a:lnTo>
                    <a:lnTo>
                      <a:pt x="773906" y="342900"/>
                    </a:lnTo>
                    <a:lnTo>
                      <a:pt x="714375" y="366713"/>
                    </a:lnTo>
                    <a:lnTo>
                      <a:pt x="664369" y="390525"/>
                    </a:lnTo>
                    <a:lnTo>
                      <a:pt x="692944" y="407194"/>
                    </a:lnTo>
                    <a:lnTo>
                      <a:pt x="695325" y="442913"/>
                    </a:lnTo>
                    <a:lnTo>
                      <a:pt x="652462" y="490538"/>
                    </a:lnTo>
                    <a:lnTo>
                      <a:pt x="676275" y="528638"/>
                    </a:lnTo>
                    <a:lnTo>
                      <a:pt x="721519" y="550069"/>
                    </a:lnTo>
                    <a:lnTo>
                      <a:pt x="726281" y="595313"/>
                    </a:lnTo>
                    <a:lnTo>
                      <a:pt x="697706" y="626269"/>
                    </a:lnTo>
                    <a:lnTo>
                      <a:pt x="642937" y="635794"/>
                    </a:lnTo>
                    <a:lnTo>
                      <a:pt x="616744" y="642938"/>
                    </a:lnTo>
                    <a:lnTo>
                      <a:pt x="623887" y="673894"/>
                    </a:lnTo>
                    <a:lnTo>
                      <a:pt x="597694" y="714375"/>
                    </a:lnTo>
                    <a:cubicBezTo>
                      <a:pt x="576636" y="724904"/>
                      <a:pt x="583664" y="718880"/>
                      <a:pt x="573881" y="728663"/>
                    </a:cubicBezTo>
                    <a:lnTo>
                      <a:pt x="557212" y="740569"/>
                    </a:lnTo>
                    <a:lnTo>
                      <a:pt x="550069" y="697706"/>
                    </a:lnTo>
                    <a:lnTo>
                      <a:pt x="507206" y="688181"/>
                    </a:lnTo>
                    <a:lnTo>
                      <a:pt x="504825" y="709613"/>
                    </a:lnTo>
                    <a:lnTo>
                      <a:pt x="464344" y="711994"/>
                    </a:lnTo>
                    <a:lnTo>
                      <a:pt x="452437" y="695325"/>
                    </a:lnTo>
                    <a:lnTo>
                      <a:pt x="447675" y="740569"/>
                    </a:lnTo>
                    <a:lnTo>
                      <a:pt x="426244" y="764381"/>
                    </a:lnTo>
                    <a:lnTo>
                      <a:pt x="404812" y="745331"/>
                    </a:lnTo>
                    <a:lnTo>
                      <a:pt x="371475" y="785813"/>
                    </a:lnTo>
                    <a:lnTo>
                      <a:pt x="371475" y="850106"/>
                    </a:lnTo>
                    <a:cubicBezTo>
                      <a:pt x="351170" y="870411"/>
                      <a:pt x="360457" y="865139"/>
                      <a:pt x="347662" y="871538"/>
                    </a:cubicBezTo>
                    <a:lnTo>
                      <a:pt x="323850" y="895350"/>
                    </a:lnTo>
                    <a:lnTo>
                      <a:pt x="278606" y="883444"/>
                    </a:lnTo>
                    <a:lnTo>
                      <a:pt x="235744" y="892969"/>
                    </a:lnTo>
                    <a:lnTo>
                      <a:pt x="183356" y="871538"/>
                    </a:lnTo>
                    <a:lnTo>
                      <a:pt x="183356" y="842963"/>
                    </a:lnTo>
                    <a:lnTo>
                      <a:pt x="202406" y="826294"/>
                    </a:lnTo>
                    <a:lnTo>
                      <a:pt x="221456" y="804863"/>
                    </a:lnTo>
                    <a:lnTo>
                      <a:pt x="114300" y="792956"/>
                    </a:lnTo>
                    <a:lnTo>
                      <a:pt x="64294" y="812006"/>
                    </a:lnTo>
                    <a:lnTo>
                      <a:pt x="33337" y="764381"/>
                    </a:lnTo>
                    <a:lnTo>
                      <a:pt x="26194" y="726281"/>
                    </a:lnTo>
                    <a:lnTo>
                      <a:pt x="7144" y="692944"/>
                    </a:lnTo>
                    <a:lnTo>
                      <a:pt x="16669" y="635794"/>
                    </a:lnTo>
                    <a:lnTo>
                      <a:pt x="66675" y="569119"/>
                    </a:lnTo>
                    <a:lnTo>
                      <a:pt x="71437" y="504825"/>
                    </a:lnTo>
                    <a:lnTo>
                      <a:pt x="64294" y="473869"/>
                    </a:lnTo>
                    <a:lnTo>
                      <a:pt x="50006" y="459581"/>
                    </a:lnTo>
                    <a:lnTo>
                      <a:pt x="85725" y="428625"/>
                    </a:lnTo>
                    <a:lnTo>
                      <a:pt x="100012" y="378619"/>
                    </a:lnTo>
                    <a:lnTo>
                      <a:pt x="85725" y="369094"/>
                    </a:lnTo>
                    <a:lnTo>
                      <a:pt x="64294" y="364331"/>
                    </a:lnTo>
                    <a:lnTo>
                      <a:pt x="28575" y="32623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2" name="Figura a mano libera 191"/>
              <p:cNvSpPr/>
              <p:nvPr/>
            </p:nvSpPr>
            <p:spPr bwMode="auto">
              <a:xfrm>
                <a:off x="3808562" y="1554424"/>
                <a:ext cx="572956" cy="533383"/>
              </a:xfrm>
              <a:custGeom>
                <a:avLst/>
                <a:gdLst>
                  <a:gd name="connsiteX0" fmla="*/ 216693 w 764381"/>
                  <a:gd name="connsiteY0" fmla="*/ 0 h 714375"/>
                  <a:gd name="connsiteX1" fmla="*/ 180975 w 764381"/>
                  <a:gd name="connsiteY1" fmla="*/ 80963 h 714375"/>
                  <a:gd name="connsiteX2" fmla="*/ 164306 w 764381"/>
                  <a:gd name="connsiteY2" fmla="*/ 114300 h 714375"/>
                  <a:gd name="connsiteX3" fmla="*/ 123825 w 764381"/>
                  <a:gd name="connsiteY3" fmla="*/ 109538 h 714375"/>
                  <a:gd name="connsiteX4" fmla="*/ 102393 w 764381"/>
                  <a:gd name="connsiteY4" fmla="*/ 147638 h 714375"/>
                  <a:gd name="connsiteX5" fmla="*/ 73818 w 764381"/>
                  <a:gd name="connsiteY5" fmla="*/ 202406 h 714375"/>
                  <a:gd name="connsiteX6" fmla="*/ 38100 w 764381"/>
                  <a:gd name="connsiteY6" fmla="*/ 211931 h 714375"/>
                  <a:gd name="connsiteX7" fmla="*/ 7143 w 764381"/>
                  <a:gd name="connsiteY7" fmla="*/ 209550 h 714375"/>
                  <a:gd name="connsiteX8" fmla="*/ 26193 w 764381"/>
                  <a:gd name="connsiteY8" fmla="*/ 235744 h 714375"/>
                  <a:gd name="connsiteX9" fmla="*/ 0 w 764381"/>
                  <a:gd name="connsiteY9" fmla="*/ 254794 h 714375"/>
                  <a:gd name="connsiteX10" fmla="*/ 21431 w 764381"/>
                  <a:gd name="connsiteY10" fmla="*/ 266700 h 714375"/>
                  <a:gd name="connsiteX11" fmla="*/ 59531 w 764381"/>
                  <a:gd name="connsiteY11" fmla="*/ 280988 h 714375"/>
                  <a:gd name="connsiteX12" fmla="*/ 78581 w 764381"/>
                  <a:gd name="connsiteY12" fmla="*/ 311944 h 714375"/>
                  <a:gd name="connsiteX13" fmla="*/ 88106 w 764381"/>
                  <a:gd name="connsiteY13" fmla="*/ 354806 h 714375"/>
                  <a:gd name="connsiteX14" fmla="*/ 35718 w 764381"/>
                  <a:gd name="connsiteY14" fmla="*/ 395288 h 714375"/>
                  <a:gd name="connsiteX15" fmla="*/ 85725 w 764381"/>
                  <a:gd name="connsiteY15" fmla="*/ 464344 h 714375"/>
                  <a:gd name="connsiteX16" fmla="*/ 92868 w 764381"/>
                  <a:gd name="connsiteY16" fmla="*/ 519113 h 714375"/>
                  <a:gd name="connsiteX17" fmla="*/ 130968 w 764381"/>
                  <a:gd name="connsiteY17" fmla="*/ 535781 h 714375"/>
                  <a:gd name="connsiteX18" fmla="*/ 138112 w 764381"/>
                  <a:gd name="connsiteY18" fmla="*/ 557213 h 714375"/>
                  <a:gd name="connsiteX19" fmla="*/ 183356 w 764381"/>
                  <a:gd name="connsiteY19" fmla="*/ 535781 h 714375"/>
                  <a:gd name="connsiteX20" fmla="*/ 214312 w 764381"/>
                  <a:gd name="connsiteY20" fmla="*/ 511969 h 714375"/>
                  <a:gd name="connsiteX21" fmla="*/ 261937 w 764381"/>
                  <a:gd name="connsiteY21" fmla="*/ 533400 h 714375"/>
                  <a:gd name="connsiteX22" fmla="*/ 297656 w 764381"/>
                  <a:gd name="connsiteY22" fmla="*/ 521494 h 714375"/>
                  <a:gd name="connsiteX23" fmla="*/ 311943 w 764381"/>
                  <a:gd name="connsiteY23" fmla="*/ 547688 h 714375"/>
                  <a:gd name="connsiteX24" fmla="*/ 333375 w 764381"/>
                  <a:gd name="connsiteY24" fmla="*/ 585788 h 714375"/>
                  <a:gd name="connsiteX25" fmla="*/ 335756 w 764381"/>
                  <a:gd name="connsiteY25" fmla="*/ 616744 h 714375"/>
                  <a:gd name="connsiteX26" fmla="*/ 345281 w 764381"/>
                  <a:gd name="connsiteY26" fmla="*/ 654844 h 714375"/>
                  <a:gd name="connsiteX27" fmla="*/ 345281 w 764381"/>
                  <a:gd name="connsiteY27" fmla="*/ 611981 h 714375"/>
                  <a:gd name="connsiteX28" fmla="*/ 385762 w 764381"/>
                  <a:gd name="connsiteY28" fmla="*/ 595313 h 714375"/>
                  <a:gd name="connsiteX29" fmla="*/ 395287 w 764381"/>
                  <a:gd name="connsiteY29" fmla="*/ 569119 h 714375"/>
                  <a:gd name="connsiteX30" fmla="*/ 435768 w 764381"/>
                  <a:gd name="connsiteY30" fmla="*/ 588169 h 714375"/>
                  <a:gd name="connsiteX31" fmla="*/ 502443 w 764381"/>
                  <a:gd name="connsiteY31" fmla="*/ 607219 h 714375"/>
                  <a:gd name="connsiteX32" fmla="*/ 509587 w 764381"/>
                  <a:gd name="connsiteY32" fmla="*/ 642938 h 714375"/>
                  <a:gd name="connsiteX33" fmla="*/ 542925 w 764381"/>
                  <a:gd name="connsiteY33" fmla="*/ 623888 h 714375"/>
                  <a:gd name="connsiteX34" fmla="*/ 585787 w 764381"/>
                  <a:gd name="connsiteY34" fmla="*/ 607219 h 714375"/>
                  <a:gd name="connsiteX35" fmla="*/ 592931 w 764381"/>
                  <a:gd name="connsiteY35" fmla="*/ 557213 h 714375"/>
                  <a:gd name="connsiteX36" fmla="*/ 628650 w 764381"/>
                  <a:gd name="connsiteY36" fmla="*/ 600075 h 714375"/>
                  <a:gd name="connsiteX37" fmla="*/ 635793 w 764381"/>
                  <a:gd name="connsiteY37" fmla="*/ 619125 h 714375"/>
                  <a:gd name="connsiteX38" fmla="*/ 659606 w 764381"/>
                  <a:gd name="connsiteY38" fmla="*/ 642938 h 714375"/>
                  <a:gd name="connsiteX39" fmla="*/ 664368 w 764381"/>
                  <a:gd name="connsiteY39" fmla="*/ 666750 h 714375"/>
                  <a:gd name="connsiteX40" fmla="*/ 669131 w 764381"/>
                  <a:gd name="connsiteY40" fmla="*/ 676275 h 714375"/>
                  <a:gd name="connsiteX41" fmla="*/ 678656 w 764381"/>
                  <a:gd name="connsiteY41" fmla="*/ 692944 h 714375"/>
                  <a:gd name="connsiteX42" fmla="*/ 731043 w 764381"/>
                  <a:gd name="connsiteY42" fmla="*/ 714375 h 714375"/>
                  <a:gd name="connsiteX43" fmla="*/ 764381 w 764381"/>
                  <a:gd name="connsiteY43" fmla="*/ 678656 h 714375"/>
                  <a:gd name="connsiteX44" fmla="*/ 709612 w 764381"/>
                  <a:gd name="connsiteY44" fmla="*/ 614363 h 714375"/>
                  <a:gd name="connsiteX45" fmla="*/ 688181 w 764381"/>
                  <a:gd name="connsiteY45" fmla="*/ 583406 h 714375"/>
                  <a:gd name="connsiteX46" fmla="*/ 635793 w 764381"/>
                  <a:gd name="connsiteY46" fmla="*/ 561975 h 714375"/>
                  <a:gd name="connsiteX47" fmla="*/ 602456 w 764381"/>
                  <a:gd name="connsiteY47" fmla="*/ 561975 h 714375"/>
                  <a:gd name="connsiteX48" fmla="*/ 595312 w 764381"/>
                  <a:gd name="connsiteY48" fmla="*/ 509588 h 714375"/>
                  <a:gd name="connsiteX49" fmla="*/ 631031 w 764381"/>
                  <a:gd name="connsiteY49" fmla="*/ 485775 h 714375"/>
                  <a:gd name="connsiteX50" fmla="*/ 628650 w 764381"/>
                  <a:gd name="connsiteY50" fmla="*/ 438150 h 714375"/>
                  <a:gd name="connsiteX51" fmla="*/ 628650 w 764381"/>
                  <a:gd name="connsiteY51" fmla="*/ 433388 h 714375"/>
                  <a:gd name="connsiteX52" fmla="*/ 581025 w 764381"/>
                  <a:gd name="connsiteY52" fmla="*/ 450056 h 714375"/>
                  <a:gd name="connsiteX53" fmla="*/ 559593 w 764381"/>
                  <a:gd name="connsiteY53" fmla="*/ 431006 h 714375"/>
                  <a:gd name="connsiteX54" fmla="*/ 573881 w 764381"/>
                  <a:gd name="connsiteY54" fmla="*/ 402431 h 714375"/>
                  <a:gd name="connsiteX55" fmla="*/ 564356 w 764381"/>
                  <a:gd name="connsiteY55" fmla="*/ 378619 h 714375"/>
                  <a:gd name="connsiteX56" fmla="*/ 654843 w 764381"/>
                  <a:gd name="connsiteY56" fmla="*/ 323850 h 714375"/>
                  <a:gd name="connsiteX57" fmla="*/ 642937 w 764381"/>
                  <a:gd name="connsiteY57" fmla="*/ 307181 h 714375"/>
                  <a:gd name="connsiteX58" fmla="*/ 592931 w 764381"/>
                  <a:gd name="connsiteY58" fmla="*/ 307181 h 714375"/>
                  <a:gd name="connsiteX59" fmla="*/ 578643 w 764381"/>
                  <a:gd name="connsiteY59" fmla="*/ 280988 h 714375"/>
                  <a:gd name="connsiteX60" fmla="*/ 540543 w 764381"/>
                  <a:gd name="connsiteY60" fmla="*/ 292894 h 714375"/>
                  <a:gd name="connsiteX61" fmla="*/ 528637 w 764381"/>
                  <a:gd name="connsiteY61" fmla="*/ 278606 h 714375"/>
                  <a:gd name="connsiteX62" fmla="*/ 509587 w 764381"/>
                  <a:gd name="connsiteY62" fmla="*/ 247650 h 714375"/>
                  <a:gd name="connsiteX63" fmla="*/ 545306 w 764381"/>
                  <a:gd name="connsiteY63" fmla="*/ 209550 h 714375"/>
                  <a:gd name="connsiteX64" fmla="*/ 547687 w 764381"/>
                  <a:gd name="connsiteY64" fmla="*/ 185738 h 714375"/>
                  <a:gd name="connsiteX65" fmla="*/ 621506 w 764381"/>
                  <a:gd name="connsiteY65" fmla="*/ 157163 h 714375"/>
                  <a:gd name="connsiteX66" fmla="*/ 638175 w 764381"/>
                  <a:gd name="connsiteY66" fmla="*/ 142875 h 714375"/>
                  <a:gd name="connsiteX67" fmla="*/ 657225 w 764381"/>
                  <a:gd name="connsiteY67" fmla="*/ 135731 h 714375"/>
                  <a:gd name="connsiteX68" fmla="*/ 669131 w 764381"/>
                  <a:gd name="connsiteY68" fmla="*/ 90488 h 714375"/>
                  <a:gd name="connsiteX69" fmla="*/ 569118 w 764381"/>
                  <a:gd name="connsiteY69" fmla="*/ 76200 h 714375"/>
                  <a:gd name="connsiteX70" fmla="*/ 502443 w 764381"/>
                  <a:gd name="connsiteY70" fmla="*/ 54769 h 714375"/>
                  <a:gd name="connsiteX71" fmla="*/ 478631 w 764381"/>
                  <a:gd name="connsiteY71" fmla="*/ 69056 h 714375"/>
                  <a:gd name="connsiteX72" fmla="*/ 450056 w 764381"/>
                  <a:gd name="connsiteY72" fmla="*/ 78581 h 714375"/>
                  <a:gd name="connsiteX73" fmla="*/ 400050 w 764381"/>
                  <a:gd name="connsiteY73" fmla="*/ 35719 h 714375"/>
                  <a:gd name="connsiteX74" fmla="*/ 354806 w 764381"/>
                  <a:gd name="connsiteY74" fmla="*/ 40481 h 714375"/>
                  <a:gd name="connsiteX75" fmla="*/ 290512 w 764381"/>
                  <a:gd name="connsiteY75" fmla="*/ 28575 h 714375"/>
                  <a:gd name="connsiteX76" fmla="*/ 269081 w 764381"/>
                  <a:gd name="connsiteY76" fmla="*/ 38100 h 714375"/>
                  <a:gd name="connsiteX77" fmla="*/ 216693 w 764381"/>
                  <a:gd name="connsiteY77" fmla="*/ 0 h 7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764381" h="714375">
                    <a:moveTo>
                      <a:pt x="216693" y="0"/>
                    </a:moveTo>
                    <a:lnTo>
                      <a:pt x="180975" y="80963"/>
                    </a:lnTo>
                    <a:lnTo>
                      <a:pt x="164306" y="114300"/>
                    </a:lnTo>
                    <a:lnTo>
                      <a:pt x="123825" y="109538"/>
                    </a:lnTo>
                    <a:lnTo>
                      <a:pt x="102393" y="147638"/>
                    </a:lnTo>
                    <a:lnTo>
                      <a:pt x="73818" y="202406"/>
                    </a:lnTo>
                    <a:lnTo>
                      <a:pt x="38100" y="211931"/>
                    </a:lnTo>
                    <a:lnTo>
                      <a:pt x="7143" y="209550"/>
                    </a:lnTo>
                    <a:lnTo>
                      <a:pt x="26193" y="235744"/>
                    </a:lnTo>
                    <a:lnTo>
                      <a:pt x="0" y="254794"/>
                    </a:lnTo>
                    <a:lnTo>
                      <a:pt x="21431" y="266700"/>
                    </a:lnTo>
                    <a:lnTo>
                      <a:pt x="59531" y="280988"/>
                    </a:lnTo>
                    <a:lnTo>
                      <a:pt x="78581" y="311944"/>
                    </a:lnTo>
                    <a:lnTo>
                      <a:pt x="88106" y="354806"/>
                    </a:lnTo>
                    <a:lnTo>
                      <a:pt x="35718" y="395288"/>
                    </a:lnTo>
                    <a:lnTo>
                      <a:pt x="85725" y="464344"/>
                    </a:lnTo>
                    <a:lnTo>
                      <a:pt x="92868" y="519113"/>
                    </a:lnTo>
                    <a:lnTo>
                      <a:pt x="130968" y="535781"/>
                    </a:lnTo>
                    <a:lnTo>
                      <a:pt x="138112" y="557213"/>
                    </a:lnTo>
                    <a:lnTo>
                      <a:pt x="183356" y="535781"/>
                    </a:lnTo>
                    <a:lnTo>
                      <a:pt x="214312" y="511969"/>
                    </a:lnTo>
                    <a:lnTo>
                      <a:pt x="261937" y="533400"/>
                    </a:lnTo>
                    <a:lnTo>
                      <a:pt x="297656" y="521494"/>
                    </a:lnTo>
                    <a:lnTo>
                      <a:pt x="311943" y="547688"/>
                    </a:lnTo>
                    <a:lnTo>
                      <a:pt x="333375" y="585788"/>
                    </a:lnTo>
                    <a:lnTo>
                      <a:pt x="335756" y="616744"/>
                    </a:lnTo>
                    <a:lnTo>
                      <a:pt x="345281" y="654844"/>
                    </a:lnTo>
                    <a:lnTo>
                      <a:pt x="345281" y="611981"/>
                    </a:lnTo>
                    <a:lnTo>
                      <a:pt x="385762" y="595313"/>
                    </a:lnTo>
                    <a:lnTo>
                      <a:pt x="395287" y="569119"/>
                    </a:lnTo>
                    <a:lnTo>
                      <a:pt x="435768" y="588169"/>
                    </a:lnTo>
                    <a:lnTo>
                      <a:pt x="502443" y="607219"/>
                    </a:lnTo>
                    <a:lnTo>
                      <a:pt x="509587" y="642938"/>
                    </a:lnTo>
                    <a:lnTo>
                      <a:pt x="542925" y="623888"/>
                    </a:lnTo>
                    <a:lnTo>
                      <a:pt x="585787" y="607219"/>
                    </a:lnTo>
                    <a:lnTo>
                      <a:pt x="592931" y="557213"/>
                    </a:lnTo>
                    <a:lnTo>
                      <a:pt x="628650" y="600075"/>
                    </a:lnTo>
                    <a:lnTo>
                      <a:pt x="635793" y="619125"/>
                    </a:lnTo>
                    <a:lnTo>
                      <a:pt x="659606" y="642938"/>
                    </a:lnTo>
                    <a:cubicBezTo>
                      <a:pt x="661193" y="650875"/>
                      <a:pt x="662144" y="658967"/>
                      <a:pt x="664368" y="666750"/>
                    </a:cubicBezTo>
                    <a:cubicBezTo>
                      <a:pt x="665343" y="670163"/>
                      <a:pt x="669131" y="676275"/>
                      <a:pt x="669131" y="676275"/>
                    </a:cubicBezTo>
                    <a:lnTo>
                      <a:pt x="678656" y="692944"/>
                    </a:lnTo>
                    <a:lnTo>
                      <a:pt x="731043" y="714375"/>
                    </a:lnTo>
                    <a:lnTo>
                      <a:pt x="764381" y="678656"/>
                    </a:lnTo>
                    <a:lnTo>
                      <a:pt x="709612" y="614363"/>
                    </a:lnTo>
                    <a:lnTo>
                      <a:pt x="688181" y="583406"/>
                    </a:lnTo>
                    <a:lnTo>
                      <a:pt x="635793" y="561975"/>
                    </a:lnTo>
                    <a:lnTo>
                      <a:pt x="602456" y="561975"/>
                    </a:lnTo>
                    <a:lnTo>
                      <a:pt x="595312" y="509588"/>
                    </a:lnTo>
                    <a:lnTo>
                      <a:pt x="631031" y="485775"/>
                    </a:lnTo>
                    <a:lnTo>
                      <a:pt x="628650" y="438150"/>
                    </a:lnTo>
                    <a:lnTo>
                      <a:pt x="628650" y="433388"/>
                    </a:lnTo>
                    <a:lnTo>
                      <a:pt x="581025" y="450056"/>
                    </a:lnTo>
                    <a:lnTo>
                      <a:pt x="559593" y="431006"/>
                    </a:lnTo>
                    <a:lnTo>
                      <a:pt x="573881" y="402431"/>
                    </a:lnTo>
                    <a:lnTo>
                      <a:pt x="564356" y="378619"/>
                    </a:lnTo>
                    <a:lnTo>
                      <a:pt x="654843" y="323850"/>
                    </a:lnTo>
                    <a:lnTo>
                      <a:pt x="642937" y="307181"/>
                    </a:lnTo>
                    <a:lnTo>
                      <a:pt x="592931" y="307181"/>
                    </a:lnTo>
                    <a:lnTo>
                      <a:pt x="578643" y="280988"/>
                    </a:lnTo>
                    <a:lnTo>
                      <a:pt x="540543" y="292894"/>
                    </a:lnTo>
                    <a:lnTo>
                      <a:pt x="528637" y="278606"/>
                    </a:lnTo>
                    <a:lnTo>
                      <a:pt x="509587" y="247650"/>
                    </a:lnTo>
                    <a:lnTo>
                      <a:pt x="545306" y="209550"/>
                    </a:lnTo>
                    <a:lnTo>
                      <a:pt x="547687" y="185738"/>
                    </a:lnTo>
                    <a:lnTo>
                      <a:pt x="621506" y="157163"/>
                    </a:lnTo>
                    <a:lnTo>
                      <a:pt x="638175" y="142875"/>
                    </a:lnTo>
                    <a:lnTo>
                      <a:pt x="657225" y="135731"/>
                    </a:lnTo>
                    <a:lnTo>
                      <a:pt x="669131" y="90488"/>
                    </a:lnTo>
                    <a:lnTo>
                      <a:pt x="569118" y="76200"/>
                    </a:lnTo>
                    <a:lnTo>
                      <a:pt x="502443" y="54769"/>
                    </a:lnTo>
                    <a:lnTo>
                      <a:pt x="478631" y="69056"/>
                    </a:lnTo>
                    <a:lnTo>
                      <a:pt x="450056" y="78581"/>
                    </a:lnTo>
                    <a:lnTo>
                      <a:pt x="400050" y="35719"/>
                    </a:lnTo>
                    <a:lnTo>
                      <a:pt x="354806" y="40481"/>
                    </a:lnTo>
                    <a:lnTo>
                      <a:pt x="290512" y="28575"/>
                    </a:lnTo>
                    <a:lnTo>
                      <a:pt x="269081" y="38100"/>
                    </a:lnTo>
                    <a:lnTo>
                      <a:pt x="21669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3" name="Figura a mano libera 192"/>
              <p:cNvSpPr/>
              <p:nvPr/>
            </p:nvSpPr>
            <p:spPr bwMode="auto">
              <a:xfrm>
                <a:off x="3183017" y="1539023"/>
                <a:ext cx="882962" cy="926768"/>
              </a:xfrm>
              <a:custGeom>
                <a:avLst/>
                <a:gdLst>
                  <a:gd name="connsiteX0" fmla="*/ 812006 w 1176338"/>
                  <a:gd name="connsiteY0" fmla="*/ 1188244 h 1240631"/>
                  <a:gd name="connsiteX1" fmla="*/ 850106 w 1176338"/>
                  <a:gd name="connsiteY1" fmla="*/ 1240631 h 1240631"/>
                  <a:gd name="connsiteX2" fmla="*/ 900113 w 1176338"/>
                  <a:gd name="connsiteY2" fmla="*/ 1188244 h 1240631"/>
                  <a:gd name="connsiteX3" fmla="*/ 921544 w 1176338"/>
                  <a:gd name="connsiteY3" fmla="*/ 1112044 h 1240631"/>
                  <a:gd name="connsiteX4" fmla="*/ 885825 w 1176338"/>
                  <a:gd name="connsiteY4" fmla="*/ 1100137 h 1240631"/>
                  <a:gd name="connsiteX5" fmla="*/ 845344 w 1176338"/>
                  <a:gd name="connsiteY5" fmla="*/ 1064419 h 1240631"/>
                  <a:gd name="connsiteX6" fmla="*/ 833438 w 1176338"/>
                  <a:gd name="connsiteY6" fmla="*/ 1028700 h 1240631"/>
                  <a:gd name="connsiteX7" fmla="*/ 819150 w 1176338"/>
                  <a:gd name="connsiteY7" fmla="*/ 995362 h 1240631"/>
                  <a:gd name="connsiteX8" fmla="*/ 816769 w 1176338"/>
                  <a:gd name="connsiteY8" fmla="*/ 947737 h 1240631"/>
                  <a:gd name="connsiteX9" fmla="*/ 804863 w 1176338"/>
                  <a:gd name="connsiteY9" fmla="*/ 933450 h 1240631"/>
                  <a:gd name="connsiteX10" fmla="*/ 783431 w 1176338"/>
                  <a:gd name="connsiteY10" fmla="*/ 971550 h 1240631"/>
                  <a:gd name="connsiteX11" fmla="*/ 762000 w 1176338"/>
                  <a:gd name="connsiteY11" fmla="*/ 933450 h 1240631"/>
                  <a:gd name="connsiteX12" fmla="*/ 771525 w 1176338"/>
                  <a:gd name="connsiteY12" fmla="*/ 888206 h 1240631"/>
                  <a:gd name="connsiteX13" fmla="*/ 804863 w 1176338"/>
                  <a:gd name="connsiteY13" fmla="*/ 852487 h 1240631"/>
                  <a:gd name="connsiteX14" fmla="*/ 797719 w 1176338"/>
                  <a:gd name="connsiteY14" fmla="*/ 835819 h 1240631"/>
                  <a:gd name="connsiteX15" fmla="*/ 828675 w 1176338"/>
                  <a:gd name="connsiteY15" fmla="*/ 776287 h 1240631"/>
                  <a:gd name="connsiteX16" fmla="*/ 852488 w 1176338"/>
                  <a:gd name="connsiteY16" fmla="*/ 771525 h 1240631"/>
                  <a:gd name="connsiteX17" fmla="*/ 902494 w 1176338"/>
                  <a:gd name="connsiteY17" fmla="*/ 776287 h 1240631"/>
                  <a:gd name="connsiteX18" fmla="*/ 892969 w 1176338"/>
                  <a:gd name="connsiteY18" fmla="*/ 802481 h 1240631"/>
                  <a:gd name="connsiteX19" fmla="*/ 959644 w 1176338"/>
                  <a:gd name="connsiteY19" fmla="*/ 785812 h 1240631"/>
                  <a:gd name="connsiteX20" fmla="*/ 1076325 w 1176338"/>
                  <a:gd name="connsiteY20" fmla="*/ 740569 h 1240631"/>
                  <a:gd name="connsiteX21" fmla="*/ 1107281 w 1176338"/>
                  <a:gd name="connsiteY21" fmla="*/ 695325 h 1240631"/>
                  <a:gd name="connsiteX22" fmla="*/ 1176338 w 1176338"/>
                  <a:gd name="connsiteY22" fmla="*/ 695325 h 1240631"/>
                  <a:gd name="connsiteX23" fmla="*/ 1171575 w 1176338"/>
                  <a:gd name="connsiteY23" fmla="*/ 671512 h 1240631"/>
                  <a:gd name="connsiteX24" fmla="*/ 1173956 w 1176338"/>
                  <a:gd name="connsiteY24" fmla="*/ 600075 h 1240631"/>
                  <a:gd name="connsiteX25" fmla="*/ 1138238 w 1176338"/>
                  <a:gd name="connsiteY25" fmla="*/ 547687 h 1240631"/>
                  <a:gd name="connsiteX26" fmla="*/ 1100138 w 1176338"/>
                  <a:gd name="connsiteY26" fmla="*/ 557212 h 1240631"/>
                  <a:gd name="connsiteX27" fmla="*/ 1050131 w 1176338"/>
                  <a:gd name="connsiteY27" fmla="*/ 533400 h 1240631"/>
                  <a:gd name="connsiteX28" fmla="*/ 978694 w 1176338"/>
                  <a:gd name="connsiteY28" fmla="*/ 576262 h 1240631"/>
                  <a:gd name="connsiteX29" fmla="*/ 964406 w 1176338"/>
                  <a:gd name="connsiteY29" fmla="*/ 557212 h 1240631"/>
                  <a:gd name="connsiteX30" fmla="*/ 923925 w 1176338"/>
                  <a:gd name="connsiteY30" fmla="*/ 542925 h 1240631"/>
                  <a:gd name="connsiteX31" fmla="*/ 923925 w 1176338"/>
                  <a:gd name="connsiteY31" fmla="*/ 492919 h 1240631"/>
                  <a:gd name="connsiteX32" fmla="*/ 866775 w 1176338"/>
                  <a:gd name="connsiteY32" fmla="*/ 419100 h 1240631"/>
                  <a:gd name="connsiteX33" fmla="*/ 935831 w 1176338"/>
                  <a:gd name="connsiteY33" fmla="*/ 373856 h 1240631"/>
                  <a:gd name="connsiteX34" fmla="*/ 907256 w 1176338"/>
                  <a:gd name="connsiteY34" fmla="*/ 314325 h 1240631"/>
                  <a:gd name="connsiteX35" fmla="*/ 878681 w 1176338"/>
                  <a:gd name="connsiteY35" fmla="*/ 297656 h 1240631"/>
                  <a:gd name="connsiteX36" fmla="*/ 831056 w 1176338"/>
                  <a:gd name="connsiteY36" fmla="*/ 283369 h 1240631"/>
                  <a:gd name="connsiteX37" fmla="*/ 852488 w 1176338"/>
                  <a:gd name="connsiteY37" fmla="*/ 264319 h 1240631"/>
                  <a:gd name="connsiteX38" fmla="*/ 838200 w 1176338"/>
                  <a:gd name="connsiteY38" fmla="*/ 228600 h 1240631"/>
                  <a:gd name="connsiteX39" fmla="*/ 919163 w 1176338"/>
                  <a:gd name="connsiteY39" fmla="*/ 230981 h 1240631"/>
                  <a:gd name="connsiteX40" fmla="*/ 957263 w 1176338"/>
                  <a:gd name="connsiteY40" fmla="*/ 128587 h 1240631"/>
                  <a:gd name="connsiteX41" fmla="*/ 1007269 w 1176338"/>
                  <a:gd name="connsiteY41" fmla="*/ 133350 h 1240631"/>
                  <a:gd name="connsiteX42" fmla="*/ 1059656 w 1176338"/>
                  <a:gd name="connsiteY42" fmla="*/ 26194 h 1240631"/>
                  <a:gd name="connsiteX43" fmla="*/ 1023938 w 1176338"/>
                  <a:gd name="connsiteY43" fmla="*/ 19050 h 1240631"/>
                  <a:gd name="connsiteX44" fmla="*/ 1002506 w 1176338"/>
                  <a:gd name="connsiteY44" fmla="*/ 0 h 1240631"/>
                  <a:gd name="connsiteX45" fmla="*/ 983456 w 1176338"/>
                  <a:gd name="connsiteY45" fmla="*/ 11906 h 1240631"/>
                  <a:gd name="connsiteX46" fmla="*/ 952500 w 1176338"/>
                  <a:gd name="connsiteY46" fmla="*/ 16669 h 1240631"/>
                  <a:gd name="connsiteX47" fmla="*/ 928688 w 1176338"/>
                  <a:gd name="connsiteY47" fmla="*/ 4762 h 1240631"/>
                  <a:gd name="connsiteX48" fmla="*/ 902494 w 1176338"/>
                  <a:gd name="connsiteY48" fmla="*/ 2381 h 1240631"/>
                  <a:gd name="connsiteX49" fmla="*/ 885825 w 1176338"/>
                  <a:gd name="connsiteY49" fmla="*/ 28575 h 1240631"/>
                  <a:gd name="connsiteX50" fmla="*/ 740569 w 1176338"/>
                  <a:gd name="connsiteY50" fmla="*/ 45244 h 1240631"/>
                  <a:gd name="connsiteX51" fmla="*/ 740569 w 1176338"/>
                  <a:gd name="connsiteY51" fmla="*/ 11906 h 1240631"/>
                  <a:gd name="connsiteX52" fmla="*/ 704850 w 1176338"/>
                  <a:gd name="connsiteY52" fmla="*/ 52387 h 1240631"/>
                  <a:gd name="connsiteX53" fmla="*/ 704850 w 1176338"/>
                  <a:gd name="connsiteY53" fmla="*/ 71437 h 1240631"/>
                  <a:gd name="connsiteX54" fmla="*/ 583406 w 1176338"/>
                  <a:gd name="connsiteY54" fmla="*/ 111919 h 1240631"/>
                  <a:gd name="connsiteX55" fmla="*/ 614363 w 1176338"/>
                  <a:gd name="connsiteY55" fmla="*/ 140494 h 1240631"/>
                  <a:gd name="connsiteX56" fmla="*/ 616744 w 1176338"/>
                  <a:gd name="connsiteY56" fmla="*/ 178594 h 1240631"/>
                  <a:gd name="connsiteX57" fmla="*/ 573881 w 1176338"/>
                  <a:gd name="connsiteY57" fmla="*/ 211931 h 1240631"/>
                  <a:gd name="connsiteX58" fmla="*/ 600075 w 1176338"/>
                  <a:gd name="connsiteY58" fmla="*/ 259556 h 1240631"/>
                  <a:gd name="connsiteX59" fmla="*/ 647700 w 1176338"/>
                  <a:gd name="connsiteY59" fmla="*/ 276225 h 1240631"/>
                  <a:gd name="connsiteX60" fmla="*/ 645319 w 1176338"/>
                  <a:gd name="connsiteY60" fmla="*/ 323850 h 1240631"/>
                  <a:gd name="connsiteX61" fmla="*/ 619125 w 1176338"/>
                  <a:gd name="connsiteY61" fmla="*/ 357187 h 1240631"/>
                  <a:gd name="connsiteX62" fmla="*/ 542925 w 1176338"/>
                  <a:gd name="connsiteY62" fmla="*/ 366712 h 1240631"/>
                  <a:gd name="connsiteX63" fmla="*/ 545306 w 1176338"/>
                  <a:gd name="connsiteY63" fmla="*/ 400050 h 1240631"/>
                  <a:gd name="connsiteX64" fmla="*/ 528638 w 1176338"/>
                  <a:gd name="connsiteY64" fmla="*/ 440531 h 1240631"/>
                  <a:gd name="connsiteX65" fmla="*/ 476250 w 1176338"/>
                  <a:gd name="connsiteY65" fmla="*/ 457200 h 1240631"/>
                  <a:gd name="connsiteX66" fmla="*/ 471488 w 1176338"/>
                  <a:gd name="connsiteY66" fmla="*/ 414337 h 1240631"/>
                  <a:gd name="connsiteX67" fmla="*/ 440531 w 1176338"/>
                  <a:gd name="connsiteY67" fmla="*/ 411956 h 1240631"/>
                  <a:gd name="connsiteX68" fmla="*/ 426244 w 1176338"/>
                  <a:gd name="connsiteY68" fmla="*/ 440531 h 1240631"/>
                  <a:gd name="connsiteX69" fmla="*/ 383381 w 1176338"/>
                  <a:gd name="connsiteY69" fmla="*/ 438150 h 1240631"/>
                  <a:gd name="connsiteX70" fmla="*/ 381000 w 1176338"/>
                  <a:gd name="connsiteY70" fmla="*/ 416719 h 1240631"/>
                  <a:gd name="connsiteX71" fmla="*/ 373856 w 1176338"/>
                  <a:gd name="connsiteY71" fmla="*/ 459581 h 1240631"/>
                  <a:gd name="connsiteX72" fmla="*/ 369094 w 1176338"/>
                  <a:gd name="connsiteY72" fmla="*/ 481012 h 1240631"/>
                  <a:gd name="connsiteX73" fmla="*/ 342900 w 1176338"/>
                  <a:gd name="connsiteY73" fmla="*/ 490537 h 1240631"/>
                  <a:gd name="connsiteX74" fmla="*/ 340519 w 1176338"/>
                  <a:gd name="connsiteY74" fmla="*/ 471487 h 1240631"/>
                  <a:gd name="connsiteX75" fmla="*/ 288131 w 1176338"/>
                  <a:gd name="connsiteY75" fmla="*/ 509587 h 1240631"/>
                  <a:gd name="connsiteX76" fmla="*/ 295275 w 1176338"/>
                  <a:gd name="connsiteY76" fmla="*/ 576262 h 1240631"/>
                  <a:gd name="connsiteX77" fmla="*/ 252413 w 1176338"/>
                  <a:gd name="connsiteY77" fmla="*/ 614362 h 1240631"/>
                  <a:gd name="connsiteX78" fmla="*/ 192881 w 1176338"/>
                  <a:gd name="connsiteY78" fmla="*/ 604837 h 1240631"/>
                  <a:gd name="connsiteX79" fmla="*/ 152400 w 1176338"/>
                  <a:gd name="connsiteY79" fmla="*/ 611981 h 1240631"/>
                  <a:gd name="connsiteX80" fmla="*/ 114300 w 1176338"/>
                  <a:gd name="connsiteY80" fmla="*/ 611981 h 1240631"/>
                  <a:gd name="connsiteX81" fmla="*/ 109538 w 1176338"/>
                  <a:gd name="connsiteY81" fmla="*/ 590550 h 1240631"/>
                  <a:gd name="connsiteX82" fmla="*/ 116681 w 1176338"/>
                  <a:gd name="connsiteY82" fmla="*/ 559594 h 1240631"/>
                  <a:gd name="connsiteX83" fmla="*/ 121444 w 1176338"/>
                  <a:gd name="connsiteY83" fmla="*/ 540544 h 1240631"/>
                  <a:gd name="connsiteX84" fmla="*/ 0 w 1176338"/>
                  <a:gd name="connsiteY84" fmla="*/ 671512 h 1240631"/>
                  <a:gd name="connsiteX85" fmla="*/ 11906 w 1176338"/>
                  <a:gd name="connsiteY85" fmla="*/ 781050 h 1240631"/>
                  <a:gd name="connsiteX86" fmla="*/ 45244 w 1176338"/>
                  <a:gd name="connsiteY86" fmla="*/ 781050 h 1240631"/>
                  <a:gd name="connsiteX87" fmla="*/ 28575 w 1176338"/>
                  <a:gd name="connsiteY87" fmla="*/ 838200 h 1240631"/>
                  <a:gd name="connsiteX88" fmla="*/ 16669 w 1176338"/>
                  <a:gd name="connsiteY88" fmla="*/ 876300 h 1240631"/>
                  <a:gd name="connsiteX89" fmla="*/ 40481 w 1176338"/>
                  <a:gd name="connsiteY89" fmla="*/ 876300 h 1240631"/>
                  <a:gd name="connsiteX90" fmla="*/ 42863 w 1176338"/>
                  <a:gd name="connsiteY90" fmla="*/ 845344 h 1240631"/>
                  <a:gd name="connsiteX91" fmla="*/ 164306 w 1176338"/>
                  <a:gd name="connsiteY91" fmla="*/ 962025 h 1240631"/>
                  <a:gd name="connsiteX92" fmla="*/ 180975 w 1176338"/>
                  <a:gd name="connsiteY92" fmla="*/ 964406 h 1240631"/>
                  <a:gd name="connsiteX93" fmla="*/ 188119 w 1176338"/>
                  <a:gd name="connsiteY93" fmla="*/ 992981 h 1240631"/>
                  <a:gd name="connsiteX94" fmla="*/ 197644 w 1176338"/>
                  <a:gd name="connsiteY94" fmla="*/ 1019175 h 1240631"/>
                  <a:gd name="connsiteX95" fmla="*/ 271463 w 1176338"/>
                  <a:gd name="connsiteY95" fmla="*/ 1000125 h 1240631"/>
                  <a:gd name="connsiteX96" fmla="*/ 269081 w 1176338"/>
                  <a:gd name="connsiteY96" fmla="*/ 1047750 h 1240631"/>
                  <a:gd name="connsiteX97" fmla="*/ 354806 w 1176338"/>
                  <a:gd name="connsiteY97" fmla="*/ 1092994 h 1240631"/>
                  <a:gd name="connsiteX98" fmla="*/ 409575 w 1176338"/>
                  <a:gd name="connsiteY98" fmla="*/ 1119187 h 1240631"/>
                  <a:gd name="connsiteX99" fmla="*/ 447675 w 1176338"/>
                  <a:gd name="connsiteY99" fmla="*/ 1143000 h 1240631"/>
                  <a:gd name="connsiteX100" fmla="*/ 452438 w 1176338"/>
                  <a:gd name="connsiteY100" fmla="*/ 1166812 h 1240631"/>
                  <a:gd name="connsiteX101" fmla="*/ 504825 w 1176338"/>
                  <a:gd name="connsiteY101" fmla="*/ 1123950 h 1240631"/>
                  <a:gd name="connsiteX102" fmla="*/ 588169 w 1176338"/>
                  <a:gd name="connsiteY102" fmla="*/ 1100137 h 1240631"/>
                  <a:gd name="connsiteX103" fmla="*/ 678656 w 1176338"/>
                  <a:gd name="connsiteY103" fmla="*/ 1107281 h 1240631"/>
                  <a:gd name="connsiteX104" fmla="*/ 728663 w 1176338"/>
                  <a:gd name="connsiteY104" fmla="*/ 1131094 h 1240631"/>
                  <a:gd name="connsiteX105" fmla="*/ 747713 w 1176338"/>
                  <a:gd name="connsiteY105" fmla="*/ 1152525 h 1240631"/>
                  <a:gd name="connsiteX106" fmla="*/ 785813 w 1176338"/>
                  <a:gd name="connsiteY106" fmla="*/ 1128712 h 1240631"/>
                  <a:gd name="connsiteX107" fmla="*/ 812006 w 1176338"/>
                  <a:gd name="connsiteY107" fmla="*/ 1188244 h 1240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1176338" h="1240631">
                    <a:moveTo>
                      <a:pt x="812006" y="1188244"/>
                    </a:moveTo>
                    <a:lnTo>
                      <a:pt x="850106" y="1240631"/>
                    </a:lnTo>
                    <a:lnTo>
                      <a:pt x="900113" y="1188244"/>
                    </a:lnTo>
                    <a:lnTo>
                      <a:pt x="921544" y="1112044"/>
                    </a:lnTo>
                    <a:lnTo>
                      <a:pt x="885825" y="1100137"/>
                    </a:lnTo>
                    <a:lnTo>
                      <a:pt x="845344" y="1064419"/>
                    </a:lnTo>
                    <a:lnTo>
                      <a:pt x="833438" y="1028700"/>
                    </a:lnTo>
                    <a:lnTo>
                      <a:pt x="819150" y="995362"/>
                    </a:lnTo>
                    <a:lnTo>
                      <a:pt x="816769" y="947737"/>
                    </a:lnTo>
                    <a:lnTo>
                      <a:pt x="804863" y="933450"/>
                    </a:lnTo>
                    <a:lnTo>
                      <a:pt x="783431" y="971550"/>
                    </a:lnTo>
                    <a:lnTo>
                      <a:pt x="762000" y="933450"/>
                    </a:lnTo>
                    <a:lnTo>
                      <a:pt x="771525" y="888206"/>
                    </a:lnTo>
                    <a:lnTo>
                      <a:pt x="804863" y="852487"/>
                    </a:lnTo>
                    <a:lnTo>
                      <a:pt x="797719" y="835819"/>
                    </a:lnTo>
                    <a:lnTo>
                      <a:pt x="828675" y="776287"/>
                    </a:lnTo>
                    <a:lnTo>
                      <a:pt x="852488" y="771525"/>
                    </a:lnTo>
                    <a:lnTo>
                      <a:pt x="902494" y="776287"/>
                    </a:lnTo>
                    <a:lnTo>
                      <a:pt x="892969" y="802481"/>
                    </a:lnTo>
                    <a:lnTo>
                      <a:pt x="959644" y="785812"/>
                    </a:lnTo>
                    <a:lnTo>
                      <a:pt x="1076325" y="740569"/>
                    </a:lnTo>
                    <a:lnTo>
                      <a:pt x="1107281" y="695325"/>
                    </a:lnTo>
                    <a:lnTo>
                      <a:pt x="1176338" y="695325"/>
                    </a:lnTo>
                    <a:lnTo>
                      <a:pt x="1171575" y="671512"/>
                    </a:lnTo>
                    <a:cubicBezTo>
                      <a:pt x="1172369" y="647700"/>
                      <a:pt x="1173162" y="623887"/>
                      <a:pt x="1173956" y="600075"/>
                    </a:cubicBezTo>
                    <a:lnTo>
                      <a:pt x="1138238" y="547687"/>
                    </a:lnTo>
                    <a:lnTo>
                      <a:pt x="1100138" y="557212"/>
                    </a:lnTo>
                    <a:lnTo>
                      <a:pt x="1050131" y="533400"/>
                    </a:lnTo>
                    <a:lnTo>
                      <a:pt x="978694" y="576262"/>
                    </a:lnTo>
                    <a:lnTo>
                      <a:pt x="964406" y="557212"/>
                    </a:lnTo>
                    <a:lnTo>
                      <a:pt x="923925" y="542925"/>
                    </a:lnTo>
                    <a:lnTo>
                      <a:pt x="923925" y="492919"/>
                    </a:lnTo>
                    <a:lnTo>
                      <a:pt x="866775" y="419100"/>
                    </a:lnTo>
                    <a:lnTo>
                      <a:pt x="935831" y="373856"/>
                    </a:lnTo>
                    <a:lnTo>
                      <a:pt x="907256" y="314325"/>
                    </a:lnTo>
                    <a:lnTo>
                      <a:pt x="878681" y="297656"/>
                    </a:lnTo>
                    <a:lnTo>
                      <a:pt x="831056" y="283369"/>
                    </a:lnTo>
                    <a:lnTo>
                      <a:pt x="852488" y="264319"/>
                    </a:lnTo>
                    <a:lnTo>
                      <a:pt x="838200" y="228600"/>
                    </a:lnTo>
                    <a:lnTo>
                      <a:pt x="919163" y="230981"/>
                    </a:lnTo>
                    <a:lnTo>
                      <a:pt x="957263" y="128587"/>
                    </a:lnTo>
                    <a:lnTo>
                      <a:pt x="1007269" y="133350"/>
                    </a:lnTo>
                    <a:lnTo>
                      <a:pt x="1059656" y="26194"/>
                    </a:lnTo>
                    <a:lnTo>
                      <a:pt x="1023938" y="19050"/>
                    </a:lnTo>
                    <a:lnTo>
                      <a:pt x="1002506" y="0"/>
                    </a:lnTo>
                    <a:lnTo>
                      <a:pt x="983456" y="11906"/>
                    </a:lnTo>
                    <a:lnTo>
                      <a:pt x="952500" y="16669"/>
                    </a:lnTo>
                    <a:lnTo>
                      <a:pt x="928688" y="4762"/>
                    </a:lnTo>
                    <a:lnTo>
                      <a:pt x="902494" y="2381"/>
                    </a:lnTo>
                    <a:lnTo>
                      <a:pt x="885825" y="28575"/>
                    </a:lnTo>
                    <a:lnTo>
                      <a:pt x="740569" y="45244"/>
                    </a:lnTo>
                    <a:lnTo>
                      <a:pt x="740569" y="11906"/>
                    </a:lnTo>
                    <a:lnTo>
                      <a:pt x="704850" y="52387"/>
                    </a:lnTo>
                    <a:lnTo>
                      <a:pt x="704850" y="71437"/>
                    </a:lnTo>
                    <a:lnTo>
                      <a:pt x="583406" y="111919"/>
                    </a:lnTo>
                    <a:lnTo>
                      <a:pt x="614363" y="140494"/>
                    </a:lnTo>
                    <a:lnTo>
                      <a:pt x="616744" y="178594"/>
                    </a:lnTo>
                    <a:lnTo>
                      <a:pt x="573881" y="211931"/>
                    </a:lnTo>
                    <a:lnTo>
                      <a:pt x="600075" y="259556"/>
                    </a:lnTo>
                    <a:lnTo>
                      <a:pt x="647700" y="276225"/>
                    </a:lnTo>
                    <a:lnTo>
                      <a:pt x="645319" y="323850"/>
                    </a:lnTo>
                    <a:lnTo>
                      <a:pt x="619125" y="357187"/>
                    </a:lnTo>
                    <a:lnTo>
                      <a:pt x="542925" y="366712"/>
                    </a:lnTo>
                    <a:lnTo>
                      <a:pt x="545306" y="400050"/>
                    </a:lnTo>
                    <a:lnTo>
                      <a:pt x="528638" y="440531"/>
                    </a:lnTo>
                    <a:lnTo>
                      <a:pt x="476250" y="457200"/>
                    </a:lnTo>
                    <a:lnTo>
                      <a:pt x="471488" y="414337"/>
                    </a:lnTo>
                    <a:lnTo>
                      <a:pt x="440531" y="411956"/>
                    </a:lnTo>
                    <a:lnTo>
                      <a:pt x="426244" y="440531"/>
                    </a:lnTo>
                    <a:lnTo>
                      <a:pt x="383381" y="438150"/>
                    </a:lnTo>
                    <a:lnTo>
                      <a:pt x="381000" y="416719"/>
                    </a:lnTo>
                    <a:lnTo>
                      <a:pt x="373856" y="459581"/>
                    </a:lnTo>
                    <a:lnTo>
                      <a:pt x="369094" y="481012"/>
                    </a:lnTo>
                    <a:lnTo>
                      <a:pt x="342900" y="490537"/>
                    </a:lnTo>
                    <a:lnTo>
                      <a:pt x="340519" y="471487"/>
                    </a:lnTo>
                    <a:lnTo>
                      <a:pt x="288131" y="509587"/>
                    </a:lnTo>
                    <a:lnTo>
                      <a:pt x="295275" y="576262"/>
                    </a:lnTo>
                    <a:lnTo>
                      <a:pt x="252413" y="614362"/>
                    </a:lnTo>
                    <a:lnTo>
                      <a:pt x="192881" y="604837"/>
                    </a:lnTo>
                    <a:lnTo>
                      <a:pt x="152400" y="611981"/>
                    </a:lnTo>
                    <a:lnTo>
                      <a:pt x="114300" y="611981"/>
                    </a:lnTo>
                    <a:lnTo>
                      <a:pt x="109538" y="590550"/>
                    </a:lnTo>
                    <a:lnTo>
                      <a:pt x="116681" y="559594"/>
                    </a:lnTo>
                    <a:lnTo>
                      <a:pt x="121444" y="540544"/>
                    </a:lnTo>
                    <a:lnTo>
                      <a:pt x="0" y="671512"/>
                    </a:lnTo>
                    <a:lnTo>
                      <a:pt x="11906" y="781050"/>
                    </a:lnTo>
                    <a:lnTo>
                      <a:pt x="45244" y="781050"/>
                    </a:lnTo>
                    <a:lnTo>
                      <a:pt x="28575" y="838200"/>
                    </a:lnTo>
                    <a:lnTo>
                      <a:pt x="16669" y="876300"/>
                    </a:lnTo>
                    <a:lnTo>
                      <a:pt x="40481" y="876300"/>
                    </a:lnTo>
                    <a:lnTo>
                      <a:pt x="42863" y="845344"/>
                    </a:lnTo>
                    <a:lnTo>
                      <a:pt x="164306" y="962025"/>
                    </a:lnTo>
                    <a:lnTo>
                      <a:pt x="180975" y="964406"/>
                    </a:lnTo>
                    <a:lnTo>
                      <a:pt x="188119" y="992981"/>
                    </a:lnTo>
                    <a:lnTo>
                      <a:pt x="197644" y="1019175"/>
                    </a:lnTo>
                    <a:lnTo>
                      <a:pt x="271463" y="1000125"/>
                    </a:lnTo>
                    <a:lnTo>
                      <a:pt x="269081" y="1047750"/>
                    </a:lnTo>
                    <a:lnTo>
                      <a:pt x="354806" y="1092994"/>
                    </a:lnTo>
                    <a:lnTo>
                      <a:pt x="409575" y="1119187"/>
                    </a:lnTo>
                    <a:lnTo>
                      <a:pt x="447675" y="1143000"/>
                    </a:lnTo>
                    <a:lnTo>
                      <a:pt x="452438" y="1166812"/>
                    </a:lnTo>
                    <a:lnTo>
                      <a:pt x="504825" y="1123950"/>
                    </a:lnTo>
                    <a:lnTo>
                      <a:pt x="588169" y="1100137"/>
                    </a:lnTo>
                    <a:lnTo>
                      <a:pt x="678656" y="1107281"/>
                    </a:lnTo>
                    <a:lnTo>
                      <a:pt x="728663" y="1131094"/>
                    </a:lnTo>
                    <a:lnTo>
                      <a:pt x="747713" y="1152525"/>
                    </a:lnTo>
                    <a:lnTo>
                      <a:pt x="785813" y="1128712"/>
                    </a:lnTo>
                    <a:lnTo>
                      <a:pt x="812006" y="118824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4" name="Figura a mano libera 193"/>
              <p:cNvSpPr/>
              <p:nvPr/>
            </p:nvSpPr>
            <p:spPr bwMode="auto">
              <a:xfrm>
                <a:off x="2812117" y="2579186"/>
                <a:ext cx="988142" cy="1056964"/>
              </a:xfrm>
              <a:custGeom>
                <a:avLst/>
                <a:gdLst>
                  <a:gd name="connsiteX0" fmla="*/ 788193 w 1316831"/>
                  <a:gd name="connsiteY0" fmla="*/ 1402556 h 1414462"/>
                  <a:gd name="connsiteX1" fmla="*/ 738187 w 1316831"/>
                  <a:gd name="connsiteY1" fmla="*/ 1373981 h 1414462"/>
                  <a:gd name="connsiteX2" fmla="*/ 704850 w 1316831"/>
                  <a:gd name="connsiteY2" fmla="*/ 1390650 h 1414462"/>
                  <a:gd name="connsiteX3" fmla="*/ 685800 w 1316831"/>
                  <a:gd name="connsiteY3" fmla="*/ 1409700 h 1414462"/>
                  <a:gd name="connsiteX4" fmla="*/ 657225 w 1316831"/>
                  <a:gd name="connsiteY4" fmla="*/ 1414462 h 1414462"/>
                  <a:gd name="connsiteX5" fmla="*/ 638175 w 1316831"/>
                  <a:gd name="connsiteY5" fmla="*/ 1385887 h 1414462"/>
                  <a:gd name="connsiteX6" fmla="*/ 650081 w 1316831"/>
                  <a:gd name="connsiteY6" fmla="*/ 1354931 h 1414462"/>
                  <a:gd name="connsiteX7" fmla="*/ 664368 w 1316831"/>
                  <a:gd name="connsiteY7" fmla="*/ 1371600 h 1414462"/>
                  <a:gd name="connsiteX8" fmla="*/ 690562 w 1316831"/>
                  <a:gd name="connsiteY8" fmla="*/ 1359694 h 1414462"/>
                  <a:gd name="connsiteX9" fmla="*/ 690562 w 1316831"/>
                  <a:gd name="connsiteY9" fmla="*/ 1331119 h 1414462"/>
                  <a:gd name="connsiteX10" fmla="*/ 673893 w 1316831"/>
                  <a:gd name="connsiteY10" fmla="*/ 1281112 h 1414462"/>
                  <a:gd name="connsiteX11" fmla="*/ 631031 w 1316831"/>
                  <a:gd name="connsiteY11" fmla="*/ 1238250 h 1414462"/>
                  <a:gd name="connsiteX12" fmla="*/ 595312 w 1316831"/>
                  <a:gd name="connsiteY12" fmla="*/ 1223962 h 1414462"/>
                  <a:gd name="connsiteX13" fmla="*/ 559593 w 1316831"/>
                  <a:gd name="connsiteY13" fmla="*/ 1159669 h 1414462"/>
                  <a:gd name="connsiteX14" fmla="*/ 471487 w 1316831"/>
                  <a:gd name="connsiteY14" fmla="*/ 1126331 h 1414462"/>
                  <a:gd name="connsiteX15" fmla="*/ 471487 w 1316831"/>
                  <a:gd name="connsiteY15" fmla="*/ 1085850 h 1414462"/>
                  <a:gd name="connsiteX16" fmla="*/ 485775 w 1316831"/>
                  <a:gd name="connsiteY16" fmla="*/ 1031081 h 1414462"/>
                  <a:gd name="connsiteX17" fmla="*/ 431006 w 1316831"/>
                  <a:gd name="connsiteY17" fmla="*/ 1021556 h 1414462"/>
                  <a:gd name="connsiteX18" fmla="*/ 376237 w 1316831"/>
                  <a:gd name="connsiteY18" fmla="*/ 1021556 h 1414462"/>
                  <a:gd name="connsiteX19" fmla="*/ 371475 w 1316831"/>
                  <a:gd name="connsiteY19" fmla="*/ 1045369 h 1414462"/>
                  <a:gd name="connsiteX20" fmla="*/ 347662 w 1316831"/>
                  <a:gd name="connsiteY20" fmla="*/ 1023937 h 1414462"/>
                  <a:gd name="connsiteX21" fmla="*/ 354806 w 1316831"/>
                  <a:gd name="connsiteY21" fmla="*/ 992981 h 1414462"/>
                  <a:gd name="connsiteX22" fmla="*/ 347662 w 1316831"/>
                  <a:gd name="connsiteY22" fmla="*/ 938212 h 1414462"/>
                  <a:gd name="connsiteX23" fmla="*/ 371475 w 1316831"/>
                  <a:gd name="connsiteY23" fmla="*/ 912019 h 1414462"/>
                  <a:gd name="connsiteX24" fmla="*/ 371475 w 1316831"/>
                  <a:gd name="connsiteY24" fmla="*/ 888206 h 1414462"/>
                  <a:gd name="connsiteX25" fmla="*/ 381000 w 1316831"/>
                  <a:gd name="connsiteY25" fmla="*/ 821531 h 1414462"/>
                  <a:gd name="connsiteX26" fmla="*/ 364331 w 1316831"/>
                  <a:gd name="connsiteY26" fmla="*/ 771525 h 1414462"/>
                  <a:gd name="connsiteX27" fmla="*/ 314325 w 1316831"/>
                  <a:gd name="connsiteY27" fmla="*/ 692944 h 1414462"/>
                  <a:gd name="connsiteX28" fmla="*/ 280987 w 1316831"/>
                  <a:gd name="connsiteY28" fmla="*/ 654844 h 1414462"/>
                  <a:gd name="connsiteX29" fmla="*/ 257175 w 1316831"/>
                  <a:gd name="connsiteY29" fmla="*/ 585787 h 1414462"/>
                  <a:gd name="connsiteX30" fmla="*/ 264318 w 1316831"/>
                  <a:gd name="connsiteY30" fmla="*/ 419100 h 1414462"/>
                  <a:gd name="connsiteX31" fmla="*/ 235743 w 1316831"/>
                  <a:gd name="connsiteY31" fmla="*/ 371475 h 1414462"/>
                  <a:gd name="connsiteX32" fmla="*/ 204787 w 1316831"/>
                  <a:gd name="connsiteY32" fmla="*/ 350044 h 1414462"/>
                  <a:gd name="connsiteX33" fmla="*/ 190500 w 1316831"/>
                  <a:gd name="connsiteY33" fmla="*/ 304800 h 1414462"/>
                  <a:gd name="connsiteX34" fmla="*/ 164306 w 1316831"/>
                  <a:gd name="connsiteY34" fmla="*/ 280987 h 1414462"/>
                  <a:gd name="connsiteX35" fmla="*/ 138112 w 1316831"/>
                  <a:gd name="connsiteY35" fmla="*/ 264319 h 1414462"/>
                  <a:gd name="connsiteX36" fmla="*/ 116681 w 1316831"/>
                  <a:gd name="connsiteY36" fmla="*/ 273844 h 1414462"/>
                  <a:gd name="connsiteX37" fmla="*/ 88106 w 1316831"/>
                  <a:gd name="connsiteY37" fmla="*/ 264319 h 1414462"/>
                  <a:gd name="connsiteX38" fmla="*/ 59531 w 1316831"/>
                  <a:gd name="connsiteY38" fmla="*/ 230981 h 1414462"/>
                  <a:gd name="connsiteX39" fmla="*/ 130968 w 1316831"/>
                  <a:gd name="connsiteY39" fmla="*/ 216694 h 1414462"/>
                  <a:gd name="connsiteX40" fmla="*/ 109537 w 1316831"/>
                  <a:gd name="connsiteY40" fmla="*/ 178594 h 1414462"/>
                  <a:gd name="connsiteX41" fmla="*/ 69056 w 1316831"/>
                  <a:gd name="connsiteY41" fmla="*/ 178594 h 1414462"/>
                  <a:gd name="connsiteX42" fmla="*/ 61912 w 1316831"/>
                  <a:gd name="connsiteY42" fmla="*/ 133350 h 1414462"/>
                  <a:gd name="connsiteX43" fmla="*/ 21431 w 1316831"/>
                  <a:gd name="connsiteY43" fmla="*/ 100012 h 1414462"/>
                  <a:gd name="connsiteX44" fmla="*/ 0 w 1316831"/>
                  <a:gd name="connsiteY44" fmla="*/ 61912 h 1414462"/>
                  <a:gd name="connsiteX45" fmla="*/ 42862 w 1316831"/>
                  <a:gd name="connsiteY45" fmla="*/ 40481 h 1414462"/>
                  <a:gd name="connsiteX46" fmla="*/ 64293 w 1316831"/>
                  <a:gd name="connsiteY46" fmla="*/ 0 h 1414462"/>
                  <a:gd name="connsiteX47" fmla="*/ 147637 w 1316831"/>
                  <a:gd name="connsiteY47" fmla="*/ 7144 h 1414462"/>
                  <a:gd name="connsiteX48" fmla="*/ 152400 w 1316831"/>
                  <a:gd name="connsiteY48" fmla="*/ 45244 h 1414462"/>
                  <a:gd name="connsiteX49" fmla="*/ 171450 w 1316831"/>
                  <a:gd name="connsiteY49" fmla="*/ 83344 h 1414462"/>
                  <a:gd name="connsiteX50" fmla="*/ 276225 w 1316831"/>
                  <a:gd name="connsiteY50" fmla="*/ 130969 h 1414462"/>
                  <a:gd name="connsiteX51" fmla="*/ 316706 w 1316831"/>
                  <a:gd name="connsiteY51" fmla="*/ 140494 h 1414462"/>
                  <a:gd name="connsiteX52" fmla="*/ 350043 w 1316831"/>
                  <a:gd name="connsiteY52" fmla="*/ 169069 h 1414462"/>
                  <a:gd name="connsiteX53" fmla="*/ 390525 w 1316831"/>
                  <a:gd name="connsiteY53" fmla="*/ 192881 h 1414462"/>
                  <a:gd name="connsiteX54" fmla="*/ 411956 w 1316831"/>
                  <a:gd name="connsiteY54" fmla="*/ 223837 h 1414462"/>
                  <a:gd name="connsiteX55" fmla="*/ 416718 w 1316831"/>
                  <a:gd name="connsiteY55" fmla="*/ 230981 h 1414462"/>
                  <a:gd name="connsiteX56" fmla="*/ 423862 w 1316831"/>
                  <a:gd name="connsiteY56" fmla="*/ 240506 h 1414462"/>
                  <a:gd name="connsiteX57" fmla="*/ 431006 w 1316831"/>
                  <a:gd name="connsiteY57" fmla="*/ 247650 h 1414462"/>
                  <a:gd name="connsiteX58" fmla="*/ 431006 w 1316831"/>
                  <a:gd name="connsiteY58" fmla="*/ 247650 h 1414462"/>
                  <a:gd name="connsiteX59" fmla="*/ 490537 w 1316831"/>
                  <a:gd name="connsiteY59" fmla="*/ 233362 h 1414462"/>
                  <a:gd name="connsiteX60" fmla="*/ 540543 w 1316831"/>
                  <a:gd name="connsiteY60" fmla="*/ 259556 h 1414462"/>
                  <a:gd name="connsiteX61" fmla="*/ 588168 w 1316831"/>
                  <a:gd name="connsiteY61" fmla="*/ 292894 h 1414462"/>
                  <a:gd name="connsiteX62" fmla="*/ 602456 w 1316831"/>
                  <a:gd name="connsiteY62" fmla="*/ 297656 h 1414462"/>
                  <a:gd name="connsiteX63" fmla="*/ 635793 w 1316831"/>
                  <a:gd name="connsiteY63" fmla="*/ 245269 h 1414462"/>
                  <a:gd name="connsiteX64" fmla="*/ 685800 w 1316831"/>
                  <a:gd name="connsiteY64" fmla="*/ 280987 h 1414462"/>
                  <a:gd name="connsiteX65" fmla="*/ 733425 w 1316831"/>
                  <a:gd name="connsiteY65" fmla="*/ 271462 h 1414462"/>
                  <a:gd name="connsiteX66" fmla="*/ 766762 w 1316831"/>
                  <a:gd name="connsiteY66" fmla="*/ 280987 h 1414462"/>
                  <a:gd name="connsiteX67" fmla="*/ 750093 w 1316831"/>
                  <a:gd name="connsiteY67" fmla="*/ 250031 h 1414462"/>
                  <a:gd name="connsiteX68" fmla="*/ 790575 w 1316831"/>
                  <a:gd name="connsiteY68" fmla="*/ 228600 h 1414462"/>
                  <a:gd name="connsiteX69" fmla="*/ 826293 w 1316831"/>
                  <a:gd name="connsiteY69" fmla="*/ 192881 h 1414462"/>
                  <a:gd name="connsiteX70" fmla="*/ 862012 w 1316831"/>
                  <a:gd name="connsiteY70" fmla="*/ 209550 h 1414462"/>
                  <a:gd name="connsiteX71" fmla="*/ 885825 w 1316831"/>
                  <a:gd name="connsiteY71" fmla="*/ 245269 h 1414462"/>
                  <a:gd name="connsiteX72" fmla="*/ 945356 w 1316831"/>
                  <a:gd name="connsiteY72" fmla="*/ 240506 h 1414462"/>
                  <a:gd name="connsiteX73" fmla="*/ 938212 w 1316831"/>
                  <a:gd name="connsiteY73" fmla="*/ 280987 h 1414462"/>
                  <a:gd name="connsiteX74" fmla="*/ 1012031 w 1316831"/>
                  <a:gd name="connsiteY74" fmla="*/ 278606 h 1414462"/>
                  <a:gd name="connsiteX75" fmla="*/ 981075 w 1316831"/>
                  <a:gd name="connsiteY75" fmla="*/ 347662 h 1414462"/>
                  <a:gd name="connsiteX76" fmla="*/ 966787 w 1316831"/>
                  <a:gd name="connsiteY76" fmla="*/ 378619 h 1414462"/>
                  <a:gd name="connsiteX77" fmla="*/ 988218 w 1316831"/>
                  <a:gd name="connsiteY77" fmla="*/ 400050 h 1414462"/>
                  <a:gd name="connsiteX78" fmla="*/ 985837 w 1316831"/>
                  <a:gd name="connsiteY78" fmla="*/ 442912 h 1414462"/>
                  <a:gd name="connsiteX79" fmla="*/ 1085850 w 1316831"/>
                  <a:gd name="connsiteY79" fmla="*/ 488156 h 1414462"/>
                  <a:gd name="connsiteX80" fmla="*/ 1143000 w 1316831"/>
                  <a:gd name="connsiteY80" fmla="*/ 523875 h 1414462"/>
                  <a:gd name="connsiteX81" fmla="*/ 1181100 w 1316831"/>
                  <a:gd name="connsiteY81" fmla="*/ 528637 h 1414462"/>
                  <a:gd name="connsiteX82" fmla="*/ 1281112 w 1316831"/>
                  <a:gd name="connsiteY82" fmla="*/ 516731 h 1414462"/>
                  <a:gd name="connsiteX83" fmla="*/ 1316831 w 1316831"/>
                  <a:gd name="connsiteY83" fmla="*/ 545306 h 1414462"/>
                  <a:gd name="connsiteX84" fmla="*/ 1202531 w 1316831"/>
                  <a:gd name="connsiteY84" fmla="*/ 609600 h 1414462"/>
                  <a:gd name="connsiteX85" fmla="*/ 1221581 w 1316831"/>
                  <a:gd name="connsiteY85" fmla="*/ 633412 h 1414462"/>
                  <a:gd name="connsiteX86" fmla="*/ 1183481 w 1316831"/>
                  <a:gd name="connsiteY86" fmla="*/ 683419 h 1414462"/>
                  <a:gd name="connsiteX87" fmla="*/ 1166812 w 1316831"/>
                  <a:gd name="connsiteY87" fmla="*/ 683419 h 1414462"/>
                  <a:gd name="connsiteX88" fmla="*/ 1195387 w 1316831"/>
                  <a:gd name="connsiteY88" fmla="*/ 711994 h 1414462"/>
                  <a:gd name="connsiteX89" fmla="*/ 1150143 w 1316831"/>
                  <a:gd name="connsiteY89" fmla="*/ 723900 h 1414462"/>
                  <a:gd name="connsiteX90" fmla="*/ 1123950 w 1316831"/>
                  <a:gd name="connsiteY90" fmla="*/ 745331 h 1414462"/>
                  <a:gd name="connsiteX91" fmla="*/ 1154906 w 1316831"/>
                  <a:gd name="connsiteY91" fmla="*/ 745331 h 1414462"/>
                  <a:gd name="connsiteX92" fmla="*/ 1183481 w 1316831"/>
                  <a:gd name="connsiteY92" fmla="*/ 790575 h 1414462"/>
                  <a:gd name="connsiteX93" fmla="*/ 1223962 w 1316831"/>
                  <a:gd name="connsiteY93" fmla="*/ 828675 h 1414462"/>
                  <a:gd name="connsiteX94" fmla="*/ 1216818 w 1316831"/>
                  <a:gd name="connsiteY94" fmla="*/ 840581 h 1414462"/>
                  <a:gd name="connsiteX95" fmla="*/ 1154906 w 1316831"/>
                  <a:gd name="connsiteY95" fmla="*/ 864394 h 1414462"/>
                  <a:gd name="connsiteX96" fmla="*/ 1147762 w 1316831"/>
                  <a:gd name="connsiteY96" fmla="*/ 847725 h 1414462"/>
                  <a:gd name="connsiteX97" fmla="*/ 1102518 w 1316831"/>
                  <a:gd name="connsiteY97" fmla="*/ 895350 h 1414462"/>
                  <a:gd name="connsiteX98" fmla="*/ 1052512 w 1316831"/>
                  <a:gd name="connsiteY98" fmla="*/ 945356 h 1414462"/>
                  <a:gd name="connsiteX99" fmla="*/ 1071562 w 1316831"/>
                  <a:gd name="connsiteY99" fmla="*/ 990600 h 1414462"/>
                  <a:gd name="connsiteX100" fmla="*/ 1100137 w 1316831"/>
                  <a:gd name="connsiteY100" fmla="*/ 1000125 h 1414462"/>
                  <a:gd name="connsiteX101" fmla="*/ 1092993 w 1316831"/>
                  <a:gd name="connsiteY101" fmla="*/ 1062037 h 1414462"/>
                  <a:gd name="connsiteX102" fmla="*/ 1071562 w 1316831"/>
                  <a:gd name="connsiteY102" fmla="*/ 1112044 h 1414462"/>
                  <a:gd name="connsiteX103" fmla="*/ 1057275 w 1316831"/>
                  <a:gd name="connsiteY103" fmla="*/ 1116806 h 1414462"/>
                  <a:gd name="connsiteX104" fmla="*/ 992981 w 1316831"/>
                  <a:gd name="connsiteY104" fmla="*/ 1131094 h 1414462"/>
                  <a:gd name="connsiteX105" fmla="*/ 1002506 w 1316831"/>
                  <a:gd name="connsiteY105" fmla="*/ 1243012 h 1414462"/>
                  <a:gd name="connsiteX106" fmla="*/ 966787 w 1316831"/>
                  <a:gd name="connsiteY106" fmla="*/ 1250156 h 1414462"/>
                  <a:gd name="connsiteX107" fmla="*/ 928687 w 1316831"/>
                  <a:gd name="connsiteY107" fmla="*/ 1278731 h 1414462"/>
                  <a:gd name="connsiteX108" fmla="*/ 890587 w 1316831"/>
                  <a:gd name="connsiteY108" fmla="*/ 1271587 h 1414462"/>
                  <a:gd name="connsiteX109" fmla="*/ 873918 w 1316831"/>
                  <a:gd name="connsiteY109" fmla="*/ 1328737 h 1414462"/>
                  <a:gd name="connsiteX110" fmla="*/ 909637 w 1316831"/>
                  <a:gd name="connsiteY110" fmla="*/ 1345406 h 1414462"/>
                  <a:gd name="connsiteX111" fmla="*/ 897731 w 1316831"/>
                  <a:gd name="connsiteY111" fmla="*/ 1369219 h 1414462"/>
                  <a:gd name="connsiteX112" fmla="*/ 788193 w 1316831"/>
                  <a:gd name="connsiteY112" fmla="*/ 1402556 h 1414462"/>
                  <a:gd name="connsiteX0" fmla="*/ 788193 w 1316831"/>
                  <a:gd name="connsiteY0" fmla="*/ 1402556 h 1414462"/>
                  <a:gd name="connsiteX1" fmla="*/ 738187 w 1316831"/>
                  <a:gd name="connsiteY1" fmla="*/ 1373981 h 1414462"/>
                  <a:gd name="connsiteX2" fmla="*/ 704850 w 1316831"/>
                  <a:gd name="connsiteY2" fmla="*/ 1390650 h 1414462"/>
                  <a:gd name="connsiteX3" fmla="*/ 685800 w 1316831"/>
                  <a:gd name="connsiteY3" fmla="*/ 1409700 h 1414462"/>
                  <a:gd name="connsiteX4" fmla="*/ 657225 w 1316831"/>
                  <a:gd name="connsiteY4" fmla="*/ 1414462 h 1414462"/>
                  <a:gd name="connsiteX5" fmla="*/ 638175 w 1316831"/>
                  <a:gd name="connsiteY5" fmla="*/ 1385887 h 1414462"/>
                  <a:gd name="connsiteX6" fmla="*/ 650081 w 1316831"/>
                  <a:gd name="connsiteY6" fmla="*/ 1354931 h 1414462"/>
                  <a:gd name="connsiteX7" fmla="*/ 664368 w 1316831"/>
                  <a:gd name="connsiteY7" fmla="*/ 1371600 h 1414462"/>
                  <a:gd name="connsiteX8" fmla="*/ 690562 w 1316831"/>
                  <a:gd name="connsiteY8" fmla="*/ 1359694 h 1414462"/>
                  <a:gd name="connsiteX9" fmla="*/ 690562 w 1316831"/>
                  <a:gd name="connsiteY9" fmla="*/ 1331119 h 1414462"/>
                  <a:gd name="connsiteX10" fmla="*/ 673893 w 1316831"/>
                  <a:gd name="connsiteY10" fmla="*/ 1281112 h 1414462"/>
                  <a:gd name="connsiteX11" fmla="*/ 631031 w 1316831"/>
                  <a:gd name="connsiteY11" fmla="*/ 1238250 h 1414462"/>
                  <a:gd name="connsiteX12" fmla="*/ 595312 w 1316831"/>
                  <a:gd name="connsiteY12" fmla="*/ 1223962 h 1414462"/>
                  <a:gd name="connsiteX13" fmla="*/ 559593 w 1316831"/>
                  <a:gd name="connsiteY13" fmla="*/ 1159669 h 1414462"/>
                  <a:gd name="connsiteX14" fmla="*/ 471487 w 1316831"/>
                  <a:gd name="connsiteY14" fmla="*/ 1126331 h 1414462"/>
                  <a:gd name="connsiteX15" fmla="*/ 471487 w 1316831"/>
                  <a:gd name="connsiteY15" fmla="*/ 1085850 h 1414462"/>
                  <a:gd name="connsiteX16" fmla="*/ 485775 w 1316831"/>
                  <a:gd name="connsiteY16" fmla="*/ 1031081 h 1414462"/>
                  <a:gd name="connsiteX17" fmla="*/ 431006 w 1316831"/>
                  <a:gd name="connsiteY17" fmla="*/ 1021556 h 1414462"/>
                  <a:gd name="connsiteX18" fmla="*/ 376237 w 1316831"/>
                  <a:gd name="connsiteY18" fmla="*/ 1021556 h 1414462"/>
                  <a:gd name="connsiteX19" fmla="*/ 371475 w 1316831"/>
                  <a:gd name="connsiteY19" fmla="*/ 1045369 h 1414462"/>
                  <a:gd name="connsiteX20" fmla="*/ 347662 w 1316831"/>
                  <a:gd name="connsiteY20" fmla="*/ 1023937 h 1414462"/>
                  <a:gd name="connsiteX21" fmla="*/ 354806 w 1316831"/>
                  <a:gd name="connsiteY21" fmla="*/ 992981 h 1414462"/>
                  <a:gd name="connsiteX22" fmla="*/ 347662 w 1316831"/>
                  <a:gd name="connsiteY22" fmla="*/ 938212 h 1414462"/>
                  <a:gd name="connsiteX23" fmla="*/ 371475 w 1316831"/>
                  <a:gd name="connsiteY23" fmla="*/ 912019 h 1414462"/>
                  <a:gd name="connsiteX24" fmla="*/ 371475 w 1316831"/>
                  <a:gd name="connsiteY24" fmla="*/ 888206 h 1414462"/>
                  <a:gd name="connsiteX25" fmla="*/ 381000 w 1316831"/>
                  <a:gd name="connsiteY25" fmla="*/ 821531 h 1414462"/>
                  <a:gd name="connsiteX26" fmla="*/ 364331 w 1316831"/>
                  <a:gd name="connsiteY26" fmla="*/ 771525 h 1414462"/>
                  <a:gd name="connsiteX27" fmla="*/ 314325 w 1316831"/>
                  <a:gd name="connsiteY27" fmla="*/ 692944 h 1414462"/>
                  <a:gd name="connsiteX28" fmla="*/ 280987 w 1316831"/>
                  <a:gd name="connsiteY28" fmla="*/ 654844 h 1414462"/>
                  <a:gd name="connsiteX29" fmla="*/ 257175 w 1316831"/>
                  <a:gd name="connsiteY29" fmla="*/ 585787 h 1414462"/>
                  <a:gd name="connsiteX30" fmla="*/ 264318 w 1316831"/>
                  <a:gd name="connsiteY30" fmla="*/ 419100 h 1414462"/>
                  <a:gd name="connsiteX31" fmla="*/ 235743 w 1316831"/>
                  <a:gd name="connsiteY31" fmla="*/ 371475 h 1414462"/>
                  <a:gd name="connsiteX32" fmla="*/ 204787 w 1316831"/>
                  <a:gd name="connsiteY32" fmla="*/ 350044 h 1414462"/>
                  <a:gd name="connsiteX33" fmla="*/ 190500 w 1316831"/>
                  <a:gd name="connsiteY33" fmla="*/ 304800 h 1414462"/>
                  <a:gd name="connsiteX34" fmla="*/ 164306 w 1316831"/>
                  <a:gd name="connsiteY34" fmla="*/ 280987 h 1414462"/>
                  <a:gd name="connsiteX35" fmla="*/ 138112 w 1316831"/>
                  <a:gd name="connsiteY35" fmla="*/ 264319 h 1414462"/>
                  <a:gd name="connsiteX36" fmla="*/ 116681 w 1316831"/>
                  <a:gd name="connsiteY36" fmla="*/ 273844 h 1414462"/>
                  <a:gd name="connsiteX37" fmla="*/ 88106 w 1316831"/>
                  <a:gd name="connsiteY37" fmla="*/ 264319 h 1414462"/>
                  <a:gd name="connsiteX38" fmla="*/ 95250 w 1316831"/>
                  <a:gd name="connsiteY38" fmla="*/ 223837 h 1414462"/>
                  <a:gd name="connsiteX39" fmla="*/ 130968 w 1316831"/>
                  <a:gd name="connsiteY39" fmla="*/ 216694 h 1414462"/>
                  <a:gd name="connsiteX40" fmla="*/ 109537 w 1316831"/>
                  <a:gd name="connsiteY40" fmla="*/ 178594 h 1414462"/>
                  <a:gd name="connsiteX41" fmla="*/ 69056 w 1316831"/>
                  <a:gd name="connsiteY41" fmla="*/ 178594 h 1414462"/>
                  <a:gd name="connsiteX42" fmla="*/ 61912 w 1316831"/>
                  <a:gd name="connsiteY42" fmla="*/ 133350 h 1414462"/>
                  <a:gd name="connsiteX43" fmla="*/ 21431 w 1316831"/>
                  <a:gd name="connsiteY43" fmla="*/ 100012 h 1414462"/>
                  <a:gd name="connsiteX44" fmla="*/ 0 w 1316831"/>
                  <a:gd name="connsiteY44" fmla="*/ 61912 h 1414462"/>
                  <a:gd name="connsiteX45" fmla="*/ 42862 w 1316831"/>
                  <a:gd name="connsiteY45" fmla="*/ 40481 h 1414462"/>
                  <a:gd name="connsiteX46" fmla="*/ 64293 w 1316831"/>
                  <a:gd name="connsiteY46" fmla="*/ 0 h 1414462"/>
                  <a:gd name="connsiteX47" fmla="*/ 147637 w 1316831"/>
                  <a:gd name="connsiteY47" fmla="*/ 7144 h 1414462"/>
                  <a:gd name="connsiteX48" fmla="*/ 152400 w 1316831"/>
                  <a:gd name="connsiteY48" fmla="*/ 45244 h 1414462"/>
                  <a:gd name="connsiteX49" fmla="*/ 171450 w 1316831"/>
                  <a:gd name="connsiteY49" fmla="*/ 83344 h 1414462"/>
                  <a:gd name="connsiteX50" fmla="*/ 276225 w 1316831"/>
                  <a:gd name="connsiteY50" fmla="*/ 130969 h 1414462"/>
                  <a:gd name="connsiteX51" fmla="*/ 316706 w 1316831"/>
                  <a:gd name="connsiteY51" fmla="*/ 140494 h 1414462"/>
                  <a:gd name="connsiteX52" fmla="*/ 350043 w 1316831"/>
                  <a:gd name="connsiteY52" fmla="*/ 169069 h 1414462"/>
                  <a:gd name="connsiteX53" fmla="*/ 390525 w 1316831"/>
                  <a:gd name="connsiteY53" fmla="*/ 192881 h 1414462"/>
                  <a:gd name="connsiteX54" fmla="*/ 411956 w 1316831"/>
                  <a:gd name="connsiteY54" fmla="*/ 223837 h 1414462"/>
                  <a:gd name="connsiteX55" fmla="*/ 416718 w 1316831"/>
                  <a:gd name="connsiteY55" fmla="*/ 230981 h 1414462"/>
                  <a:gd name="connsiteX56" fmla="*/ 423862 w 1316831"/>
                  <a:gd name="connsiteY56" fmla="*/ 240506 h 1414462"/>
                  <a:gd name="connsiteX57" fmla="*/ 431006 w 1316831"/>
                  <a:gd name="connsiteY57" fmla="*/ 247650 h 1414462"/>
                  <a:gd name="connsiteX58" fmla="*/ 431006 w 1316831"/>
                  <a:gd name="connsiteY58" fmla="*/ 247650 h 1414462"/>
                  <a:gd name="connsiteX59" fmla="*/ 490537 w 1316831"/>
                  <a:gd name="connsiteY59" fmla="*/ 233362 h 1414462"/>
                  <a:gd name="connsiteX60" fmla="*/ 540543 w 1316831"/>
                  <a:gd name="connsiteY60" fmla="*/ 259556 h 1414462"/>
                  <a:gd name="connsiteX61" fmla="*/ 588168 w 1316831"/>
                  <a:gd name="connsiteY61" fmla="*/ 292894 h 1414462"/>
                  <a:gd name="connsiteX62" fmla="*/ 602456 w 1316831"/>
                  <a:gd name="connsiteY62" fmla="*/ 297656 h 1414462"/>
                  <a:gd name="connsiteX63" fmla="*/ 635793 w 1316831"/>
                  <a:gd name="connsiteY63" fmla="*/ 245269 h 1414462"/>
                  <a:gd name="connsiteX64" fmla="*/ 685800 w 1316831"/>
                  <a:gd name="connsiteY64" fmla="*/ 280987 h 1414462"/>
                  <a:gd name="connsiteX65" fmla="*/ 733425 w 1316831"/>
                  <a:gd name="connsiteY65" fmla="*/ 271462 h 1414462"/>
                  <a:gd name="connsiteX66" fmla="*/ 766762 w 1316831"/>
                  <a:gd name="connsiteY66" fmla="*/ 280987 h 1414462"/>
                  <a:gd name="connsiteX67" fmla="*/ 750093 w 1316831"/>
                  <a:gd name="connsiteY67" fmla="*/ 250031 h 1414462"/>
                  <a:gd name="connsiteX68" fmla="*/ 790575 w 1316831"/>
                  <a:gd name="connsiteY68" fmla="*/ 228600 h 1414462"/>
                  <a:gd name="connsiteX69" fmla="*/ 826293 w 1316831"/>
                  <a:gd name="connsiteY69" fmla="*/ 192881 h 1414462"/>
                  <a:gd name="connsiteX70" fmla="*/ 862012 w 1316831"/>
                  <a:gd name="connsiteY70" fmla="*/ 209550 h 1414462"/>
                  <a:gd name="connsiteX71" fmla="*/ 885825 w 1316831"/>
                  <a:gd name="connsiteY71" fmla="*/ 245269 h 1414462"/>
                  <a:gd name="connsiteX72" fmla="*/ 945356 w 1316831"/>
                  <a:gd name="connsiteY72" fmla="*/ 240506 h 1414462"/>
                  <a:gd name="connsiteX73" fmla="*/ 938212 w 1316831"/>
                  <a:gd name="connsiteY73" fmla="*/ 280987 h 1414462"/>
                  <a:gd name="connsiteX74" fmla="*/ 1012031 w 1316831"/>
                  <a:gd name="connsiteY74" fmla="*/ 278606 h 1414462"/>
                  <a:gd name="connsiteX75" fmla="*/ 981075 w 1316831"/>
                  <a:gd name="connsiteY75" fmla="*/ 347662 h 1414462"/>
                  <a:gd name="connsiteX76" fmla="*/ 966787 w 1316831"/>
                  <a:gd name="connsiteY76" fmla="*/ 378619 h 1414462"/>
                  <a:gd name="connsiteX77" fmla="*/ 988218 w 1316831"/>
                  <a:gd name="connsiteY77" fmla="*/ 400050 h 1414462"/>
                  <a:gd name="connsiteX78" fmla="*/ 985837 w 1316831"/>
                  <a:gd name="connsiteY78" fmla="*/ 442912 h 1414462"/>
                  <a:gd name="connsiteX79" fmla="*/ 1085850 w 1316831"/>
                  <a:gd name="connsiteY79" fmla="*/ 488156 h 1414462"/>
                  <a:gd name="connsiteX80" fmla="*/ 1143000 w 1316831"/>
                  <a:gd name="connsiteY80" fmla="*/ 523875 h 1414462"/>
                  <a:gd name="connsiteX81" fmla="*/ 1181100 w 1316831"/>
                  <a:gd name="connsiteY81" fmla="*/ 528637 h 1414462"/>
                  <a:gd name="connsiteX82" fmla="*/ 1281112 w 1316831"/>
                  <a:gd name="connsiteY82" fmla="*/ 516731 h 1414462"/>
                  <a:gd name="connsiteX83" fmla="*/ 1316831 w 1316831"/>
                  <a:gd name="connsiteY83" fmla="*/ 545306 h 1414462"/>
                  <a:gd name="connsiteX84" fmla="*/ 1202531 w 1316831"/>
                  <a:gd name="connsiteY84" fmla="*/ 609600 h 1414462"/>
                  <a:gd name="connsiteX85" fmla="*/ 1221581 w 1316831"/>
                  <a:gd name="connsiteY85" fmla="*/ 633412 h 1414462"/>
                  <a:gd name="connsiteX86" fmla="*/ 1183481 w 1316831"/>
                  <a:gd name="connsiteY86" fmla="*/ 683419 h 1414462"/>
                  <a:gd name="connsiteX87" fmla="*/ 1166812 w 1316831"/>
                  <a:gd name="connsiteY87" fmla="*/ 683419 h 1414462"/>
                  <a:gd name="connsiteX88" fmla="*/ 1195387 w 1316831"/>
                  <a:gd name="connsiteY88" fmla="*/ 711994 h 1414462"/>
                  <a:gd name="connsiteX89" fmla="*/ 1150143 w 1316831"/>
                  <a:gd name="connsiteY89" fmla="*/ 723900 h 1414462"/>
                  <a:gd name="connsiteX90" fmla="*/ 1123950 w 1316831"/>
                  <a:gd name="connsiteY90" fmla="*/ 745331 h 1414462"/>
                  <a:gd name="connsiteX91" fmla="*/ 1154906 w 1316831"/>
                  <a:gd name="connsiteY91" fmla="*/ 745331 h 1414462"/>
                  <a:gd name="connsiteX92" fmla="*/ 1183481 w 1316831"/>
                  <a:gd name="connsiteY92" fmla="*/ 790575 h 1414462"/>
                  <a:gd name="connsiteX93" fmla="*/ 1223962 w 1316831"/>
                  <a:gd name="connsiteY93" fmla="*/ 828675 h 1414462"/>
                  <a:gd name="connsiteX94" fmla="*/ 1216818 w 1316831"/>
                  <a:gd name="connsiteY94" fmla="*/ 840581 h 1414462"/>
                  <a:gd name="connsiteX95" fmla="*/ 1154906 w 1316831"/>
                  <a:gd name="connsiteY95" fmla="*/ 864394 h 1414462"/>
                  <a:gd name="connsiteX96" fmla="*/ 1147762 w 1316831"/>
                  <a:gd name="connsiteY96" fmla="*/ 847725 h 1414462"/>
                  <a:gd name="connsiteX97" fmla="*/ 1102518 w 1316831"/>
                  <a:gd name="connsiteY97" fmla="*/ 895350 h 1414462"/>
                  <a:gd name="connsiteX98" fmla="*/ 1052512 w 1316831"/>
                  <a:gd name="connsiteY98" fmla="*/ 945356 h 1414462"/>
                  <a:gd name="connsiteX99" fmla="*/ 1071562 w 1316831"/>
                  <a:gd name="connsiteY99" fmla="*/ 990600 h 1414462"/>
                  <a:gd name="connsiteX100" fmla="*/ 1100137 w 1316831"/>
                  <a:gd name="connsiteY100" fmla="*/ 1000125 h 1414462"/>
                  <a:gd name="connsiteX101" fmla="*/ 1092993 w 1316831"/>
                  <a:gd name="connsiteY101" fmla="*/ 1062037 h 1414462"/>
                  <a:gd name="connsiteX102" fmla="*/ 1071562 w 1316831"/>
                  <a:gd name="connsiteY102" fmla="*/ 1112044 h 1414462"/>
                  <a:gd name="connsiteX103" fmla="*/ 1057275 w 1316831"/>
                  <a:gd name="connsiteY103" fmla="*/ 1116806 h 1414462"/>
                  <a:gd name="connsiteX104" fmla="*/ 992981 w 1316831"/>
                  <a:gd name="connsiteY104" fmla="*/ 1131094 h 1414462"/>
                  <a:gd name="connsiteX105" fmla="*/ 1002506 w 1316831"/>
                  <a:gd name="connsiteY105" fmla="*/ 1243012 h 1414462"/>
                  <a:gd name="connsiteX106" fmla="*/ 966787 w 1316831"/>
                  <a:gd name="connsiteY106" fmla="*/ 1250156 h 1414462"/>
                  <a:gd name="connsiteX107" fmla="*/ 928687 w 1316831"/>
                  <a:gd name="connsiteY107" fmla="*/ 1278731 h 1414462"/>
                  <a:gd name="connsiteX108" fmla="*/ 890587 w 1316831"/>
                  <a:gd name="connsiteY108" fmla="*/ 1271587 h 1414462"/>
                  <a:gd name="connsiteX109" fmla="*/ 873918 w 1316831"/>
                  <a:gd name="connsiteY109" fmla="*/ 1328737 h 1414462"/>
                  <a:gd name="connsiteX110" fmla="*/ 909637 w 1316831"/>
                  <a:gd name="connsiteY110" fmla="*/ 1345406 h 1414462"/>
                  <a:gd name="connsiteX111" fmla="*/ 897731 w 1316831"/>
                  <a:gd name="connsiteY111" fmla="*/ 1369219 h 1414462"/>
                  <a:gd name="connsiteX112" fmla="*/ 788193 w 1316831"/>
                  <a:gd name="connsiteY112" fmla="*/ 1402556 h 1414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1316831" h="1414462">
                    <a:moveTo>
                      <a:pt x="788193" y="1402556"/>
                    </a:moveTo>
                    <a:lnTo>
                      <a:pt x="738187" y="1373981"/>
                    </a:lnTo>
                    <a:lnTo>
                      <a:pt x="704850" y="1390650"/>
                    </a:lnTo>
                    <a:lnTo>
                      <a:pt x="685800" y="1409700"/>
                    </a:lnTo>
                    <a:lnTo>
                      <a:pt x="657225" y="1414462"/>
                    </a:lnTo>
                    <a:lnTo>
                      <a:pt x="638175" y="1385887"/>
                    </a:lnTo>
                    <a:lnTo>
                      <a:pt x="650081" y="1354931"/>
                    </a:lnTo>
                    <a:lnTo>
                      <a:pt x="664368" y="1371600"/>
                    </a:lnTo>
                    <a:lnTo>
                      <a:pt x="690562" y="1359694"/>
                    </a:lnTo>
                    <a:lnTo>
                      <a:pt x="690562" y="1331119"/>
                    </a:lnTo>
                    <a:lnTo>
                      <a:pt x="673893" y="1281112"/>
                    </a:lnTo>
                    <a:lnTo>
                      <a:pt x="631031" y="1238250"/>
                    </a:lnTo>
                    <a:lnTo>
                      <a:pt x="595312" y="1223962"/>
                    </a:lnTo>
                    <a:lnTo>
                      <a:pt x="559593" y="1159669"/>
                    </a:lnTo>
                    <a:lnTo>
                      <a:pt x="471487" y="1126331"/>
                    </a:lnTo>
                    <a:lnTo>
                      <a:pt x="471487" y="1085850"/>
                    </a:lnTo>
                    <a:lnTo>
                      <a:pt x="485775" y="1031081"/>
                    </a:lnTo>
                    <a:lnTo>
                      <a:pt x="431006" y="1021556"/>
                    </a:lnTo>
                    <a:lnTo>
                      <a:pt x="376237" y="1021556"/>
                    </a:lnTo>
                    <a:lnTo>
                      <a:pt x="371475" y="1045369"/>
                    </a:lnTo>
                    <a:lnTo>
                      <a:pt x="347662" y="1023937"/>
                    </a:lnTo>
                    <a:lnTo>
                      <a:pt x="354806" y="992981"/>
                    </a:lnTo>
                    <a:lnTo>
                      <a:pt x="347662" y="938212"/>
                    </a:lnTo>
                    <a:lnTo>
                      <a:pt x="371475" y="912019"/>
                    </a:lnTo>
                    <a:lnTo>
                      <a:pt x="371475" y="888206"/>
                    </a:lnTo>
                    <a:lnTo>
                      <a:pt x="381000" y="821531"/>
                    </a:lnTo>
                    <a:lnTo>
                      <a:pt x="364331" y="771525"/>
                    </a:lnTo>
                    <a:lnTo>
                      <a:pt x="314325" y="692944"/>
                    </a:lnTo>
                    <a:lnTo>
                      <a:pt x="280987" y="654844"/>
                    </a:lnTo>
                    <a:lnTo>
                      <a:pt x="257175" y="585787"/>
                    </a:lnTo>
                    <a:lnTo>
                      <a:pt x="264318" y="419100"/>
                    </a:lnTo>
                    <a:lnTo>
                      <a:pt x="235743" y="371475"/>
                    </a:lnTo>
                    <a:lnTo>
                      <a:pt x="204787" y="350044"/>
                    </a:lnTo>
                    <a:lnTo>
                      <a:pt x="190500" y="304800"/>
                    </a:lnTo>
                    <a:lnTo>
                      <a:pt x="164306" y="280987"/>
                    </a:lnTo>
                    <a:lnTo>
                      <a:pt x="138112" y="264319"/>
                    </a:lnTo>
                    <a:lnTo>
                      <a:pt x="116681" y="273844"/>
                    </a:lnTo>
                    <a:lnTo>
                      <a:pt x="88106" y="264319"/>
                    </a:lnTo>
                    <a:lnTo>
                      <a:pt x="95250" y="223837"/>
                    </a:lnTo>
                    <a:lnTo>
                      <a:pt x="130968" y="216694"/>
                    </a:lnTo>
                    <a:lnTo>
                      <a:pt x="109537" y="178594"/>
                    </a:lnTo>
                    <a:lnTo>
                      <a:pt x="69056" y="178594"/>
                    </a:lnTo>
                    <a:lnTo>
                      <a:pt x="61912" y="133350"/>
                    </a:lnTo>
                    <a:lnTo>
                      <a:pt x="21431" y="100012"/>
                    </a:lnTo>
                    <a:lnTo>
                      <a:pt x="0" y="61912"/>
                    </a:lnTo>
                    <a:lnTo>
                      <a:pt x="42862" y="40481"/>
                    </a:lnTo>
                    <a:lnTo>
                      <a:pt x="64293" y="0"/>
                    </a:lnTo>
                    <a:lnTo>
                      <a:pt x="147637" y="7144"/>
                    </a:lnTo>
                    <a:lnTo>
                      <a:pt x="152400" y="45244"/>
                    </a:lnTo>
                    <a:lnTo>
                      <a:pt x="171450" y="83344"/>
                    </a:lnTo>
                    <a:lnTo>
                      <a:pt x="276225" y="130969"/>
                    </a:lnTo>
                    <a:lnTo>
                      <a:pt x="316706" y="140494"/>
                    </a:lnTo>
                    <a:lnTo>
                      <a:pt x="350043" y="169069"/>
                    </a:lnTo>
                    <a:lnTo>
                      <a:pt x="390525" y="192881"/>
                    </a:lnTo>
                    <a:lnTo>
                      <a:pt x="411956" y="223837"/>
                    </a:lnTo>
                    <a:cubicBezTo>
                      <a:pt x="413577" y="226195"/>
                      <a:pt x="415001" y="228692"/>
                      <a:pt x="416718" y="230981"/>
                    </a:cubicBezTo>
                    <a:cubicBezTo>
                      <a:pt x="419099" y="234156"/>
                      <a:pt x="421279" y="237493"/>
                      <a:pt x="423862" y="240506"/>
                    </a:cubicBezTo>
                    <a:cubicBezTo>
                      <a:pt x="426054" y="243063"/>
                      <a:pt x="431006" y="247650"/>
                      <a:pt x="431006" y="247650"/>
                    </a:cubicBezTo>
                    <a:lnTo>
                      <a:pt x="431006" y="247650"/>
                    </a:lnTo>
                    <a:lnTo>
                      <a:pt x="490537" y="233362"/>
                    </a:lnTo>
                    <a:lnTo>
                      <a:pt x="540543" y="259556"/>
                    </a:lnTo>
                    <a:lnTo>
                      <a:pt x="588168" y="292894"/>
                    </a:lnTo>
                    <a:lnTo>
                      <a:pt x="602456" y="297656"/>
                    </a:lnTo>
                    <a:lnTo>
                      <a:pt x="635793" y="245269"/>
                    </a:lnTo>
                    <a:lnTo>
                      <a:pt x="685800" y="280987"/>
                    </a:lnTo>
                    <a:lnTo>
                      <a:pt x="733425" y="271462"/>
                    </a:lnTo>
                    <a:lnTo>
                      <a:pt x="766762" y="280987"/>
                    </a:lnTo>
                    <a:lnTo>
                      <a:pt x="750093" y="250031"/>
                    </a:lnTo>
                    <a:lnTo>
                      <a:pt x="790575" y="228600"/>
                    </a:lnTo>
                    <a:lnTo>
                      <a:pt x="826293" y="192881"/>
                    </a:lnTo>
                    <a:lnTo>
                      <a:pt x="862012" y="209550"/>
                    </a:lnTo>
                    <a:lnTo>
                      <a:pt x="885825" y="245269"/>
                    </a:lnTo>
                    <a:lnTo>
                      <a:pt x="945356" y="240506"/>
                    </a:lnTo>
                    <a:lnTo>
                      <a:pt x="938212" y="280987"/>
                    </a:lnTo>
                    <a:lnTo>
                      <a:pt x="1012031" y="278606"/>
                    </a:lnTo>
                    <a:lnTo>
                      <a:pt x="981075" y="347662"/>
                    </a:lnTo>
                    <a:lnTo>
                      <a:pt x="966787" y="378619"/>
                    </a:lnTo>
                    <a:lnTo>
                      <a:pt x="988218" y="400050"/>
                    </a:lnTo>
                    <a:lnTo>
                      <a:pt x="985837" y="442912"/>
                    </a:lnTo>
                    <a:lnTo>
                      <a:pt x="1085850" y="488156"/>
                    </a:lnTo>
                    <a:lnTo>
                      <a:pt x="1143000" y="523875"/>
                    </a:lnTo>
                    <a:lnTo>
                      <a:pt x="1181100" y="528637"/>
                    </a:lnTo>
                    <a:lnTo>
                      <a:pt x="1281112" y="516731"/>
                    </a:lnTo>
                    <a:lnTo>
                      <a:pt x="1316831" y="545306"/>
                    </a:lnTo>
                    <a:lnTo>
                      <a:pt x="1202531" y="609600"/>
                    </a:lnTo>
                    <a:lnTo>
                      <a:pt x="1221581" y="633412"/>
                    </a:lnTo>
                    <a:lnTo>
                      <a:pt x="1183481" y="683419"/>
                    </a:lnTo>
                    <a:lnTo>
                      <a:pt x="1166812" y="683419"/>
                    </a:lnTo>
                    <a:lnTo>
                      <a:pt x="1195387" y="711994"/>
                    </a:lnTo>
                    <a:lnTo>
                      <a:pt x="1150143" y="723900"/>
                    </a:lnTo>
                    <a:lnTo>
                      <a:pt x="1123950" y="745331"/>
                    </a:lnTo>
                    <a:lnTo>
                      <a:pt x="1154906" y="745331"/>
                    </a:lnTo>
                    <a:lnTo>
                      <a:pt x="1183481" y="790575"/>
                    </a:lnTo>
                    <a:lnTo>
                      <a:pt x="1223962" y="828675"/>
                    </a:lnTo>
                    <a:lnTo>
                      <a:pt x="1216818" y="840581"/>
                    </a:lnTo>
                    <a:lnTo>
                      <a:pt x="1154906" y="864394"/>
                    </a:lnTo>
                    <a:lnTo>
                      <a:pt x="1147762" y="847725"/>
                    </a:lnTo>
                    <a:lnTo>
                      <a:pt x="1102518" y="895350"/>
                    </a:lnTo>
                    <a:lnTo>
                      <a:pt x="1052512" y="945356"/>
                    </a:lnTo>
                    <a:lnTo>
                      <a:pt x="1071562" y="990600"/>
                    </a:lnTo>
                    <a:lnTo>
                      <a:pt x="1100137" y="1000125"/>
                    </a:lnTo>
                    <a:lnTo>
                      <a:pt x="1092993" y="1062037"/>
                    </a:lnTo>
                    <a:lnTo>
                      <a:pt x="1071562" y="1112044"/>
                    </a:lnTo>
                    <a:lnTo>
                      <a:pt x="1057275" y="1116806"/>
                    </a:lnTo>
                    <a:lnTo>
                      <a:pt x="992981" y="1131094"/>
                    </a:lnTo>
                    <a:lnTo>
                      <a:pt x="1002506" y="1243012"/>
                    </a:lnTo>
                    <a:lnTo>
                      <a:pt x="966787" y="1250156"/>
                    </a:lnTo>
                    <a:lnTo>
                      <a:pt x="928687" y="1278731"/>
                    </a:lnTo>
                    <a:lnTo>
                      <a:pt x="890587" y="1271587"/>
                    </a:lnTo>
                    <a:lnTo>
                      <a:pt x="873918" y="1328737"/>
                    </a:lnTo>
                    <a:lnTo>
                      <a:pt x="909637" y="1345406"/>
                    </a:lnTo>
                    <a:lnTo>
                      <a:pt x="897731" y="1369219"/>
                    </a:lnTo>
                    <a:lnTo>
                      <a:pt x="788193" y="14025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5" name="Figura a mano libera 194"/>
              <p:cNvSpPr/>
              <p:nvPr/>
            </p:nvSpPr>
            <p:spPr bwMode="auto">
              <a:xfrm>
                <a:off x="3405832" y="3405157"/>
                <a:ext cx="989526" cy="817572"/>
              </a:xfrm>
              <a:custGeom>
                <a:avLst/>
                <a:gdLst>
                  <a:gd name="connsiteX0" fmla="*/ 1190625 w 1319213"/>
                  <a:gd name="connsiteY0" fmla="*/ 1078706 h 1095375"/>
                  <a:gd name="connsiteX1" fmla="*/ 1121569 w 1319213"/>
                  <a:gd name="connsiteY1" fmla="*/ 1052512 h 1095375"/>
                  <a:gd name="connsiteX2" fmla="*/ 1102519 w 1319213"/>
                  <a:gd name="connsiteY2" fmla="*/ 1059656 h 1095375"/>
                  <a:gd name="connsiteX3" fmla="*/ 1092994 w 1319213"/>
                  <a:gd name="connsiteY3" fmla="*/ 1064419 h 1095375"/>
                  <a:gd name="connsiteX4" fmla="*/ 1090613 w 1319213"/>
                  <a:gd name="connsiteY4" fmla="*/ 1095375 h 1095375"/>
                  <a:gd name="connsiteX5" fmla="*/ 1090613 w 1319213"/>
                  <a:gd name="connsiteY5" fmla="*/ 1095375 h 1095375"/>
                  <a:gd name="connsiteX6" fmla="*/ 990600 w 1319213"/>
                  <a:gd name="connsiteY6" fmla="*/ 1045369 h 1095375"/>
                  <a:gd name="connsiteX7" fmla="*/ 942975 w 1319213"/>
                  <a:gd name="connsiteY7" fmla="*/ 1045369 h 1095375"/>
                  <a:gd name="connsiteX8" fmla="*/ 904875 w 1319213"/>
                  <a:gd name="connsiteY8" fmla="*/ 1038225 h 1095375"/>
                  <a:gd name="connsiteX9" fmla="*/ 866775 w 1319213"/>
                  <a:gd name="connsiteY9" fmla="*/ 1062037 h 1095375"/>
                  <a:gd name="connsiteX10" fmla="*/ 823913 w 1319213"/>
                  <a:gd name="connsiteY10" fmla="*/ 1092994 h 1095375"/>
                  <a:gd name="connsiteX11" fmla="*/ 802481 w 1319213"/>
                  <a:gd name="connsiteY11" fmla="*/ 1062037 h 1095375"/>
                  <a:gd name="connsiteX12" fmla="*/ 781050 w 1319213"/>
                  <a:gd name="connsiteY12" fmla="*/ 997744 h 1095375"/>
                  <a:gd name="connsiteX13" fmla="*/ 711994 w 1319213"/>
                  <a:gd name="connsiteY13" fmla="*/ 954881 h 1095375"/>
                  <a:gd name="connsiteX14" fmla="*/ 685800 w 1319213"/>
                  <a:gd name="connsiteY14" fmla="*/ 950119 h 1095375"/>
                  <a:gd name="connsiteX15" fmla="*/ 664369 w 1319213"/>
                  <a:gd name="connsiteY15" fmla="*/ 971550 h 1095375"/>
                  <a:gd name="connsiteX16" fmla="*/ 621506 w 1319213"/>
                  <a:gd name="connsiteY16" fmla="*/ 919162 h 1095375"/>
                  <a:gd name="connsiteX17" fmla="*/ 592931 w 1319213"/>
                  <a:gd name="connsiteY17" fmla="*/ 933450 h 1095375"/>
                  <a:gd name="connsiteX18" fmla="*/ 542925 w 1319213"/>
                  <a:gd name="connsiteY18" fmla="*/ 852487 h 1095375"/>
                  <a:gd name="connsiteX19" fmla="*/ 457200 w 1319213"/>
                  <a:gd name="connsiteY19" fmla="*/ 754856 h 1095375"/>
                  <a:gd name="connsiteX20" fmla="*/ 383381 w 1319213"/>
                  <a:gd name="connsiteY20" fmla="*/ 726281 h 1095375"/>
                  <a:gd name="connsiteX21" fmla="*/ 395288 w 1319213"/>
                  <a:gd name="connsiteY21" fmla="*/ 690562 h 1095375"/>
                  <a:gd name="connsiteX22" fmla="*/ 378619 w 1319213"/>
                  <a:gd name="connsiteY22" fmla="*/ 652462 h 1095375"/>
                  <a:gd name="connsiteX23" fmla="*/ 342900 w 1319213"/>
                  <a:gd name="connsiteY23" fmla="*/ 602456 h 1095375"/>
                  <a:gd name="connsiteX24" fmla="*/ 266700 w 1319213"/>
                  <a:gd name="connsiteY24" fmla="*/ 545306 h 1095375"/>
                  <a:gd name="connsiteX25" fmla="*/ 226219 w 1319213"/>
                  <a:gd name="connsiteY25" fmla="*/ 521494 h 1095375"/>
                  <a:gd name="connsiteX26" fmla="*/ 197644 w 1319213"/>
                  <a:gd name="connsiteY26" fmla="*/ 545306 h 1095375"/>
                  <a:gd name="connsiteX27" fmla="*/ 152400 w 1319213"/>
                  <a:gd name="connsiteY27" fmla="*/ 431006 h 1095375"/>
                  <a:gd name="connsiteX28" fmla="*/ 142875 w 1319213"/>
                  <a:gd name="connsiteY28" fmla="*/ 395287 h 1095375"/>
                  <a:gd name="connsiteX29" fmla="*/ 85725 w 1319213"/>
                  <a:gd name="connsiteY29" fmla="*/ 328612 h 1095375"/>
                  <a:gd name="connsiteX30" fmla="*/ 11906 w 1319213"/>
                  <a:gd name="connsiteY30" fmla="*/ 304800 h 1095375"/>
                  <a:gd name="connsiteX31" fmla="*/ 0 w 1319213"/>
                  <a:gd name="connsiteY31" fmla="*/ 283369 h 1095375"/>
                  <a:gd name="connsiteX32" fmla="*/ 23813 w 1319213"/>
                  <a:gd name="connsiteY32" fmla="*/ 259556 h 1095375"/>
                  <a:gd name="connsiteX33" fmla="*/ 83344 w 1319213"/>
                  <a:gd name="connsiteY33" fmla="*/ 264319 h 1095375"/>
                  <a:gd name="connsiteX34" fmla="*/ 95250 w 1319213"/>
                  <a:gd name="connsiteY34" fmla="*/ 247650 h 1095375"/>
                  <a:gd name="connsiteX35" fmla="*/ 104775 w 1319213"/>
                  <a:gd name="connsiteY35" fmla="*/ 226219 h 1095375"/>
                  <a:gd name="connsiteX36" fmla="*/ 73819 w 1319213"/>
                  <a:gd name="connsiteY36" fmla="*/ 204787 h 1095375"/>
                  <a:gd name="connsiteX37" fmla="*/ 78581 w 1319213"/>
                  <a:gd name="connsiteY37" fmla="*/ 171450 h 1095375"/>
                  <a:gd name="connsiteX38" fmla="*/ 119063 w 1319213"/>
                  <a:gd name="connsiteY38" fmla="*/ 171450 h 1095375"/>
                  <a:gd name="connsiteX39" fmla="*/ 161925 w 1319213"/>
                  <a:gd name="connsiteY39" fmla="*/ 142875 h 1095375"/>
                  <a:gd name="connsiteX40" fmla="*/ 173831 w 1319213"/>
                  <a:gd name="connsiteY40" fmla="*/ 133350 h 1095375"/>
                  <a:gd name="connsiteX41" fmla="*/ 200025 w 1319213"/>
                  <a:gd name="connsiteY41" fmla="*/ 133350 h 1095375"/>
                  <a:gd name="connsiteX42" fmla="*/ 190500 w 1319213"/>
                  <a:gd name="connsiteY42" fmla="*/ 78581 h 1095375"/>
                  <a:gd name="connsiteX43" fmla="*/ 180975 w 1319213"/>
                  <a:gd name="connsiteY43" fmla="*/ 45244 h 1095375"/>
                  <a:gd name="connsiteX44" fmla="*/ 180975 w 1319213"/>
                  <a:gd name="connsiteY44" fmla="*/ 14287 h 1095375"/>
                  <a:gd name="connsiteX45" fmla="*/ 226219 w 1319213"/>
                  <a:gd name="connsiteY45" fmla="*/ 4762 h 1095375"/>
                  <a:gd name="connsiteX46" fmla="*/ 259556 w 1319213"/>
                  <a:gd name="connsiteY46" fmla="*/ 0 h 1095375"/>
                  <a:gd name="connsiteX47" fmla="*/ 264319 w 1319213"/>
                  <a:gd name="connsiteY47" fmla="*/ 28575 h 1095375"/>
                  <a:gd name="connsiteX48" fmla="*/ 273844 w 1319213"/>
                  <a:gd name="connsiteY48" fmla="*/ 64294 h 1095375"/>
                  <a:gd name="connsiteX49" fmla="*/ 292894 w 1319213"/>
                  <a:gd name="connsiteY49" fmla="*/ 66675 h 1095375"/>
                  <a:gd name="connsiteX50" fmla="*/ 264319 w 1319213"/>
                  <a:gd name="connsiteY50" fmla="*/ 97631 h 1095375"/>
                  <a:gd name="connsiteX51" fmla="*/ 307181 w 1319213"/>
                  <a:gd name="connsiteY51" fmla="*/ 114300 h 1095375"/>
                  <a:gd name="connsiteX52" fmla="*/ 314325 w 1319213"/>
                  <a:gd name="connsiteY52" fmla="*/ 138112 h 1095375"/>
                  <a:gd name="connsiteX53" fmla="*/ 342900 w 1319213"/>
                  <a:gd name="connsiteY53" fmla="*/ 119062 h 1095375"/>
                  <a:gd name="connsiteX54" fmla="*/ 373856 w 1319213"/>
                  <a:gd name="connsiteY54" fmla="*/ 126206 h 1095375"/>
                  <a:gd name="connsiteX55" fmla="*/ 392906 w 1319213"/>
                  <a:gd name="connsiteY55" fmla="*/ 97631 h 1095375"/>
                  <a:gd name="connsiteX56" fmla="*/ 419100 w 1319213"/>
                  <a:gd name="connsiteY56" fmla="*/ 126206 h 1095375"/>
                  <a:gd name="connsiteX57" fmla="*/ 416719 w 1319213"/>
                  <a:gd name="connsiteY57" fmla="*/ 150019 h 1095375"/>
                  <a:gd name="connsiteX58" fmla="*/ 457200 w 1319213"/>
                  <a:gd name="connsiteY58" fmla="*/ 216694 h 1095375"/>
                  <a:gd name="connsiteX59" fmla="*/ 488156 w 1319213"/>
                  <a:gd name="connsiteY59" fmla="*/ 259556 h 1095375"/>
                  <a:gd name="connsiteX60" fmla="*/ 497681 w 1319213"/>
                  <a:gd name="connsiteY60" fmla="*/ 235744 h 1095375"/>
                  <a:gd name="connsiteX61" fmla="*/ 519113 w 1319213"/>
                  <a:gd name="connsiteY61" fmla="*/ 273844 h 1095375"/>
                  <a:gd name="connsiteX62" fmla="*/ 538163 w 1319213"/>
                  <a:gd name="connsiteY62" fmla="*/ 292894 h 1095375"/>
                  <a:gd name="connsiteX63" fmla="*/ 557213 w 1319213"/>
                  <a:gd name="connsiteY63" fmla="*/ 309562 h 1095375"/>
                  <a:gd name="connsiteX64" fmla="*/ 561975 w 1319213"/>
                  <a:gd name="connsiteY64" fmla="*/ 333375 h 1095375"/>
                  <a:gd name="connsiteX65" fmla="*/ 592931 w 1319213"/>
                  <a:gd name="connsiteY65" fmla="*/ 302419 h 1095375"/>
                  <a:gd name="connsiteX66" fmla="*/ 602456 w 1319213"/>
                  <a:gd name="connsiteY66" fmla="*/ 261937 h 1095375"/>
                  <a:gd name="connsiteX67" fmla="*/ 631031 w 1319213"/>
                  <a:gd name="connsiteY67" fmla="*/ 278606 h 1095375"/>
                  <a:gd name="connsiteX68" fmla="*/ 661988 w 1319213"/>
                  <a:gd name="connsiteY68" fmla="*/ 259556 h 1095375"/>
                  <a:gd name="connsiteX69" fmla="*/ 652463 w 1319213"/>
                  <a:gd name="connsiteY69" fmla="*/ 238125 h 1095375"/>
                  <a:gd name="connsiteX70" fmla="*/ 676275 w 1319213"/>
                  <a:gd name="connsiteY70" fmla="*/ 233362 h 1095375"/>
                  <a:gd name="connsiteX71" fmla="*/ 692944 w 1319213"/>
                  <a:gd name="connsiteY71" fmla="*/ 209550 h 1095375"/>
                  <a:gd name="connsiteX72" fmla="*/ 719138 w 1319213"/>
                  <a:gd name="connsiteY72" fmla="*/ 223837 h 1095375"/>
                  <a:gd name="connsiteX73" fmla="*/ 745331 w 1319213"/>
                  <a:gd name="connsiteY73" fmla="*/ 183356 h 1095375"/>
                  <a:gd name="connsiteX74" fmla="*/ 742950 w 1319213"/>
                  <a:gd name="connsiteY74" fmla="*/ 161925 h 1095375"/>
                  <a:gd name="connsiteX75" fmla="*/ 781050 w 1319213"/>
                  <a:gd name="connsiteY75" fmla="*/ 164306 h 1095375"/>
                  <a:gd name="connsiteX76" fmla="*/ 859631 w 1319213"/>
                  <a:gd name="connsiteY76" fmla="*/ 152400 h 1095375"/>
                  <a:gd name="connsiteX77" fmla="*/ 890588 w 1319213"/>
                  <a:gd name="connsiteY77" fmla="*/ 145256 h 1095375"/>
                  <a:gd name="connsiteX78" fmla="*/ 904875 w 1319213"/>
                  <a:gd name="connsiteY78" fmla="*/ 119062 h 1095375"/>
                  <a:gd name="connsiteX79" fmla="*/ 895350 w 1319213"/>
                  <a:gd name="connsiteY79" fmla="*/ 83344 h 1095375"/>
                  <a:gd name="connsiteX80" fmla="*/ 921544 w 1319213"/>
                  <a:gd name="connsiteY80" fmla="*/ 61912 h 1095375"/>
                  <a:gd name="connsiteX81" fmla="*/ 950119 w 1319213"/>
                  <a:gd name="connsiteY81" fmla="*/ 92869 h 1095375"/>
                  <a:gd name="connsiteX82" fmla="*/ 981075 w 1319213"/>
                  <a:gd name="connsiteY82" fmla="*/ 126206 h 1095375"/>
                  <a:gd name="connsiteX83" fmla="*/ 1000125 w 1319213"/>
                  <a:gd name="connsiteY83" fmla="*/ 157162 h 1095375"/>
                  <a:gd name="connsiteX84" fmla="*/ 1004888 w 1319213"/>
                  <a:gd name="connsiteY84" fmla="*/ 190500 h 1095375"/>
                  <a:gd name="connsiteX85" fmla="*/ 959644 w 1319213"/>
                  <a:gd name="connsiteY85" fmla="*/ 190500 h 1095375"/>
                  <a:gd name="connsiteX86" fmla="*/ 914400 w 1319213"/>
                  <a:gd name="connsiteY86" fmla="*/ 180975 h 1095375"/>
                  <a:gd name="connsiteX87" fmla="*/ 914400 w 1319213"/>
                  <a:gd name="connsiteY87" fmla="*/ 180975 h 1095375"/>
                  <a:gd name="connsiteX88" fmla="*/ 895350 w 1319213"/>
                  <a:gd name="connsiteY88" fmla="*/ 214312 h 1095375"/>
                  <a:gd name="connsiteX89" fmla="*/ 885825 w 1319213"/>
                  <a:gd name="connsiteY89" fmla="*/ 250031 h 1095375"/>
                  <a:gd name="connsiteX90" fmla="*/ 852488 w 1319213"/>
                  <a:gd name="connsiteY90" fmla="*/ 290512 h 1095375"/>
                  <a:gd name="connsiteX91" fmla="*/ 888206 w 1319213"/>
                  <a:gd name="connsiteY91" fmla="*/ 316706 h 1095375"/>
                  <a:gd name="connsiteX92" fmla="*/ 897731 w 1319213"/>
                  <a:gd name="connsiteY92" fmla="*/ 369094 h 1095375"/>
                  <a:gd name="connsiteX93" fmla="*/ 947738 w 1319213"/>
                  <a:gd name="connsiteY93" fmla="*/ 416719 h 1095375"/>
                  <a:gd name="connsiteX94" fmla="*/ 985838 w 1319213"/>
                  <a:gd name="connsiteY94" fmla="*/ 440531 h 1095375"/>
                  <a:gd name="connsiteX95" fmla="*/ 985838 w 1319213"/>
                  <a:gd name="connsiteY95" fmla="*/ 464344 h 1095375"/>
                  <a:gd name="connsiteX96" fmla="*/ 964406 w 1319213"/>
                  <a:gd name="connsiteY96" fmla="*/ 469106 h 1095375"/>
                  <a:gd name="connsiteX97" fmla="*/ 954881 w 1319213"/>
                  <a:gd name="connsiteY97" fmla="*/ 488156 h 1095375"/>
                  <a:gd name="connsiteX98" fmla="*/ 954881 w 1319213"/>
                  <a:gd name="connsiteY98" fmla="*/ 488156 h 1095375"/>
                  <a:gd name="connsiteX99" fmla="*/ 892969 w 1319213"/>
                  <a:gd name="connsiteY99" fmla="*/ 471487 h 1095375"/>
                  <a:gd name="connsiteX100" fmla="*/ 838200 w 1319213"/>
                  <a:gd name="connsiteY100" fmla="*/ 445294 h 1095375"/>
                  <a:gd name="connsiteX101" fmla="*/ 823913 w 1319213"/>
                  <a:gd name="connsiteY101" fmla="*/ 485775 h 1095375"/>
                  <a:gd name="connsiteX102" fmla="*/ 802481 w 1319213"/>
                  <a:gd name="connsiteY102" fmla="*/ 490537 h 1095375"/>
                  <a:gd name="connsiteX103" fmla="*/ 826294 w 1319213"/>
                  <a:gd name="connsiteY103" fmla="*/ 547687 h 1095375"/>
                  <a:gd name="connsiteX104" fmla="*/ 912019 w 1319213"/>
                  <a:gd name="connsiteY104" fmla="*/ 578644 h 1095375"/>
                  <a:gd name="connsiteX105" fmla="*/ 997744 w 1319213"/>
                  <a:gd name="connsiteY105" fmla="*/ 623887 h 1095375"/>
                  <a:gd name="connsiteX106" fmla="*/ 995363 w 1319213"/>
                  <a:gd name="connsiteY106" fmla="*/ 704850 h 1095375"/>
                  <a:gd name="connsiteX107" fmla="*/ 1028700 w 1319213"/>
                  <a:gd name="connsiteY107" fmla="*/ 690562 h 1095375"/>
                  <a:gd name="connsiteX108" fmla="*/ 1083469 w 1319213"/>
                  <a:gd name="connsiteY108" fmla="*/ 735806 h 1095375"/>
                  <a:gd name="connsiteX109" fmla="*/ 1145381 w 1319213"/>
                  <a:gd name="connsiteY109" fmla="*/ 697706 h 1095375"/>
                  <a:gd name="connsiteX110" fmla="*/ 1207294 w 1319213"/>
                  <a:gd name="connsiteY110" fmla="*/ 750094 h 1095375"/>
                  <a:gd name="connsiteX111" fmla="*/ 1262063 w 1319213"/>
                  <a:gd name="connsiteY111" fmla="*/ 785812 h 1095375"/>
                  <a:gd name="connsiteX112" fmla="*/ 1283494 w 1319213"/>
                  <a:gd name="connsiteY112" fmla="*/ 788194 h 1095375"/>
                  <a:gd name="connsiteX113" fmla="*/ 1319213 w 1319213"/>
                  <a:gd name="connsiteY113" fmla="*/ 897731 h 1095375"/>
                  <a:gd name="connsiteX114" fmla="*/ 1297781 w 1319213"/>
                  <a:gd name="connsiteY114" fmla="*/ 914400 h 1095375"/>
                  <a:gd name="connsiteX115" fmla="*/ 1293019 w 1319213"/>
                  <a:gd name="connsiteY115" fmla="*/ 933450 h 1095375"/>
                  <a:gd name="connsiteX116" fmla="*/ 1293019 w 1319213"/>
                  <a:gd name="connsiteY116" fmla="*/ 933450 h 1095375"/>
                  <a:gd name="connsiteX117" fmla="*/ 1243013 w 1319213"/>
                  <a:gd name="connsiteY117" fmla="*/ 947737 h 1095375"/>
                  <a:gd name="connsiteX118" fmla="*/ 1245394 w 1319213"/>
                  <a:gd name="connsiteY118" fmla="*/ 1031081 h 1095375"/>
                  <a:gd name="connsiteX119" fmla="*/ 1190625 w 1319213"/>
                  <a:gd name="connsiteY119" fmla="*/ 1078706 h 109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19213" h="1095375">
                    <a:moveTo>
                      <a:pt x="1190625" y="1078706"/>
                    </a:moveTo>
                    <a:lnTo>
                      <a:pt x="1121569" y="1052512"/>
                    </a:lnTo>
                    <a:lnTo>
                      <a:pt x="1102519" y="1059656"/>
                    </a:lnTo>
                    <a:cubicBezTo>
                      <a:pt x="1093919" y="1062783"/>
                      <a:pt x="1097325" y="1060087"/>
                      <a:pt x="1092994" y="1064419"/>
                    </a:cubicBezTo>
                    <a:lnTo>
                      <a:pt x="1090613" y="1095375"/>
                    </a:lnTo>
                    <a:lnTo>
                      <a:pt x="1090613" y="1095375"/>
                    </a:lnTo>
                    <a:lnTo>
                      <a:pt x="990600" y="1045369"/>
                    </a:lnTo>
                    <a:lnTo>
                      <a:pt x="942975" y="1045369"/>
                    </a:lnTo>
                    <a:lnTo>
                      <a:pt x="904875" y="1038225"/>
                    </a:lnTo>
                    <a:lnTo>
                      <a:pt x="866775" y="1062037"/>
                    </a:lnTo>
                    <a:lnTo>
                      <a:pt x="823913" y="1092994"/>
                    </a:lnTo>
                    <a:lnTo>
                      <a:pt x="802481" y="1062037"/>
                    </a:lnTo>
                    <a:lnTo>
                      <a:pt x="781050" y="997744"/>
                    </a:lnTo>
                    <a:lnTo>
                      <a:pt x="711994" y="954881"/>
                    </a:lnTo>
                    <a:lnTo>
                      <a:pt x="685800" y="950119"/>
                    </a:lnTo>
                    <a:lnTo>
                      <a:pt x="664369" y="971550"/>
                    </a:lnTo>
                    <a:lnTo>
                      <a:pt x="621506" y="919162"/>
                    </a:lnTo>
                    <a:lnTo>
                      <a:pt x="592931" y="933450"/>
                    </a:lnTo>
                    <a:lnTo>
                      <a:pt x="542925" y="852487"/>
                    </a:lnTo>
                    <a:lnTo>
                      <a:pt x="457200" y="754856"/>
                    </a:lnTo>
                    <a:lnTo>
                      <a:pt x="383381" y="726281"/>
                    </a:lnTo>
                    <a:lnTo>
                      <a:pt x="395288" y="690562"/>
                    </a:lnTo>
                    <a:lnTo>
                      <a:pt x="378619" y="652462"/>
                    </a:lnTo>
                    <a:lnTo>
                      <a:pt x="342900" y="602456"/>
                    </a:lnTo>
                    <a:lnTo>
                      <a:pt x="266700" y="545306"/>
                    </a:lnTo>
                    <a:lnTo>
                      <a:pt x="226219" y="521494"/>
                    </a:lnTo>
                    <a:lnTo>
                      <a:pt x="197644" y="545306"/>
                    </a:lnTo>
                    <a:lnTo>
                      <a:pt x="152400" y="431006"/>
                    </a:lnTo>
                    <a:lnTo>
                      <a:pt x="142875" y="395287"/>
                    </a:lnTo>
                    <a:lnTo>
                      <a:pt x="85725" y="328612"/>
                    </a:lnTo>
                    <a:lnTo>
                      <a:pt x="11906" y="304800"/>
                    </a:lnTo>
                    <a:lnTo>
                      <a:pt x="0" y="283369"/>
                    </a:lnTo>
                    <a:lnTo>
                      <a:pt x="23813" y="259556"/>
                    </a:lnTo>
                    <a:lnTo>
                      <a:pt x="83344" y="264319"/>
                    </a:lnTo>
                    <a:lnTo>
                      <a:pt x="95250" y="247650"/>
                    </a:lnTo>
                    <a:lnTo>
                      <a:pt x="104775" y="226219"/>
                    </a:lnTo>
                    <a:lnTo>
                      <a:pt x="73819" y="204787"/>
                    </a:lnTo>
                    <a:lnTo>
                      <a:pt x="78581" y="171450"/>
                    </a:lnTo>
                    <a:lnTo>
                      <a:pt x="119063" y="171450"/>
                    </a:lnTo>
                    <a:lnTo>
                      <a:pt x="161925" y="142875"/>
                    </a:lnTo>
                    <a:lnTo>
                      <a:pt x="173831" y="133350"/>
                    </a:lnTo>
                    <a:lnTo>
                      <a:pt x="200025" y="133350"/>
                    </a:lnTo>
                    <a:lnTo>
                      <a:pt x="190500" y="78581"/>
                    </a:lnTo>
                    <a:lnTo>
                      <a:pt x="180975" y="45244"/>
                    </a:lnTo>
                    <a:lnTo>
                      <a:pt x="180975" y="14287"/>
                    </a:lnTo>
                    <a:lnTo>
                      <a:pt x="226219" y="4762"/>
                    </a:lnTo>
                    <a:lnTo>
                      <a:pt x="259556" y="0"/>
                    </a:lnTo>
                    <a:lnTo>
                      <a:pt x="264319" y="28575"/>
                    </a:lnTo>
                    <a:lnTo>
                      <a:pt x="273844" y="64294"/>
                    </a:lnTo>
                    <a:lnTo>
                      <a:pt x="292894" y="66675"/>
                    </a:lnTo>
                    <a:lnTo>
                      <a:pt x="264319" y="97631"/>
                    </a:lnTo>
                    <a:lnTo>
                      <a:pt x="307181" y="114300"/>
                    </a:lnTo>
                    <a:lnTo>
                      <a:pt x="314325" y="138112"/>
                    </a:lnTo>
                    <a:lnTo>
                      <a:pt x="342900" y="119062"/>
                    </a:lnTo>
                    <a:lnTo>
                      <a:pt x="373856" y="126206"/>
                    </a:lnTo>
                    <a:lnTo>
                      <a:pt x="392906" y="97631"/>
                    </a:lnTo>
                    <a:lnTo>
                      <a:pt x="419100" y="126206"/>
                    </a:lnTo>
                    <a:lnTo>
                      <a:pt x="416719" y="150019"/>
                    </a:lnTo>
                    <a:lnTo>
                      <a:pt x="457200" y="216694"/>
                    </a:lnTo>
                    <a:lnTo>
                      <a:pt x="488156" y="259556"/>
                    </a:lnTo>
                    <a:lnTo>
                      <a:pt x="497681" y="235744"/>
                    </a:lnTo>
                    <a:lnTo>
                      <a:pt x="519113" y="273844"/>
                    </a:lnTo>
                    <a:lnTo>
                      <a:pt x="538163" y="292894"/>
                    </a:lnTo>
                    <a:lnTo>
                      <a:pt x="557213" y="309562"/>
                    </a:lnTo>
                    <a:lnTo>
                      <a:pt x="561975" y="333375"/>
                    </a:lnTo>
                    <a:lnTo>
                      <a:pt x="592931" y="302419"/>
                    </a:lnTo>
                    <a:lnTo>
                      <a:pt x="602456" y="261937"/>
                    </a:lnTo>
                    <a:lnTo>
                      <a:pt x="631031" y="278606"/>
                    </a:lnTo>
                    <a:lnTo>
                      <a:pt x="661988" y="259556"/>
                    </a:lnTo>
                    <a:lnTo>
                      <a:pt x="652463" y="238125"/>
                    </a:lnTo>
                    <a:lnTo>
                      <a:pt x="676275" y="233362"/>
                    </a:lnTo>
                    <a:lnTo>
                      <a:pt x="692944" y="209550"/>
                    </a:lnTo>
                    <a:lnTo>
                      <a:pt x="719138" y="223837"/>
                    </a:lnTo>
                    <a:lnTo>
                      <a:pt x="745331" y="183356"/>
                    </a:lnTo>
                    <a:lnTo>
                      <a:pt x="742950" y="161925"/>
                    </a:lnTo>
                    <a:lnTo>
                      <a:pt x="781050" y="164306"/>
                    </a:lnTo>
                    <a:lnTo>
                      <a:pt x="859631" y="152400"/>
                    </a:lnTo>
                    <a:lnTo>
                      <a:pt x="890588" y="145256"/>
                    </a:lnTo>
                    <a:lnTo>
                      <a:pt x="904875" y="119062"/>
                    </a:lnTo>
                    <a:lnTo>
                      <a:pt x="895350" y="83344"/>
                    </a:lnTo>
                    <a:lnTo>
                      <a:pt x="921544" y="61912"/>
                    </a:lnTo>
                    <a:lnTo>
                      <a:pt x="950119" y="92869"/>
                    </a:lnTo>
                    <a:lnTo>
                      <a:pt x="981075" y="126206"/>
                    </a:lnTo>
                    <a:lnTo>
                      <a:pt x="1000125" y="157162"/>
                    </a:lnTo>
                    <a:lnTo>
                      <a:pt x="1004888" y="190500"/>
                    </a:lnTo>
                    <a:lnTo>
                      <a:pt x="959644" y="190500"/>
                    </a:lnTo>
                    <a:lnTo>
                      <a:pt x="914400" y="180975"/>
                    </a:lnTo>
                    <a:lnTo>
                      <a:pt x="914400" y="180975"/>
                    </a:lnTo>
                    <a:lnTo>
                      <a:pt x="895350" y="214312"/>
                    </a:lnTo>
                    <a:lnTo>
                      <a:pt x="885825" y="250031"/>
                    </a:lnTo>
                    <a:lnTo>
                      <a:pt x="852488" y="290512"/>
                    </a:lnTo>
                    <a:lnTo>
                      <a:pt x="888206" y="316706"/>
                    </a:lnTo>
                    <a:lnTo>
                      <a:pt x="897731" y="369094"/>
                    </a:lnTo>
                    <a:lnTo>
                      <a:pt x="947738" y="416719"/>
                    </a:lnTo>
                    <a:lnTo>
                      <a:pt x="985838" y="440531"/>
                    </a:lnTo>
                    <a:lnTo>
                      <a:pt x="985838" y="464344"/>
                    </a:lnTo>
                    <a:cubicBezTo>
                      <a:pt x="978694" y="465931"/>
                      <a:pt x="970639" y="465271"/>
                      <a:pt x="964406" y="469106"/>
                    </a:cubicBezTo>
                    <a:cubicBezTo>
                      <a:pt x="954001" y="475509"/>
                      <a:pt x="954881" y="480223"/>
                      <a:pt x="954881" y="488156"/>
                    </a:cubicBezTo>
                    <a:lnTo>
                      <a:pt x="954881" y="488156"/>
                    </a:lnTo>
                    <a:lnTo>
                      <a:pt x="892969" y="471487"/>
                    </a:lnTo>
                    <a:lnTo>
                      <a:pt x="838200" y="445294"/>
                    </a:lnTo>
                    <a:lnTo>
                      <a:pt x="823913" y="485775"/>
                    </a:lnTo>
                    <a:lnTo>
                      <a:pt x="802481" y="490537"/>
                    </a:lnTo>
                    <a:lnTo>
                      <a:pt x="826294" y="547687"/>
                    </a:lnTo>
                    <a:lnTo>
                      <a:pt x="912019" y="578644"/>
                    </a:lnTo>
                    <a:lnTo>
                      <a:pt x="997744" y="623887"/>
                    </a:lnTo>
                    <a:cubicBezTo>
                      <a:pt x="996950" y="650875"/>
                      <a:pt x="996157" y="677862"/>
                      <a:pt x="995363" y="704850"/>
                    </a:cubicBezTo>
                    <a:lnTo>
                      <a:pt x="1028700" y="690562"/>
                    </a:lnTo>
                    <a:lnTo>
                      <a:pt x="1083469" y="735806"/>
                    </a:lnTo>
                    <a:lnTo>
                      <a:pt x="1145381" y="697706"/>
                    </a:lnTo>
                    <a:lnTo>
                      <a:pt x="1207294" y="750094"/>
                    </a:lnTo>
                    <a:lnTo>
                      <a:pt x="1262063" y="785812"/>
                    </a:lnTo>
                    <a:lnTo>
                      <a:pt x="1283494" y="788194"/>
                    </a:lnTo>
                    <a:lnTo>
                      <a:pt x="1319213" y="897731"/>
                    </a:lnTo>
                    <a:lnTo>
                      <a:pt x="1297781" y="914400"/>
                    </a:lnTo>
                    <a:lnTo>
                      <a:pt x="1293019" y="933450"/>
                    </a:lnTo>
                    <a:lnTo>
                      <a:pt x="1293019" y="933450"/>
                    </a:lnTo>
                    <a:lnTo>
                      <a:pt x="1243013" y="947737"/>
                    </a:lnTo>
                    <a:cubicBezTo>
                      <a:pt x="1243807" y="975518"/>
                      <a:pt x="1244600" y="1003300"/>
                      <a:pt x="1245394" y="1031081"/>
                    </a:cubicBezTo>
                    <a:lnTo>
                      <a:pt x="1190625" y="107870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6" name="Figura a mano libera 195"/>
              <p:cNvSpPr/>
              <p:nvPr/>
            </p:nvSpPr>
            <p:spPr bwMode="auto">
              <a:xfrm>
                <a:off x="3605122" y="3031371"/>
                <a:ext cx="521749" cy="629977"/>
              </a:xfrm>
              <a:custGeom>
                <a:avLst/>
                <a:gdLst>
                  <a:gd name="connsiteX0" fmla="*/ 673894 w 692944"/>
                  <a:gd name="connsiteY0" fmla="*/ 564357 h 845344"/>
                  <a:gd name="connsiteX1" fmla="*/ 692944 w 692944"/>
                  <a:gd name="connsiteY1" fmla="*/ 535782 h 845344"/>
                  <a:gd name="connsiteX2" fmla="*/ 681037 w 692944"/>
                  <a:gd name="connsiteY2" fmla="*/ 509588 h 845344"/>
                  <a:gd name="connsiteX3" fmla="*/ 626269 w 692944"/>
                  <a:gd name="connsiteY3" fmla="*/ 531019 h 845344"/>
                  <a:gd name="connsiteX4" fmla="*/ 595312 w 692944"/>
                  <a:gd name="connsiteY4" fmla="*/ 490538 h 845344"/>
                  <a:gd name="connsiteX5" fmla="*/ 564356 w 692944"/>
                  <a:gd name="connsiteY5" fmla="*/ 478632 h 845344"/>
                  <a:gd name="connsiteX6" fmla="*/ 554831 w 692944"/>
                  <a:gd name="connsiteY6" fmla="*/ 492919 h 845344"/>
                  <a:gd name="connsiteX7" fmla="*/ 554831 w 692944"/>
                  <a:gd name="connsiteY7" fmla="*/ 492919 h 845344"/>
                  <a:gd name="connsiteX8" fmla="*/ 528637 w 692944"/>
                  <a:gd name="connsiteY8" fmla="*/ 478632 h 845344"/>
                  <a:gd name="connsiteX9" fmla="*/ 507206 w 692944"/>
                  <a:gd name="connsiteY9" fmla="*/ 445294 h 845344"/>
                  <a:gd name="connsiteX10" fmla="*/ 509587 w 692944"/>
                  <a:gd name="connsiteY10" fmla="*/ 409575 h 845344"/>
                  <a:gd name="connsiteX11" fmla="*/ 504825 w 692944"/>
                  <a:gd name="connsiteY11" fmla="*/ 369094 h 845344"/>
                  <a:gd name="connsiteX12" fmla="*/ 490537 w 692944"/>
                  <a:gd name="connsiteY12" fmla="*/ 328613 h 845344"/>
                  <a:gd name="connsiteX13" fmla="*/ 490537 w 692944"/>
                  <a:gd name="connsiteY13" fmla="*/ 328613 h 845344"/>
                  <a:gd name="connsiteX14" fmla="*/ 481012 w 692944"/>
                  <a:gd name="connsiteY14" fmla="*/ 300038 h 845344"/>
                  <a:gd name="connsiteX15" fmla="*/ 478631 w 692944"/>
                  <a:gd name="connsiteY15" fmla="*/ 273844 h 845344"/>
                  <a:gd name="connsiteX16" fmla="*/ 454819 w 692944"/>
                  <a:gd name="connsiteY16" fmla="*/ 252413 h 845344"/>
                  <a:gd name="connsiteX17" fmla="*/ 457200 w 692944"/>
                  <a:gd name="connsiteY17" fmla="*/ 235744 h 845344"/>
                  <a:gd name="connsiteX18" fmla="*/ 452437 w 692944"/>
                  <a:gd name="connsiteY18" fmla="*/ 204788 h 845344"/>
                  <a:gd name="connsiteX19" fmla="*/ 452437 w 692944"/>
                  <a:gd name="connsiteY19" fmla="*/ 190500 h 845344"/>
                  <a:gd name="connsiteX20" fmla="*/ 428625 w 692944"/>
                  <a:gd name="connsiteY20" fmla="*/ 166688 h 845344"/>
                  <a:gd name="connsiteX21" fmla="*/ 428625 w 692944"/>
                  <a:gd name="connsiteY21" fmla="*/ 166688 h 845344"/>
                  <a:gd name="connsiteX22" fmla="*/ 445294 w 692944"/>
                  <a:gd name="connsiteY22" fmla="*/ 142875 h 845344"/>
                  <a:gd name="connsiteX23" fmla="*/ 440531 w 692944"/>
                  <a:gd name="connsiteY23" fmla="*/ 123825 h 845344"/>
                  <a:gd name="connsiteX24" fmla="*/ 383381 w 692944"/>
                  <a:gd name="connsiteY24" fmla="*/ 126207 h 845344"/>
                  <a:gd name="connsiteX25" fmla="*/ 383381 w 692944"/>
                  <a:gd name="connsiteY25" fmla="*/ 126207 h 845344"/>
                  <a:gd name="connsiteX26" fmla="*/ 345281 w 692944"/>
                  <a:gd name="connsiteY26" fmla="*/ 130969 h 845344"/>
                  <a:gd name="connsiteX27" fmla="*/ 319087 w 692944"/>
                  <a:gd name="connsiteY27" fmla="*/ 90488 h 845344"/>
                  <a:gd name="connsiteX28" fmla="*/ 304800 w 692944"/>
                  <a:gd name="connsiteY28" fmla="*/ 59532 h 845344"/>
                  <a:gd name="connsiteX29" fmla="*/ 276225 w 692944"/>
                  <a:gd name="connsiteY29" fmla="*/ 52388 h 845344"/>
                  <a:gd name="connsiteX30" fmla="*/ 271462 w 692944"/>
                  <a:gd name="connsiteY30" fmla="*/ 71438 h 845344"/>
                  <a:gd name="connsiteX31" fmla="*/ 250031 w 692944"/>
                  <a:gd name="connsiteY31" fmla="*/ 69057 h 845344"/>
                  <a:gd name="connsiteX32" fmla="*/ 211931 w 692944"/>
                  <a:gd name="connsiteY32" fmla="*/ 54769 h 845344"/>
                  <a:gd name="connsiteX33" fmla="*/ 245269 w 692944"/>
                  <a:gd name="connsiteY33" fmla="*/ 50007 h 845344"/>
                  <a:gd name="connsiteX34" fmla="*/ 247650 w 692944"/>
                  <a:gd name="connsiteY34" fmla="*/ 47625 h 845344"/>
                  <a:gd name="connsiteX35" fmla="*/ 230981 w 692944"/>
                  <a:gd name="connsiteY35" fmla="*/ 28575 h 845344"/>
                  <a:gd name="connsiteX36" fmla="*/ 257175 w 692944"/>
                  <a:gd name="connsiteY36" fmla="*/ 0 h 845344"/>
                  <a:gd name="connsiteX37" fmla="*/ 200025 w 692944"/>
                  <a:gd name="connsiteY37" fmla="*/ 26194 h 845344"/>
                  <a:gd name="connsiteX38" fmla="*/ 166687 w 692944"/>
                  <a:gd name="connsiteY38" fmla="*/ 9525 h 845344"/>
                  <a:gd name="connsiteX39" fmla="*/ 150019 w 692944"/>
                  <a:gd name="connsiteY39" fmla="*/ 42863 h 845344"/>
                  <a:gd name="connsiteX40" fmla="*/ 121444 w 692944"/>
                  <a:gd name="connsiteY40" fmla="*/ 83344 h 845344"/>
                  <a:gd name="connsiteX41" fmla="*/ 107156 w 692944"/>
                  <a:gd name="connsiteY41" fmla="*/ 83344 h 845344"/>
                  <a:gd name="connsiteX42" fmla="*/ 119062 w 692944"/>
                  <a:gd name="connsiteY42" fmla="*/ 104775 h 845344"/>
                  <a:gd name="connsiteX43" fmla="*/ 126206 w 692944"/>
                  <a:gd name="connsiteY43" fmla="*/ 107157 h 845344"/>
                  <a:gd name="connsiteX44" fmla="*/ 97631 w 692944"/>
                  <a:gd name="connsiteY44" fmla="*/ 111919 h 845344"/>
                  <a:gd name="connsiteX45" fmla="*/ 69056 w 692944"/>
                  <a:gd name="connsiteY45" fmla="*/ 133350 h 845344"/>
                  <a:gd name="connsiteX46" fmla="*/ 100012 w 692944"/>
                  <a:gd name="connsiteY46" fmla="*/ 145257 h 845344"/>
                  <a:gd name="connsiteX47" fmla="*/ 114300 w 692944"/>
                  <a:gd name="connsiteY47" fmla="*/ 176213 h 845344"/>
                  <a:gd name="connsiteX48" fmla="*/ 133350 w 692944"/>
                  <a:gd name="connsiteY48" fmla="*/ 197644 h 845344"/>
                  <a:gd name="connsiteX49" fmla="*/ 154781 w 692944"/>
                  <a:gd name="connsiteY49" fmla="*/ 228600 h 845344"/>
                  <a:gd name="connsiteX50" fmla="*/ 133350 w 692944"/>
                  <a:gd name="connsiteY50" fmla="*/ 247650 h 845344"/>
                  <a:gd name="connsiteX51" fmla="*/ 95250 w 692944"/>
                  <a:gd name="connsiteY51" fmla="*/ 261938 h 845344"/>
                  <a:gd name="connsiteX52" fmla="*/ 83344 w 692944"/>
                  <a:gd name="connsiteY52" fmla="*/ 233363 h 845344"/>
                  <a:gd name="connsiteX53" fmla="*/ 45244 w 692944"/>
                  <a:gd name="connsiteY53" fmla="*/ 290513 h 845344"/>
                  <a:gd name="connsiteX54" fmla="*/ 0 w 692944"/>
                  <a:gd name="connsiteY54" fmla="*/ 323850 h 845344"/>
                  <a:gd name="connsiteX55" fmla="*/ 0 w 692944"/>
                  <a:gd name="connsiteY55" fmla="*/ 338138 h 845344"/>
                  <a:gd name="connsiteX56" fmla="*/ 4762 w 692944"/>
                  <a:gd name="connsiteY56" fmla="*/ 361950 h 845344"/>
                  <a:gd name="connsiteX57" fmla="*/ 4762 w 692944"/>
                  <a:gd name="connsiteY57" fmla="*/ 361950 h 845344"/>
                  <a:gd name="connsiteX58" fmla="*/ 35719 w 692944"/>
                  <a:gd name="connsiteY58" fmla="*/ 392907 h 845344"/>
                  <a:gd name="connsiteX59" fmla="*/ 35719 w 692944"/>
                  <a:gd name="connsiteY59" fmla="*/ 423863 h 845344"/>
                  <a:gd name="connsiteX60" fmla="*/ 33337 w 692944"/>
                  <a:gd name="connsiteY60" fmla="*/ 473869 h 845344"/>
                  <a:gd name="connsiteX61" fmla="*/ 33337 w 692944"/>
                  <a:gd name="connsiteY61" fmla="*/ 473869 h 845344"/>
                  <a:gd name="connsiteX62" fmla="*/ 16669 w 692944"/>
                  <a:gd name="connsiteY62" fmla="*/ 507207 h 845344"/>
                  <a:gd name="connsiteX63" fmla="*/ 14287 w 692944"/>
                  <a:gd name="connsiteY63" fmla="*/ 528638 h 845344"/>
                  <a:gd name="connsiteX64" fmla="*/ 9525 w 692944"/>
                  <a:gd name="connsiteY64" fmla="*/ 566738 h 845344"/>
                  <a:gd name="connsiteX65" fmla="*/ 35719 w 692944"/>
                  <a:gd name="connsiteY65" fmla="*/ 573882 h 845344"/>
                  <a:gd name="connsiteX66" fmla="*/ 11906 w 692944"/>
                  <a:gd name="connsiteY66" fmla="*/ 614363 h 845344"/>
                  <a:gd name="connsiteX67" fmla="*/ 52387 w 692944"/>
                  <a:gd name="connsiteY67" fmla="*/ 616744 h 845344"/>
                  <a:gd name="connsiteX68" fmla="*/ 57150 w 692944"/>
                  <a:gd name="connsiteY68" fmla="*/ 645319 h 845344"/>
                  <a:gd name="connsiteX69" fmla="*/ 61912 w 692944"/>
                  <a:gd name="connsiteY69" fmla="*/ 628650 h 845344"/>
                  <a:gd name="connsiteX70" fmla="*/ 114300 w 692944"/>
                  <a:gd name="connsiteY70" fmla="*/ 640557 h 845344"/>
                  <a:gd name="connsiteX71" fmla="*/ 140494 w 692944"/>
                  <a:gd name="connsiteY71" fmla="*/ 607219 h 845344"/>
                  <a:gd name="connsiteX72" fmla="*/ 164306 w 692944"/>
                  <a:gd name="connsiteY72" fmla="*/ 640557 h 845344"/>
                  <a:gd name="connsiteX73" fmla="*/ 185737 w 692944"/>
                  <a:gd name="connsiteY73" fmla="*/ 716757 h 845344"/>
                  <a:gd name="connsiteX74" fmla="*/ 226219 w 692944"/>
                  <a:gd name="connsiteY74" fmla="*/ 771525 h 845344"/>
                  <a:gd name="connsiteX75" fmla="*/ 238125 w 692944"/>
                  <a:gd name="connsiteY75" fmla="*/ 745332 h 845344"/>
                  <a:gd name="connsiteX76" fmla="*/ 285750 w 692944"/>
                  <a:gd name="connsiteY76" fmla="*/ 807244 h 845344"/>
                  <a:gd name="connsiteX77" fmla="*/ 304800 w 692944"/>
                  <a:gd name="connsiteY77" fmla="*/ 819150 h 845344"/>
                  <a:gd name="connsiteX78" fmla="*/ 304800 w 692944"/>
                  <a:gd name="connsiteY78" fmla="*/ 845344 h 845344"/>
                  <a:gd name="connsiteX79" fmla="*/ 342900 w 692944"/>
                  <a:gd name="connsiteY79" fmla="*/ 812007 h 845344"/>
                  <a:gd name="connsiteX80" fmla="*/ 354806 w 692944"/>
                  <a:gd name="connsiteY80" fmla="*/ 762000 h 845344"/>
                  <a:gd name="connsiteX81" fmla="*/ 400050 w 692944"/>
                  <a:gd name="connsiteY81" fmla="*/ 790575 h 845344"/>
                  <a:gd name="connsiteX82" fmla="*/ 409575 w 692944"/>
                  <a:gd name="connsiteY82" fmla="*/ 773907 h 845344"/>
                  <a:gd name="connsiteX83" fmla="*/ 404812 w 692944"/>
                  <a:gd name="connsiteY83" fmla="*/ 740569 h 845344"/>
                  <a:gd name="connsiteX84" fmla="*/ 428625 w 692944"/>
                  <a:gd name="connsiteY84" fmla="*/ 733425 h 845344"/>
                  <a:gd name="connsiteX85" fmla="*/ 438150 w 692944"/>
                  <a:gd name="connsiteY85" fmla="*/ 721519 h 845344"/>
                  <a:gd name="connsiteX86" fmla="*/ 481012 w 692944"/>
                  <a:gd name="connsiteY86" fmla="*/ 735807 h 845344"/>
                  <a:gd name="connsiteX87" fmla="*/ 485775 w 692944"/>
                  <a:gd name="connsiteY87" fmla="*/ 669132 h 845344"/>
                  <a:gd name="connsiteX88" fmla="*/ 619125 w 692944"/>
                  <a:gd name="connsiteY88" fmla="*/ 669132 h 845344"/>
                  <a:gd name="connsiteX89" fmla="*/ 654844 w 692944"/>
                  <a:gd name="connsiteY89" fmla="*/ 652463 h 845344"/>
                  <a:gd name="connsiteX90" fmla="*/ 635794 w 692944"/>
                  <a:gd name="connsiteY90" fmla="*/ 626269 h 845344"/>
                  <a:gd name="connsiteX91" fmla="*/ 673894 w 692944"/>
                  <a:gd name="connsiteY91" fmla="*/ 564357 h 845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692944" h="845344">
                    <a:moveTo>
                      <a:pt x="673894" y="564357"/>
                    </a:moveTo>
                    <a:lnTo>
                      <a:pt x="692944" y="535782"/>
                    </a:lnTo>
                    <a:lnTo>
                      <a:pt x="681037" y="509588"/>
                    </a:lnTo>
                    <a:lnTo>
                      <a:pt x="626269" y="531019"/>
                    </a:lnTo>
                    <a:lnTo>
                      <a:pt x="595312" y="490538"/>
                    </a:lnTo>
                    <a:lnTo>
                      <a:pt x="564356" y="478632"/>
                    </a:lnTo>
                    <a:lnTo>
                      <a:pt x="554831" y="492919"/>
                    </a:lnTo>
                    <a:lnTo>
                      <a:pt x="554831" y="492919"/>
                    </a:lnTo>
                    <a:lnTo>
                      <a:pt x="528637" y="478632"/>
                    </a:lnTo>
                    <a:lnTo>
                      <a:pt x="507206" y="445294"/>
                    </a:lnTo>
                    <a:lnTo>
                      <a:pt x="509587" y="409575"/>
                    </a:lnTo>
                    <a:lnTo>
                      <a:pt x="504825" y="369094"/>
                    </a:lnTo>
                    <a:lnTo>
                      <a:pt x="490537" y="328613"/>
                    </a:lnTo>
                    <a:lnTo>
                      <a:pt x="490537" y="328613"/>
                    </a:lnTo>
                    <a:lnTo>
                      <a:pt x="481012" y="300038"/>
                    </a:lnTo>
                    <a:lnTo>
                      <a:pt x="478631" y="273844"/>
                    </a:lnTo>
                    <a:lnTo>
                      <a:pt x="454819" y="252413"/>
                    </a:lnTo>
                    <a:lnTo>
                      <a:pt x="457200" y="235744"/>
                    </a:lnTo>
                    <a:lnTo>
                      <a:pt x="452437" y="204788"/>
                    </a:lnTo>
                    <a:lnTo>
                      <a:pt x="452437" y="190500"/>
                    </a:lnTo>
                    <a:lnTo>
                      <a:pt x="428625" y="166688"/>
                    </a:lnTo>
                    <a:lnTo>
                      <a:pt x="428625" y="166688"/>
                    </a:lnTo>
                    <a:lnTo>
                      <a:pt x="445294" y="142875"/>
                    </a:lnTo>
                    <a:lnTo>
                      <a:pt x="440531" y="123825"/>
                    </a:lnTo>
                    <a:lnTo>
                      <a:pt x="383381" y="126207"/>
                    </a:lnTo>
                    <a:lnTo>
                      <a:pt x="383381" y="126207"/>
                    </a:lnTo>
                    <a:lnTo>
                      <a:pt x="345281" y="130969"/>
                    </a:lnTo>
                    <a:lnTo>
                      <a:pt x="319087" y="90488"/>
                    </a:lnTo>
                    <a:lnTo>
                      <a:pt x="304800" y="59532"/>
                    </a:lnTo>
                    <a:lnTo>
                      <a:pt x="276225" y="52388"/>
                    </a:lnTo>
                    <a:lnTo>
                      <a:pt x="271462" y="71438"/>
                    </a:lnTo>
                    <a:lnTo>
                      <a:pt x="250031" y="69057"/>
                    </a:lnTo>
                    <a:lnTo>
                      <a:pt x="211931" y="54769"/>
                    </a:lnTo>
                    <a:cubicBezTo>
                      <a:pt x="217953" y="54167"/>
                      <a:pt x="236640" y="53459"/>
                      <a:pt x="245269" y="50007"/>
                    </a:cubicBezTo>
                    <a:cubicBezTo>
                      <a:pt x="246311" y="49590"/>
                      <a:pt x="246856" y="48419"/>
                      <a:pt x="247650" y="47625"/>
                    </a:cubicBezTo>
                    <a:lnTo>
                      <a:pt x="230981" y="28575"/>
                    </a:lnTo>
                    <a:lnTo>
                      <a:pt x="257175" y="0"/>
                    </a:lnTo>
                    <a:lnTo>
                      <a:pt x="200025" y="26194"/>
                    </a:lnTo>
                    <a:lnTo>
                      <a:pt x="166687" y="9525"/>
                    </a:lnTo>
                    <a:lnTo>
                      <a:pt x="150019" y="42863"/>
                    </a:lnTo>
                    <a:lnTo>
                      <a:pt x="121444" y="83344"/>
                    </a:lnTo>
                    <a:lnTo>
                      <a:pt x="107156" y="83344"/>
                    </a:lnTo>
                    <a:cubicBezTo>
                      <a:pt x="117183" y="103398"/>
                      <a:pt x="111661" y="97374"/>
                      <a:pt x="119062" y="104775"/>
                    </a:cubicBezTo>
                    <a:lnTo>
                      <a:pt x="126206" y="107157"/>
                    </a:lnTo>
                    <a:lnTo>
                      <a:pt x="97631" y="111919"/>
                    </a:lnTo>
                    <a:lnTo>
                      <a:pt x="69056" y="133350"/>
                    </a:lnTo>
                    <a:lnTo>
                      <a:pt x="100012" y="145257"/>
                    </a:lnTo>
                    <a:lnTo>
                      <a:pt x="114300" y="176213"/>
                    </a:lnTo>
                    <a:lnTo>
                      <a:pt x="133350" y="197644"/>
                    </a:lnTo>
                    <a:lnTo>
                      <a:pt x="154781" y="228600"/>
                    </a:lnTo>
                    <a:lnTo>
                      <a:pt x="133350" y="247650"/>
                    </a:lnTo>
                    <a:lnTo>
                      <a:pt x="95250" y="261938"/>
                    </a:lnTo>
                    <a:lnTo>
                      <a:pt x="83344" y="233363"/>
                    </a:lnTo>
                    <a:lnTo>
                      <a:pt x="45244" y="290513"/>
                    </a:lnTo>
                    <a:lnTo>
                      <a:pt x="0" y="323850"/>
                    </a:lnTo>
                    <a:lnTo>
                      <a:pt x="0" y="338138"/>
                    </a:lnTo>
                    <a:lnTo>
                      <a:pt x="4762" y="361950"/>
                    </a:lnTo>
                    <a:lnTo>
                      <a:pt x="4762" y="361950"/>
                    </a:lnTo>
                    <a:lnTo>
                      <a:pt x="35719" y="392907"/>
                    </a:lnTo>
                    <a:lnTo>
                      <a:pt x="35719" y="423863"/>
                    </a:lnTo>
                    <a:lnTo>
                      <a:pt x="33337" y="473869"/>
                    </a:lnTo>
                    <a:lnTo>
                      <a:pt x="33337" y="473869"/>
                    </a:lnTo>
                    <a:lnTo>
                      <a:pt x="16669" y="507207"/>
                    </a:lnTo>
                    <a:lnTo>
                      <a:pt x="14287" y="528638"/>
                    </a:lnTo>
                    <a:lnTo>
                      <a:pt x="9525" y="566738"/>
                    </a:lnTo>
                    <a:lnTo>
                      <a:pt x="35719" y="573882"/>
                    </a:lnTo>
                    <a:lnTo>
                      <a:pt x="11906" y="614363"/>
                    </a:lnTo>
                    <a:lnTo>
                      <a:pt x="52387" y="616744"/>
                    </a:lnTo>
                    <a:lnTo>
                      <a:pt x="57150" y="645319"/>
                    </a:lnTo>
                    <a:lnTo>
                      <a:pt x="61912" y="628650"/>
                    </a:lnTo>
                    <a:lnTo>
                      <a:pt x="114300" y="640557"/>
                    </a:lnTo>
                    <a:lnTo>
                      <a:pt x="140494" y="607219"/>
                    </a:lnTo>
                    <a:lnTo>
                      <a:pt x="164306" y="640557"/>
                    </a:lnTo>
                    <a:lnTo>
                      <a:pt x="185737" y="716757"/>
                    </a:lnTo>
                    <a:lnTo>
                      <a:pt x="226219" y="771525"/>
                    </a:lnTo>
                    <a:lnTo>
                      <a:pt x="238125" y="745332"/>
                    </a:lnTo>
                    <a:lnTo>
                      <a:pt x="285750" y="807244"/>
                    </a:lnTo>
                    <a:lnTo>
                      <a:pt x="304800" y="819150"/>
                    </a:lnTo>
                    <a:lnTo>
                      <a:pt x="304800" y="845344"/>
                    </a:lnTo>
                    <a:lnTo>
                      <a:pt x="342900" y="812007"/>
                    </a:lnTo>
                    <a:lnTo>
                      <a:pt x="354806" y="762000"/>
                    </a:lnTo>
                    <a:lnTo>
                      <a:pt x="400050" y="790575"/>
                    </a:lnTo>
                    <a:lnTo>
                      <a:pt x="409575" y="773907"/>
                    </a:lnTo>
                    <a:lnTo>
                      <a:pt x="404812" y="740569"/>
                    </a:lnTo>
                    <a:lnTo>
                      <a:pt x="428625" y="733425"/>
                    </a:lnTo>
                    <a:lnTo>
                      <a:pt x="438150" y="721519"/>
                    </a:lnTo>
                    <a:lnTo>
                      <a:pt x="481012" y="735807"/>
                    </a:lnTo>
                    <a:lnTo>
                      <a:pt x="485775" y="669132"/>
                    </a:lnTo>
                    <a:lnTo>
                      <a:pt x="619125" y="669132"/>
                    </a:lnTo>
                    <a:lnTo>
                      <a:pt x="654844" y="652463"/>
                    </a:lnTo>
                    <a:lnTo>
                      <a:pt x="635794" y="626269"/>
                    </a:lnTo>
                    <a:lnTo>
                      <a:pt x="673894" y="56435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7" name="Figura a mano libera 196"/>
              <p:cNvSpPr/>
              <p:nvPr/>
            </p:nvSpPr>
            <p:spPr bwMode="auto">
              <a:xfrm>
                <a:off x="3684006" y="2861977"/>
                <a:ext cx="678138" cy="635579"/>
              </a:xfrm>
              <a:custGeom>
                <a:avLst/>
                <a:gdLst>
                  <a:gd name="connsiteX0" fmla="*/ 40481 w 902494"/>
                  <a:gd name="connsiteY0" fmla="*/ 221456 h 852487"/>
                  <a:gd name="connsiteX1" fmla="*/ 71437 w 902494"/>
                  <a:gd name="connsiteY1" fmla="*/ 200025 h 852487"/>
                  <a:gd name="connsiteX2" fmla="*/ 121444 w 902494"/>
                  <a:gd name="connsiteY2" fmla="*/ 176212 h 852487"/>
                  <a:gd name="connsiteX3" fmla="*/ 145256 w 902494"/>
                  <a:gd name="connsiteY3" fmla="*/ 166687 h 852487"/>
                  <a:gd name="connsiteX4" fmla="*/ 116681 w 902494"/>
                  <a:gd name="connsiteY4" fmla="*/ 130968 h 852487"/>
                  <a:gd name="connsiteX5" fmla="*/ 66675 w 902494"/>
                  <a:gd name="connsiteY5" fmla="*/ 135731 h 852487"/>
                  <a:gd name="connsiteX6" fmla="*/ 42862 w 902494"/>
                  <a:gd name="connsiteY6" fmla="*/ 138112 h 852487"/>
                  <a:gd name="connsiteX7" fmla="*/ 0 w 902494"/>
                  <a:gd name="connsiteY7" fmla="*/ 138112 h 852487"/>
                  <a:gd name="connsiteX8" fmla="*/ 23812 w 902494"/>
                  <a:gd name="connsiteY8" fmla="*/ 88106 h 852487"/>
                  <a:gd name="connsiteX9" fmla="*/ 47625 w 902494"/>
                  <a:gd name="connsiteY9" fmla="*/ 23812 h 852487"/>
                  <a:gd name="connsiteX10" fmla="*/ 80962 w 902494"/>
                  <a:gd name="connsiteY10" fmla="*/ 28575 h 852487"/>
                  <a:gd name="connsiteX11" fmla="*/ 123825 w 902494"/>
                  <a:gd name="connsiteY11" fmla="*/ 11906 h 852487"/>
                  <a:gd name="connsiteX12" fmla="*/ 161925 w 902494"/>
                  <a:gd name="connsiteY12" fmla="*/ 0 h 852487"/>
                  <a:gd name="connsiteX13" fmla="*/ 190500 w 902494"/>
                  <a:gd name="connsiteY13" fmla="*/ 33337 h 852487"/>
                  <a:gd name="connsiteX14" fmla="*/ 216694 w 902494"/>
                  <a:gd name="connsiteY14" fmla="*/ 28575 h 852487"/>
                  <a:gd name="connsiteX15" fmla="*/ 235744 w 902494"/>
                  <a:gd name="connsiteY15" fmla="*/ 61912 h 852487"/>
                  <a:gd name="connsiteX16" fmla="*/ 235744 w 902494"/>
                  <a:gd name="connsiteY16" fmla="*/ 61912 h 852487"/>
                  <a:gd name="connsiteX17" fmla="*/ 273844 w 902494"/>
                  <a:gd name="connsiteY17" fmla="*/ 97631 h 852487"/>
                  <a:gd name="connsiteX18" fmla="*/ 302419 w 902494"/>
                  <a:gd name="connsiteY18" fmla="*/ 95250 h 852487"/>
                  <a:gd name="connsiteX19" fmla="*/ 316706 w 902494"/>
                  <a:gd name="connsiteY19" fmla="*/ 59531 h 852487"/>
                  <a:gd name="connsiteX20" fmla="*/ 340519 w 902494"/>
                  <a:gd name="connsiteY20" fmla="*/ 50006 h 852487"/>
                  <a:gd name="connsiteX21" fmla="*/ 359569 w 902494"/>
                  <a:gd name="connsiteY21" fmla="*/ 23812 h 852487"/>
                  <a:gd name="connsiteX22" fmla="*/ 352425 w 902494"/>
                  <a:gd name="connsiteY22" fmla="*/ 0 h 852487"/>
                  <a:gd name="connsiteX23" fmla="*/ 378619 w 902494"/>
                  <a:gd name="connsiteY23" fmla="*/ 9525 h 852487"/>
                  <a:gd name="connsiteX24" fmla="*/ 402431 w 902494"/>
                  <a:gd name="connsiteY24" fmla="*/ 19050 h 852487"/>
                  <a:gd name="connsiteX25" fmla="*/ 461962 w 902494"/>
                  <a:gd name="connsiteY25" fmla="*/ 71437 h 852487"/>
                  <a:gd name="connsiteX26" fmla="*/ 521494 w 902494"/>
                  <a:gd name="connsiteY26" fmla="*/ 126206 h 852487"/>
                  <a:gd name="connsiteX27" fmla="*/ 590550 w 902494"/>
                  <a:gd name="connsiteY27" fmla="*/ 169068 h 852487"/>
                  <a:gd name="connsiteX28" fmla="*/ 635794 w 902494"/>
                  <a:gd name="connsiteY28" fmla="*/ 211931 h 852487"/>
                  <a:gd name="connsiteX29" fmla="*/ 707231 w 902494"/>
                  <a:gd name="connsiteY29" fmla="*/ 226218 h 852487"/>
                  <a:gd name="connsiteX30" fmla="*/ 738187 w 902494"/>
                  <a:gd name="connsiteY30" fmla="*/ 252412 h 852487"/>
                  <a:gd name="connsiteX31" fmla="*/ 781050 w 902494"/>
                  <a:gd name="connsiteY31" fmla="*/ 273843 h 852487"/>
                  <a:gd name="connsiteX32" fmla="*/ 778669 w 902494"/>
                  <a:gd name="connsiteY32" fmla="*/ 345281 h 852487"/>
                  <a:gd name="connsiteX33" fmla="*/ 823912 w 902494"/>
                  <a:gd name="connsiteY33" fmla="*/ 431006 h 852487"/>
                  <a:gd name="connsiteX34" fmla="*/ 859631 w 902494"/>
                  <a:gd name="connsiteY34" fmla="*/ 531018 h 852487"/>
                  <a:gd name="connsiteX35" fmla="*/ 883444 w 902494"/>
                  <a:gd name="connsiteY35" fmla="*/ 597693 h 852487"/>
                  <a:gd name="connsiteX36" fmla="*/ 902494 w 902494"/>
                  <a:gd name="connsiteY36" fmla="*/ 692943 h 852487"/>
                  <a:gd name="connsiteX37" fmla="*/ 895350 w 902494"/>
                  <a:gd name="connsiteY37" fmla="*/ 723900 h 852487"/>
                  <a:gd name="connsiteX38" fmla="*/ 833437 w 902494"/>
                  <a:gd name="connsiteY38" fmla="*/ 735806 h 852487"/>
                  <a:gd name="connsiteX39" fmla="*/ 788194 w 902494"/>
                  <a:gd name="connsiteY39" fmla="*/ 762000 h 852487"/>
                  <a:gd name="connsiteX40" fmla="*/ 742950 w 902494"/>
                  <a:gd name="connsiteY40" fmla="*/ 776287 h 852487"/>
                  <a:gd name="connsiteX41" fmla="*/ 716756 w 902494"/>
                  <a:gd name="connsiteY41" fmla="*/ 773906 h 852487"/>
                  <a:gd name="connsiteX42" fmla="*/ 690562 w 902494"/>
                  <a:gd name="connsiteY42" fmla="*/ 812006 h 852487"/>
                  <a:gd name="connsiteX43" fmla="*/ 652462 w 902494"/>
                  <a:gd name="connsiteY43" fmla="*/ 835818 h 852487"/>
                  <a:gd name="connsiteX44" fmla="*/ 616744 w 902494"/>
                  <a:gd name="connsiteY44" fmla="*/ 852487 h 852487"/>
                  <a:gd name="connsiteX45" fmla="*/ 571500 w 902494"/>
                  <a:gd name="connsiteY45" fmla="*/ 788193 h 852487"/>
                  <a:gd name="connsiteX46" fmla="*/ 590550 w 902494"/>
                  <a:gd name="connsiteY46" fmla="*/ 762000 h 852487"/>
                  <a:gd name="connsiteX47" fmla="*/ 571500 w 902494"/>
                  <a:gd name="connsiteY47" fmla="*/ 721518 h 852487"/>
                  <a:gd name="connsiteX48" fmla="*/ 528637 w 902494"/>
                  <a:gd name="connsiteY48" fmla="*/ 742950 h 852487"/>
                  <a:gd name="connsiteX49" fmla="*/ 495300 w 902494"/>
                  <a:gd name="connsiteY49" fmla="*/ 716756 h 852487"/>
                  <a:gd name="connsiteX50" fmla="*/ 454819 w 902494"/>
                  <a:gd name="connsiteY50" fmla="*/ 692943 h 852487"/>
                  <a:gd name="connsiteX51" fmla="*/ 438150 w 902494"/>
                  <a:gd name="connsiteY51" fmla="*/ 709612 h 852487"/>
                  <a:gd name="connsiteX52" fmla="*/ 407194 w 902494"/>
                  <a:gd name="connsiteY52" fmla="*/ 669131 h 852487"/>
                  <a:gd name="connsiteX53" fmla="*/ 411956 w 902494"/>
                  <a:gd name="connsiteY53" fmla="*/ 592931 h 852487"/>
                  <a:gd name="connsiteX54" fmla="*/ 378619 w 902494"/>
                  <a:gd name="connsiteY54" fmla="*/ 519112 h 852487"/>
                  <a:gd name="connsiteX55" fmla="*/ 385762 w 902494"/>
                  <a:gd name="connsiteY55" fmla="*/ 483393 h 852487"/>
                  <a:gd name="connsiteX56" fmla="*/ 357187 w 902494"/>
                  <a:gd name="connsiteY56" fmla="*/ 469106 h 852487"/>
                  <a:gd name="connsiteX57" fmla="*/ 357187 w 902494"/>
                  <a:gd name="connsiteY57" fmla="*/ 409575 h 852487"/>
                  <a:gd name="connsiteX58" fmla="*/ 330994 w 902494"/>
                  <a:gd name="connsiteY58" fmla="*/ 378618 h 852487"/>
                  <a:gd name="connsiteX59" fmla="*/ 350044 w 902494"/>
                  <a:gd name="connsiteY59" fmla="*/ 347662 h 852487"/>
                  <a:gd name="connsiteX60" fmla="*/ 340519 w 902494"/>
                  <a:gd name="connsiteY60" fmla="*/ 330993 h 852487"/>
                  <a:gd name="connsiteX61" fmla="*/ 314325 w 902494"/>
                  <a:gd name="connsiteY61" fmla="*/ 340518 h 852487"/>
                  <a:gd name="connsiteX62" fmla="*/ 238125 w 902494"/>
                  <a:gd name="connsiteY62" fmla="*/ 342900 h 852487"/>
                  <a:gd name="connsiteX63" fmla="*/ 207169 w 902494"/>
                  <a:gd name="connsiteY63" fmla="*/ 280987 h 852487"/>
                  <a:gd name="connsiteX64" fmla="*/ 169069 w 902494"/>
                  <a:gd name="connsiteY64" fmla="*/ 261937 h 852487"/>
                  <a:gd name="connsiteX65" fmla="*/ 169069 w 902494"/>
                  <a:gd name="connsiteY65" fmla="*/ 280987 h 852487"/>
                  <a:gd name="connsiteX66" fmla="*/ 142875 w 902494"/>
                  <a:gd name="connsiteY66" fmla="*/ 288131 h 852487"/>
                  <a:gd name="connsiteX67" fmla="*/ 102394 w 902494"/>
                  <a:gd name="connsiteY67" fmla="*/ 271462 h 852487"/>
                  <a:gd name="connsiteX68" fmla="*/ 150019 w 902494"/>
                  <a:gd name="connsiteY68" fmla="*/ 271462 h 852487"/>
                  <a:gd name="connsiteX69" fmla="*/ 140494 w 902494"/>
                  <a:gd name="connsiteY69" fmla="*/ 247650 h 852487"/>
                  <a:gd name="connsiteX70" fmla="*/ 147637 w 902494"/>
                  <a:gd name="connsiteY70" fmla="*/ 214312 h 852487"/>
                  <a:gd name="connsiteX71" fmla="*/ 128587 w 902494"/>
                  <a:gd name="connsiteY71" fmla="*/ 235743 h 852487"/>
                  <a:gd name="connsiteX72" fmla="*/ 92869 w 902494"/>
                  <a:gd name="connsiteY72" fmla="*/ 238125 h 852487"/>
                  <a:gd name="connsiteX73" fmla="*/ 40481 w 902494"/>
                  <a:gd name="connsiteY73" fmla="*/ 221456 h 85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902494" h="852487">
                    <a:moveTo>
                      <a:pt x="40481" y="221456"/>
                    </a:moveTo>
                    <a:lnTo>
                      <a:pt x="71437" y="200025"/>
                    </a:lnTo>
                    <a:lnTo>
                      <a:pt x="121444" y="176212"/>
                    </a:lnTo>
                    <a:lnTo>
                      <a:pt x="145256" y="166687"/>
                    </a:lnTo>
                    <a:lnTo>
                      <a:pt x="116681" y="130968"/>
                    </a:lnTo>
                    <a:lnTo>
                      <a:pt x="66675" y="135731"/>
                    </a:lnTo>
                    <a:lnTo>
                      <a:pt x="42862" y="138112"/>
                    </a:lnTo>
                    <a:lnTo>
                      <a:pt x="0" y="138112"/>
                    </a:lnTo>
                    <a:lnTo>
                      <a:pt x="23812" y="88106"/>
                    </a:lnTo>
                    <a:lnTo>
                      <a:pt x="47625" y="23812"/>
                    </a:lnTo>
                    <a:lnTo>
                      <a:pt x="80962" y="28575"/>
                    </a:lnTo>
                    <a:lnTo>
                      <a:pt x="123825" y="11906"/>
                    </a:lnTo>
                    <a:lnTo>
                      <a:pt x="161925" y="0"/>
                    </a:lnTo>
                    <a:lnTo>
                      <a:pt x="190500" y="33337"/>
                    </a:lnTo>
                    <a:lnTo>
                      <a:pt x="216694" y="28575"/>
                    </a:lnTo>
                    <a:lnTo>
                      <a:pt x="235744" y="61912"/>
                    </a:lnTo>
                    <a:lnTo>
                      <a:pt x="235744" y="61912"/>
                    </a:lnTo>
                    <a:lnTo>
                      <a:pt x="273844" y="97631"/>
                    </a:lnTo>
                    <a:lnTo>
                      <a:pt x="302419" y="95250"/>
                    </a:lnTo>
                    <a:lnTo>
                      <a:pt x="316706" y="59531"/>
                    </a:lnTo>
                    <a:cubicBezTo>
                      <a:pt x="337418" y="51764"/>
                      <a:pt x="329690" y="55419"/>
                      <a:pt x="340519" y="50006"/>
                    </a:cubicBezTo>
                    <a:lnTo>
                      <a:pt x="359569" y="23812"/>
                    </a:lnTo>
                    <a:lnTo>
                      <a:pt x="352425" y="0"/>
                    </a:lnTo>
                    <a:lnTo>
                      <a:pt x="378619" y="9525"/>
                    </a:lnTo>
                    <a:lnTo>
                      <a:pt x="402431" y="19050"/>
                    </a:lnTo>
                    <a:lnTo>
                      <a:pt x="461962" y="71437"/>
                    </a:lnTo>
                    <a:lnTo>
                      <a:pt x="521494" y="126206"/>
                    </a:lnTo>
                    <a:lnTo>
                      <a:pt x="590550" y="169068"/>
                    </a:lnTo>
                    <a:lnTo>
                      <a:pt x="635794" y="211931"/>
                    </a:lnTo>
                    <a:lnTo>
                      <a:pt x="707231" y="226218"/>
                    </a:lnTo>
                    <a:lnTo>
                      <a:pt x="738187" y="252412"/>
                    </a:lnTo>
                    <a:lnTo>
                      <a:pt x="781050" y="273843"/>
                    </a:lnTo>
                    <a:cubicBezTo>
                      <a:pt x="780256" y="297656"/>
                      <a:pt x="779463" y="321468"/>
                      <a:pt x="778669" y="345281"/>
                    </a:cubicBezTo>
                    <a:lnTo>
                      <a:pt x="823912" y="431006"/>
                    </a:lnTo>
                    <a:lnTo>
                      <a:pt x="859631" y="531018"/>
                    </a:lnTo>
                    <a:lnTo>
                      <a:pt x="883444" y="597693"/>
                    </a:lnTo>
                    <a:lnTo>
                      <a:pt x="902494" y="692943"/>
                    </a:lnTo>
                    <a:lnTo>
                      <a:pt x="895350" y="723900"/>
                    </a:lnTo>
                    <a:lnTo>
                      <a:pt x="833437" y="735806"/>
                    </a:lnTo>
                    <a:lnTo>
                      <a:pt x="788194" y="762000"/>
                    </a:lnTo>
                    <a:lnTo>
                      <a:pt x="742950" y="776287"/>
                    </a:lnTo>
                    <a:lnTo>
                      <a:pt x="716756" y="773906"/>
                    </a:lnTo>
                    <a:lnTo>
                      <a:pt x="690562" y="812006"/>
                    </a:lnTo>
                    <a:lnTo>
                      <a:pt x="652462" y="835818"/>
                    </a:lnTo>
                    <a:lnTo>
                      <a:pt x="616744" y="852487"/>
                    </a:lnTo>
                    <a:lnTo>
                      <a:pt x="571500" y="788193"/>
                    </a:lnTo>
                    <a:lnTo>
                      <a:pt x="590550" y="762000"/>
                    </a:lnTo>
                    <a:lnTo>
                      <a:pt x="571500" y="721518"/>
                    </a:lnTo>
                    <a:lnTo>
                      <a:pt x="528637" y="742950"/>
                    </a:lnTo>
                    <a:lnTo>
                      <a:pt x="495300" y="716756"/>
                    </a:lnTo>
                    <a:lnTo>
                      <a:pt x="454819" y="692943"/>
                    </a:lnTo>
                    <a:lnTo>
                      <a:pt x="438150" y="709612"/>
                    </a:lnTo>
                    <a:lnTo>
                      <a:pt x="407194" y="669131"/>
                    </a:lnTo>
                    <a:lnTo>
                      <a:pt x="411956" y="592931"/>
                    </a:lnTo>
                    <a:lnTo>
                      <a:pt x="378619" y="519112"/>
                    </a:lnTo>
                    <a:lnTo>
                      <a:pt x="385762" y="483393"/>
                    </a:lnTo>
                    <a:lnTo>
                      <a:pt x="357187" y="469106"/>
                    </a:lnTo>
                    <a:lnTo>
                      <a:pt x="357187" y="409575"/>
                    </a:lnTo>
                    <a:lnTo>
                      <a:pt x="330994" y="378618"/>
                    </a:lnTo>
                    <a:lnTo>
                      <a:pt x="350044" y="347662"/>
                    </a:lnTo>
                    <a:lnTo>
                      <a:pt x="340519" y="330993"/>
                    </a:lnTo>
                    <a:cubicBezTo>
                      <a:pt x="315631" y="338460"/>
                      <a:pt x="322566" y="332277"/>
                      <a:pt x="314325" y="340518"/>
                    </a:cubicBezTo>
                    <a:lnTo>
                      <a:pt x="238125" y="342900"/>
                    </a:lnTo>
                    <a:lnTo>
                      <a:pt x="207169" y="280987"/>
                    </a:lnTo>
                    <a:lnTo>
                      <a:pt x="169069" y="261937"/>
                    </a:lnTo>
                    <a:lnTo>
                      <a:pt x="169069" y="280987"/>
                    </a:lnTo>
                    <a:lnTo>
                      <a:pt x="142875" y="288131"/>
                    </a:lnTo>
                    <a:lnTo>
                      <a:pt x="102394" y="271462"/>
                    </a:lnTo>
                    <a:lnTo>
                      <a:pt x="150019" y="271462"/>
                    </a:lnTo>
                    <a:lnTo>
                      <a:pt x="140494" y="247650"/>
                    </a:lnTo>
                    <a:lnTo>
                      <a:pt x="147637" y="214312"/>
                    </a:lnTo>
                    <a:lnTo>
                      <a:pt x="128587" y="235743"/>
                    </a:lnTo>
                    <a:lnTo>
                      <a:pt x="92869" y="238125"/>
                    </a:lnTo>
                    <a:lnTo>
                      <a:pt x="40481" y="22145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5217" tIns="32608" rIns="65217" bIns="32608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3" name="Figura a mano libera 62"/>
            <p:cNvSpPr/>
            <p:nvPr/>
          </p:nvSpPr>
          <p:spPr>
            <a:xfrm>
              <a:off x="3881016" y="3962419"/>
              <a:ext cx="684813" cy="470663"/>
            </a:xfrm>
            <a:custGeom>
              <a:avLst/>
              <a:gdLst>
                <a:gd name="connsiteX0" fmla="*/ 0 w 667813"/>
                <a:gd name="connsiteY0" fmla="*/ 0 h 419100"/>
                <a:gd name="connsiteX1" fmla="*/ 314325 w 667813"/>
                <a:gd name="connsiteY1" fmla="*/ 114300 h 419100"/>
                <a:gd name="connsiteX2" fmla="*/ 552450 w 667813"/>
                <a:gd name="connsiteY2" fmla="*/ 247650 h 419100"/>
                <a:gd name="connsiteX3" fmla="*/ 666750 w 667813"/>
                <a:gd name="connsiteY3" fmla="*/ 333375 h 419100"/>
                <a:gd name="connsiteX4" fmla="*/ 628650 w 667813"/>
                <a:gd name="connsiteY4" fmla="*/ 419100 h 419100"/>
                <a:gd name="connsiteX0" fmla="*/ 0 w 628650"/>
                <a:gd name="connsiteY0" fmla="*/ 0 h 419100"/>
                <a:gd name="connsiteX1" fmla="*/ 314325 w 628650"/>
                <a:gd name="connsiteY1" fmla="*/ 114300 h 419100"/>
                <a:gd name="connsiteX2" fmla="*/ 552450 w 628650"/>
                <a:gd name="connsiteY2" fmla="*/ 247650 h 419100"/>
                <a:gd name="connsiteX3" fmla="*/ 628650 w 628650"/>
                <a:gd name="connsiteY3" fmla="*/ 419100 h 419100"/>
                <a:gd name="connsiteX0" fmla="*/ 0 w 628650"/>
                <a:gd name="connsiteY0" fmla="*/ 0 h 419100"/>
                <a:gd name="connsiteX1" fmla="*/ 314325 w 628650"/>
                <a:gd name="connsiteY1" fmla="*/ 114300 h 419100"/>
                <a:gd name="connsiteX2" fmla="*/ 600075 w 628650"/>
                <a:gd name="connsiteY2" fmla="*/ 266700 h 419100"/>
                <a:gd name="connsiteX3" fmla="*/ 628650 w 628650"/>
                <a:gd name="connsiteY3" fmla="*/ 419100 h 419100"/>
                <a:gd name="connsiteX0" fmla="*/ 0 w 620907"/>
                <a:gd name="connsiteY0" fmla="*/ 0 h 400050"/>
                <a:gd name="connsiteX1" fmla="*/ 314325 w 620907"/>
                <a:gd name="connsiteY1" fmla="*/ 114300 h 400050"/>
                <a:gd name="connsiteX2" fmla="*/ 600075 w 620907"/>
                <a:gd name="connsiteY2" fmla="*/ 266700 h 400050"/>
                <a:gd name="connsiteX3" fmla="*/ 609600 w 620907"/>
                <a:gd name="connsiteY3" fmla="*/ 400050 h 400050"/>
                <a:gd name="connsiteX0" fmla="*/ 0 w 620907"/>
                <a:gd name="connsiteY0" fmla="*/ 0 h 400050"/>
                <a:gd name="connsiteX1" fmla="*/ 314325 w 620907"/>
                <a:gd name="connsiteY1" fmla="*/ 114300 h 400050"/>
                <a:gd name="connsiteX2" fmla="*/ 600075 w 620907"/>
                <a:gd name="connsiteY2" fmla="*/ 266700 h 400050"/>
                <a:gd name="connsiteX3" fmla="*/ 609600 w 620907"/>
                <a:gd name="connsiteY3" fmla="*/ 400050 h 400050"/>
                <a:gd name="connsiteX0" fmla="*/ 0 w 628650"/>
                <a:gd name="connsiteY0" fmla="*/ 0 h 428625"/>
                <a:gd name="connsiteX1" fmla="*/ 314325 w 628650"/>
                <a:gd name="connsiteY1" fmla="*/ 114300 h 428625"/>
                <a:gd name="connsiteX2" fmla="*/ 600075 w 628650"/>
                <a:gd name="connsiteY2" fmla="*/ 266700 h 428625"/>
                <a:gd name="connsiteX3" fmla="*/ 628650 w 628650"/>
                <a:gd name="connsiteY3" fmla="*/ 428625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8650" h="428625">
                  <a:moveTo>
                    <a:pt x="0" y="0"/>
                  </a:moveTo>
                  <a:cubicBezTo>
                    <a:pt x="111125" y="36512"/>
                    <a:pt x="214313" y="69850"/>
                    <a:pt x="314325" y="114300"/>
                  </a:cubicBezTo>
                  <a:cubicBezTo>
                    <a:pt x="414337" y="158750"/>
                    <a:pt x="547688" y="214313"/>
                    <a:pt x="600075" y="266700"/>
                  </a:cubicBezTo>
                  <a:cubicBezTo>
                    <a:pt x="652462" y="319087"/>
                    <a:pt x="612775" y="392906"/>
                    <a:pt x="628650" y="428625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igura a mano libera 69"/>
            <p:cNvSpPr/>
            <p:nvPr/>
          </p:nvSpPr>
          <p:spPr>
            <a:xfrm>
              <a:off x="3486731" y="2665480"/>
              <a:ext cx="20921" cy="251020"/>
            </a:xfrm>
            <a:custGeom>
              <a:avLst/>
              <a:gdLst>
                <a:gd name="connsiteX0" fmla="*/ 0 w 19205"/>
                <a:gd name="connsiteY0" fmla="*/ 0 h 228600"/>
                <a:gd name="connsiteX1" fmla="*/ 19050 w 19205"/>
                <a:gd name="connsiteY1" fmla="*/ 123825 h 228600"/>
                <a:gd name="connsiteX2" fmla="*/ 9525 w 19205"/>
                <a:gd name="connsiteY2" fmla="*/ 22860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205" h="228600">
                  <a:moveTo>
                    <a:pt x="0" y="0"/>
                  </a:moveTo>
                  <a:cubicBezTo>
                    <a:pt x="8731" y="42862"/>
                    <a:pt x="17462" y="85725"/>
                    <a:pt x="19050" y="123825"/>
                  </a:cubicBezTo>
                  <a:cubicBezTo>
                    <a:pt x="20638" y="161925"/>
                    <a:pt x="9525" y="228600"/>
                    <a:pt x="9525" y="22860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igura a mano libera 70"/>
            <p:cNvSpPr/>
            <p:nvPr/>
          </p:nvSpPr>
          <p:spPr>
            <a:xfrm>
              <a:off x="2117104" y="2062438"/>
              <a:ext cx="439248" cy="216054"/>
            </a:xfrm>
            <a:custGeom>
              <a:avLst/>
              <a:gdLst>
                <a:gd name="connsiteX0" fmla="*/ 0 w 504825"/>
                <a:gd name="connsiteY0" fmla="*/ 194380 h 194380"/>
                <a:gd name="connsiteX1" fmla="*/ 247650 w 504825"/>
                <a:gd name="connsiteY1" fmla="*/ 13405 h 194380"/>
                <a:gd name="connsiteX2" fmla="*/ 504825 w 504825"/>
                <a:gd name="connsiteY2" fmla="*/ 13405 h 194380"/>
                <a:gd name="connsiteX0" fmla="*/ 0 w 403225"/>
                <a:gd name="connsiteY0" fmla="*/ 196756 h 196756"/>
                <a:gd name="connsiteX1" fmla="*/ 247650 w 403225"/>
                <a:gd name="connsiteY1" fmla="*/ 15781 h 196756"/>
                <a:gd name="connsiteX2" fmla="*/ 403225 w 403225"/>
                <a:gd name="connsiteY2" fmla="*/ 7965 h 196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3225" h="196756">
                  <a:moveTo>
                    <a:pt x="0" y="196756"/>
                  </a:moveTo>
                  <a:cubicBezTo>
                    <a:pt x="81756" y="121349"/>
                    <a:pt x="163513" y="45943"/>
                    <a:pt x="247650" y="15781"/>
                  </a:cubicBezTo>
                  <a:cubicBezTo>
                    <a:pt x="331787" y="-14381"/>
                    <a:pt x="403225" y="7965"/>
                    <a:pt x="403225" y="7965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igura a mano libera 71"/>
            <p:cNvSpPr/>
            <p:nvPr/>
          </p:nvSpPr>
          <p:spPr>
            <a:xfrm>
              <a:off x="4562707" y="4114087"/>
              <a:ext cx="472038" cy="308536"/>
            </a:xfrm>
            <a:custGeom>
              <a:avLst/>
              <a:gdLst>
                <a:gd name="connsiteX0" fmla="*/ 7746 w 436371"/>
                <a:gd name="connsiteY0" fmla="*/ 276225 h 276225"/>
                <a:gd name="connsiteX1" fmla="*/ 17271 w 436371"/>
                <a:gd name="connsiteY1" fmla="*/ 171450 h 276225"/>
                <a:gd name="connsiteX2" fmla="*/ 160146 w 436371"/>
                <a:gd name="connsiteY2" fmla="*/ 85725 h 276225"/>
                <a:gd name="connsiteX3" fmla="*/ 274446 w 436371"/>
                <a:gd name="connsiteY3" fmla="*/ 114300 h 276225"/>
                <a:gd name="connsiteX4" fmla="*/ 360171 w 436371"/>
                <a:gd name="connsiteY4" fmla="*/ 28575 h 276225"/>
                <a:gd name="connsiteX5" fmla="*/ 341121 w 436371"/>
                <a:gd name="connsiteY5" fmla="*/ 9525 h 276225"/>
                <a:gd name="connsiteX6" fmla="*/ 436371 w 436371"/>
                <a:gd name="connsiteY6" fmla="*/ 0 h 276225"/>
                <a:gd name="connsiteX0" fmla="*/ 7746 w 436371"/>
                <a:gd name="connsiteY0" fmla="*/ 276225 h 276225"/>
                <a:gd name="connsiteX1" fmla="*/ 17271 w 436371"/>
                <a:gd name="connsiteY1" fmla="*/ 171450 h 276225"/>
                <a:gd name="connsiteX2" fmla="*/ 160146 w 436371"/>
                <a:gd name="connsiteY2" fmla="*/ 85725 h 276225"/>
                <a:gd name="connsiteX3" fmla="*/ 274446 w 436371"/>
                <a:gd name="connsiteY3" fmla="*/ 114300 h 276225"/>
                <a:gd name="connsiteX4" fmla="*/ 360171 w 436371"/>
                <a:gd name="connsiteY4" fmla="*/ 28575 h 276225"/>
                <a:gd name="connsiteX5" fmla="*/ 436371 w 436371"/>
                <a:gd name="connsiteY5" fmla="*/ 0 h 276225"/>
                <a:gd name="connsiteX0" fmla="*/ 7746 w 436371"/>
                <a:gd name="connsiteY0" fmla="*/ 276225 h 276225"/>
                <a:gd name="connsiteX1" fmla="*/ 17271 w 436371"/>
                <a:gd name="connsiteY1" fmla="*/ 171450 h 276225"/>
                <a:gd name="connsiteX2" fmla="*/ 160146 w 436371"/>
                <a:gd name="connsiteY2" fmla="*/ 114300 h 276225"/>
                <a:gd name="connsiteX3" fmla="*/ 274446 w 436371"/>
                <a:gd name="connsiteY3" fmla="*/ 114300 h 276225"/>
                <a:gd name="connsiteX4" fmla="*/ 360171 w 436371"/>
                <a:gd name="connsiteY4" fmla="*/ 28575 h 276225"/>
                <a:gd name="connsiteX5" fmla="*/ 436371 w 436371"/>
                <a:gd name="connsiteY5" fmla="*/ 0 h 276225"/>
                <a:gd name="connsiteX0" fmla="*/ 7746 w 436371"/>
                <a:gd name="connsiteY0" fmla="*/ 276225 h 276225"/>
                <a:gd name="connsiteX1" fmla="*/ 17271 w 436371"/>
                <a:gd name="connsiteY1" fmla="*/ 171450 h 276225"/>
                <a:gd name="connsiteX2" fmla="*/ 160146 w 436371"/>
                <a:gd name="connsiteY2" fmla="*/ 114300 h 276225"/>
                <a:gd name="connsiteX3" fmla="*/ 312546 w 436371"/>
                <a:gd name="connsiteY3" fmla="*/ 171450 h 276225"/>
                <a:gd name="connsiteX4" fmla="*/ 360171 w 436371"/>
                <a:gd name="connsiteY4" fmla="*/ 28575 h 276225"/>
                <a:gd name="connsiteX5" fmla="*/ 436371 w 436371"/>
                <a:gd name="connsiteY5" fmla="*/ 0 h 276225"/>
                <a:gd name="connsiteX0" fmla="*/ 7746 w 436371"/>
                <a:gd name="connsiteY0" fmla="*/ 276225 h 276225"/>
                <a:gd name="connsiteX1" fmla="*/ 17271 w 436371"/>
                <a:gd name="connsiteY1" fmla="*/ 171450 h 276225"/>
                <a:gd name="connsiteX2" fmla="*/ 160146 w 436371"/>
                <a:gd name="connsiteY2" fmla="*/ 114300 h 276225"/>
                <a:gd name="connsiteX3" fmla="*/ 312546 w 436371"/>
                <a:gd name="connsiteY3" fmla="*/ 171450 h 276225"/>
                <a:gd name="connsiteX4" fmla="*/ 398271 w 436371"/>
                <a:gd name="connsiteY4" fmla="*/ 66675 h 276225"/>
                <a:gd name="connsiteX5" fmla="*/ 436371 w 436371"/>
                <a:gd name="connsiteY5" fmla="*/ 0 h 276225"/>
                <a:gd name="connsiteX0" fmla="*/ 7746 w 455421"/>
                <a:gd name="connsiteY0" fmla="*/ 295275 h 295275"/>
                <a:gd name="connsiteX1" fmla="*/ 17271 w 455421"/>
                <a:gd name="connsiteY1" fmla="*/ 190500 h 295275"/>
                <a:gd name="connsiteX2" fmla="*/ 160146 w 455421"/>
                <a:gd name="connsiteY2" fmla="*/ 133350 h 295275"/>
                <a:gd name="connsiteX3" fmla="*/ 312546 w 455421"/>
                <a:gd name="connsiteY3" fmla="*/ 190500 h 295275"/>
                <a:gd name="connsiteX4" fmla="*/ 398271 w 455421"/>
                <a:gd name="connsiteY4" fmla="*/ 85725 h 295275"/>
                <a:gd name="connsiteX5" fmla="*/ 455421 w 455421"/>
                <a:gd name="connsiteY5" fmla="*/ 0 h 295275"/>
                <a:gd name="connsiteX0" fmla="*/ 7746 w 455421"/>
                <a:gd name="connsiteY0" fmla="*/ 295275 h 295275"/>
                <a:gd name="connsiteX1" fmla="*/ 17271 w 455421"/>
                <a:gd name="connsiteY1" fmla="*/ 190500 h 295275"/>
                <a:gd name="connsiteX2" fmla="*/ 160146 w 455421"/>
                <a:gd name="connsiteY2" fmla="*/ 133350 h 295275"/>
                <a:gd name="connsiteX3" fmla="*/ 312546 w 455421"/>
                <a:gd name="connsiteY3" fmla="*/ 190500 h 295275"/>
                <a:gd name="connsiteX4" fmla="*/ 379221 w 455421"/>
                <a:gd name="connsiteY4" fmla="*/ 47625 h 295275"/>
                <a:gd name="connsiteX5" fmla="*/ 455421 w 455421"/>
                <a:gd name="connsiteY5" fmla="*/ 0 h 295275"/>
                <a:gd name="connsiteX0" fmla="*/ 606 w 543931"/>
                <a:gd name="connsiteY0" fmla="*/ 295275 h 295275"/>
                <a:gd name="connsiteX1" fmla="*/ 105781 w 543931"/>
                <a:gd name="connsiteY1" fmla="*/ 190500 h 295275"/>
                <a:gd name="connsiteX2" fmla="*/ 248656 w 543931"/>
                <a:gd name="connsiteY2" fmla="*/ 133350 h 295275"/>
                <a:gd name="connsiteX3" fmla="*/ 401056 w 543931"/>
                <a:gd name="connsiteY3" fmla="*/ 190500 h 295275"/>
                <a:gd name="connsiteX4" fmla="*/ 467731 w 543931"/>
                <a:gd name="connsiteY4" fmla="*/ 47625 h 295275"/>
                <a:gd name="connsiteX5" fmla="*/ 543931 w 543931"/>
                <a:gd name="connsiteY5" fmla="*/ 0 h 295275"/>
                <a:gd name="connsiteX0" fmla="*/ 607 w 543932"/>
                <a:gd name="connsiteY0" fmla="*/ 295275 h 295275"/>
                <a:gd name="connsiteX1" fmla="*/ 105782 w 543932"/>
                <a:gd name="connsiteY1" fmla="*/ 190500 h 295275"/>
                <a:gd name="connsiteX2" fmla="*/ 248656 w 543932"/>
                <a:gd name="connsiteY2" fmla="*/ 74712 h 295275"/>
                <a:gd name="connsiteX3" fmla="*/ 401057 w 543932"/>
                <a:gd name="connsiteY3" fmla="*/ 190500 h 295275"/>
                <a:gd name="connsiteX4" fmla="*/ 467732 w 543932"/>
                <a:gd name="connsiteY4" fmla="*/ 47625 h 295275"/>
                <a:gd name="connsiteX5" fmla="*/ 543932 w 543932"/>
                <a:gd name="connsiteY5" fmla="*/ 0 h 295275"/>
                <a:gd name="connsiteX0" fmla="*/ 607 w 543932"/>
                <a:gd name="connsiteY0" fmla="*/ 295275 h 295275"/>
                <a:gd name="connsiteX1" fmla="*/ 105782 w 543932"/>
                <a:gd name="connsiteY1" fmla="*/ 190500 h 295275"/>
                <a:gd name="connsiteX2" fmla="*/ 248656 w 543932"/>
                <a:gd name="connsiteY2" fmla="*/ 74712 h 295275"/>
                <a:gd name="connsiteX3" fmla="*/ 385115 w 543932"/>
                <a:gd name="connsiteY3" fmla="*/ 148615 h 295275"/>
                <a:gd name="connsiteX4" fmla="*/ 467732 w 543932"/>
                <a:gd name="connsiteY4" fmla="*/ 47625 h 295275"/>
                <a:gd name="connsiteX5" fmla="*/ 543932 w 543932"/>
                <a:gd name="connsiteY5" fmla="*/ 0 h 295275"/>
                <a:gd name="connsiteX0" fmla="*/ 607 w 543932"/>
                <a:gd name="connsiteY0" fmla="*/ 321589 h 321589"/>
                <a:gd name="connsiteX1" fmla="*/ 105782 w 543932"/>
                <a:gd name="connsiteY1" fmla="*/ 216814 h 321589"/>
                <a:gd name="connsiteX2" fmla="*/ 248656 w 543932"/>
                <a:gd name="connsiteY2" fmla="*/ 101026 h 321589"/>
                <a:gd name="connsiteX3" fmla="*/ 385115 w 543932"/>
                <a:gd name="connsiteY3" fmla="*/ 174929 h 321589"/>
                <a:gd name="connsiteX4" fmla="*/ 435849 w 543932"/>
                <a:gd name="connsiteY4" fmla="*/ 6923 h 321589"/>
                <a:gd name="connsiteX5" fmla="*/ 543932 w 543932"/>
                <a:gd name="connsiteY5" fmla="*/ 26314 h 321589"/>
                <a:gd name="connsiteX0" fmla="*/ 607 w 543932"/>
                <a:gd name="connsiteY0" fmla="*/ 370667 h 370667"/>
                <a:gd name="connsiteX1" fmla="*/ 105782 w 543932"/>
                <a:gd name="connsiteY1" fmla="*/ 265892 h 370667"/>
                <a:gd name="connsiteX2" fmla="*/ 248656 w 543932"/>
                <a:gd name="connsiteY2" fmla="*/ 150104 h 370667"/>
                <a:gd name="connsiteX3" fmla="*/ 385115 w 543932"/>
                <a:gd name="connsiteY3" fmla="*/ 224007 h 370667"/>
                <a:gd name="connsiteX4" fmla="*/ 435849 w 543932"/>
                <a:gd name="connsiteY4" fmla="*/ 56001 h 370667"/>
                <a:gd name="connsiteX5" fmla="*/ 543932 w 543932"/>
                <a:gd name="connsiteY5" fmla="*/ 0 h 37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932" h="370667">
                  <a:moveTo>
                    <a:pt x="607" y="370667"/>
                  </a:moveTo>
                  <a:cubicBezTo>
                    <a:pt x="-7331" y="334154"/>
                    <a:pt x="64441" y="302652"/>
                    <a:pt x="105782" y="265892"/>
                  </a:cubicBezTo>
                  <a:cubicBezTo>
                    <a:pt x="147123" y="229132"/>
                    <a:pt x="202101" y="157085"/>
                    <a:pt x="248656" y="150104"/>
                  </a:cubicBezTo>
                  <a:cubicBezTo>
                    <a:pt x="295211" y="143123"/>
                    <a:pt x="353916" y="239691"/>
                    <a:pt x="385115" y="224007"/>
                  </a:cubicBezTo>
                  <a:cubicBezTo>
                    <a:pt x="416314" y="208323"/>
                    <a:pt x="409380" y="93336"/>
                    <a:pt x="435849" y="56001"/>
                  </a:cubicBezTo>
                  <a:cubicBezTo>
                    <a:pt x="462319" y="18666"/>
                    <a:pt x="528057" y="5953"/>
                    <a:pt x="543932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igura a mano libera 72"/>
            <p:cNvSpPr/>
            <p:nvPr/>
          </p:nvSpPr>
          <p:spPr>
            <a:xfrm>
              <a:off x="4562981" y="4356753"/>
              <a:ext cx="193392" cy="206397"/>
            </a:xfrm>
            <a:custGeom>
              <a:avLst/>
              <a:gdLst>
                <a:gd name="connsiteX0" fmla="*/ 19247 w 234088"/>
                <a:gd name="connsiteY0" fmla="*/ 76483 h 219358"/>
                <a:gd name="connsiteX1" fmla="*/ 19247 w 234088"/>
                <a:gd name="connsiteY1" fmla="*/ 283 h 219358"/>
                <a:gd name="connsiteX2" fmla="*/ 219272 w 234088"/>
                <a:gd name="connsiteY2" fmla="*/ 57433 h 219358"/>
                <a:gd name="connsiteX3" fmla="*/ 219272 w 234088"/>
                <a:gd name="connsiteY3" fmla="*/ 219358 h 219358"/>
                <a:gd name="connsiteX4" fmla="*/ 219272 w 234088"/>
                <a:gd name="connsiteY4" fmla="*/ 219358 h 219358"/>
                <a:gd name="connsiteX0" fmla="*/ 17251 w 217276"/>
                <a:gd name="connsiteY0" fmla="*/ 76200 h 219075"/>
                <a:gd name="connsiteX1" fmla="*/ 17251 w 217276"/>
                <a:gd name="connsiteY1" fmla="*/ 0 h 219075"/>
                <a:gd name="connsiteX2" fmla="*/ 188701 w 217276"/>
                <a:gd name="connsiteY2" fmla="*/ 76200 h 219075"/>
                <a:gd name="connsiteX3" fmla="*/ 217276 w 217276"/>
                <a:gd name="connsiteY3" fmla="*/ 219075 h 219075"/>
                <a:gd name="connsiteX4" fmla="*/ 217276 w 217276"/>
                <a:gd name="connsiteY4" fmla="*/ 219075 h 219075"/>
                <a:gd name="connsiteX0" fmla="*/ 2718 w 202743"/>
                <a:gd name="connsiteY0" fmla="*/ 29304 h 172179"/>
                <a:gd name="connsiteX1" fmla="*/ 78918 w 202743"/>
                <a:gd name="connsiteY1" fmla="*/ 729 h 172179"/>
                <a:gd name="connsiteX2" fmla="*/ 174168 w 202743"/>
                <a:gd name="connsiteY2" fmla="*/ 29304 h 172179"/>
                <a:gd name="connsiteX3" fmla="*/ 202743 w 202743"/>
                <a:gd name="connsiteY3" fmla="*/ 172179 h 172179"/>
                <a:gd name="connsiteX4" fmla="*/ 202743 w 202743"/>
                <a:gd name="connsiteY4" fmla="*/ 172179 h 172179"/>
                <a:gd name="connsiteX0" fmla="*/ 2616 w 202641"/>
                <a:gd name="connsiteY0" fmla="*/ 31412 h 174287"/>
                <a:gd name="connsiteX1" fmla="*/ 78816 w 202641"/>
                <a:gd name="connsiteY1" fmla="*/ 2837 h 174287"/>
                <a:gd name="connsiteX2" fmla="*/ 155016 w 202641"/>
                <a:gd name="connsiteY2" fmla="*/ 59987 h 174287"/>
                <a:gd name="connsiteX3" fmla="*/ 202641 w 202641"/>
                <a:gd name="connsiteY3" fmla="*/ 174287 h 174287"/>
                <a:gd name="connsiteX4" fmla="*/ 202641 w 202641"/>
                <a:gd name="connsiteY4" fmla="*/ 174287 h 174287"/>
                <a:gd name="connsiteX0" fmla="*/ 2616 w 203121"/>
                <a:gd name="connsiteY0" fmla="*/ 31412 h 193337"/>
                <a:gd name="connsiteX1" fmla="*/ 78816 w 203121"/>
                <a:gd name="connsiteY1" fmla="*/ 2837 h 193337"/>
                <a:gd name="connsiteX2" fmla="*/ 155016 w 203121"/>
                <a:gd name="connsiteY2" fmla="*/ 59987 h 193337"/>
                <a:gd name="connsiteX3" fmla="*/ 202641 w 203121"/>
                <a:gd name="connsiteY3" fmla="*/ 174287 h 193337"/>
                <a:gd name="connsiteX4" fmla="*/ 126441 w 203121"/>
                <a:gd name="connsiteY4" fmla="*/ 193337 h 193337"/>
                <a:gd name="connsiteX0" fmla="*/ 2616 w 203121"/>
                <a:gd name="connsiteY0" fmla="*/ 31412 h 174287"/>
                <a:gd name="connsiteX1" fmla="*/ 78816 w 203121"/>
                <a:gd name="connsiteY1" fmla="*/ 2837 h 174287"/>
                <a:gd name="connsiteX2" fmla="*/ 155016 w 203121"/>
                <a:gd name="connsiteY2" fmla="*/ 59987 h 174287"/>
                <a:gd name="connsiteX3" fmla="*/ 202641 w 203121"/>
                <a:gd name="connsiteY3" fmla="*/ 174287 h 17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121" h="174287">
                  <a:moveTo>
                    <a:pt x="2616" y="31412"/>
                  </a:moveTo>
                  <a:cubicBezTo>
                    <a:pt x="-14053" y="-5101"/>
                    <a:pt x="53416" y="-1925"/>
                    <a:pt x="78816" y="2837"/>
                  </a:cubicBezTo>
                  <a:cubicBezTo>
                    <a:pt x="104216" y="7599"/>
                    <a:pt x="134379" y="31412"/>
                    <a:pt x="155016" y="59987"/>
                  </a:cubicBezTo>
                  <a:cubicBezTo>
                    <a:pt x="175653" y="88562"/>
                    <a:pt x="207404" y="152062"/>
                    <a:pt x="202641" y="174287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igura a mano libera 73"/>
            <p:cNvSpPr/>
            <p:nvPr/>
          </p:nvSpPr>
          <p:spPr>
            <a:xfrm>
              <a:off x="4441316" y="3627724"/>
              <a:ext cx="1016123" cy="620637"/>
            </a:xfrm>
            <a:custGeom>
              <a:avLst/>
              <a:gdLst>
                <a:gd name="connsiteX0" fmla="*/ 0 w 1504950"/>
                <a:gd name="connsiteY0" fmla="*/ 0 h 1000125"/>
                <a:gd name="connsiteX1" fmla="*/ 342900 w 1504950"/>
                <a:gd name="connsiteY1" fmla="*/ 247650 h 1000125"/>
                <a:gd name="connsiteX2" fmla="*/ 533400 w 1504950"/>
                <a:gd name="connsiteY2" fmla="*/ 409575 h 1000125"/>
                <a:gd name="connsiteX3" fmla="*/ 923925 w 1504950"/>
                <a:gd name="connsiteY3" fmla="*/ 590550 h 1000125"/>
                <a:gd name="connsiteX4" fmla="*/ 1428750 w 1504950"/>
                <a:gd name="connsiteY4" fmla="*/ 866775 h 1000125"/>
                <a:gd name="connsiteX5" fmla="*/ 1504950 w 1504950"/>
                <a:gd name="connsiteY5" fmla="*/ 1000125 h 1000125"/>
                <a:gd name="connsiteX0" fmla="*/ 0 w 1428750"/>
                <a:gd name="connsiteY0" fmla="*/ 0 h 866775"/>
                <a:gd name="connsiteX1" fmla="*/ 342900 w 1428750"/>
                <a:gd name="connsiteY1" fmla="*/ 247650 h 866775"/>
                <a:gd name="connsiteX2" fmla="*/ 533400 w 1428750"/>
                <a:gd name="connsiteY2" fmla="*/ 409575 h 866775"/>
                <a:gd name="connsiteX3" fmla="*/ 923925 w 1428750"/>
                <a:gd name="connsiteY3" fmla="*/ 590550 h 866775"/>
                <a:gd name="connsiteX4" fmla="*/ 1428750 w 1428750"/>
                <a:gd name="connsiteY4" fmla="*/ 866775 h 866775"/>
                <a:gd name="connsiteX0" fmla="*/ 0 w 923925"/>
                <a:gd name="connsiteY0" fmla="*/ 0 h 590550"/>
                <a:gd name="connsiteX1" fmla="*/ 342900 w 923925"/>
                <a:gd name="connsiteY1" fmla="*/ 247650 h 590550"/>
                <a:gd name="connsiteX2" fmla="*/ 533400 w 923925"/>
                <a:gd name="connsiteY2" fmla="*/ 409575 h 590550"/>
                <a:gd name="connsiteX3" fmla="*/ 923925 w 923925"/>
                <a:gd name="connsiteY3" fmla="*/ 590550 h 590550"/>
                <a:gd name="connsiteX0" fmla="*/ 0 w 753328"/>
                <a:gd name="connsiteY0" fmla="*/ 0 h 515487"/>
                <a:gd name="connsiteX1" fmla="*/ 342900 w 753328"/>
                <a:gd name="connsiteY1" fmla="*/ 247650 h 515487"/>
                <a:gd name="connsiteX2" fmla="*/ 533400 w 753328"/>
                <a:gd name="connsiteY2" fmla="*/ 409575 h 515487"/>
                <a:gd name="connsiteX3" fmla="*/ 753328 w 753328"/>
                <a:gd name="connsiteY3" fmla="*/ 515487 h 515487"/>
                <a:gd name="connsiteX0" fmla="*/ 0 w 932788"/>
                <a:gd name="connsiteY0" fmla="*/ 0 h 565204"/>
                <a:gd name="connsiteX1" fmla="*/ 342900 w 932788"/>
                <a:gd name="connsiteY1" fmla="*/ 247650 h 565204"/>
                <a:gd name="connsiteX2" fmla="*/ 533400 w 932788"/>
                <a:gd name="connsiteY2" fmla="*/ 409575 h 565204"/>
                <a:gd name="connsiteX3" fmla="*/ 932788 w 932788"/>
                <a:gd name="connsiteY3" fmla="*/ 565204 h 565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788" h="565204">
                  <a:moveTo>
                    <a:pt x="0" y="0"/>
                  </a:moveTo>
                  <a:cubicBezTo>
                    <a:pt x="127000" y="89694"/>
                    <a:pt x="254000" y="179388"/>
                    <a:pt x="342900" y="247650"/>
                  </a:cubicBezTo>
                  <a:cubicBezTo>
                    <a:pt x="431800" y="315912"/>
                    <a:pt x="464995" y="364935"/>
                    <a:pt x="533400" y="409575"/>
                  </a:cubicBezTo>
                  <a:cubicBezTo>
                    <a:pt x="601805" y="454215"/>
                    <a:pt x="783563" y="489004"/>
                    <a:pt x="932788" y="565204"/>
                  </a:cubicBezTo>
                </a:path>
              </a:pathLst>
            </a:custGeom>
            <a:noFill/>
            <a:ln w="2857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igura a mano libera 74"/>
            <p:cNvSpPr/>
            <p:nvPr/>
          </p:nvSpPr>
          <p:spPr>
            <a:xfrm>
              <a:off x="4576205" y="4286551"/>
              <a:ext cx="114135" cy="20918"/>
            </a:xfrm>
            <a:custGeom>
              <a:avLst/>
              <a:gdLst>
                <a:gd name="connsiteX0" fmla="*/ 0 w 104775"/>
                <a:gd name="connsiteY0" fmla="*/ 0 h 19050"/>
                <a:gd name="connsiteX1" fmla="*/ 104775 w 104775"/>
                <a:gd name="connsiteY1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4775" h="19050">
                  <a:moveTo>
                    <a:pt x="0" y="0"/>
                  </a:moveTo>
                  <a:lnTo>
                    <a:pt x="104775" y="1905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igura a mano libera 75"/>
            <p:cNvSpPr/>
            <p:nvPr/>
          </p:nvSpPr>
          <p:spPr>
            <a:xfrm>
              <a:off x="4783724" y="5762086"/>
              <a:ext cx="157719" cy="281608"/>
            </a:xfrm>
            <a:custGeom>
              <a:avLst/>
              <a:gdLst>
                <a:gd name="connsiteX0" fmla="*/ 0 w 133350"/>
                <a:gd name="connsiteY0" fmla="*/ 266700 h 266700"/>
                <a:gd name="connsiteX1" fmla="*/ 66675 w 133350"/>
                <a:gd name="connsiteY1" fmla="*/ 114300 h 266700"/>
                <a:gd name="connsiteX2" fmla="*/ 133350 w 133350"/>
                <a:gd name="connsiteY2" fmla="*/ 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350" h="266700">
                  <a:moveTo>
                    <a:pt x="0" y="266700"/>
                  </a:moveTo>
                  <a:cubicBezTo>
                    <a:pt x="22225" y="212725"/>
                    <a:pt x="44450" y="158750"/>
                    <a:pt x="66675" y="114300"/>
                  </a:cubicBezTo>
                  <a:cubicBezTo>
                    <a:pt x="88900" y="69850"/>
                    <a:pt x="119063" y="19050"/>
                    <a:pt x="133350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igura a mano libera 76"/>
            <p:cNvSpPr/>
            <p:nvPr/>
          </p:nvSpPr>
          <p:spPr>
            <a:xfrm>
              <a:off x="4192296" y="3083746"/>
              <a:ext cx="259399" cy="502041"/>
            </a:xfrm>
            <a:custGeom>
              <a:avLst/>
              <a:gdLst>
                <a:gd name="connsiteX0" fmla="*/ 0 w 238125"/>
                <a:gd name="connsiteY0" fmla="*/ 0 h 457200"/>
                <a:gd name="connsiteX1" fmla="*/ 76200 w 238125"/>
                <a:gd name="connsiteY1" fmla="*/ 152400 h 457200"/>
                <a:gd name="connsiteX2" fmla="*/ 161925 w 238125"/>
                <a:gd name="connsiteY2" fmla="*/ 390525 h 457200"/>
                <a:gd name="connsiteX3" fmla="*/ 238125 w 238125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25" h="457200">
                  <a:moveTo>
                    <a:pt x="0" y="0"/>
                  </a:moveTo>
                  <a:cubicBezTo>
                    <a:pt x="24606" y="43656"/>
                    <a:pt x="49213" y="87313"/>
                    <a:pt x="76200" y="152400"/>
                  </a:cubicBezTo>
                  <a:cubicBezTo>
                    <a:pt x="103187" y="217487"/>
                    <a:pt x="134938" y="339725"/>
                    <a:pt x="161925" y="390525"/>
                  </a:cubicBezTo>
                  <a:cubicBezTo>
                    <a:pt x="188912" y="441325"/>
                    <a:pt x="213518" y="449262"/>
                    <a:pt x="238125" y="457200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igura a mano libera 77"/>
            <p:cNvSpPr/>
            <p:nvPr/>
          </p:nvSpPr>
          <p:spPr>
            <a:xfrm>
              <a:off x="3808385" y="1985406"/>
              <a:ext cx="472799" cy="157014"/>
            </a:xfrm>
            <a:custGeom>
              <a:avLst/>
              <a:gdLst>
                <a:gd name="connsiteX0" fmla="*/ 0 w 434024"/>
                <a:gd name="connsiteY0" fmla="*/ 142990 h 142990"/>
                <a:gd name="connsiteX1" fmla="*/ 171450 w 434024"/>
                <a:gd name="connsiteY1" fmla="*/ 38215 h 142990"/>
                <a:gd name="connsiteX2" fmla="*/ 400050 w 434024"/>
                <a:gd name="connsiteY2" fmla="*/ 115 h 142990"/>
                <a:gd name="connsiteX3" fmla="*/ 428625 w 434024"/>
                <a:gd name="connsiteY3" fmla="*/ 28690 h 142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024" h="142990">
                  <a:moveTo>
                    <a:pt x="0" y="142990"/>
                  </a:moveTo>
                  <a:cubicBezTo>
                    <a:pt x="52387" y="102508"/>
                    <a:pt x="104775" y="62027"/>
                    <a:pt x="171450" y="38215"/>
                  </a:cubicBezTo>
                  <a:cubicBezTo>
                    <a:pt x="238125" y="14402"/>
                    <a:pt x="357188" y="1702"/>
                    <a:pt x="400050" y="115"/>
                  </a:cubicBezTo>
                  <a:cubicBezTo>
                    <a:pt x="442912" y="-1472"/>
                    <a:pt x="435768" y="13609"/>
                    <a:pt x="428625" y="2869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igura a mano libera 78"/>
            <p:cNvSpPr/>
            <p:nvPr/>
          </p:nvSpPr>
          <p:spPr>
            <a:xfrm>
              <a:off x="2575257" y="2053919"/>
              <a:ext cx="392676" cy="36204"/>
            </a:xfrm>
            <a:custGeom>
              <a:avLst/>
              <a:gdLst>
                <a:gd name="connsiteX0" fmla="*/ 0 w 266700"/>
                <a:gd name="connsiteY0" fmla="*/ 0 h 9525"/>
                <a:gd name="connsiteX1" fmla="*/ 266700 w 266700"/>
                <a:gd name="connsiteY1" fmla="*/ 9525 h 9525"/>
                <a:gd name="connsiteX0" fmla="*/ 0 w 13516"/>
                <a:gd name="connsiteY0" fmla="*/ 0 h 34615"/>
                <a:gd name="connsiteX1" fmla="*/ 13516 w 13516"/>
                <a:gd name="connsiteY1" fmla="*/ 34615 h 3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16" h="34615">
                  <a:moveTo>
                    <a:pt x="0" y="0"/>
                  </a:moveTo>
                  <a:cubicBezTo>
                    <a:pt x="3333" y="3333"/>
                    <a:pt x="10183" y="31282"/>
                    <a:pt x="13516" y="34615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igura a mano libera 79"/>
            <p:cNvSpPr/>
            <p:nvPr/>
          </p:nvSpPr>
          <p:spPr>
            <a:xfrm>
              <a:off x="2988684" y="2090124"/>
              <a:ext cx="269775" cy="0"/>
            </a:xfrm>
            <a:custGeom>
              <a:avLst/>
              <a:gdLst>
                <a:gd name="connsiteX0" fmla="*/ 0 w 247650"/>
                <a:gd name="connsiteY0" fmla="*/ 0 h 0"/>
                <a:gd name="connsiteX1" fmla="*/ 247650 w 2476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650">
                  <a:moveTo>
                    <a:pt x="0" y="0"/>
                  </a:moveTo>
                  <a:lnTo>
                    <a:pt x="247650" y="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igura a mano libera 80"/>
            <p:cNvSpPr/>
            <p:nvPr/>
          </p:nvSpPr>
          <p:spPr>
            <a:xfrm>
              <a:off x="3476354" y="2194715"/>
              <a:ext cx="186767" cy="386990"/>
            </a:xfrm>
            <a:custGeom>
              <a:avLst/>
              <a:gdLst>
                <a:gd name="connsiteX0" fmla="*/ 0 w 171450"/>
                <a:gd name="connsiteY0" fmla="*/ 352425 h 352425"/>
                <a:gd name="connsiteX1" fmla="*/ 104775 w 171450"/>
                <a:gd name="connsiteY1" fmla="*/ 95250 h 352425"/>
                <a:gd name="connsiteX2" fmla="*/ 171450 w 171450"/>
                <a:gd name="connsiteY2" fmla="*/ 0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50" h="352425">
                  <a:moveTo>
                    <a:pt x="0" y="352425"/>
                  </a:moveTo>
                  <a:cubicBezTo>
                    <a:pt x="38100" y="253206"/>
                    <a:pt x="76200" y="153987"/>
                    <a:pt x="104775" y="95250"/>
                  </a:cubicBezTo>
                  <a:cubicBezTo>
                    <a:pt x="133350" y="36513"/>
                    <a:pt x="157163" y="19050"/>
                    <a:pt x="171450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igura a mano libera 81"/>
            <p:cNvSpPr/>
            <p:nvPr/>
          </p:nvSpPr>
          <p:spPr>
            <a:xfrm>
              <a:off x="3281888" y="2098069"/>
              <a:ext cx="173714" cy="504556"/>
            </a:xfrm>
            <a:custGeom>
              <a:avLst/>
              <a:gdLst>
                <a:gd name="connsiteX0" fmla="*/ 0 w 142875"/>
                <a:gd name="connsiteY0" fmla="*/ 0 h 419100"/>
                <a:gd name="connsiteX1" fmla="*/ 66675 w 142875"/>
                <a:gd name="connsiteY1" fmla="*/ 142875 h 419100"/>
                <a:gd name="connsiteX2" fmla="*/ 142875 w 142875"/>
                <a:gd name="connsiteY2" fmla="*/ 419100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419100">
                  <a:moveTo>
                    <a:pt x="0" y="0"/>
                  </a:moveTo>
                  <a:cubicBezTo>
                    <a:pt x="21431" y="36512"/>
                    <a:pt x="42863" y="73025"/>
                    <a:pt x="66675" y="142875"/>
                  </a:cubicBezTo>
                  <a:cubicBezTo>
                    <a:pt x="90487" y="212725"/>
                    <a:pt x="127000" y="374650"/>
                    <a:pt x="142875" y="41910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igura a mano libera 82"/>
            <p:cNvSpPr/>
            <p:nvPr/>
          </p:nvSpPr>
          <p:spPr>
            <a:xfrm>
              <a:off x="1560472" y="2083270"/>
              <a:ext cx="257565" cy="184298"/>
            </a:xfrm>
            <a:custGeom>
              <a:avLst/>
              <a:gdLst>
                <a:gd name="connsiteX0" fmla="*/ 0 w 342900"/>
                <a:gd name="connsiteY0" fmla="*/ 0 h 171450"/>
                <a:gd name="connsiteX1" fmla="*/ 171450 w 342900"/>
                <a:gd name="connsiteY1" fmla="*/ 133350 h 171450"/>
                <a:gd name="connsiteX2" fmla="*/ 342900 w 342900"/>
                <a:gd name="connsiteY2" fmla="*/ 171450 h 171450"/>
                <a:gd name="connsiteX0" fmla="*/ 0 w 171450"/>
                <a:gd name="connsiteY0" fmla="*/ 0 h 133350"/>
                <a:gd name="connsiteX1" fmla="*/ 171450 w 171450"/>
                <a:gd name="connsiteY1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 h="133350">
                  <a:moveTo>
                    <a:pt x="0" y="0"/>
                  </a:moveTo>
                  <a:cubicBezTo>
                    <a:pt x="57150" y="52387"/>
                    <a:pt x="114300" y="104775"/>
                    <a:pt x="171450" y="13335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headEnd type="triangl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igura a mano libera 83"/>
            <p:cNvSpPr/>
            <p:nvPr/>
          </p:nvSpPr>
          <p:spPr>
            <a:xfrm>
              <a:off x="3708083" y="2198203"/>
              <a:ext cx="62255" cy="0"/>
            </a:xfrm>
            <a:custGeom>
              <a:avLst/>
              <a:gdLst>
                <a:gd name="connsiteX0" fmla="*/ 0 w 57150"/>
                <a:gd name="connsiteY0" fmla="*/ 0 h 0"/>
                <a:gd name="connsiteX1" fmla="*/ 57150 w 5715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>
                  <a:moveTo>
                    <a:pt x="0" y="0"/>
                  </a:moveTo>
                  <a:lnTo>
                    <a:pt x="57150" y="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igura a mano libera 84"/>
            <p:cNvSpPr/>
            <p:nvPr/>
          </p:nvSpPr>
          <p:spPr>
            <a:xfrm>
              <a:off x="3322593" y="2029530"/>
              <a:ext cx="252933" cy="50203"/>
            </a:xfrm>
            <a:custGeom>
              <a:avLst/>
              <a:gdLst>
                <a:gd name="connsiteX0" fmla="*/ 0 w 177800"/>
                <a:gd name="connsiteY0" fmla="*/ 26428 h 26428"/>
                <a:gd name="connsiteX1" fmla="*/ 101600 w 177800"/>
                <a:gd name="connsiteY1" fmla="*/ 1028 h 26428"/>
                <a:gd name="connsiteX2" fmla="*/ 177800 w 177800"/>
                <a:gd name="connsiteY2" fmla="*/ 7378 h 26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800" h="26428">
                  <a:moveTo>
                    <a:pt x="0" y="26428"/>
                  </a:moveTo>
                  <a:cubicBezTo>
                    <a:pt x="35983" y="15315"/>
                    <a:pt x="71967" y="4203"/>
                    <a:pt x="101600" y="1028"/>
                  </a:cubicBezTo>
                  <a:cubicBezTo>
                    <a:pt x="131233" y="-2147"/>
                    <a:pt x="154516" y="2615"/>
                    <a:pt x="177800" y="7378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igura a mano libera 85"/>
            <p:cNvSpPr/>
            <p:nvPr/>
          </p:nvSpPr>
          <p:spPr>
            <a:xfrm>
              <a:off x="3575528" y="2047102"/>
              <a:ext cx="83735" cy="123453"/>
            </a:xfrm>
            <a:custGeom>
              <a:avLst/>
              <a:gdLst>
                <a:gd name="connsiteX0" fmla="*/ 0 w 88900"/>
                <a:gd name="connsiteY0" fmla="*/ 0 h 95250"/>
                <a:gd name="connsiteX1" fmla="*/ 50800 w 88900"/>
                <a:gd name="connsiteY1" fmla="*/ 19050 h 95250"/>
                <a:gd name="connsiteX2" fmla="*/ 88900 w 88900"/>
                <a:gd name="connsiteY2" fmla="*/ 95250 h 95250"/>
                <a:gd name="connsiteX0" fmla="*/ 0 w 88900"/>
                <a:gd name="connsiteY0" fmla="*/ 0 h 110631"/>
                <a:gd name="connsiteX1" fmla="*/ 50800 w 88900"/>
                <a:gd name="connsiteY1" fmla="*/ 34431 h 110631"/>
                <a:gd name="connsiteX2" fmla="*/ 88900 w 88900"/>
                <a:gd name="connsiteY2" fmla="*/ 110631 h 11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" h="110631">
                  <a:moveTo>
                    <a:pt x="0" y="0"/>
                  </a:moveTo>
                  <a:cubicBezTo>
                    <a:pt x="17991" y="1587"/>
                    <a:pt x="35983" y="18556"/>
                    <a:pt x="50800" y="34431"/>
                  </a:cubicBezTo>
                  <a:cubicBezTo>
                    <a:pt x="65617" y="50306"/>
                    <a:pt x="78317" y="98989"/>
                    <a:pt x="88900" y="110631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igura a mano libera 86"/>
            <p:cNvSpPr/>
            <p:nvPr/>
          </p:nvSpPr>
          <p:spPr>
            <a:xfrm>
              <a:off x="1812743" y="2274902"/>
              <a:ext cx="276692" cy="78125"/>
            </a:xfrm>
            <a:custGeom>
              <a:avLst/>
              <a:gdLst>
                <a:gd name="connsiteX0" fmla="*/ 0 w 254000"/>
                <a:gd name="connsiteY0" fmla="*/ 0 h 71147"/>
                <a:gd name="connsiteX1" fmla="*/ 146050 w 254000"/>
                <a:gd name="connsiteY1" fmla="*/ 69850 h 71147"/>
                <a:gd name="connsiteX2" fmla="*/ 254000 w 254000"/>
                <a:gd name="connsiteY2" fmla="*/ 44450 h 71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4000" h="71147">
                  <a:moveTo>
                    <a:pt x="0" y="0"/>
                  </a:moveTo>
                  <a:cubicBezTo>
                    <a:pt x="51858" y="31221"/>
                    <a:pt x="103717" y="62442"/>
                    <a:pt x="146050" y="69850"/>
                  </a:cubicBezTo>
                  <a:cubicBezTo>
                    <a:pt x="188383" y="77258"/>
                    <a:pt x="233892" y="50800"/>
                    <a:pt x="254000" y="4445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igura a mano libera 87"/>
            <p:cNvSpPr/>
            <p:nvPr/>
          </p:nvSpPr>
          <p:spPr>
            <a:xfrm>
              <a:off x="5437411" y="4276093"/>
              <a:ext cx="193685" cy="299829"/>
            </a:xfrm>
            <a:custGeom>
              <a:avLst/>
              <a:gdLst>
                <a:gd name="connsiteX0" fmla="*/ 0 w 177800"/>
                <a:gd name="connsiteY0" fmla="*/ 0 h 273050"/>
                <a:gd name="connsiteX1" fmla="*/ 76200 w 177800"/>
                <a:gd name="connsiteY1" fmla="*/ 152400 h 273050"/>
                <a:gd name="connsiteX2" fmla="*/ 177800 w 177800"/>
                <a:gd name="connsiteY2" fmla="*/ 273050 h 27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7800" h="273050">
                  <a:moveTo>
                    <a:pt x="0" y="0"/>
                  </a:moveTo>
                  <a:cubicBezTo>
                    <a:pt x="23283" y="53446"/>
                    <a:pt x="46567" y="106892"/>
                    <a:pt x="76200" y="152400"/>
                  </a:cubicBezTo>
                  <a:cubicBezTo>
                    <a:pt x="105833" y="197908"/>
                    <a:pt x="177800" y="273050"/>
                    <a:pt x="177800" y="27305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igura a mano libera 88"/>
            <p:cNvSpPr/>
            <p:nvPr/>
          </p:nvSpPr>
          <p:spPr>
            <a:xfrm>
              <a:off x="2497556" y="2323713"/>
              <a:ext cx="27669" cy="188265"/>
            </a:xfrm>
            <a:custGeom>
              <a:avLst/>
              <a:gdLst>
                <a:gd name="connsiteX0" fmla="*/ 25400 w 25400"/>
                <a:gd name="connsiteY0" fmla="*/ 171450 h 171450"/>
                <a:gd name="connsiteX1" fmla="*/ 0 w 25400"/>
                <a:gd name="connsiteY1" fmla="*/ 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0" h="171450">
                  <a:moveTo>
                    <a:pt x="25400" y="171450"/>
                  </a:move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igura a mano libera 89"/>
            <p:cNvSpPr/>
            <p:nvPr/>
          </p:nvSpPr>
          <p:spPr>
            <a:xfrm>
              <a:off x="2124022" y="2308532"/>
              <a:ext cx="373535" cy="43072"/>
            </a:xfrm>
            <a:custGeom>
              <a:avLst/>
              <a:gdLst>
                <a:gd name="connsiteX0" fmla="*/ 0 w 342900"/>
                <a:gd name="connsiteY0" fmla="*/ 13825 h 39225"/>
                <a:gd name="connsiteX1" fmla="*/ 190500 w 342900"/>
                <a:gd name="connsiteY1" fmla="*/ 1125 h 39225"/>
                <a:gd name="connsiteX2" fmla="*/ 342900 w 342900"/>
                <a:gd name="connsiteY2" fmla="*/ 39225 h 3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2900" h="39225">
                  <a:moveTo>
                    <a:pt x="0" y="13825"/>
                  </a:moveTo>
                  <a:cubicBezTo>
                    <a:pt x="66675" y="5358"/>
                    <a:pt x="133350" y="-3108"/>
                    <a:pt x="190500" y="1125"/>
                  </a:cubicBezTo>
                  <a:cubicBezTo>
                    <a:pt x="247650" y="5358"/>
                    <a:pt x="321733" y="30758"/>
                    <a:pt x="342900" y="39225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igura a mano libera 90"/>
            <p:cNvSpPr/>
            <p:nvPr/>
          </p:nvSpPr>
          <p:spPr>
            <a:xfrm>
              <a:off x="2268225" y="1496111"/>
              <a:ext cx="312337" cy="562636"/>
            </a:xfrm>
            <a:custGeom>
              <a:avLst/>
              <a:gdLst>
                <a:gd name="connsiteX0" fmla="*/ 0 w 336550"/>
                <a:gd name="connsiteY0" fmla="*/ 0 h 247650"/>
                <a:gd name="connsiteX1" fmla="*/ 139700 w 336550"/>
                <a:gd name="connsiteY1" fmla="*/ 139700 h 247650"/>
                <a:gd name="connsiteX2" fmla="*/ 336550 w 336550"/>
                <a:gd name="connsiteY2" fmla="*/ 247650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6550" h="247650">
                  <a:moveTo>
                    <a:pt x="0" y="0"/>
                  </a:moveTo>
                  <a:cubicBezTo>
                    <a:pt x="41804" y="49212"/>
                    <a:pt x="83608" y="98425"/>
                    <a:pt x="139700" y="139700"/>
                  </a:cubicBezTo>
                  <a:cubicBezTo>
                    <a:pt x="195792" y="180975"/>
                    <a:pt x="266171" y="214312"/>
                    <a:pt x="336550" y="24765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headEnd type="triangl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igura a mano libera 91"/>
            <p:cNvSpPr/>
            <p:nvPr/>
          </p:nvSpPr>
          <p:spPr>
            <a:xfrm>
              <a:off x="2581176" y="1612488"/>
              <a:ext cx="49804" cy="428597"/>
            </a:xfrm>
            <a:custGeom>
              <a:avLst/>
              <a:gdLst>
                <a:gd name="connsiteX0" fmla="*/ 0 w 58982"/>
                <a:gd name="connsiteY0" fmla="*/ 387350 h 387350"/>
                <a:gd name="connsiteX1" fmla="*/ 38100 w 58982"/>
                <a:gd name="connsiteY1" fmla="*/ 266700 h 387350"/>
                <a:gd name="connsiteX2" fmla="*/ 57150 w 58982"/>
                <a:gd name="connsiteY2" fmla="*/ 88900 h 387350"/>
                <a:gd name="connsiteX3" fmla="*/ 57150 w 58982"/>
                <a:gd name="connsiteY3" fmla="*/ 0 h 38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982" h="387350">
                  <a:moveTo>
                    <a:pt x="0" y="387350"/>
                  </a:moveTo>
                  <a:cubicBezTo>
                    <a:pt x="14287" y="351896"/>
                    <a:pt x="28575" y="316442"/>
                    <a:pt x="38100" y="266700"/>
                  </a:cubicBezTo>
                  <a:cubicBezTo>
                    <a:pt x="47625" y="216958"/>
                    <a:pt x="53975" y="133350"/>
                    <a:pt x="57150" y="88900"/>
                  </a:cubicBezTo>
                  <a:cubicBezTo>
                    <a:pt x="60325" y="44450"/>
                    <a:pt x="58737" y="22225"/>
                    <a:pt x="57150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tailEnd type="triangl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igura a mano libera 92"/>
            <p:cNvSpPr/>
            <p:nvPr/>
          </p:nvSpPr>
          <p:spPr>
            <a:xfrm>
              <a:off x="3271681" y="1553610"/>
              <a:ext cx="49804" cy="491191"/>
            </a:xfrm>
            <a:custGeom>
              <a:avLst/>
              <a:gdLst>
                <a:gd name="connsiteX0" fmla="*/ 19613 w 19613"/>
                <a:gd name="connsiteY0" fmla="*/ 0 h 368300"/>
                <a:gd name="connsiteX1" fmla="*/ 563 w 19613"/>
                <a:gd name="connsiteY1" fmla="*/ 215900 h 368300"/>
                <a:gd name="connsiteX2" fmla="*/ 6913 w 19613"/>
                <a:gd name="connsiteY2" fmla="*/ 368300 h 368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13" h="368300">
                  <a:moveTo>
                    <a:pt x="19613" y="0"/>
                  </a:moveTo>
                  <a:cubicBezTo>
                    <a:pt x="11146" y="77258"/>
                    <a:pt x="2680" y="154517"/>
                    <a:pt x="563" y="215900"/>
                  </a:cubicBezTo>
                  <a:cubicBezTo>
                    <a:pt x="-1554" y="277283"/>
                    <a:pt x="2679" y="322791"/>
                    <a:pt x="6913" y="36830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igura a mano libera 93"/>
            <p:cNvSpPr/>
            <p:nvPr/>
          </p:nvSpPr>
          <p:spPr>
            <a:xfrm>
              <a:off x="1763625" y="2812944"/>
              <a:ext cx="352783" cy="83673"/>
            </a:xfrm>
            <a:custGeom>
              <a:avLst/>
              <a:gdLst>
                <a:gd name="connsiteX0" fmla="*/ 0 w 323850"/>
                <a:gd name="connsiteY0" fmla="*/ 76200 h 76200"/>
                <a:gd name="connsiteX1" fmla="*/ 190500 w 323850"/>
                <a:gd name="connsiteY1" fmla="*/ 50800 h 76200"/>
                <a:gd name="connsiteX2" fmla="*/ 323850 w 323850"/>
                <a:gd name="connsiteY2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3850" h="76200">
                  <a:moveTo>
                    <a:pt x="0" y="76200"/>
                  </a:moveTo>
                  <a:cubicBezTo>
                    <a:pt x="68262" y="69850"/>
                    <a:pt x="136525" y="63500"/>
                    <a:pt x="190500" y="50800"/>
                  </a:cubicBezTo>
                  <a:cubicBezTo>
                    <a:pt x="244475" y="38100"/>
                    <a:pt x="284162" y="19050"/>
                    <a:pt x="323850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headEnd type="triangl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igura a mano libera 94"/>
            <p:cNvSpPr/>
            <p:nvPr/>
          </p:nvSpPr>
          <p:spPr>
            <a:xfrm>
              <a:off x="2303871" y="2567759"/>
              <a:ext cx="159098" cy="90647"/>
            </a:xfrm>
            <a:custGeom>
              <a:avLst/>
              <a:gdLst>
                <a:gd name="connsiteX0" fmla="*/ 146050 w 146050"/>
                <a:gd name="connsiteY0" fmla="*/ 0 h 82550"/>
                <a:gd name="connsiteX1" fmla="*/ 69850 w 146050"/>
                <a:gd name="connsiteY1" fmla="*/ 31750 h 82550"/>
                <a:gd name="connsiteX2" fmla="*/ 0 w 146050"/>
                <a:gd name="connsiteY2" fmla="*/ 82550 h 8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6050" h="82550">
                  <a:moveTo>
                    <a:pt x="146050" y="0"/>
                  </a:moveTo>
                  <a:cubicBezTo>
                    <a:pt x="120121" y="8996"/>
                    <a:pt x="94192" y="17992"/>
                    <a:pt x="69850" y="31750"/>
                  </a:cubicBezTo>
                  <a:cubicBezTo>
                    <a:pt x="45508" y="45508"/>
                    <a:pt x="22754" y="64029"/>
                    <a:pt x="0" y="8255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igura a mano libera 95"/>
            <p:cNvSpPr/>
            <p:nvPr/>
          </p:nvSpPr>
          <p:spPr>
            <a:xfrm>
              <a:off x="2130939" y="2658405"/>
              <a:ext cx="172933" cy="153401"/>
            </a:xfrm>
            <a:custGeom>
              <a:avLst/>
              <a:gdLst>
                <a:gd name="connsiteX0" fmla="*/ 0 w 158750"/>
                <a:gd name="connsiteY0" fmla="*/ 139700 h 139700"/>
                <a:gd name="connsiteX1" fmla="*/ 95250 w 158750"/>
                <a:gd name="connsiteY1" fmla="*/ 63500 h 139700"/>
                <a:gd name="connsiteX2" fmla="*/ 158750 w 158750"/>
                <a:gd name="connsiteY2" fmla="*/ 0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750" h="139700">
                  <a:moveTo>
                    <a:pt x="0" y="139700"/>
                  </a:moveTo>
                  <a:cubicBezTo>
                    <a:pt x="34396" y="113241"/>
                    <a:pt x="68792" y="86783"/>
                    <a:pt x="95250" y="63500"/>
                  </a:cubicBezTo>
                  <a:cubicBezTo>
                    <a:pt x="121708" y="40217"/>
                    <a:pt x="158750" y="0"/>
                    <a:pt x="158750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igura a mano libera 96"/>
            <p:cNvSpPr/>
            <p:nvPr/>
          </p:nvSpPr>
          <p:spPr>
            <a:xfrm>
              <a:off x="4084084" y="1472019"/>
              <a:ext cx="101292" cy="512419"/>
            </a:xfrm>
            <a:custGeom>
              <a:avLst/>
              <a:gdLst>
                <a:gd name="connsiteX0" fmla="*/ 58216 w 58216"/>
                <a:gd name="connsiteY0" fmla="*/ 0 h 463550"/>
                <a:gd name="connsiteX1" fmla="*/ 1066 w 58216"/>
                <a:gd name="connsiteY1" fmla="*/ 215900 h 463550"/>
                <a:gd name="connsiteX2" fmla="*/ 26466 w 58216"/>
                <a:gd name="connsiteY2" fmla="*/ 463550 h 463550"/>
                <a:gd name="connsiteX0" fmla="*/ 60578 w 60578"/>
                <a:gd name="connsiteY0" fmla="*/ 0 h 400050"/>
                <a:gd name="connsiteX1" fmla="*/ 3428 w 60578"/>
                <a:gd name="connsiteY1" fmla="*/ 215900 h 400050"/>
                <a:gd name="connsiteX2" fmla="*/ 16128 w 60578"/>
                <a:gd name="connsiteY2" fmla="*/ 400050 h 400050"/>
                <a:gd name="connsiteX0" fmla="*/ 60578 w 60578"/>
                <a:gd name="connsiteY0" fmla="*/ 0 h 410529"/>
                <a:gd name="connsiteX1" fmla="*/ 3428 w 60578"/>
                <a:gd name="connsiteY1" fmla="*/ 215900 h 410529"/>
                <a:gd name="connsiteX2" fmla="*/ 16128 w 60578"/>
                <a:gd name="connsiteY2" fmla="*/ 400050 h 410529"/>
                <a:gd name="connsiteX3" fmla="*/ 16128 w 60578"/>
                <a:gd name="connsiteY3" fmla="*/ 387350 h 410529"/>
                <a:gd name="connsiteX0" fmla="*/ 88900 w 88900"/>
                <a:gd name="connsiteY0" fmla="*/ 0 h 470014"/>
                <a:gd name="connsiteX1" fmla="*/ 31750 w 88900"/>
                <a:gd name="connsiteY1" fmla="*/ 215900 h 470014"/>
                <a:gd name="connsiteX2" fmla="*/ 44450 w 88900"/>
                <a:gd name="connsiteY2" fmla="*/ 400050 h 470014"/>
                <a:gd name="connsiteX3" fmla="*/ 0 w 88900"/>
                <a:gd name="connsiteY3" fmla="*/ 469900 h 47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900" h="470014">
                  <a:moveTo>
                    <a:pt x="88900" y="0"/>
                  </a:moveTo>
                  <a:cubicBezTo>
                    <a:pt x="62971" y="69321"/>
                    <a:pt x="39158" y="149225"/>
                    <a:pt x="31750" y="215900"/>
                  </a:cubicBezTo>
                  <a:cubicBezTo>
                    <a:pt x="24342" y="282575"/>
                    <a:pt x="29104" y="314854"/>
                    <a:pt x="44450" y="400050"/>
                  </a:cubicBezTo>
                  <a:cubicBezTo>
                    <a:pt x="46567" y="428625"/>
                    <a:pt x="0" y="472546"/>
                    <a:pt x="0" y="46990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headEnd type="triangl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igura a mano libera 97"/>
            <p:cNvSpPr/>
            <p:nvPr/>
          </p:nvSpPr>
          <p:spPr>
            <a:xfrm rot="11185087">
              <a:off x="4281763" y="1924966"/>
              <a:ext cx="297435" cy="83673"/>
            </a:xfrm>
            <a:custGeom>
              <a:avLst/>
              <a:gdLst>
                <a:gd name="connsiteX0" fmla="*/ 0 w 184150"/>
                <a:gd name="connsiteY0" fmla="*/ 12700 h 12700"/>
                <a:gd name="connsiteX1" fmla="*/ 184150 w 184150"/>
                <a:gd name="connsiteY1" fmla="*/ 0 h 12700"/>
                <a:gd name="connsiteX0" fmla="*/ 0 w 196850"/>
                <a:gd name="connsiteY0" fmla="*/ 69850 h 69850"/>
                <a:gd name="connsiteX1" fmla="*/ 196850 w 196850"/>
                <a:gd name="connsiteY1" fmla="*/ 0 h 69850"/>
                <a:gd name="connsiteX0" fmla="*/ 0 w 146050"/>
                <a:gd name="connsiteY0" fmla="*/ 6350 h 6350"/>
                <a:gd name="connsiteX1" fmla="*/ 146050 w 146050"/>
                <a:gd name="connsiteY1" fmla="*/ 0 h 6350"/>
                <a:gd name="connsiteX0" fmla="*/ 0 w 13043"/>
                <a:gd name="connsiteY0" fmla="*/ 10000 h 10000"/>
                <a:gd name="connsiteX1" fmla="*/ 13043 w 13043"/>
                <a:gd name="connsiteY1" fmla="*/ 0 h 10000"/>
                <a:gd name="connsiteX0" fmla="*/ 81 w 13124"/>
                <a:gd name="connsiteY0" fmla="*/ 10000 h 10699"/>
                <a:gd name="connsiteX1" fmla="*/ 0 w 13124"/>
                <a:gd name="connsiteY1" fmla="*/ 10699 h 10699"/>
                <a:gd name="connsiteX2" fmla="*/ 13124 w 13124"/>
                <a:gd name="connsiteY2" fmla="*/ 0 h 10699"/>
                <a:gd name="connsiteX0" fmla="*/ 0 w 13043"/>
                <a:gd name="connsiteY0" fmla="*/ 10000 h 340692"/>
                <a:gd name="connsiteX1" fmla="*/ 9484 w 13043"/>
                <a:gd name="connsiteY1" fmla="*/ 340692 h 340692"/>
                <a:gd name="connsiteX2" fmla="*/ 13043 w 13043"/>
                <a:gd name="connsiteY2" fmla="*/ 0 h 340692"/>
                <a:gd name="connsiteX0" fmla="*/ 0 w 17391"/>
                <a:gd name="connsiteY0" fmla="*/ 149997 h 340692"/>
                <a:gd name="connsiteX1" fmla="*/ 13832 w 17391"/>
                <a:gd name="connsiteY1" fmla="*/ 340692 h 340692"/>
                <a:gd name="connsiteX2" fmla="*/ 17391 w 17391"/>
                <a:gd name="connsiteY2" fmla="*/ 0 h 340692"/>
                <a:gd name="connsiteX0" fmla="*/ 0 w 17391"/>
                <a:gd name="connsiteY0" fmla="*/ 149997 h 149997"/>
                <a:gd name="connsiteX1" fmla="*/ 789 w 17391"/>
                <a:gd name="connsiteY1" fmla="*/ 10699 h 149997"/>
                <a:gd name="connsiteX2" fmla="*/ 17391 w 17391"/>
                <a:gd name="connsiteY2" fmla="*/ 0 h 149997"/>
                <a:gd name="connsiteX0" fmla="*/ 0 w 17391"/>
                <a:gd name="connsiteY0" fmla="*/ 149997 h 149997"/>
                <a:gd name="connsiteX1" fmla="*/ 5137 w 17391"/>
                <a:gd name="connsiteY1" fmla="*/ 30699 h 149997"/>
                <a:gd name="connsiteX2" fmla="*/ 17391 w 17391"/>
                <a:gd name="connsiteY2" fmla="*/ 0 h 149997"/>
                <a:gd name="connsiteX0" fmla="*/ 0 w 18695"/>
                <a:gd name="connsiteY0" fmla="*/ 119998 h 119998"/>
                <a:gd name="connsiteX1" fmla="*/ 6441 w 18695"/>
                <a:gd name="connsiteY1" fmla="*/ 30699 h 119998"/>
                <a:gd name="connsiteX2" fmla="*/ 18695 w 18695"/>
                <a:gd name="connsiteY2" fmla="*/ 0 h 119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695" h="119998">
                  <a:moveTo>
                    <a:pt x="0" y="119998"/>
                  </a:moveTo>
                  <a:lnTo>
                    <a:pt x="6441" y="30699"/>
                  </a:lnTo>
                  <a:cubicBezTo>
                    <a:pt x="10870" y="26667"/>
                    <a:pt x="14347" y="3333"/>
                    <a:pt x="18695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headEnd type="triangl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239944" y="2042806"/>
              <a:ext cx="78432" cy="7906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487031" y="4368753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734174" y="6033344"/>
              <a:ext cx="78432" cy="7906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2479958" y="2519890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2056613" y="2249448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243588" y="1991814"/>
              <a:ext cx="117648" cy="11859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996914" y="4070276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635089" y="2156105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igura a mano libera 106"/>
            <p:cNvSpPr/>
            <p:nvPr/>
          </p:nvSpPr>
          <p:spPr>
            <a:xfrm>
              <a:off x="4187366" y="5806159"/>
              <a:ext cx="301628" cy="269271"/>
            </a:xfrm>
            <a:custGeom>
              <a:avLst/>
              <a:gdLst>
                <a:gd name="connsiteX0" fmla="*/ 0 w 215153"/>
                <a:gd name="connsiteY0" fmla="*/ 0 h 192101"/>
                <a:gd name="connsiteX1" fmla="*/ 84524 w 215153"/>
                <a:gd name="connsiteY1" fmla="*/ 69156 h 192101"/>
                <a:gd name="connsiteX2" fmla="*/ 161364 w 215153"/>
                <a:gd name="connsiteY2" fmla="*/ 169049 h 192101"/>
                <a:gd name="connsiteX3" fmla="*/ 215153 w 215153"/>
                <a:gd name="connsiteY3" fmla="*/ 192101 h 192101"/>
                <a:gd name="connsiteX0" fmla="*/ 0 w 215153"/>
                <a:gd name="connsiteY0" fmla="*/ 0 h 192101"/>
                <a:gd name="connsiteX1" fmla="*/ 84524 w 215153"/>
                <a:gd name="connsiteY1" fmla="*/ 69156 h 192101"/>
                <a:gd name="connsiteX2" fmla="*/ 145733 w 215153"/>
                <a:gd name="connsiteY2" fmla="*/ 153418 h 192101"/>
                <a:gd name="connsiteX3" fmla="*/ 215153 w 215153"/>
                <a:gd name="connsiteY3" fmla="*/ 192101 h 192101"/>
                <a:gd name="connsiteX0" fmla="*/ 0 w 183891"/>
                <a:gd name="connsiteY0" fmla="*/ 0 h 192101"/>
                <a:gd name="connsiteX1" fmla="*/ 84524 w 183891"/>
                <a:gd name="connsiteY1" fmla="*/ 69156 h 192101"/>
                <a:gd name="connsiteX2" fmla="*/ 145733 w 183891"/>
                <a:gd name="connsiteY2" fmla="*/ 153418 h 192101"/>
                <a:gd name="connsiteX3" fmla="*/ 183891 w 183891"/>
                <a:gd name="connsiteY3" fmla="*/ 192101 h 192101"/>
                <a:gd name="connsiteX0" fmla="*/ 0 w 238599"/>
                <a:gd name="connsiteY0" fmla="*/ 0 h 192101"/>
                <a:gd name="connsiteX1" fmla="*/ 84524 w 238599"/>
                <a:gd name="connsiteY1" fmla="*/ 69156 h 192101"/>
                <a:gd name="connsiteX2" fmla="*/ 145733 w 238599"/>
                <a:gd name="connsiteY2" fmla="*/ 153418 h 192101"/>
                <a:gd name="connsiteX3" fmla="*/ 238599 w 238599"/>
                <a:gd name="connsiteY3" fmla="*/ 192101 h 192101"/>
                <a:gd name="connsiteX0" fmla="*/ 0 w 145733"/>
                <a:gd name="connsiteY0" fmla="*/ 0 h 153418"/>
                <a:gd name="connsiteX1" fmla="*/ 84524 w 145733"/>
                <a:gd name="connsiteY1" fmla="*/ 69156 h 153418"/>
                <a:gd name="connsiteX2" fmla="*/ 145733 w 145733"/>
                <a:gd name="connsiteY2" fmla="*/ 153418 h 153418"/>
                <a:gd name="connsiteX0" fmla="*/ 39263 w 184996"/>
                <a:gd name="connsiteY0" fmla="*/ 0 h 153418"/>
                <a:gd name="connsiteX1" fmla="*/ 4289 w 184996"/>
                <a:gd name="connsiteY1" fmla="*/ 126985 h 153418"/>
                <a:gd name="connsiteX2" fmla="*/ 184996 w 184996"/>
                <a:gd name="connsiteY2" fmla="*/ 153418 h 153418"/>
                <a:gd name="connsiteX0" fmla="*/ 0 w 241915"/>
                <a:gd name="connsiteY0" fmla="*/ 0 h 191006"/>
                <a:gd name="connsiteX1" fmla="*/ 61208 w 241915"/>
                <a:gd name="connsiteY1" fmla="*/ 164573 h 191006"/>
                <a:gd name="connsiteX2" fmla="*/ 241915 w 241915"/>
                <a:gd name="connsiteY2" fmla="*/ 191006 h 191006"/>
                <a:gd name="connsiteX0" fmla="*/ 0 w 256488"/>
                <a:gd name="connsiteY0" fmla="*/ 0 h 211246"/>
                <a:gd name="connsiteX1" fmla="*/ 75781 w 256488"/>
                <a:gd name="connsiteY1" fmla="*/ 184813 h 211246"/>
                <a:gd name="connsiteX2" fmla="*/ 256488 w 256488"/>
                <a:gd name="connsiteY2" fmla="*/ 211246 h 211246"/>
                <a:gd name="connsiteX0" fmla="*/ 0 w 256488"/>
                <a:gd name="connsiteY0" fmla="*/ 0 h 211246"/>
                <a:gd name="connsiteX1" fmla="*/ 46635 w 256488"/>
                <a:gd name="connsiteY1" fmla="*/ 184813 h 211246"/>
                <a:gd name="connsiteX2" fmla="*/ 256488 w 256488"/>
                <a:gd name="connsiteY2" fmla="*/ 211246 h 211246"/>
                <a:gd name="connsiteX0" fmla="*/ 0 w 224427"/>
                <a:gd name="connsiteY0" fmla="*/ 0 h 254617"/>
                <a:gd name="connsiteX1" fmla="*/ 46635 w 224427"/>
                <a:gd name="connsiteY1" fmla="*/ 184813 h 254617"/>
                <a:gd name="connsiteX2" fmla="*/ 224427 w 224427"/>
                <a:gd name="connsiteY2" fmla="*/ 254617 h 254617"/>
                <a:gd name="connsiteX0" fmla="*/ 0 w 303121"/>
                <a:gd name="connsiteY0" fmla="*/ 0 h 260400"/>
                <a:gd name="connsiteX1" fmla="*/ 46635 w 303121"/>
                <a:gd name="connsiteY1" fmla="*/ 184813 h 260400"/>
                <a:gd name="connsiteX2" fmla="*/ 303121 w 303121"/>
                <a:gd name="connsiteY2" fmla="*/ 260400 h 260400"/>
                <a:gd name="connsiteX0" fmla="*/ 0 w 303121"/>
                <a:gd name="connsiteY0" fmla="*/ 0 h 260400"/>
                <a:gd name="connsiteX1" fmla="*/ 118771 w 303121"/>
                <a:gd name="connsiteY1" fmla="*/ 167464 h 260400"/>
                <a:gd name="connsiteX2" fmla="*/ 303121 w 303121"/>
                <a:gd name="connsiteY2" fmla="*/ 260400 h 260400"/>
                <a:gd name="connsiteX0" fmla="*/ 0 w 287819"/>
                <a:gd name="connsiteY0" fmla="*/ 0 h 262568"/>
                <a:gd name="connsiteX1" fmla="*/ 103469 w 287819"/>
                <a:gd name="connsiteY1" fmla="*/ 169632 h 262568"/>
                <a:gd name="connsiteX2" fmla="*/ 287819 w 287819"/>
                <a:gd name="connsiteY2" fmla="*/ 262568 h 262568"/>
                <a:gd name="connsiteX0" fmla="*/ 0 w 263774"/>
                <a:gd name="connsiteY0" fmla="*/ 0 h 251725"/>
                <a:gd name="connsiteX1" fmla="*/ 103469 w 263774"/>
                <a:gd name="connsiteY1" fmla="*/ 169632 h 251725"/>
                <a:gd name="connsiteX2" fmla="*/ 263774 w 263774"/>
                <a:gd name="connsiteY2" fmla="*/ 251725 h 251725"/>
                <a:gd name="connsiteX0" fmla="*/ 0 w 276889"/>
                <a:gd name="connsiteY0" fmla="*/ 0 h 245219"/>
                <a:gd name="connsiteX1" fmla="*/ 103469 w 276889"/>
                <a:gd name="connsiteY1" fmla="*/ 169632 h 245219"/>
                <a:gd name="connsiteX2" fmla="*/ 276889 w 276889"/>
                <a:gd name="connsiteY2" fmla="*/ 245219 h 245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6889" h="245219">
                  <a:moveTo>
                    <a:pt x="0" y="0"/>
                  </a:moveTo>
                  <a:cubicBezTo>
                    <a:pt x="28815" y="20490"/>
                    <a:pt x="79180" y="144062"/>
                    <a:pt x="103469" y="169632"/>
                  </a:cubicBezTo>
                  <a:cubicBezTo>
                    <a:pt x="127758" y="195202"/>
                    <a:pt x="251210" y="224728"/>
                    <a:pt x="276889" y="245219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igura a mano libera 107"/>
            <p:cNvSpPr/>
            <p:nvPr/>
          </p:nvSpPr>
          <p:spPr>
            <a:xfrm>
              <a:off x="4414564" y="6045857"/>
              <a:ext cx="320291" cy="39782"/>
            </a:xfrm>
            <a:custGeom>
              <a:avLst/>
              <a:gdLst>
                <a:gd name="connsiteX0" fmla="*/ 0 w 156308"/>
                <a:gd name="connsiteY0" fmla="*/ 0 h 78154"/>
                <a:gd name="connsiteX1" fmla="*/ 62523 w 156308"/>
                <a:gd name="connsiteY1" fmla="*/ 46892 h 78154"/>
                <a:gd name="connsiteX2" fmla="*/ 156308 w 156308"/>
                <a:gd name="connsiteY2" fmla="*/ 78154 h 78154"/>
                <a:gd name="connsiteX0" fmla="*/ 0 w 147564"/>
                <a:gd name="connsiteY0" fmla="*/ 0 h 78154"/>
                <a:gd name="connsiteX1" fmla="*/ 53779 w 147564"/>
                <a:gd name="connsiteY1" fmla="*/ 46892 h 78154"/>
                <a:gd name="connsiteX2" fmla="*/ 147564 w 147564"/>
                <a:gd name="connsiteY2" fmla="*/ 78154 h 78154"/>
                <a:gd name="connsiteX0" fmla="*/ 0 w 296209"/>
                <a:gd name="connsiteY0" fmla="*/ 0 h 52131"/>
                <a:gd name="connsiteX1" fmla="*/ 53779 w 296209"/>
                <a:gd name="connsiteY1" fmla="*/ 46892 h 52131"/>
                <a:gd name="connsiteX2" fmla="*/ 296209 w 296209"/>
                <a:gd name="connsiteY2" fmla="*/ 52131 h 52131"/>
                <a:gd name="connsiteX0" fmla="*/ 0 w 267063"/>
                <a:gd name="connsiteY0" fmla="*/ 0 h 51034"/>
                <a:gd name="connsiteX1" fmla="*/ 53779 w 267063"/>
                <a:gd name="connsiteY1" fmla="*/ 46892 h 51034"/>
                <a:gd name="connsiteX2" fmla="*/ 267063 w 267063"/>
                <a:gd name="connsiteY2" fmla="*/ 46348 h 51034"/>
                <a:gd name="connsiteX0" fmla="*/ 0 w 296209"/>
                <a:gd name="connsiteY0" fmla="*/ 0 h 27903"/>
                <a:gd name="connsiteX1" fmla="*/ 82925 w 296209"/>
                <a:gd name="connsiteY1" fmla="*/ 23761 h 27903"/>
                <a:gd name="connsiteX2" fmla="*/ 296209 w 296209"/>
                <a:gd name="connsiteY2" fmla="*/ 23217 h 27903"/>
                <a:gd name="connsiteX0" fmla="*/ 0 w 294023"/>
                <a:gd name="connsiteY0" fmla="*/ 0 h 40915"/>
                <a:gd name="connsiteX1" fmla="*/ 80739 w 294023"/>
                <a:gd name="connsiteY1" fmla="*/ 36773 h 40915"/>
                <a:gd name="connsiteX2" fmla="*/ 294023 w 294023"/>
                <a:gd name="connsiteY2" fmla="*/ 36229 h 40915"/>
                <a:gd name="connsiteX0" fmla="*/ 0 w 294023"/>
                <a:gd name="connsiteY0" fmla="*/ 0 h 36229"/>
                <a:gd name="connsiteX1" fmla="*/ 93855 w 294023"/>
                <a:gd name="connsiteY1" fmla="*/ 30267 h 36229"/>
                <a:gd name="connsiteX2" fmla="*/ 294023 w 294023"/>
                <a:gd name="connsiteY2" fmla="*/ 36229 h 36229"/>
                <a:gd name="connsiteX0" fmla="*/ 0 w 294023"/>
                <a:gd name="connsiteY0" fmla="*/ 0 h 36229"/>
                <a:gd name="connsiteX1" fmla="*/ 93855 w 294023"/>
                <a:gd name="connsiteY1" fmla="*/ 30267 h 36229"/>
                <a:gd name="connsiteX2" fmla="*/ 294023 w 294023"/>
                <a:gd name="connsiteY2" fmla="*/ 36229 h 36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4023" h="36229">
                  <a:moveTo>
                    <a:pt x="0" y="0"/>
                  </a:moveTo>
                  <a:cubicBezTo>
                    <a:pt x="18236" y="16933"/>
                    <a:pt x="50317" y="23747"/>
                    <a:pt x="93855" y="30267"/>
                  </a:cubicBezTo>
                  <a:cubicBezTo>
                    <a:pt x="119906" y="43293"/>
                    <a:pt x="260156" y="27111"/>
                    <a:pt x="294023" y="36229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igura a mano libera 108"/>
            <p:cNvSpPr/>
            <p:nvPr/>
          </p:nvSpPr>
          <p:spPr>
            <a:xfrm>
              <a:off x="3089784" y="3086966"/>
              <a:ext cx="723657" cy="818469"/>
            </a:xfrm>
            <a:custGeom>
              <a:avLst/>
              <a:gdLst>
                <a:gd name="connsiteX0" fmla="*/ 0 w 1101969"/>
                <a:gd name="connsiteY0" fmla="*/ 0 h 1214288"/>
                <a:gd name="connsiteX1" fmla="*/ 156308 w 1101969"/>
                <a:gd name="connsiteY1" fmla="*/ 70338 h 1214288"/>
                <a:gd name="connsiteX2" fmla="*/ 304800 w 1101969"/>
                <a:gd name="connsiteY2" fmla="*/ 156307 h 1214288"/>
                <a:gd name="connsiteX3" fmla="*/ 492369 w 1101969"/>
                <a:gd name="connsiteY3" fmla="*/ 562707 h 1214288"/>
                <a:gd name="connsiteX4" fmla="*/ 617416 w 1101969"/>
                <a:gd name="connsiteY4" fmla="*/ 789354 h 1214288"/>
                <a:gd name="connsiteX5" fmla="*/ 844062 w 1101969"/>
                <a:gd name="connsiteY5" fmla="*/ 969107 h 1214288"/>
                <a:gd name="connsiteX6" fmla="*/ 1016000 w 1101969"/>
                <a:gd name="connsiteY6" fmla="*/ 1180123 h 1214288"/>
                <a:gd name="connsiteX7" fmla="*/ 1101969 w 1101969"/>
                <a:gd name="connsiteY7" fmla="*/ 1211384 h 1214288"/>
                <a:gd name="connsiteX0" fmla="*/ 0 w 945661"/>
                <a:gd name="connsiteY0" fmla="*/ 0 h 1143950"/>
                <a:gd name="connsiteX1" fmla="*/ 148492 w 945661"/>
                <a:gd name="connsiteY1" fmla="*/ 85969 h 1143950"/>
                <a:gd name="connsiteX2" fmla="*/ 336061 w 945661"/>
                <a:gd name="connsiteY2" fmla="*/ 492369 h 1143950"/>
                <a:gd name="connsiteX3" fmla="*/ 461108 w 945661"/>
                <a:gd name="connsiteY3" fmla="*/ 719016 h 1143950"/>
                <a:gd name="connsiteX4" fmla="*/ 687754 w 945661"/>
                <a:gd name="connsiteY4" fmla="*/ 898769 h 1143950"/>
                <a:gd name="connsiteX5" fmla="*/ 859692 w 945661"/>
                <a:gd name="connsiteY5" fmla="*/ 1109785 h 1143950"/>
                <a:gd name="connsiteX6" fmla="*/ 945661 w 945661"/>
                <a:gd name="connsiteY6" fmla="*/ 1141046 h 1143950"/>
                <a:gd name="connsiteX0" fmla="*/ 0 w 797169"/>
                <a:gd name="connsiteY0" fmla="*/ 0 h 1057981"/>
                <a:gd name="connsiteX1" fmla="*/ 187569 w 797169"/>
                <a:gd name="connsiteY1" fmla="*/ 406400 h 1057981"/>
                <a:gd name="connsiteX2" fmla="*/ 312616 w 797169"/>
                <a:gd name="connsiteY2" fmla="*/ 633047 h 1057981"/>
                <a:gd name="connsiteX3" fmla="*/ 539262 w 797169"/>
                <a:gd name="connsiteY3" fmla="*/ 812800 h 1057981"/>
                <a:gd name="connsiteX4" fmla="*/ 711200 w 797169"/>
                <a:gd name="connsiteY4" fmla="*/ 1023816 h 1057981"/>
                <a:gd name="connsiteX5" fmla="*/ 797169 w 797169"/>
                <a:gd name="connsiteY5" fmla="*/ 1055077 h 1057981"/>
                <a:gd name="connsiteX0" fmla="*/ 0 w 664308"/>
                <a:gd name="connsiteY0" fmla="*/ 0 h 745366"/>
                <a:gd name="connsiteX1" fmla="*/ 54708 w 664308"/>
                <a:gd name="connsiteY1" fmla="*/ 93785 h 745366"/>
                <a:gd name="connsiteX2" fmla="*/ 179755 w 664308"/>
                <a:gd name="connsiteY2" fmla="*/ 320432 h 745366"/>
                <a:gd name="connsiteX3" fmla="*/ 406401 w 664308"/>
                <a:gd name="connsiteY3" fmla="*/ 500185 h 745366"/>
                <a:gd name="connsiteX4" fmla="*/ 578339 w 664308"/>
                <a:gd name="connsiteY4" fmla="*/ 711201 h 745366"/>
                <a:gd name="connsiteX5" fmla="*/ 664308 w 664308"/>
                <a:gd name="connsiteY5" fmla="*/ 742462 h 74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308" h="745366">
                  <a:moveTo>
                    <a:pt x="0" y="0"/>
                  </a:moveTo>
                  <a:cubicBezTo>
                    <a:pt x="56010" y="82061"/>
                    <a:pt x="24749" y="40380"/>
                    <a:pt x="54708" y="93785"/>
                  </a:cubicBezTo>
                  <a:cubicBezTo>
                    <a:pt x="84667" y="147190"/>
                    <a:pt x="121140" y="252699"/>
                    <a:pt x="179755" y="320432"/>
                  </a:cubicBezTo>
                  <a:cubicBezTo>
                    <a:pt x="238370" y="388165"/>
                    <a:pt x="339970" y="435057"/>
                    <a:pt x="406401" y="500185"/>
                  </a:cubicBezTo>
                  <a:cubicBezTo>
                    <a:pt x="472832" y="565313"/>
                    <a:pt x="535355" y="670822"/>
                    <a:pt x="578339" y="711201"/>
                  </a:cubicBezTo>
                  <a:cubicBezTo>
                    <a:pt x="621323" y="751580"/>
                    <a:pt x="642815" y="747021"/>
                    <a:pt x="664308" y="742462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igura a mano libera 109"/>
            <p:cNvSpPr/>
            <p:nvPr/>
          </p:nvSpPr>
          <p:spPr>
            <a:xfrm>
              <a:off x="2603078" y="2581872"/>
              <a:ext cx="476761" cy="472003"/>
            </a:xfrm>
            <a:custGeom>
              <a:avLst/>
              <a:gdLst>
                <a:gd name="connsiteX0" fmla="*/ 0 w 1101969"/>
                <a:gd name="connsiteY0" fmla="*/ 0 h 1214288"/>
                <a:gd name="connsiteX1" fmla="*/ 156308 w 1101969"/>
                <a:gd name="connsiteY1" fmla="*/ 70338 h 1214288"/>
                <a:gd name="connsiteX2" fmla="*/ 304800 w 1101969"/>
                <a:gd name="connsiteY2" fmla="*/ 156307 h 1214288"/>
                <a:gd name="connsiteX3" fmla="*/ 492369 w 1101969"/>
                <a:gd name="connsiteY3" fmla="*/ 562707 h 1214288"/>
                <a:gd name="connsiteX4" fmla="*/ 617416 w 1101969"/>
                <a:gd name="connsiteY4" fmla="*/ 789354 h 1214288"/>
                <a:gd name="connsiteX5" fmla="*/ 844062 w 1101969"/>
                <a:gd name="connsiteY5" fmla="*/ 969107 h 1214288"/>
                <a:gd name="connsiteX6" fmla="*/ 1016000 w 1101969"/>
                <a:gd name="connsiteY6" fmla="*/ 1180123 h 1214288"/>
                <a:gd name="connsiteX7" fmla="*/ 1101969 w 1101969"/>
                <a:gd name="connsiteY7" fmla="*/ 1211384 h 1214288"/>
                <a:gd name="connsiteX0" fmla="*/ 0 w 1016000"/>
                <a:gd name="connsiteY0" fmla="*/ 0 h 1180123"/>
                <a:gd name="connsiteX1" fmla="*/ 156308 w 1016000"/>
                <a:gd name="connsiteY1" fmla="*/ 70338 h 1180123"/>
                <a:gd name="connsiteX2" fmla="*/ 304800 w 1016000"/>
                <a:gd name="connsiteY2" fmla="*/ 156307 h 1180123"/>
                <a:gd name="connsiteX3" fmla="*/ 492369 w 1016000"/>
                <a:gd name="connsiteY3" fmla="*/ 562707 h 1180123"/>
                <a:gd name="connsiteX4" fmla="*/ 617416 w 1016000"/>
                <a:gd name="connsiteY4" fmla="*/ 789354 h 1180123"/>
                <a:gd name="connsiteX5" fmla="*/ 844062 w 1016000"/>
                <a:gd name="connsiteY5" fmla="*/ 969107 h 1180123"/>
                <a:gd name="connsiteX6" fmla="*/ 1016000 w 1016000"/>
                <a:gd name="connsiteY6" fmla="*/ 1180123 h 1180123"/>
                <a:gd name="connsiteX0" fmla="*/ 0 w 844062"/>
                <a:gd name="connsiteY0" fmla="*/ 0 h 969107"/>
                <a:gd name="connsiteX1" fmla="*/ 156308 w 844062"/>
                <a:gd name="connsiteY1" fmla="*/ 70338 h 969107"/>
                <a:gd name="connsiteX2" fmla="*/ 304800 w 844062"/>
                <a:gd name="connsiteY2" fmla="*/ 156307 h 969107"/>
                <a:gd name="connsiteX3" fmla="*/ 492369 w 844062"/>
                <a:gd name="connsiteY3" fmla="*/ 562707 h 969107"/>
                <a:gd name="connsiteX4" fmla="*/ 617416 w 844062"/>
                <a:gd name="connsiteY4" fmla="*/ 789354 h 969107"/>
                <a:gd name="connsiteX5" fmla="*/ 844062 w 844062"/>
                <a:gd name="connsiteY5" fmla="*/ 969107 h 969107"/>
                <a:gd name="connsiteX0" fmla="*/ 0 w 617416"/>
                <a:gd name="connsiteY0" fmla="*/ 0 h 789354"/>
                <a:gd name="connsiteX1" fmla="*/ 156308 w 617416"/>
                <a:gd name="connsiteY1" fmla="*/ 70338 h 789354"/>
                <a:gd name="connsiteX2" fmla="*/ 304800 w 617416"/>
                <a:gd name="connsiteY2" fmla="*/ 156307 h 789354"/>
                <a:gd name="connsiteX3" fmla="*/ 492369 w 617416"/>
                <a:gd name="connsiteY3" fmla="*/ 562707 h 789354"/>
                <a:gd name="connsiteX4" fmla="*/ 617416 w 617416"/>
                <a:gd name="connsiteY4" fmla="*/ 789354 h 789354"/>
                <a:gd name="connsiteX0" fmla="*/ 0 w 492369"/>
                <a:gd name="connsiteY0" fmla="*/ 0 h 562707"/>
                <a:gd name="connsiteX1" fmla="*/ 156308 w 492369"/>
                <a:gd name="connsiteY1" fmla="*/ 70338 h 562707"/>
                <a:gd name="connsiteX2" fmla="*/ 304800 w 492369"/>
                <a:gd name="connsiteY2" fmla="*/ 156307 h 562707"/>
                <a:gd name="connsiteX3" fmla="*/ 492369 w 492369"/>
                <a:gd name="connsiteY3" fmla="*/ 562707 h 562707"/>
                <a:gd name="connsiteX0" fmla="*/ 0 w 437661"/>
                <a:gd name="connsiteY0" fmla="*/ 0 h 429845"/>
                <a:gd name="connsiteX1" fmla="*/ 156308 w 437661"/>
                <a:gd name="connsiteY1" fmla="*/ 70338 h 429845"/>
                <a:gd name="connsiteX2" fmla="*/ 304800 w 437661"/>
                <a:gd name="connsiteY2" fmla="*/ 156307 h 429845"/>
                <a:gd name="connsiteX3" fmla="*/ 437661 w 437661"/>
                <a:gd name="connsiteY3" fmla="*/ 429845 h 429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7661" h="429845">
                  <a:moveTo>
                    <a:pt x="0" y="0"/>
                  </a:moveTo>
                  <a:cubicBezTo>
                    <a:pt x="52754" y="22143"/>
                    <a:pt x="105508" y="44287"/>
                    <a:pt x="156308" y="70338"/>
                  </a:cubicBezTo>
                  <a:cubicBezTo>
                    <a:pt x="207108" y="96389"/>
                    <a:pt x="257908" y="96389"/>
                    <a:pt x="304800" y="156307"/>
                  </a:cubicBezTo>
                  <a:cubicBezTo>
                    <a:pt x="351692" y="216225"/>
                    <a:pt x="385558" y="324337"/>
                    <a:pt x="437661" y="429845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igura a mano libera 110"/>
            <p:cNvSpPr/>
            <p:nvPr/>
          </p:nvSpPr>
          <p:spPr>
            <a:xfrm>
              <a:off x="3106808" y="2975400"/>
              <a:ext cx="340545" cy="60441"/>
            </a:xfrm>
            <a:custGeom>
              <a:avLst/>
              <a:gdLst>
                <a:gd name="connsiteX0" fmla="*/ 0 w 312616"/>
                <a:gd name="connsiteY0" fmla="*/ 54707 h 55043"/>
                <a:gd name="connsiteX1" fmla="*/ 171939 w 312616"/>
                <a:gd name="connsiteY1" fmla="*/ 46892 h 55043"/>
                <a:gd name="connsiteX2" fmla="*/ 312616 w 312616"/>
                <a:gd name="connsiteY2" fmla="*/ 0 h 55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616" h="55043">
                  <a:moveTo>
                    <a:pt x="0" y="54707"/>
                  </a:moveTo>
                  <a:cubicBezTo>
                    <a:pt x="59918" y="55358"/>
                    <a:pt x="119836" y="56010"/>
                    <a:pt x="171939" y="46892"/>
                  </a:cubicBezTo>
                  <a:cubicBezTo>
                    <a:pt x="224042" y="37774"/>
                    <a:pt x="312616" y="0"/>
                    <a:pt x="312616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032942" y="3013615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igura a mano libera 112"/>
            <p:cNvSpPr/>
            <p:nvPr/>
          </p:nvSpPr>
          <p:spPr>
            <a:xfrm>
              <a:off x="3793826" y="1810420"/>
              <a:ext cx="344490" cy="342442"/>
            </a:xfrm>
            <a:custGeom>
              <a:avLst/>
              <a:gdLst>
                <a:gd name="connsiteX0" fmla="*/ 0 w 325370"/>
                <a:gd name="connsiteY0" fmla="*/ 314150 h 314150"/>
                <a:gd name="connsiteX1" fmla="*/ 72928 w 325370"/>
                <a:gd name="connsiteY1" fmla="*/ 157075 h 314150"/>
                <a:gd name="connsiteX2" fmla="*/ 140246 w 325370"/>
                <a:gd name="connsiteY2" fmla="*/ 78538 h 314150"/>
                <a:gd name="connsiteX3" fmla="*/ 325370 w 325370"/>
                <a:gd name="connsiteY3" fmla="*/ 0 h 31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370" h="314150">
                  <a:moveTo>
                    <a:pt x="0" y="314150"/>
                  </a:moveTo>
                  <a:cubicBezTo>
                    <a:pt x="24777" y="255247"/>
                    <a:pt x="49554" y="196344"/>
                    <a:pt x="72928" y="157075"/>
                  </a:cubicBezTo>
                  <a:cubicBezTo>
                    <a:pt x="96302" y="117806"/>
                    <a:pt x="98172" y="104717"/>
                    <a:pt x="140246" y="78538"/>
                  </a:cubicBezTo>
                  <a:cubicBezTo>
                    <a:pt x="182320" y="52359"/>
                    <a:pt x="253845" y="26179"/>
                    <a:pt x="325370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073303" y="1772253"/>
              <a:ext cx="78432" cy="7906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765662" y="2150617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igura a mano libera 115"/>
            <p:cNvSpPr/>
            <p:nvPr/>
          </p:nvSpPr>
          <p:spPr>
            <a:xfrm>
              <a:off x="4920478" y="4612696"/>
              <a:ext cx="280949" cy="18815"/>
            </a:xfrm>
            <a:custGeom>
              <a:avLst/>
              <a:gdLst>
                <a:gd name="connsiteX0" fmla="*/ 0 w 257908"/>
                <a:gd name="connsiteY0" fmla="*/ 17135 h 17135"/>
                <a:gd name="connsiteX1" fmla="*/ 156308 w 257908"/>
                <a:gd name="connsiteY1" fmla="*/ 1504 h 17135"/>
                <a:gd name="connsiteX2" fmla="*/ 257908 w 257908"/>
                <a:gd name="connsiteY2" fmla="*/ 1504 h 1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7908" h="17135">
                  <a:moveTo>
                    <a:pt x="0" y="17135"/>
                  </a:moveTo>
                  <a:cubicBezTo>
                    <a:pt x="56661" y="10622"/>
                    <a:pt x="113323" y="4109"/>
                    <a:pt x="156308" y="1504"/>
                  </a:cubicBezTo>
                  <a:cubicBezTo>
                    <a:pt x="199293" y="-1101"/>
                    <a:pt x="228600" y="201"/>
                    <a:pt x="257908" y="1504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igura a mano libera 116"/>
            <p:cNvSpPr/>
            <p:nvPr/>
          </p:nvSpPr>
          <p:spPr>
            <a:xfrm>
              <a:off x="3694249" y="3344419"/>
              <a:ext cx="221354" cy="60074"/>
            </a:xfrm>
            <a:custGeom>
              <a:avLst/>
              <a:gdLst>
                <a:gd name="connsiteX0" fmla="*/ 0 w 156308"/>
                <a:gd name="connsiteY0" fmla="*/ 0 h 54708"/>
                <a:gd name="connsiteX1" fmla="*/ 93785 w 156308"/>
                <a:gd name="connsiteY1" fmla="*/ 39077 h 54708"/>
                <a:gd name="connsiteX2" fmla="*/ 156308 w 156308"/>
                <a:gd name="connsiteY2" fmla="*/ 54708 h 54708"/>
                <a:gd name="connsiteX0" fmla="*/ 0 w 203200"/>
                <a:gd name="connsiteY0" fmla="*/ 0 h 54708"/>
                <a:gd name="connsiteX1" fmla="*/ 93785 w 203200"/>
                <a:gd name="connsiteY1" fmla="*/ 39077 h 54708"/>
                <a:gd name="connsiteX2" fmla="*/ 203200 w 203200"/>
                <a:gd name="connsiteY2" fmla="*/ 54708 h 54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3200" h="54708">
                  <a:moveTo>
                    <a:pt x="0" y="0"/>
                  </a:moveTo>
                  <a:cubicBezTo>
                    <a:pt x="33867" y="14979"/>
                    <a:pt x="59918" y="29959"/>
                    <a:pt x="93785" y="39077"/>
                  </a:cubicBezTo>
                  <a:cubicBezTo>
                    <a:pt x="127652" y="48195"/>
                    <a:pt x="184964" y="51451"/>
                    <a:pt x="203200" y="54708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igura a mano libera 117"/>
            <p:cNvSpPr/>
            <p:nvPr/>
          </p:nvSpPr>
          <p:spPr>
            <a:xfrm>
              <a:off x="3485889" y="2980595"/>
              <a:ext cx="337909" cy="899623"/>
            </a:xfrm>
            <a:custGeom>
              <a:avLst/>
              <a:gdLst>
                <a:gd name="connsiteX0" fmla="*/ 0 w 371475"/>
                <a:gd name="connsiteY0" fmla="*/ 0 h 819150"/>
                <a:gd name="connsiteX1" fmla="*/ 209550 w 371475"/>
                <a:gd name="connsiteY1" fmla="*/ 314325 h 819150"/>
                <a:gd name="connsiteX2" fmla="*/ 285750 w 371475"/>
                <a:gd name="connsiteY2" fmla="*/ 514350 h 819150"/>
                <a:gd name="connsiteX3" fmla="*/ 371475 w 371475"/>
                <a:gd name="connsiteY3" fmla="*/ 8191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1475" h="819150">
                  <a:moveTo>
                    <a:pt x="0" y="0"/>
                  </a:moveTo>
                  <a:cubicBezTo>
                    <a:pt x="80962" y="114300"/>
                    <a:pt x="161925" y="228600"/>
                    <a:pt x="209550" y="314325"/>
                  </a:cubicBezTo>
                  <a:cubicBezTo>
                    <a:pt x="257175" y="400050"/>
                    <a:pt x="258763" y="430213"/>
                    <a:pt x="285750" y="514350"/>
                  </a:cubicBezTo>
                  <a:cubicBezTo>
                    <a:pt x="312737" y="598487"/>
                    <a:pt x="358775" y="781050"/>
                    <a:pt x="371475" y="81915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424591" y="2891898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Figura a mano libera 119"/>
            <p:cNvSpPr/>
            <p:nvPr/>
          </p:nvSpPr>
          <p:spPr>
            <a:xfrm>
              <a:off x="3835914" y="3044055"/>
              <a:ext cx="352124" cy="841026"/>
            </a:xfrm>
            <a:custGeom>
              <a:avLst/>
              <a:gdLst>
                <a:gd name="connsiteX0" fmla="*/ 11186 w 300355"/>
                <a:gd name="connsiteY0" fmla="*/ 773724 h 773724"/>
                <a:gd name="connsiteX1" fmla="*/ 34632 w 300355"/>
                <a:gd name="connsiteY1" fmla="*/ 336062 h 773724"/>
                <a:gd name="connsiteX2" fmla="*/ 300355 w 300355"/>
                <a:gd name="connsiteY2" fmla="*/ 0 h 773724"/>
                <a:gd name="connsiteX0" fmla="*/ 1692 w 290861"/>
                <a:gd name="connsiteY0" fmla="*/ 773724 h 773724"/>
                <a:gd name="connsiteX1" fmla="*/ 95477 w 290861"/>
                <a:gd name="connsiteY1" fmla="*/ 359509 h 773724"/>
                <a:gd name="connsiteX2" fmla="*/ 290861 w 290861"/>
                <a:gd name="connsiteY2" fmla="*/ 0 h 773724"/>
                <a:gd name="connsiteX0" fmla="*/ 1823 w 322254"/>
                <a:gd name="connsiteY0" fmla="*/ 765908 h 765908"/>
                <a:gd name="connsiteX1" fmla="*/ 95608 w 322254"/>
                <a:gd name="connsiteY1" fmla="*/ 351693 h 765908"/>
                <a:gd name="connsiteX2" fmla="*/ 322254 w 322254"/>
                <a:gd name="connsiteY2" fmla="*/ 0 h 765908"/>
                <a:gd name="connsiteX0" fmla="*/ 2815 w 323246"/>
                <a:gd name="connsiteY0" fmla="*/ 765908 h 765908"/>
                <a:gd name="connsiteX1" fmla="*/ 73153 w 323246"/>
                <a:gd name="connsiteY1" fmla="*/ 351693 h 765908"/>
                <a:gd name="connsiteX2" fmla="*/ 323246 w 323246"/>
                <a:gd name="connsiteY2" fmla="*/ 0 h 765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3246" h="765908">
                  <a:moveTo>
                    <a:pt x="2815" y="765908"/>
                  </a:moveTo>
                  <a:cubicBezTo>
                    <a:pt x="-9560" y="611554"/>
                    <a:pt x="19748" y="479344"/>
                    <a:pt x="73153" y="351693"/>
                  </a:cubicBezTo>
                  <a:cubicBezTo>
                    <a:pt x="126558" y="224042"/>
                    <a:pt x="214482" y="103554"/>
                    <a:pt x="323246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759458" y="3306716"/>
              <a:ext cx="117648" cy="11859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215550" y="1751634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271312" y="1595664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2575563" y="4687025"/>
              <a:ext cx="117648" cy="11859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Figura a mano libera 124"/>
            <p:cNvSpPr/>
            <p:nvPr/>
          </p:nvSpPr>
          <p:spPr>
            <a:xfrm>
              <a:off x="4531128" y="5751178"/>
              <a:ext cx="410313" cy="85424"/>
            </a:xfrm>
            <a:custGeom>
              <a:avLst/>
              <a:gdLst>
                <a:gd name="connsiteX0" fmla="*/ 0 w 596348"/>
                <a:gd name="connsiteY0" fmla="*/ 127221 h 127221"/>
                <a:gd name="connsiteX1" fmla="*/ 421419 w 596348"/>
                <a:gd name="connsiteY1" fmla="*/ 71562 h 127221"/>
                <a:gd name="connsiteX2" fmla="*/ 421419 w 596348"/>
                <a:gd name="connsiteY2" fmla="*/ 71562 h 127221"/>
                <a:gd name="connsiteX3" fmla="*/ 596348 w 596348"/>
                <a:gd name="connsiteY3" fmla="*/ 0 h 127221"/>
                <a:gd name="connsiteX0" fmla="*/ 0 w 470331"/>
                <a:gd name="connsiteY0" fmla="*/ 127221 h 127221"/>
                <a:gd name="connsiteX1" fmla="*/ 295402 w 470331"/>
                <a:gd name="connsiteY1" fmla="*/ 71562 h 127221"/>
                <a:gd name="connsiteX2" fmla="*/ 295402 w 470331"/>
                <a:gd name="connsiteY2" fmla="*/ 71562 h 127221"/>
                <a:gd name="connsiteX3" fmla="*/ 470331 w 470331"/>
                <a:gd name="connsiteY3" fmla="*/ 0 h 127221"/>
                <a:gd name="connsiteX0" fmla="*/ 0 w 389320"/>
                <a:gd name="connsiteY0" fmla="*/ 95237 h 95237"/>
                <a:gd name="connsiteX1" fmla="*/ 214391 w 389320"/>
                <a:gd name="connsiteY1" fmla="*/ 71562 h 95237"/>
                <a:gd name="connsiteX2" fmla="*/ 214391 w 389320"/>
                <a:gd name="connsiteY2" fmla="*/ 71562 h 95237"/>
                <a:gd name="connsiteX3" fmla="*/ 389320 w 389320"/>
                <a:gd name="connsiteY3" fmla="*/ 0 h 9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9320" h="95237">
                  <a:moveTo>
                    <a:pt x="0" y="95237"/>
                  </a:moveTo>
                  <a:lnTo>
                    <a:pt x="214391" y="71562"/>
                  </a:lnTo>
                  <a:lnTo>
                    <a:pt x="214391" y="71562"/>
                  </a:lnTo>
                  <a:lnTo>
                    <a:pt x="389320" y="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933261" y="5711078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7" name="Figura a mano libera 126"/>
            <p:cNvSpPr/>
            <p:nvPr/>
          </p:nvSpPr>
          <p:spPr>
            <a:xfrm>
              <a:off x="4901930" y="4153986"/>
              <a:ext cx="51970" cy="139698"/>
            </a:xfrm>
            <a:custGeom>
              <a:avLst/>
              <a:gdLst>
                <a:gd name="connsiteX0" fmla="*/ 0 w 47708"/>
                <a:gd name="connsiteY0" fmla="*/ 127221 h 127221"/>
                <a:gd name="connsiteX1" fmla="*/ 23854 w 47708"/>
                <a:gd name="connsiteY1" fmla="*/ 47708 h 127221"/>
                <a:gd name="connsiteX2" fmla="*/ 47708 w 47708"/>
                <a:gd name="connsiteY2" fmla="*/ 0 h 127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708" h="127221">
                  <a:moveTo>
                    <a:pt x="0" y="127221"/>
                  </a:moveTo>
                  <a:cubicBezTo>
                    <a:pt x="7951" y="98066"/>
                    <a:pt x="15903" y="68911"/>
                    <a:pt x="23854" y="47708"/>
                  </a:cubicBezTo>
                  <a:cubicBezTo>
                    <a:pt x="31805" y="26505"/>
                    <a:pt x="39756" y="13252"/>
                    <a:pt x="47708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igura a mano libera 127"/>
            <p:cNvSpPr/>
            <p:nvPr/>
          </p:nvSpPr>
          <p:spPr>
            <a:xfrm>
              <a:off x="4208997" y="3717430"/>
              <a:ext cx="17323" cy="87312"/>
            </a:xfrm>
            <a:custGeom>
              <a:avLst/>
              <a:gdLst>
                <a:gd name="connsiteX0" fmla="*/ 0 w 15903"/>
                <a:gd name="connsiteY0" fmla="*/ 0 h 79513"/>
                <a:gd name="connsiteX1" fmla="*/ 15903 w 15903"/>
                <a:gd name="connsiteY1" fmla="*/ 79513 h 79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903" h="79513">
                  <a:moveTo>
                    <a:pt x="0" y="0"/>
                  </a:moveTo>
                  <a:lnTo>
                    <a:pt x="15903" y="79513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088177" y="3637021"/>
              <a:ext cx="117648" cy="11859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415475" y="3567977"/>
              <a:ext cx="78432" cy="79061"/>
            </a:xfrm>
            <a:prstGeom prst="ellipse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Figura a mano libera 130"/>
            <p:cNvSpPr/>
            <p:nvPr/>
          </p:nvSpPr>
          <p:spPr>
            <a:xfrm>
              <a:off x="3864519" y="3593296"/>
              <a:ext cx="553384" cy="326710"/>
            </a:xfrm>
            <a:custGeom>
              <a:avLst/>
              <a:gdLst>
                <a:gd name="connsiteX0" fmla="*/ 0 w 508000"/>
                <a:gd name="connsiteY0" fmla="*/ 265724 h 265724"/>
                <a:gd name="connsiteX1" fmla="*/ 234461 w 508000"/>
                <a:gd name="connsiteY1" fmla="*/ 109416 h 265724"/>
                <a:gd name="connsiteX2" fmla="*/ 508000 w 508000"/>
                <a:gd name="connsiteY2" fmla="*/ 0 h 265724"/>
                <a:gd name="connsiteX0" fmla="*/ 0 w 508000"/>
                <a:gd name="connsiteY0" fmla="*/ 265724 h 265724"/>
                <a:gd name="connsiteX1" fmla="*/ 282169 w 508000"/>
                <a:gd name="connsiteY1" fmla="*/ 173026 h 265724"/>
                <a:gd name="connsiteX2" fmla="*/ 508000 w 508000"/>
                <a:gd name="connsiteY2" fmla="*/ 0 h 265724"/>
                <a:gd name="connsiteX0" fmla="*/ 0 w 508000"/>
                <a:gd name="connsiteY0" fmla="*/ 265724 h 265724"/>
                <a:gd name="connsiteX1" fmla="*/ 329877 w 508000"/>
                <a:gd name="connsiteY1" fmla="*/ 188928 h 265724"/>
                <a:gd name="connsiteX2" fmla="*/ 508000 w 508000"/>
                <a:gd name="connsiteY2" fmla="*/ 0 h 265724"/>
                <a:gd name="connsiteX0" fmla="*/ 0 w 508000"/>
                <a:gd name="connsiteY0" fmla="*/ 297529 h 297529"/>
                <a:gd name="connsiteX1" fmla="*/ 329877 w 508000"/>
                <a:gd name="connsiteY1" fmla="*/ 188928 h 297529"/>
                <a:gd name="connsiteX2" fmla="*/ 508000 w 508000"/>
                <a:gd name="connsiteY2" fmla="*/ 0 h 29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8000" h="297529">
                  <a:moveTo>
                    <a:pt x="0" y="297529"/>
                  </a:moveTo>
                  <a:cubicBezTo>
                    <a:pt x="74897" y="241518"/>
                    <a:pt x="245210" y="233215"/>
                    <a:pt x="329877" y="188928"/>
                  </a:cubicBezTo>
                  <a:cubicBezTo>
                    <a:pt x="414544" y="144641"/>
                    <a:pt x="413564" y="32564"/>
                    <a:pt x="508000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776542" y="3881184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2804862" y="3960436"/>
              <a:ext cx="78432" cy="7906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2366496" y="3959445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Figura a mano libera 134"/>
            <p:cNvSpPr/>
            <p:nvPr/>
          </p:nvSpPr>
          <p:spPr>
            <a:xfrm>
              <a:off x="2493821" y="4005558"/>
              <a:ext cx="329309" cy="689760"/>
            </a:xfrm>
            <a:custGeom>
              <a:avLst/>
              <a:gdLst>
                <a:gd name="connsiteX0" fmla="*/ 95568 w 302302"/>
                <a:gd name="connsiteY0" fmla="*/ 628153 h 628153"/>
                <a:gd name="connsiteX1" fmla="*/ 153 w 302302"/>
                <a:gd name="connsiteY1" fmla="*/ 405517 h 628153"/>
                <a:gd name="connsiteX2" fmla="*/ 79666 w 302302"/>
                <a:gd name="connsiteY2" fmla="*/ 151075 h 628153"/>
                <a:gd name="connsiteX3" fmla="*/ 302302 w 302302"/>
                <a:gd name="connsiteY3" fmla="*/ 0 h 628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302" h="628153">
                  <a:moveTo>
                    <a:pt x="95568" y="628153"/>
                  </a:moveTo>
                  <a:cubicBezTo>
                    <a:pt x="49185" y="556591"/>
                    <a:pt x="2803" y="485030"/>
                    <a:pt x="153" y="405517"/>
                  </a:cubicBezTo>
                  <a:cubicBezTo>
                    <a:pt x="-2497" y="326004"/>
                    <a:pt x="29308" y="218661"/>
                    <a:pt x="79666" y="151075"/>
                  </a:cubicBezTo>
                  <a:cubicBezTo>
                    <a:pt x="130024" y="83489"/>
                    <a:pt x="216163" y="41744"/>
                    <a:pt x="302302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igura a mano libera 135"/>
            <p:cNvSpPr/>
            <p:nvPr/>
          </p:nvSpPr>
          <p:spPr>
            <a:xfrm>
              <a:off x="2433357" y="4014288"/>
              <a:ext cx="138587" cy="165892"/>
            </a:xfrm>
            <a:custGeom>
              <a:avLst/>
              <a:gdLst>
                <a:gd name="connsiteX0" fmla="*/ 0 w 127221"/>
                <a:gd name="connsiteY0" fmla="*/ 0 h 151075"/>
                <a:gd name="connsiteX1" fmla="*/ 95415 w 127221"/>
                <a:gd name="connsiteY1" fmla="*/ 55660 h 151075"/>
                <a:gd name="connsiteX2" fmla="*/ 95415 w 127221"/>
                <a:gd name="connsiteY2" fmla="*/ 55660 h 151075"/>
                <a:gd name="connsiteX3" fmla="*/ 127221 w 127221"/>
                <a:gd name="connsiteY3" fmla="*/ 151075 h 15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221" h="151075">
                  <a:moveTo>
                    <a:pt x="0" y="0"/>
                  </a:moveTo>
                  <a:lnTo>
                    <a:pt x="95415" y="55660"/>
                  </a:lnTo>
                  <a:lnTo>
                    <a:pt x="95415" y="55660"/>
                  </a:lnTo>
                  <a:lnTo>
                    <a:pt x="127221" y="151075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igura a mano libera 136"/>
            <p:cNvSpPr/>
            <p:nvPr/>
          </p:nvSpPr>
          <p:spPr>
            <a:xfrm>
              <a:off x="5273507" y="4948521"/>
              <a:ext cx="96264" cy="147031"/>
            </a:xfrm>
            <a:custGeom>
              <a:avLst/>
              <a:gdLst>
                <a:gd name="connsiteX0" fmla="*/ 39757 w 39757"/>
                <a:gd name="connsiteY0" fmla="*/ 0 h 95416"/>
                <a:gd name="connsiteX1" fmla="*/ 0 w 39757"/>
                <a:gd name="connsiteY1" fmla="*/ 95416 h 95416"/>
                <a:gd name="connsiteX2" fmla="*/ 0 w 39757"/>
                <a:gd name="connsiteY2" fmla="*/ 95416 h 95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757" h="95416">
                  <a:moveTo>
                    <a:pt x="39757" y="0"/>
                  </a:moveTo>
                  <a:lnTo>
                    <a:pt x="0" y="95416"/>
                  </a:lnTo>
                  <a:lnTo>
                    <a:pt x="0" y="95416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igura a mano libera 137"/>
            <p:cNvSpPr/>
            <p:nvPr/>
          </p:nvSpPr>
          <p:spPr>
            <a:xfrm>
              <a:off x="4783724" y="4589970"/>
              <a:ext cx="510737" cy="1192345"/>
            </a:xfrm>
            <a:custGeom>
              <a:avLst/>
              <a:gdLst>
                <a:gd name="connsiteX0" fmla="*/ 0 w 518125"/>
                <a:gd name="connsiteY0" fmla="*/ 0 h 1085850"/>
                <a:gd name="connsiteX1" fmla="*/ 228600 w 518125"/>
                <a:gd name="connsiteY1" fmla="*/ 104775 h 1085850"/>
                <a:gd name="connsiteX2" fmla="*/ 400050 w 518125"/>
                <a:gd name="connsiteY2" fmla="*/ 333375 h 1085850"/>
                <a:gd name="connsiteX3" fmla="*/ 514350 w 518125"/>
                <a:gd name="connsiteY3" fmla="*/ 647700 h 1085850"/>
                <a:gd name="connsiteX4" fmla="*/ 466725 w 518125"/>
                <a:gd name="connsiteY4" fmla="*/ 895350 h 1085850"/>
                <a:gd name="connsiteX5" fmla="*/ 238125 w 518125"/>
                <a:gd name="connsiteY5" fmla="*/ 1085850 h 1085850"/>
                <a:gd name="connsiteX0" fmla="*/ 0 w 514673"/>
                <a:gd name="connsiteY0" fmla="*/ 0 h 1085850"/>
                <a:gd name="connsiteX1" fmla="*/ 228600 w 514673"/>
                <a:gd name="connsiteY1" fmla="*/ 104775 h 1085850"/>
                <a:gd name="connsiteX2" fmla="*/ 400050 w 514673"/>
                <a:gd name="connsiteY2" fmla="*/ 333375 h 1085850"/>
                <a:gd name="connsiteX3" fmla="*/ 514350 w 514673"/>
                <a:gd name="connsiteY3" fmla="*/ 647700 h 1085850"/>
                <a:gd name="connsiteX4" fmla="*/ 427648 w 514673"/>
                <a:gd name="connsiteY4" fmla="*/ 864088 h 1085850"/>
                <a:gd name="connsiteX5" fmla="*/ 238125 w 514673"/>
                <a:gd name="connsiteY5" fmla="*/ 1085850 h 1085850"/>
                <a:gd name="connsiteX0" fmla="*/ 0 w 506917"/>
                <a:gd name="connsiteY0" fmla="*/ 0 h 1085850"/>
                <a:gd name="connsiteX1" fmla="*/ 228600 w 506917"/>
                <a:gd name="connsiteY1" fmla="*/ 104775 h 1085850"/>
                <a:gd name="connsiteX2" fmla="*/ 400050 w 506917"/>
                <a:gd name="connsiteY2" fmla="*/ 333375 h 1085850"/>
                <a:gd name="connsiteX3" fmla="*/ 506534 w 506917"/>
                <a:gd name="connsiteY3" fmla="*/ 624254 h 1085850"/>
                <a:gd name="connsiteX4" fmla="*/ 427648 w 506917"/>
                <a:gd name="connsiteY4" fmla="*/ 864088 h 1085850"/>
                <a:gd name="connsiteX5" fmla="*/ 238125 w 506917"/>
                <a:gd name="connsiteY5" fmla="*/ 1085850 h 1085850"/>
                <a:gd name="connsiteX0" fmla="*/ 0 w 506591"/>
                <a:gd name="connsiteY0" fmla="*/ 0 h 1085850"/>
                <a:gd name="connsiteX1" fmla="*/ 228600 w 506591"/>
                <a:gd name="connsiteY1" fmla="*/ 104775 h 1085850"/>
                <a:gd name="connsiteX2" fmla="*/ 400050 w 506591"/>
                <a:gd name="connsiteY2" fmla="*/ 333375 h 1085850"/>
                <a:gd name="connsiteX3" fmla="*/ 506534 w 506591"/>
                <a:gd name="connsiteY3" fmla="*/ 624254 h 1085850"/>
                <a:gd name="connsiteX4" fmla="*/ 412018 w 506591"/>
                <a:gd name="connsiteY4" fmla="*/ 840642 h 1085850"/>
                <a:gd name="connsiteX5" fmla="*/ 238125 w 506591"/>
                <a:gd name="connsiteY5" fmla="*/ 1085850 h 1085850"/>
                <a:gd name="connsiteX0" fmla="*/ 0 w 507254"/>
                <a:gd name="connsiteY0" fmla="*/ 0 h 1085850"/>
                <a:gd name="connsiteX1" fmla="*/ 228600 w 507254"/>
                <a:gd name="connsiteY1" fmla="*/ 104775 h 1085850"/>
                <a:gd name="connsiteX2" fmla="*/ 400050 w 507254"/>
                <a:gd name="connsiteY2" fmla="*/ 333375 h 1085850"/>
                <a:gd name="connsiteX3" fmla="*/ 506534 w 507254"/>
                <a:gd name="connsiteY3" fmla="*/ 624254 h 1085850"/>
                <a:gd name="connsiteX4" fmla="*/ 435464 w 507254"/>
                <a:gd name="connsiteY4" fmla="*/ 856272 h 1085850"/>
                <a:gd name="connsiteX5" fmla="*/ 238125 w 507254"/>
                <a:gd name="connsiteY5" fmla="*/ 1085850 h 1085850"/>
                <a:gd name="connsiteX0" fmla="*/ 0 w 508585"/>
                <a:gd name="connsiteY0" fmla="*/ 0 h 1085850"/>
                <a:gd name="connsiteX1" fmla="*/ 228600 w 508585"/>
                <a:gd name="connsiteY1" fmla="*/ 104775 h 1085850"/>
                <a:gd name="connsiteX2" fmla="*/ 368245 w 508585"/>
                <a:gd name="connsiteY2" fmla="*/ 357229 h 1085850"/>
                <a:gd name="connsiteX3" fmla="*/ 506534 w 508585"/>
                <a:gd name="connsiteY3" fmla="*/ 624254 h 1085850"/>
                <a:gd name="connsiteX4" fmla="*/ 435464 w 508585"/>
                <a:gd name="connsiteY4" fmla="*/ 856272 h 1085850"/>
                <a:gd name="connsiteX5" fmla="*/ 238125 w 508585"/>
                <a:gd name="connsiteY5" fmla="*/ 1085850 h 1085850"/>
                <a:gd name="connsiteX0" fmla="*/ 0 w 468850"/>
                <a:gd name="connsiteY0" fmla="*/ 0 h 1085850"/>
                <a:gd name="connsiteX1" fmla="*/ 228600 w 468850"/>
                <a:gd name="connsiteY1" fmla="*/ 104775 h 1085850"/>
                <a:gd name="connsiteX2" fmla="*/ 368245 w 468850"/>
                <a:gd name="connsiteY2" fmla="*/ 357229 h 1085850"/>
                <a:gd name="connsiteX3" fmla="*/ 458826 w 468850"/>
                <a:gd name="connsiteY3" fmla="*/ 592449 h 1085850"/>
                <a:gd name="connsiteX4" fmla="*/ 435464 w 468850"/>
                <a:gd name="connsiteY4" fmla="*/ 856272 h 1085850"/>
                <a:gd name="connsiteX5" fmla="*/ 238125 w 468850"/>
                <a:gd name="connsiteY5" fmla="*/ 1085850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8850" h="1085850">
                  <a:moveTo>
                    <a:pt x="0" y="0"/>
                  </a:moveTo>
                  <a:cubicBezTo>
                    <a:pt x="80962" y="24606"/>
                    <a:pt x="167226" y="45237"/>
                    <a:pt x="228600" y="104775"/>
                  </a:cubicBezTo>
                  <a:cubicBezTo>
                    <a:pt x="289974" y="164313"/>
                    <a:pt x="329874" y="275950"/>
                    <a:pt x="368245" y="357229"/>
                  </a:cubicBezTo>
                  <a:cubicBezTo>
                    <a:pt x="406616" y="438508"/>
                    <a:pt x="447623" y="509275"/>
                    <a:pt x="458826" y="592449"/>
                  </a:cubicBezTo>
                  <a:cubicBezTo>
                    <a:pt x="470029" y="675623"/>
                    <a:pt x="481502" y="783247"/>
                    <a:pt x="435464" y="856272"/>
                  </a:cubicBezTo>
                  <a:cubicBezTo>
                    <a:pt x="389427" y="929297"/>
                    <a:pt x="329406" y="1027112"/>
                    <a:pt x="238125" y="108585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714809" y="4536983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igura a mano libera 139"/>
            <p:cNvSpPr/>
            <p:nvPr/>
          </p:nvSpPr>
          <p:spPr>
            <a:xfrm>
              <a:off x="2628052" y="2099628"/>
              <a:ext cx="795615" cy="493614"/>
            </a:xfrm>
            <a:custGeom>
              <a:avLst/>
              <a:gdLst>
                <a:gd name="connsiteX0" fmla="*/ 0 w 762000"/>
                <a:gd name="connsiteY0" fmla="*/ 0 h 457200"/>
                <a:gd name="connsiteX1" fmla="*/ 571500 w 762000"/>
                <a:gd name="connsiteY1" fmla="*/ 247650 h 457200"/>
                <a:gd name="connsiteX2" fmla="*/ 762000 w 762000"/>
                <a:gd name="connsiteY2" fmla="*/ 457200 h 457200"/>
                <a:gd name="connsiteX0" fmla="*/ 0 w 762000"/>
                <a:gd name="connsiteY0" fmla="*/ 0 h 457200"/>
                <a:gd name="connsiteX1" fmla="*/ 504825 w 762000"/>
                <a:gd name="connsiteY1" fmla="*/ 247650 h 457200"/>
                <a:gd name="connsiteX2" fmla="*/ 762000 w 762000"/>
                <a:gd name="connsiteY2" fmla="*/ 457200 h 457200"/>
                <a:gd name="connsiteX0" fmla="*/ 0 w 714375"/>
                <a:gd name="connsiteY0" fmla="*/ 0 h 457200"/>
                <a:gd name="connsiteX1" fmla="*/ 457200 w 714375"/>
                <a:gd name="connsiteY1" fmla="*/ 247650 h 457200"/>
                <a:gd name="connsiteX2" fmla="*/ 714375 w 714375"/>
                <a:gd name="connsiteY2" fmla="*/ 457200 h 457200"/>
                <a:gd name="connsiteX0" fmla="*/ 0 w 676275"/>
                <a:gd name="connsiteY0" fmla="*/ 0 h 447675"/>
                <a:gd name="connsiteX1" fmla="*/ 419100 w 676275"/>
                <a:gd name="connsiteY1" fmla="*/ 238125 h 447675"/>
                <a:gd name="connsiteX2" fmla="*/ 676275 w 676275"/>
                <a:gd name="connsiteY2" fmla="*/ 447675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76275" h="447675">
                  <a:moveTo>
                    <a:pt x="0" y="0"/>
                  </a:moveTo>
                  <a:cubicBezTo>
                    <a:pt x="222250" y="85725"/>
                    <a:pt x="306388" y="163513"/>
                    <a:pt x="419100" y="238125"/>
                  </a:cubicBezTo>
                  <a:cubicBezTo>
                    <a:pt x="531812" y="312737"/>
                    <a:pt x="644525" y="381000"/>
                    <a:pt x="676275" y="447675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igura a mano libera 140"/>
            <p:cNvSpPr/>
            <p:nvPr/>
          </p:nvSpPr>
          <p:spPr>
            <a:xfrm>
              <a:off x="2514848" y="2095676"/>
              <a:ext cx="70882" cy="247913"/>
            </a:xfrm>
            <a:custGeom>
              <a:avLst/>
              <a:gdLst>
                <a:gd name="connsiteX0" fmla="*/ 51035 w 51035"/>
                <a:gd name="connsiteY0" fmla="*/ 0 h 196850"/>
                <a:gd name="connsiteX1" fmla="*/ 6585 w 51035"/>
                <a:gd name="connsiteY1" fmla="*/ 101600 h 196850"/>
                <a:gd name="connsiteX2" fmla="*/ 235 w 51035"/>
                <a:gd name="connsiteY2" fmla="*/ 196850 h 196850"/>
                <a:gd name="connsiteX0" fmla="*/ 103603 w 103604"/>
                <a:gd name="connsiteY0" fmla="*/ 0 h 304480"/>
                <a:gd name="connsiteX1" fmla="*/ 9535 w 103604"/>
                <a:gd name="connsiteY1" fmla="*/ 209230 h 304480"/>
                <a:gd name="connsiteX2" fmla="*/ 3185 w 103604"/>
                <a:gd name="connsiteY2" fmla="*/ 304480 h 304480"/>
                <a:gd name="connsiteX0" fmla="*/ 100418 w 100418"/>
                <a:gd name="connsiteY0" fmla="*/ 0 h 304480"/>
                <a:gd name="connsiteX1" fmla="*/ 41792 w 100418"/>
                <a:gd name="connsiteY1" fmla="*/ 121168 h 304480"/>
                <a:gd name="connsiteX2" fmla="*/ 0 w 100418"/>
                <a:gd name="connsiteY2" fmla="*/ 304480 h 304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418" h="304480">
                  <a:moveTo>
                    <a:pt x="100418" y="0"/>
                  </a:moveTo>
                  <a:cubicBezTo>
                    <a:pt x="82426" y="34396"/>
                    <a:pt x="58528" y="70421"/>
                    <a:pt x="41792" y="121168"/>
                  </a:cubicBezTo>
                  <a:cubicBezTo>
                    <a:pt x="25056" y="171915"/>
                    <a:pt x="0" y="304480"/>
                    <a:pt x="0" y="30448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2522091" y="2015625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Figura a mano libera 142"/>
            <p:cNvSpPr/>
            <p:nvPr/>
          </p:nvSpPr>
          <p:spPr>
            <a:xfrm>
              <a:off x="5375292" y="4671791"/>
              <a:ext cx="87762" cy="270664"/>
            </a:xfrm>
            <a:custGeom>
              <a:avLst/>
              <a:gdLst>
                <a:gd name="connsiteX0" fmla="*/ 0 w 521066"/>
                <a:gd name="connsiteY0" fmla="*/ 1017766 h 1055507"/>
                <a:gd name="connsiteX1" fmla="*/ 119269 w 521066"/>
                <a:gd name="connsiteY1" fmla="*/ 1041620 h 1055507"/>
                <a:gd name="connsiteX2" fmla="*/ 111318 w 521066"/>
                <a:gd name="connsiteY2" fmla="*/ 1041620 h 1055507"/>
                <a:gd name="connsiteX3" fmla="*/ 206734 w 521066"/>
                <a:gd name="connsiteY3" fmla="*/ 866692 h 1055507"/>
                <a:gd name="connsiteX4" fmla="*/ 310100 w 521066"/>
                <a:gd name="connsiteY4" fmla="*/ 842838 h 1055507"/>
                <a:gd name="connsiteX5" fmla="*/ 310100 w 521066"/>
                <a:gd name="connsiteY5" fmla="*/ 842838 h 1055507"/>
                <a:gd name="connsiteX6" fmla="*/ 286247 w 521066"/>
                <a:gd name="connsiteY6" fmla="*/ 659958 h 1055507"/>
                <a:gd name="connsiteX7" fmla="*/ 286247 w 521066"/>
                <a:gd name="connsiteY7" fmla="*/ 659958 h 1055507"/>
                <a:gd name="connsiteX8" fmla="*/ 405516 w 521066"/>
                <a:gd name="connsiteY8" fmla="*/ 548640 h 1055507"/>
                <a:gd name="connsiteX9" fmla="*/ 516834 w 521066"/>
                <a:gd name="connsiteY9" fmla="*/ 572493 h 1055507"/>
                <a:gd name="connsiteX10" fmla="*/ 485029 w 521066"/>
                <a:gd name="connsiteY10" fmla="*/ 397565 h 1055507"/>
                <a:gd name="connsiteX11" fmla="*/ 365760 w 521066"/>
                <a:gd name="connsiteY11" fmla="*/ 318052 h 1055507"/>
                <a:gd name="connsiteX12" fmla="*/ 286247 w 521066"/>
                <a:gd name="connsiteY12" fmla="*/ 246490 h 1055507"/>
                <a:gd name="connsiteX13" fmla="*/ 318052 w 521066"/>
                <a:gd name="connsiteY13" fmla="*/ 71561 h 1055507"/>
                <a:gd name="connsiteX14" fmla="*/ 318052 w 521066"/>
                <a:gd name="connsiteY14" fmla="*/ 71561 h 1055507"/>
                <a:gd name="connsiteX15" fmla="*/ 365760 w 521066"/>
                <a:gd name="connsiteY15" fmla="*/ 0 h 1055507"/>
                <a:gd name="connsiteX0" fmla="*/ 0 w 511898"/>
                <a:gd name="connsiteY0" fmla="*/ 1017766 h 1055507"/>
                <a:gd name="connsiteX1" fmla="*/ 119269 w 511898"/>
                <a:gd name="connsiteY1" fmla="*/ 1041620 h 1055507"/>
                <a:gd name="connsiteX2" fmla="*/ 111318 w 511898"/>
                <a:gd name="connsiteY2" fmla="*/ 1041620 h 1055507"/>
                <a:gd name="connsiteX3" fmla="*/ 206734 w 511898"/>
                <a:gd name="connsiteY3" fmla="*/ 866692 h 1055507"/>
                <a:gd name="connsiteX4" fmla="*/ 310100 w 511898"/>
                <a:gd name="connsiteY4" fmla="*/ 842838 h 1055507"/>
                <a:gd name="connsiteX5" fmla="*/ 310100 w 511898"/>
                <a:gd name="connsiteY5" fmla="*/ 842838 h 1055507"/>
                <a:gd name="connsiteX6" fmla="*/ 286247 w 511898"/>
                <a:gd name="connsiteY6" fmla="*/ 659958 h 1055507"/>
                <a:gd name="connsiteX7" fmla="*/ 286247 w 511898"/>
                <a:gd name="connsiteY7" fmla="*/ 659958 h 1055507"/>
                <a:gd name="connsiteX8" fmla="*/ 405516 w 511898"/>
                <a:gd name="connsiteY8" fmla="*/ 548640 h 1055507"/>
                <a:gd name="connsiteX9" fmla="*/ 506202 w 511898"/>
                <a:gd name="connsiteY9" fmla="*/ 519331 h 1055507"/>
                <a:gd name="connsiteX10" fmla="*/ 485029 w 511898"/>
                <a:gd name="connsiteY10" fmla="*/ 397565 h 1055507"/>
                <a:gd name="connsiteX11" fmla="*/ 365760 w 511898"/>
                <a:gd name="connsiteY11" fmla="*/ 318052 h 1055507"/>
                <a:gd name="connsiteX12" fmla="*/ 286247 w 511898"/>
                <a:gd name="connsiteY12" fmla="*/ 246490 h 1055507"/>
                <a:gd name="connsiteX13" fmla="*/ 318052 w 511898"/>
                <a:gd name="connsiteY13" fmla="*/ 71561 h 1055507"/>
                <a:gd name="connsiteX14" fmla="*/ 318052 w 511898"/>
                <a:gd name="connsiteY14" fmla="*/ 71561 h 1055507"/>
                <a:gd name="connsiteX15" fmla="*/ 365760 w 511898"/>
                <a:gd name="connsiteY15" fmla="*/ 0 h 1055507"/>
                <a:gd name="connsiteX0" fmla="*/ 11148 w 403777"/>
                <a:gd name="connsiteY0" fmla="*/ 1041620 h 1055507"/>
                <a:gd name="connsiteX1" fmla="*/ 3197 w 403777"/>
                <a:gd name="connsiteY1" fmla="*/ 1041620 h 1055507"/>
                <a:gd name="connsiteX2" fmla="*/ 98613 w 403777"/>
                <a:gd name="connsiteY2" fmla="*/ 866692 h 1055507"/>
                <a:gd name="connsiteX3" fmla="*/ 201979 w 403777"/>
                <a:gd name="connsiteY3" fmla="*/ 842838 h 1055507"/>
                <a:gd name="connsiteX4" fmla="*/ 201979 w 403777"/>
                <a:gd name="connsiteY4" fmla="*/ 842838 h 1055507"/>
                <a:gd name="connsiteX5" fmla="*/ 178126 w 403777"/>
                <a:gd name="connsiteY5" fmla="*/ 659958 h 1055507"/>
                <a:gd name="connsiteX6" fmla="*/ 178126 w 403777"/>
                <a:gd name="connsiteY6" fmla="*/ 659958 h 1055507"/>
                <a:gd name="connsiteX7" fmla="*/ 297395 w 403777"/>
                <a:gd name="connsiteY7" fmla="*/ 548640 h 1055507"/>
                <a:gd name="connsiteX8" fmla="*/ 398081 w 403777"/>
                <a:gd name="connsiteY8" fmla="*/ 519331 h 1055507"/>
                <a:gd name="connsiteX9" fmla="*/ 376908 w 403777"/>
                <a:gd name="connsiteY9" fmla="*/ 397565 h 1055507"/>
                <a:gd name="connsiteX10" fmla="*/ 257639 w 403777"/>
                <a:gd name="connsiteY10" fmla="*/ 318052 h 1055507"/>
                <a:gd name="connsiteX11" fmla="*/ 178126 w 403777"/>
                <a:gd name="connsiteY11" fmla="*/ 246490 h 1055507"/>
                <a:gd name="connsiteX12" fmla="*/ 209931 w 403777"/>
                <a:gd name="connsiteY12" fmla="*/ 71561 h 1055507"/>
                <a:gd name="connsiteX13" fmla="*/ 209931 w 403777"/>
                <a:gd name="connsiteY13" fmla="*/ 71561 h 1055507"/>
                <a:gd name="connsiteX14" fmla="*/ 257639 w 403777"/>
                <a:gd name="connsiteY14" fmla="*/ 0 h 1055507"/>
                <a:gd name="connsiteX0" fmla="*/ 0 w 392629"/>
                <a:gd name="connsiteY0" fmla="*/ 1041620 h 1041620"/>
                <a:gd name="connsiteX1" fmla="*/ 87465 w 392629"/>
                <a:gd name="connsiteY1" fmla="*/ 866692 h 1041620"/>
                <a:gd name="connsiteX2" fmla="*/ 190831 w 392629"/>
                <a:gd name="connsiteY2" fmla="*/ 842838 h 1041620"/>
                <a:gd name="connsiteX3" fmla="*/ 190831 w 392629"/>
                <a:gd name="connsiteY3" fmla="*/ 842838 h 1041620"/>
                <a:gd name="connsiteX4" fmla="*/ 166978 w 392629"/>
                <a:gd name="connsiteY4" fmla="*/ 659958 h 1041620"/>
                <a:gd name="connsiteX5" fmla="*/ 166978 w 392629"/>
                <a:gd name="connsiteY5" fmla="*/ 659958 h 1041620"/>
                <a:gd name="connsiteX6" fmla="*/ 286247 w 392629"/>
                <a:gd name="connsiteY6" fmla="*/ 548640 h 1041620"/>
                <a:gd name="connsiteX7" fmla="*/ 386933 w 392629"/>
                <a:gd name="connsiteY7" fmla="*/ 519331 h 1041620"/>
                <a:gd name="connsiteX8" fmla="*/ 365760 w 392629"/>
                <a:gd name="connsiteY8" fmla="*/ 397565 h 1041620"/>
                <a:gd name="connsiteX9" fmla="*/ 246491 w 392629"/>
                <a:gd name="connsiteY9" fmla="*/ 318052 h 1041620"/>
                <a:gd name="connsiteX10" fmla="*/ 166978 w 392629"/>
                <a:gd name="connsiteY10" fmla="*/ 246490 h 1041620"/>
                <a:gd name="connsiteX11" fmla="*/ 198783 w 392629"/>
                <a:gd name="connsiteY11" fmla="*/ 71561 h 1041620"/>
                <a:gd name="connsiteX12" fmla="*/ 198783 w 392629"/>
                <a:gd name="connsiteY12" fmla="*/ 71561 h 1041620"/>
                <a:gd name="connsiteX13" fmla="*/ 246491 w 392629"/>
                <a:gd name="connsiteY13" fmla="*/ 0 h 1041620"/>
                <a:gd name="connsiteX0" fmla="*/ 0 w 305164"/>
                <a:gd name="connsiteY0" fmla="*/ 866692 h 866692"/>
                <a:gd name="connsiteX1" fmla="*/ 103366 w 305164"/>
                <a:gd name="connsiteY1" fmla="*/ 842838 h 866692"/>
                <a:gd name="connsiteX2" fmla="*/ 103366 w 305164"/>
                <a:gd name="connsiteY2" fmla="*/ 842838 h 866692"/>
                <a:gd name="connsiteX3" fmla="*/ 79513 w 305164"/>
                <a:gd name="connsiteY3" fmla="*/ 659958 h 866692"/>
                <a:gd name="connsiteX4" fmla="*/ 79513 w 305164"/>
                <a:gd name="connsiteY4" fmla="*/ 659958 h 866692"/>
                <a:gd name="connsiteX5" fmla="*/ 198782 w 305164"/>
                <a:gd name="connsiteY5" fmla="*/ 548640 h 866692"/>
                <a:gd name="connsiteX6" fmla="*/ 299468 w 305164"/>
                <a:gd name="connsiteY6" fmla="*/ 519331 h 866692"/>
                <a:gd name="connsiteX7" fmla="*/ 278295 w 305164"/>
                <a:gd name="connsiteY7" fmla="*/ 397565 h 866692"/>
                <a:gd name="connsiteX8" fmla="*/ 159026 w 305164"/>
                <a:gd name="connsiteY8" fmla="*/ 318052 h 866692"/>
                <a:gd name="connsiteX9" fmla="*/ 79513 w 305164"/>
                <a:gd name="connsiteY9" fmla="*/ 246490 h 866692"/>
                <a:gd name="connsiteX10" fmla="*/ 111318 w 305164"/>
                <a:gd name="connsiteY10" fmla="*/ 71561 h 866692"/>
                <a:gd name="connsiteX11" fmla="*/ 111318 w 305164"/>
                <a:gd name="connsiteY11" fmla="*/ 71561 h 866692"/>
                <a:gd name="connsiteX12" fmla="*/ 159026 w 305164"/>
                <a:gd name="connsiteY12" fmla="*/ 0 h 866692"/>
                <a:gd name="connsiteX0" fmla="*/ 24905 w 226703"/>
                <a:gd name="connsiteY0" fmla="*/ 842838 h 842838"/>
                <a:gd name="connsiteX1" fmla="*/ 24905 w 226703"/>
                <a:gd name="connsiteY1" fmla="*/ 842838 h 842838"/>
                <a:gd name="connsiteX2" fmla="*/ 1052 w 226703"/>
                <a:gd name="connsiteY2" fmla="*/ 659958 h 842838"/>
                <a:gd name="connsiteX3" fmla="*/ 1052 w 226703"/>
                <a:gd name="connsiteY3" fmla="*/ 659958 h 842838"/>
                <a:gd name="connsiteX4" fmla="*/ 120321 w 226703"/>
                <a:gd name="connsiteY4" fmla="*/ 548640 h 842838"/>
                <a:gd name="connsiteX5" fmla="*/ 221007 w 226703"/>
                <a:gd name="connsiteY5" fmla="*/ 519331 h 842838"/>
                <a:gd name="connsiteX6" fmla="*/ 199834 w 226703"/>
                <a:gd name="connsiteY6" fmla="*/ 397565 h 842838"/>
                <a:gd name="connsiteX7" fmla="*/ 80565 w 226703"/>
                <a:gd name="connsiteY7" fmla="*/ 318052 h 842838"/>
                <a:gd name="connsiteX8" fmla="*/ 1052 w 226703"/>
                <a:gd name="connsiteY8" fmla="*/ 246490 h 842838"/>
                <a:gd name="connsiteX9" fmla="*/ 32857 w 226703"/>
                <a:gd name="connsiteY9" fmla="*/ 71561 h 842838"/>
                <a:gd name="connsiteX10" fmla="*/ 32857 w 226703"/>
                <a:gd name="connsiteY10" fmla="*/ 71561 h 842838"/>
                <a:gd name="connsiteX11" fmla="*/ 80565 w 226703"/>
                <a:gd name="connsiteY11" fmla="*/ 0 h 842838"/>
                <a:gd name="connsiteX0" fmla="*/ 24905 w 226703"/>
                <a:gd name="connsiteY0" fmla="*/ 842838 h 842838"/>
                <a:gd name="connsiteX1" fmla="*/ 1052 w 226703"/>
                <a:gd name="connsiteY1" fmla="*/ 659958 h 842838"/>
                <a:gd name="connsiteX2" fmla="*/ 1052 w 226703"/>
                <a:gd name="connsiteY2" fmla="*/ 659958 h 842838"/>
                <a:gd name="connsiteX3" fmla="*/ 120321 w 226703"/>
                <a:gd name="connsiteY3" fmla="*/ 548640 h 842838"/>
                <a:gd name="connsiteX4" fmla="*/ 221007 w 226703"/>
                <a:gd name="connsiteY4" fmla="*/ 519331 h 842838"/>
                <a:gd name="connsiteX5" fmla="*/ 199834 w 226703"/>
                <a:gd name="connsiteY5" fmla="*/ 397565 h 842838"/>
                <a:gd name="connsiteX6" fmla="*/ 80565 w 226703"/>
                <a:gd name="connsiteY6" fmla="*/ 318052 h 842838"/>
                <a:gd name="connsiteX7" fmla="*/ 1052 w 226703"/>
                <a:gd name="connsiteY7" fmla="*/ 246490 h 842838"/>
                <a:gd name="connsiteX8" fmla="*/ 32857 w 226703"/>
                <a:gd name="connsiteY8" fmla="*/ 71561 h 842838"/>
                <a:gd name="connsiteX9" fmla="*/ 32857 w 226703"/>
                <a:gd name="connsiteY9" fmla="*/ 71561 h 842838"/>
                <a:gd name="connsiteX10" fmla="*/ 80565 w 226703"/>
                <a:gd name="connsiteY10" fmla="*/ 0 h 842838"/>
                <a:gd name="connsiteX0" fmla="*/ 1052 w 226703"/>
                <a:gd name="connsiteY0" fmla="*/ 659958 h 659958"/>
                <a:gd name="connsiteX1" fmla="*/ 1052 w 226703"/>
                <a:gd name="connsiteY1" fmla="*/ 659958 h 659958"/>
                <a:gd name="connsiteX2" fmla="*/ 120321 w 226703"/>
                <a:gd name="connsiteY2" fmla="*/ 548640 h 659958"/>
                <a:gd name="connsiteX3" fmla="*/ 221007 w 226703"/>
                <a:gd name="connsiteY3" fmla="*/ 519331 h 659958"/>
                <a:gd name="connsiteX4" fmla="*/ 199834 w 226703"/>
                <a:gd name="connsiteY4" fmla="*/ 397565 h 659958"/>
                <a:gd name="connsiteX5" fmla="*/ 80565 w 226703"/>
                <a:gd name="connsiteY5" fmla="*/ 318052 h 659958"/>
                <a:gd name="connsiteX6" fmla="*/ 1052 w 226703"/>
                <a:gd name="connsiteY6" fmla="*/ 246490 h 659958"/>
                <a:gd name="connsiteX7" fmla="*/ 32857 w 226703"/>
                <a:gd name="connsiteY7" fmla="*/ 71561 h 659958"/>
                <a:gd name="connsiteX8" fmla="*/ 32857 w 226703"/>
                <a:gd name="connsiteY8" fmla="*/ 71561 h 659958"/>
                <a:gd name="connsiteX9" fmla="*/ 80565 w 226703"/>
                <a:gd name="connsiteY9" fmla="*/ 0 h 659958"/>
                <a:gd name="connsiteX0" fmla="*/ 1052 w 226703"/>
                <a:gd name="connsiteY0" fmla="*/ 659958 h 659958"/>
                <a:gd name="connsiteX1" fmla="*/ 120321 w 226703"/>
                <a:gd name="connsiteY1" fmla="*/ 548640 h 659958"/>
                <a:gd name="connsiteX2" fmla="*/ 221007 w 226703"/>
                <a:gd name="connsiteY2" fmla="*/ 519331 h 659958"/>
                <a:gd name="connsiteX3" fmla="*/ 199834 w 226703"/>
                <a:gd name="connsiteY3" fmla="*/ 397565 h 659958"/>
                <a:gd name="connsiteX4" fmla="*/ 80565 w 226703"/>
                <a:gd name="connsiteY4" fmla="*/ 318052 h 659958"/>
                <a:gd name="connsiteX5" fmla="*/ 1052 w 226703"/>
                <a:gd name="connsiteY5" fmla="*/ 246490 h 659958"/>
                <a:gd name="connsiteX6" fmla="*/ 32857 w 226703"/>
                <a:gd name="connsiteY6" fmla="*/ 71561 h 659958"/>
                <a:gd name="connsiteX7" fmla="*/ 32857 w 226703"/>
                <a:gd name="connsiteY7" fmla="*/ 71561 h 659958"/>
                <a:gd name="connsiteX8" fmla="*/ 80565 w 226703"/>
                <a:gd name="connsiteY8" fmla="*/ 0 h 659958"/>
                <a:gd name="connsiteX0" fmla="*/ 120321 w 226703"/>
                <a:gd name="connsiteY0" fmla="*/ 548640 h 548640"/>
                <a:gd name="connsiteX1" fmla="*/ 221007 w 226703"/>
                <a:gd name="connsiteY1" fmla="*/ 519331 h 548640"/>
                <a:gd name="connsiteX2" fmla="*/ 199834 w 226703"/>
                <a:gd name="connsiteY2" fmla="*/ 397565 h 548640"/>
                <a:gd name="connsiteX3" fmla="*/ 80565 w 226703"/>
                <a:gd name="connsiteY3" fmla="*/ 318052 h 548640"/>
                <a:gd name="connsiteX4" fmla="*/ 1052 w 226703"/>
                <a:gd name="connsiteY4" fmla="*/ 246490 h 548640"/>
                <a:gd name="connsiteX5" fmla="*/ 32857 w 226703"/>
                <a:gd name="connsiteY5" fmla="*/ 71561 h 548640"/>
                <a:gd name="connsiteX6" fmla="*/ 32857 w 226703"/>
                <a:gd name="connsiteY6" fmla="*/ 71561 h 548640"/>
                <a:gd name="connsiteX7" fmla="*/ 80565 w 226703"/>
                <a:gd name="connsiteY7" fmla="*/ 0 h 548640"/>
                <a:gd name="connsiteX0" fmla="*/ 221007 w 226703"/>
                <a:gd name="connsiteY0" fmla="*/ 519331 h 519331"/>
                <a:gd name="connsiteX1" fmla="*/ 199834 w 226703"/>
                <a:gd name="connsiteY1" fmla="*/ 397565 h 519331"/>
                <a:gd name="connsiteX2" fmla="*/ 80565 w 226703"/>
                <a:gd name="connsiteY2" fmla="*/ 318052 h 519331"/>
                <a:gd name="connsiteX3" fmla="*/ 1052 w 226703"/>
                <a:gd name="connsiteY3" fmla="*/ 246490 h 519331"/>
                <a:gd name="connsiteX4" fmla="*/ 32857 w 226703"/>
                <a:gd name="connsiteY4" fmla="*/ 71561 h 519331"/>
                <a:gd name="connsiteX5" fmla="*/ 32857 w 226703"/>
                <a:gd name="connsiteY5" fmla="*/ 71561 h 519331"/>
                <a:gd name="connsiteX6" fmla="*/ 80565 w 226703"/>
                <a:gd name="connsiteY6" fmla="*/ 0 h 519331"/>
                <a:gd name="connsiteX0" fmla="*/ 199834 w 199834"/>
                <a:gd name="connsiteY0" fmla="*/ 397565 h 397565"/>
                <a:gd name="connsiteX1" fmla="*/ 80565 w 199834"/>
                <a:gd name="connsiteY1" fmla="*/ 318052 h 397565"/>
                <a:gd name="connsiteX2" fmla="*/ 1052 w 199834"/>
                <a:gd name="connsiteY2" fmla="*/ 246490 h 397565"/>
                <a:gd name="connsiteX3" fmla="*/ 32857 w 199834"/>
                <a:gd name="connsiteY3" fmla="*/ 71561 h 397565"/>
                <a:gd name="connsiteX4" fmla="*/ 32857 w 199834"/>
                <a:gd name="connsiteY4" fmla="*/ 71561 h 397565"/>
                <a:gd name="connsiteX5" fmla="*/ 80565 w 199834"/>
                <a:gd name="connsiteY5" fmla="*/ 0 h 397565"/>
                <a:gd name="connsiteX0" fmla="*/ 80565 w 80565"/>
                <a:gd name="connsiteY0" fmla="*/ 318052 h 318052"/>
                <a:gd name="connsiteX1" fmla="*/ 1052 w 80565"/>
                <a:gd name="connsiteY1" fmla="*/ 246490 h 318052"/>
                <a:gd name="connsiteX2" fmla="*/ 32857 w 80565"/>
                <a:gd name="connsiteY2" fmla="*/ 71561 h 318052"/>
                <a:gd name="connsiteX3" fmla="*/ 32857 w 80565"/>
                <a:gd name="connsiteY3" fmla="*/ 71561 h 318052"/>
                <a:gd name="connsiteX4" fmla="*/ 80565 w 80565"/>
                <a:gd name="connsiteY4" fmla="*/ 0 h 318052"/>
                <a:gd name="connsiteX0" fmla="*/ 1052 w 80565"/>
                <a:gd name="connsiteY0" fmla="*/ 246490 h 246490"/>
                <a:gd name="connsiteX1" fmla="*/ 32857 w 80565"/>
                <a:gd name="connsiteY1" fmla="*/ 71561 h 246490"/>
                <a:gd name="connsiteX2" fmla="*/ 32857 w 80565"/>
                <a:gd name="connsiteY2" fmla="*/ 71561 h 246490"/>
                <a:gd name="connsiteX3" fmla="*/ 80565 w 80565"/>
                <a:gd name="connsiteY3" fmla="*/ 0 h 24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565" h="246490">
                  <a:moveTo>
                    <a:pt x="1052" y="246490"/>
                  </a:moveTo>
                  <a:cubicBezTo>
                    <a:pt x="-6899" y="205408"/>
                    <a:pt x="32857" y="71561"/>
                    <a:pt x="32857" y="71561"/>
                  </a:cubicBezTo>
                  <a:lnTo>
                    <a:pt x="32857" y="71561"/>
                  </a:lnTo>
                  <a:lnTo>
                    <a:pt x="80565" y="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5593054" y="4548359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5108759" y="4550255"/>
              <a:ext cx="117648" cy="11859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igura a mano libera 145"/>
            <p:cNvSpPr/>
            <p:nvPr/>
          </p:nvSpPr>
          <p:spPr>
            <a:xfrm>
              <a:off x="5231076" y="4588893"/>
              <a:ext cx="363790" cy="97875"/>
            </a:xfrm>
            <a:custGeom>
              <a:avLst/>
              <a:gdLst>
                <a:gd name="connsiteX0" fmla="*/ 0 w 333955"/>
                <a:gd name="connsiteY0" fmla="*/ 25841 h 97536"/>
                <a:gd name="connsiteX1" fmla="*/ 222637 w 333955"/>
                <a:gd name="connsiteY1" fmla="*/ 97403 h 97536"/>
                <a:gd name="connsiteX2" fmla="*/ 270344 w 333955"/>
                <a:gd name="connsiteY2" fmla="*/ 9939 h 97536"/>
                <a:gd name="connsiteX3" fmla="*/ 333955 w 333955"/>
                <a:gd name="connsiteY3" fmla="*/ 1988 h 97536"/>
                <a:gd name="connsiteX4" fmla="*/ 333955 w 333955"/>
                <a:gd name="connsiteY4" fmla="*/ 1988 h 97536"/>
                <a:gd name="connsiteX0" fmla="*/ 0 w 333955"/>
                <a:gd name="connsiteY0" fmla="*/ 25356 h 89133"/>
                <a:gd name="connsiteX1" fmla="*/ 190831 w 333955"/>
                <a:gd name="connsiteY1" fmla="*/ 88966 h 89133"/>
                <a:gd name="connsiteX2" fmla="*/ 270344 w 333955"/>
                <a:gd name="connsiteY2" fmla="*/ 9454 h 89133"/>
                <a:gd name="connsiteX3" fmla="*/ 333955 w 333955"/>
                <a:gd name="connsiteY3" fmla="*/ 1503 h 89133"/>
                <a:gd name="connsiteX4" fmla="*/ 333955 w 333955"/>
                <a:gd name="connsiteY4" fmla="*/ 1503 h 89133"/>
                <a:gd name="connsiteX0" fmla="*/ 0 w 334309"/>
                <a:gd name="connsiteY0" fmla="*/ 25356 h 89133"/>
                <a:gd name="connsiteX1" fmla="*/ 190831 w 334309"/>
                <a:gd name="connsiteY1" fmla="*/ 88966 h 89133"/>
                <a:gd name="connsiteX2" fmla="*/ 270344 w 334309"/>
                <a:gd name="connsiteY2" fmla="*/ 9454 h 89133"/>
                <a:gd name="connsiteX3" fmla="*/ 333955 w 334309"/>
                <a:gd name="connsiteY3" fmla="*/ 1503 h 89133"/>
                <a:gd name="connsiteX4" fmla="*/ 294198 w 334309"/>
                <a:gd name="connsiteY4" fmla="*/ 9454 h 89133"/>
                <a:gd name="connsiteX0" fmla="*/ 0 w 333955"/>
                <a:gd name="connsiteY0" fmla="*/ 25356 h 89133"/>
                <a:gd name="connsiteX1" fmla="*/ 190831 w 333955"/>
                <a:gd name="connsiteY1" fmla="*/ 88966 h 89133"/>
                <a:gd name="connsiteX2" fmla="*/ 270344 w 333955"/>
                <a:gd name="connsiteY2" fmla="*/ 9454 h 89133"/>
                <a:gd name="connsiteX3" fmla="*/ 333955 w 333955"/>
                <a:gd name="connsiteY3" fmla="*/ 1503 h 89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55" h="89133">
                  <a:moveTo>
                    <a:pt x="0" y="25356"/>
                  </a:moveTo>
                  <a:cubicBezTo>
                    <a:pt x="88790" y="62462"/>
                    <a:pt x="145774" y="91616"/>
                    <a:pt x="190831" y="88966"/>
                  </a:cubicBezTo>
                  <a:cubicBezTo>
                    <a:pt x="235888" y="86316"/>
                    <a:pt x="246490" y="24031"/>
                    <a:pt x="270344" y="9454"/>
                  </a:cubicBezTo>
                  <a:cubicBezTo>
                    <a:pt x="294198" y="-5123"/>
                    <a:pt x="329979" y="1503"/>
                    <a:pt x="333955" y="1503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975920" y="5739816"/>
              <a:ext cx="117648" cy="11859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Figura a mano libera 147"/>
            <p:cNvSpPr/>
            <p:nvPr/>
          </p:nvSpPr>
          <p:spPr>
            <a:xfrm>
              <a:off x="3911117" y="2874353"/>
              <a:ext cx="133804" cy="105026"/>
            </a:xfrm>
            <a:custGeom>
              <a:avLst/>
              <a:gdLst>
                <a:gd name="connsiteX0" fmla="*/ 0 w 122830"/>
                <a:gd name="connsiteY0" fmla="*/ 0 h 95646"/>
                <a:gd name="connsiteX1" fmla="*/ 40944 w 122830"/>
                <a:gd name="connsiteY1" fmla="*/ 81886 h 95646"/>
                <a:gd name="connsiteX2" fmla="*/ 122830 w 122830"/>
                <a:gd name="connsiteY2" fmla="*/ 95534 h 95646"/>
                <a:gd name="connsiteX3" fmla="*/ 122830 w 122830"/>
                <a:gd name="connsiteY3" fmla="*/ 95534 h 956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30" h="95646">
                  <a:moveTo>
                    <a:pt x="0" y="0"/>
                  </a:moveTo>
                  <a:cubicBezTo>
                    <a:pt x="10236" y="32982"/>
                    <a:pt x="20472" y="65964"/>
                    <a:pt x="40944" y="81886"/>
                  </a:cubicBezTo>
                  <a:cubicBezTo>
                    <a:pt x="61416" y="97808"/>
                    <a:pt x="122830" y="95534"/>
                    <a:pt x="122830" y="95534"/>
                  </a:cubicBezTo>
                  <a:lnTo>
                    <a:pt x="122830" y="95534"/>
                  </a:lnTo>
                </a:path>
              </a:pathLst>
            </a:custGeom>
            <a:noFill/>
            <a:ln w="285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igura a mano libera 148"/>
            <p:cNvSpPr/>
            <p:nvPr/>
          </p:nvSpPr>
          <p:spPr>
            <a:xfrm>
              <a:off x="4045558" y="2978834"/>
              <a:ext cx="96946" cy="62287"/>
            </a:xfrm>
            <a:custGeom>
              <a:avLst/>
              <a:gdLst>
                <a:gd name="connsiteX0" fmla="*/ 0 w 542925"/>
                <a:gd name="connsiteY0" fmla="*/ 0 h 342900"/>
                <a:gd name="connsiteX1" fmla="*/ 361950 w 542925"/>
                <a:gd name="connsiteY1" fmla="*/ 200025 h 342900"/>
                <a:gd name="connsiteX2" fmla="*/ 542925 w 542925"/>
                <a:gd name="connsiteY2" fmla="*/ 342900 h 342900"/>
                <a:gd name="connsiteX0" fmla="*/ 0 w 361950"/>
                <a:gd name="connsiteY0" fmla="*/ 0 h 200025"/>
                <a:gd name="connsiteX1" fmla="*/ 361950 w 361950"/>
                <a:gd name="connsiteY1" fmla="*/ 200025 h 200025"/>
                <a:gd name="connsiteX0" fmla="*/ 0 w 88995"/>
                <a:gd name="connsiteY0" fmla="*/ 0 h 56724"/>
                <a:gd name="connsiteX1" fmla="*/ 88995 w 88995"/>
                <a:gd name="connsiteY1" fmla="*/ 56724 h 5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995" h="56724">
                  <a:moveTo>
                    <a:pt x="0" y="0"/>
                  </a:moveTo>
                  <a:cubicBezTo>
                    <a:pt x="135731" y="71437"/>
                    <a:pt x="-1492" y="-426"/>
                    <a:pt x="88995" y="56724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084643" y="3012875"/>
              <a:ext cx="117648" cy="118592"/>
            </a:xfrm>
            <a:prstGeom prst="ellipse">
              <a:avLst/>
            </a:prstGeom>
            <a:solidFill>
              <a:srgbClr val="C00000"/>
            </a:solidFill>
            <a:ln w="190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Figura a mano libera 150"/>
            <p:cNvSpPr/>
            <p:nvPr/>
          </p:nvSpPr>
          <p:spPr>
            <a:xfrm>
              <a:off x="5634855" y="4351919"/>
              <a:ext cx="468866" cy="391257"/>
            </a:xfrm>
            <a:custGeom>
              <a:avLst/>
              <a:gdLst>
                <a:gd name="connsiteX0" fmla="*/ 0 w 1504950"/>
                <a:gd name="connsiteY0" fmla="*/ 0 h 1000125"/>
                <a:gd name="connsiteX1" fmla="*/ 342900 w 1504950"/>
                <a:gd name="connsiteY1" fmla="*/ 247650 h 1000125"/>
                <a:gd name="connsiteX2" fmla="*/ 533400 w 1504950"/>
                <a:gd name="connsiteY2" fmla="*/ 409575 h 1000125"/>
                <a:gd name="connsiteX3" fmla="*/ 923925 w 1504950"/>
                <a:gd name="connsiteY3" fmla="*/ 590550 h 1000125"/>
                <a:gd name="connsiteX4" fmla="*/ 1428750 w 1504950"/>
                <a:gd name="connsiteY4" fmla="*/ 866775 h 1000125"/>
                <a:gd name="connsiteX5" fmla="*/ 1504950 w 1504950"/>
                <a:gd name="connsiteY5" fmla="*/ 1000125 h 1000125"/>
                <a:gd name="connsiteX0" fmla="*/ 0 w 1162050"/>
                <a:gd name="connsiteY0" fmla="*/ 0 h 752475"/>
                <a:gd name="connsiteX1" fmla="*/ 190500 w 1162050"/>
                <a:gd name="connsiteY1" fmla="*/ 161925 h 752475"/>
                <a:gd name="connsiteX2" fmla="*/ 581025 w 1162050"/>
                <a:gd name="connsiteY2" fmla="*/ 342900 h 752475"/>
                <a:gd name="connsiteX3" fmla="*/ 1085850 w 1162050"/>
                <a:gd name="connsiteY3" fmla="*/ 619125 h 752475"/>
                <a:gd name="connsiteX4" fmla="*/ 1162050 w 1162050"/>
                <a:gd name="connsiteY4" fmla="*/ 752475 h 752475"/>
                <a:gd name="connsiteX0" fmla="*/ 0 w 971550"/>
                <a:gd name="connsiteY0" fmla="*/ 0 h 590550"/>
                <a:gd name="connsiteX1" fmla="*/ 390525 w 971550"/>
                <a:gd name="connsiteY1" fmla="*/ 180975 h 590550"/>
                <a:gd name="connsiteX2" fmla="*/ 895350 w 971550"/>
                <a:gd name="connsiteY2" fmla="*/ 457200 h 590550"/>
                <a:gd name="connsiteX3" fmla="*/ 971550 w 971550"/>
                <a:gd name="connsiteY3" fmla="*/ 590550 h 590550"/>
                <a:gd name="connsiteX0" fmla="*/ 0 w 650828"/>
                <a:gd name="connsiteY0" fmla="*/ 0 h 460896"/>
                <a:gd name="connsiteX1" fmla="*/ 69803 w 650828"/>
                <a:gd name="connsiteY1" fmla="*/ 51321 h 460896"/>
                <a:gd name="connsiteX2" fmla="*/ 574628 w 650828"/>
                <a:gd name="connsiteY2" fmla="*/ 327546 h 460896"/>
                <a:gd name="connsiteX3" fmla="*/ 650828 w 650828"/>
                <a:gd name="connsiteY3" fmla="*/ 460896 h 460896"/>
                <a:gd name="connsiteX0" fmla="*/ 0 w 581025"/>
                <a:gd name="connsiteY0" fmla="*/ 0 h 409575"/>
                <a:gd name="connsiteX1" fmla="*/ 504825 w 581025"/>
                <a:gd name="connsiteY1" fmla="*/ 276225 h 409575"/>
                <a:gd name="connsiteX2" fmla="*/ 581025 w 581025"/>
                <a:gd name="connsiteY2" fmla="*/ 409575 h 409575"/>
                <a:gd name="connsiteX0" fmla="*/ 0 w 642440"/>
                <a:gd name="connsiteY0" fmla="*/ 0 h 464166"/>
                <a:gd name="connsiteX1" fmla="*/ 566240 w 642440"/>
                <a:gd name="connsiteY1" fmla="*/ 330816 h 464166"/>
                <a:gd name="connsiteX2" fmla="*/ 642440 w 642440"/>
                <a:gd name="connsiteY2" fmla="*/ 464166 h 464166"/>
                <a:gd name="connsiteX0" fmla="*/ 0 w 512989"/>
                <a:gd name="connsiteY0" fmla="*/ 0 h 387214"/>
                <a:gd name="connsiteX1" fmla="*/ 436789 w 512989"/>
                <a:gd name="connsiteY1" fmla="*/ 253864 h 387214"/>
                <a:gd name="connsiteX2" fmla="*/ 512989 w 512989"/>
                <a:gd name="connsiteY2" fmla="*/ 387214 h 387214"/>
                <a:gd name="connsiteX0" fmla="*/ 0 w 444456"/>
                <a:gd name="connsiteY0" fmla="*/ 0 h 371824"/>
                <a:gd name="connsiteX1" fmla="*/ 368256 w 444456"/>
                <a:gd name="connsiteY1" fmla="*/ 238474 h 371824"/>
                <a:gd name="connsiteX2" fmla="*/ 444456 w 444456"/>
                <a:gd name="connsiteY2" fmla="*/ 371824 h 371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4456" h="371824">
                  <a:moveTo>
                    <a:pt x="0" y="0"/>
                  </a:moveTo>
                  <a:cubicBezTo>
                    <a:pt x="95771" y="54591"/>
                    <a:pt x="271418" y="170211"/>
                    <a:pt x="368256" y="238474"/>
                  </a:cubicBezTo>
                  <a:cubicBezTo>
                    <a:pt x="465094" y="306737"/>
                    <a:pt x="422231" y="355949"/>
                    <a:pt x="444456" y="371824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igura a mano libera 151"/>
            <p:cNvSpPr/>
            <p:nvPr/>
          </p:nvSpPr>
          <p:spPr>
            <a:xfrm>
              <a:off x="5489651" y="4306975"/>
              <a:ext cx="148671" cy="84574"/>
            </a:xfrm>
            <a:custGeom>
              <a:avLst/>
              <a:gdLst>
                <a:gd name="connsiteX0" fmla="*/ 0 w 122830"/>
                <a:gd name="connsiteY0" fmla="*/ 0 h 95646"/>
                <a:gd name="connsiteX1" fmla="*/ 40944 w 122830"/>
                <a:gd name="connsiteY1" fmla="*/ 81886 h 95646"/>
                <a:gd name="connsiteX2" fmla="*/ 122830 w 122830"/>
                <a:gd name="connsiteY2" fmla="*/ 95534 h 95646"/>
                <a:gd name="connsiteX3" fmla="*/ 122830 w 122830"/>
                <a:gd name="connsiteY3" fmla="*/ 95534 h 95646"/>
                <a:gd name="connsiteX0" fmla="*/ 0 w 136478"/>
                <a:gd name="connsiteY0" fmla="*/ 0 h 88730"/>
                <a:gd name="connsiteX1" fmla="*/ 54592 w 136478"/>
                <a:gd name="connsiteY1" fmla="*/ 75062 h 88730"/>
                <a:gd name="connsiteX2" fmla="*/ 136478 w 136478"/>
                <a:gd name="connsiteY2" fmla="*/ 88710 h 88730"/>
                <a:gd name="connsiteX3" fmla="*/ 136478 w 136478"/>
                <a:gd name="connsiteY3" fmla="*/ 88710 h 88730"/>
                <a:gd name="connsiteX0" fmla="*/ 0 w 142543"/>
                <a:gd name="connsiteY0" fmla="*/ 0 h 90098"/>
                <a:gd name="connsiteX1" fmla="*/ 54592 w 142543"/>
                <a:gd name="connsiteY1" fmla="*/ 75062 h 90098"/>
                <a:gd name="connsiteX2" fmla="*/ 136478 w 142543"/>
                <a:gd name="connsiteY2" fmla="*/ 88710 h 90098"/>
                <a:gd name="connsiteX3" fmla="*/ 136478 w 142543"/>
                <a:gd name="connsiteY3" fmla="*/ 54591 h 90098"/>
                <a:gd name="connsiteX0" fmla="*/ 0 w 136478"/>
                <a:gd name="connsiteY0" fmla="*/ 0 h 77021"/>
                <a:gd name="connsiteX1" fmla="*/ 54592 w 136478"/>
                <a:gd name="connsiteY1" fmla="*/ 75062 h 77021"/>
                <a:gd name="connsiteX2" fmla="*/ 136478 w 136478"/>
                <a:gd name="connsiteY2" fmla="*/ 54591 h 77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478" h="77021">
                  <a:moveTo>
                    <a:pt x="0" y="0"/>
                  </a:moveTo>
                  <a:cubicBezTo>
                    <a:pt x="10236" y="32982"/>
                    <a:pt x="31846" y="65964"/>
                    <a:pt x="54592" y="75062"/>
                  </a:cubicBezTo>
                  <a:cubicBezTo>
                    <a:pt x="77338" y="84160"/>
                    <a:pt x="119419" y="58856"/>
                    <a:pt x="136478" y="54591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5417941" y="4220667"/>
              <a:ext cx="117648" cy="118592"/>
            </a:xfrm>
            <a:prstGeom prst="ellipse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Figura a mano libera 153"/>
            <p:cNvSpPr/>
            <p:nvPr/>
          </p:nvSpPr>
          <p:spPr>
            <a:xfrm>
              <a:off x="4196617" y="5805722"/>
              <a:ext cx="332454" cy="32352"/>
            </a:xfrm>
            <a:custGeom>
              <a:avLst/>
              <a:gdLst>
                <a:gd name="connsiteX0" fmla="*/ 0 w 209006"/>
                <a:gd name="connsiteY0" fmla="*/ 17417 h 17417"/>
                <a:gd name="connsiteX1" fmla="*/ 209006 w 209006"/>
                <a:gd name="connsiteY1" fmla="*/ 0 h 17417"/>
                <a:gd name="connsiteX0" fmla="*/ 0 w 313932"/>
                <a:gd name="connsiteY0" fmla="*/ 553 h 31397"/>
                <a:gd name="connsiteX1" fmla="*/ 313932 w 313932"/>
                <a:gd name="connsiteY1" fmla="*/ 30844 h 31397"/>
                <a:gd name="connsiteX0" fmla="*/ 0 w 313932"/>
                <a:gd name="connsiteY0" fmla="*/ 0 h 31503"/>
                <a:gd name="connsiteX1" fmla="*/ 313932 w 313932"/>
                <a:gd name="connsiteY1" fmla="*/ 30291 h 31503"/>
                <a:gd name="connsiteX0" fmla="*/ 0 w 305188"/>
                <a:gd name="connsiteY0" fmla="*/ 0 h 29463"/>
                <a:gd name="connsiteX1" fmla="*/ 305188 w 305188"/>
                <a:gd name="connsiteY1" fmla="*/ 28122 h 29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5188" h="29463">
                  <a:moveTo>
                    <a:pt x="0" y="0"/>
                  </a:moveTo>
                  <a:cubicBezTo>
                    <a:pt x="113388" y="20217"/>
                    <a:pt x="235519" y="33928"/>
                    <a:pt x="305188" y="28122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6057413" y="4711891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711997" y="2564363"/>
              <a:ext cx="78432" cy="7906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Figura a mano libera 156"/>
            <p:cNvSpPr/>
            <p:nvPr/>
          </p:nvSpPr>
          <p:spPr>
            <a:xfrm>
              <a:off x="3754778" y="2664219"/>
              <a:ext cx="59468" cy="142370"/>
            </a:xfrm>
            <a:custGeom>
              <a:avLst/>
              <a:gdLst>
                <a:gd name="connsiteX0" fmla="*/ 0 w 54591"/>
                <a:gd name="connsiteY0" fmla="*/ 0 h 129654"/>
                <a:gd name="connsiteX1" fmla="*/ 20472 w 54591"/>
                <a:gd name="connsiteY1" fmla="*/ 88711 h 129654"/>
                <a:gd name="connsiteX2" fmla="*/ 54591 w 54591"/>
                <a:gd name="connsiteY2" fmla="*/ 129654 h 129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591" h="129654">
                  <a:moveTo>
                    <a:pt x="0" y="0"/>
                  </a:moveTo>
                  <a:cubicBezTo>
                    <a:pt x="5687" y="33551"/>
                    <a:pt x="11374" y="67102"/>
                    <a:pt x="20472" y="88711"/>
                  </a:cubicBezTo>
                  <a:cubicBezTo>
                    <a:pt x="29570" y="110320"/>
                    <a:pt x="42080" y="119987"/>
                    <a:pt x="54591" y="129654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igura a mano libera 157"/>
            <p:cNvSpPr/>
            <p:nvPr/>
          </p:nvSpPr>
          <p:spPr>
            <a:xfrm>
              <a:off x="3507486" y="2655022"/>
              <a:ext cx="394286" cy="219642"/>
            </a:xfrm>
            <a:custGeom>
              <a:avLst/>
              <a:gdLst>
                <a:gd name="connsiteX0" fmla="*/ 0 w 542925"/>
                <a:gd name="connsiteY0" fmla="*/ 0 h 342900"/>
                <a:gd name="connsiteX1" fmla="*/ 361950 w 542925"/>
                <a:gd name="connsiteY1" fmla="*/ 200025 h 342900"/>
                <a:gd name="connsiteX2" fmla="*/ 542925 w 542925"/>
                <a:gd name="connsiteY2" fmla="*/ 342900 h 342900"/>
                <a:gd name="connsiteX0" fmla="*/ 0 w 361950"/>
                <a:gd name="connsiteY0" fmla="*/ 0 h 200025"/>
                <a:gd name="connsiteX1" fmla="*/ 361950 w 361950"/>
                <a:gd name="connsiteY1" fmla="*/ 200025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950" h="200025">
                  <a:moveTo>
                    <a:pt x="0" y="0"/>
                  </a:moveTo>
                  <a:cubicBezTo>
                    <a:pt x="135731" y="71437"/>
                    <a:pt x="271463" y="142875"/>
                    <a:pt x="361950" y="200025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418665" y="2567612"/>
              <a:ext cx="117648" cy="11859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Figura a mano libera 159"/>
            <p:cNvSpPr/>
            <p:nvPr/>
          </p:nvSpPr>
          <p:spPr>
            <a:xfrm>
              <a:off x="2833023" y="1967355"/>
              <a:ext cx="89203" cy="97411"/>
            </a:xfrm>
            <a:custGeom>
              <a:avLst/>
              <a:gdLst>
                <a:gd name="connsiteX0" fmla="*/ 0 w 81887"/>
                <a:gd name="connsiteY0" fmla="*/ 0 h 88711"/>
                <a:gd name="connsiteX1" fmla="*/ 61415 w 81887"/>
                <a:gd name="connsiteY1" fmla="*/ 61415 h 88711"/>
                <a:gd name="connsiteX2" fmla="*/ 81887 w 81887"/>
                <a:gd name="connsiteY2" fmla="*/ 88711 h 88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887" h="88711">
                  <a:moveTo>
                    <a:pt x="0" y="0"/>
                  </a:moveTo>
                  <a:lnTo>
                    <a:pt x="61415" y="61415"/>
                  </a:lnTo>
                  <a:cubicBezTo>
                    <a:pt x="75063" y="76200"/>
                    <a:pt x="78475" y="82455"/>
                    <a:pt x="81887" y="88711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tailEnd type="non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2911224" y="2041085"/>
              <a:ext cx="78432" cy="7906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2771752" y="1901476"/>
              <a:ext cx="78432" cy="7906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Figura a mano libera 162"/>
            <p:cNvSpPr/>
            <p:nvPr/>
          </p:nvSpPr>
          <p:spPr>
            <a:xfrm>
              <a:off x="3277659" y="1188231"/>
              <a:ext cx="34586" cy="362584"/>
            </a:xfrm>
            <a:custGeom>
              <a:avLst/>
              <a:gdLst>
                <a:gd name="connsiteX0" fmla="*/ 0 w 57657"/>
                <a:gd name="connsiteY0" fmla="*/ 0 h 323850"/>
                <a:gd name="connsiteX1" fmla="*/ 50800 w 57657"/>
                <a:gd name="connsiteY1" fmla="*/ 184150 h 323850"/>
                <a:gd name="connsiteX2" fmla="*/ 57150 w 57657"/>
                <a:gd name="connsiteY2" fmla="*/ 323850 h 323850"/>
                <a:gd name="connsiteX0" fmla="*/ 0 w 31750"/>
                <a:gd name="connsiteY0" fmla="*/ 0 h 330200"/>
                <a:gd name="connsiteX1" fmla="*/ 25400 w 31750"/>
                <a:gd name="connsiteY1" fmla="*/ 190500 h 330200"/>
                <a:gd name="connsiteX2" fmla="*/ 31750 w 31750"/>
                <a:gd name="connsiteY2" fmla="*/ 330200 h 33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" h="330200">
                  <a:moveTo>
                    <a:pt x="0" y="0"/>
                  </a:moveTo>
                  <a:cubicBezTo>
                    <a:pt x="20637" y="65087"/>
                    <a:pt x="20108" y="135467"/>
                    <a:pt x="25400" y="190500"/>
                  </a:cubicBezTo>
                  <a:cubicBezTo>
                    <a:pt x="30692" y="245533"/>
                    <a:pt x="31750" y="330200"/>
                    <a:pt x="31750" y="33020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headEnd type="triangle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2942588" y="2239899"/>
              <a:ext cx="78432" cy="7906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igura a mano libera 164"/>
            <p:cNvSpPr/>
            <p:nvPr/>
          </p:nvSpPr>
          <p:spPr>
            <a:xfrm>
              <a:off x="2500051" y="2284897"/>
              <a:ext cx="465327" cy="56870"/>
            </a:xfrm>
            <a:custGeom>
              <a:avLst/>
              <a:gdLst>
                <a:gd name="connsiteX0" fmla="*/ 0 w 513318"/>
                <a:gd name="connsiteY0" fmla="*/ 66341 h 66341"/>
                <a:gd name="connsiteX1" fmla="*/ 172720 w 513318"/>
                <a:gd name="connsiteY1" fmla="*/ 25701 h 66341"/>
                <a:gd name="connsiteX2" fmla="*/ 497840 w 513318"/>
                <a:gd name="connsiteY2" fmla="*/ 301 h 66341"/>
                <a:gd name="connsiteX3" fmla="*/ 472440 w 513318"/>
                <a:gd name="connsiteY3" fmla="*/ 10461 h 66341"/>
                <a:gd name="connsiteX0" fmla="*/ 0 w 510394"/>
                <a:gd name="connsiteY0" fmla="*/ 82649 h 82649"/>
                <a:gd name="connsiteX1" fmla="*/ 216511 w 510394"/>
                <a:gd name="connsiteY1" fmla="*/ 3214 h 82649"/>
                <a:gd name="connsiteX2" fmla="*/ 497840 w 510394"/>
                <a:gd name="connsiteY2" fmla="*/ 16609 h 82649"/>
                <a:gd name="connsiteX3" fmla="*/ 472440 w 510394"/>
                <a:gd name="connsiteY3" fmla="*/ 26769 h 82649"/>
                <a:gd name="connsiteX0" fmla="*/ 0 w 544383"/>
                <a:gd name="connsiteY0" fmla="*/ 82521 h 82521"/>
                <a:gd name="connsiteX1" fmla="*/ 216511 w 544383"/>
                <a:gd name="connsiteY1" fmla="*/ 3086 h 82521"/>
                <a:gd name="connsiteX2" fmla="*/ 497840 w 544383"/>
                <a:gd name="connsiteY2" fmla="*/ 16481 h 82521"/>
                <a:gd name="connsiteX3" fmla="*/ 544383 w 544383"/>
                <a:gd name="connsiteY3" fmla="*/ 18882 h 82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383" h="82521">
                  <a:moveTo>
                    <a:pt x="0" y="82521"/>
                  </a:moveTo>
                  <a:cubicBezTo>
                    <a:pt x="44873" y="67704"/>
                    <a:pt x="133538" y="14093"/>
                    <a:pt x="216511" y="3086"/>
                  </a:cubicBezTo>
                  <a:cubicBezTo>
                    <a:pt x="299484" y="-7921"/>
                    <a:pt x="443195" y="13848"/>
                    <a:pt x="497840" y="16481"/>
                  </a:cubicBezTo>
                  <a:cubicBezTo>
                    <a:pt x="552485" y="19114"/>
                    <a:pt x="531683" y="20575"/>
                    <a:pt x="544383" y="18882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igura a mano libera 165"/>
            <p:cNvSpPr/>
            <p:nvPr/>
          </p:nvSpPr>
          <p:spPr>
            <a:xfrm>
              <a:off x="5073843" y="4667534"/>
              <a:ext cx="521739" cy="1187356"/>
            </a:xfrm>
            <a:custGeom>
              <a:avLst/>
              <a:gdLst>
                <a:gd name="connsiteX0" fmla="*/ 354841 w 545910"/>
                <a:gd name="connsiteY0" fmla="*/ 0 h 1132765"/>
                <a:gd name="connsiteX1" fmla="*/ 341194 w 545910"/>
                <a:gd name="connsiteY1" fmla="*/ 109182 h 1132765"/>
                <a:gd name="connsiteX2" fmla="*/ 313898 w 545910"/>
                <a:gd name="connsiteY2" fmla="*/ 191069 h 1132765"/>
                <a:gd name="connsiteX3" fmla="*/ 327546 w 545910"/>
                <a:gd name="connsiteY3" fmla="*/ 300251 h 1132765"/>
                <a:gd name="connsiteX4" fmla="*/ 395785 w 545910"/>
                <a:gd name="connsiteY4" fmla="*/ 382138 h 1132765"/>
                <a:gd name="connsiteX5" fmla="*/ 436728 w 545910"/>
                <a:gd name="connsiteY5" fmla="*/ 395785 h 1132765"/>
                <a:gd name="connsiteX6" fmla="*/ 477671 w 545910"/>
                <a:gd name="connsiteY6" fmla="*/ 436729 h 1132765"/>
                <a:gd name="connsiteX7" fmla="*/ 518615 w 545910"/>
                <a:gd name="connsiteY7" fmla="*/ 450376 h 1132765"/>
                <a:gd name="connsiteX8" fmla="*/ 545910 w 545910"/>
                <a:gd name="connsiteY8" fmla="*/ 532263 h 1132765"/>
                <a:gd name="connsiteX9" fmla="*/ 395785 w 545910"/>
                <a:gd name="connsiteY9" fmla="*/ 600502 h 1132765"/>
                <a:gd name="connsiteX10" fmla="*/ 382137 w 545910"/>
                <a:gd name="connsiteY10" fmla="*/ 682388 h 1132765"/>
                <a:gd name="connsiteX11" fmla="*/ 354841 w 545910"/>
                <a:gd name="connsiteY11" fmla="*/ 723332 h 1132765"/>
                <a:gd name="connsiteX12" fmla="*/ 327546 w 545910"/>
                <a:gd name="connsiteY12" fmla="*/ 818866 h 1132765"/>
                <a:gd name="connsiteX13" fmla="*/ 313898 w 545910"/>
                <a:gd name="connsiteY13" fmla="*/ 859809 h 1132765"/>
                <a:gd name="connsiteX14" fmla="*/ 300250 w 545910"/>
                <a:gd name="connsiteY14" fmla="*/ 928048 h 1132765"/>
                <a:gd name="connsiteX15" fmla="*/ 259307 w 545910"/>
                <a:gd name="connsiteY15" fmla="*/ 941696 h 1132765"/>
                <a:gd name="connsiteX16" fmla="*/ 218364 w 545910"/>
                <a:gd name="connsiteY16" fmla="*/ 968991 h 1132765"/>
                <a:gd name="connsiteX17" fmla="*/ 177421 w 545910"/>
                <a:gd name="connsiteY17" fmla="*/ 1050878 h 1132765"/>
                <a:gd name="connsiteX18" fmla="*/ 109182 w 545910"/>
                <a:gd name="connsiteY18" fmla="*/ 1132765 h 1132765"/>
                <a:gd name="connsiteX19" fmla="*/ 27295 w 545910"/>
                <a:gd name="connsiteY19" fmla="*/ 1105469 h 1132765"/>
                <a:gd name="connsiteX20" fmla="*/ 0 w 545910"/>
                <a:gd name="connsiteY20" fmla="*/ 1050878 h 1132765"/>
                <a:gd name="connsiteX0" fmla="*/ 354841 w 545910"/>
                <a:gd name="connsiteY0" fmla="*/ 0 h 1187356"/>
                <a:gd name="connsiteX1" fmla="*/ 341194 w 545910"/>
                <a:gd name="connsiteY1" fmla="*/ 163773 h 1187356"/>
                <a:gd name="connsiteX2" fmla="*/ 313898 w 545910"/>
                <a:gd name="connsiteY2" fmla="*/ 245660 h 1187356"/>
                <a:gd name="connsiteX3" fmla="*/ 327546 w 545910"/>
                <a:gd name="connsiteY3" fmla="*/ 354842 h 1187356"/>
                <a:gd name="connsiteX4" fmla="*/ 395785 w 545910"/>
                <a:gd name="connsiteY4" fmla="*/ 436729 h 1187356"/>
                <a:gd name="connsiteX5" fmla="*/ 436728 w 545910"/>
                <a:gd name="connsiteY5" fmla="*/ 450376 h 1187356"/>
                <a:gd name="connsiteX6" fmla="*/ 477671 w 545910"/>
                <a:gd name="connsiteY6" fmla="*/ 491320 h 1187356"/>
                <a:gd name="connsiteX7" fmla="*/ 518615 w 545910"/>
                <a:gd name="connsiteY7" fmla="*/ 504967 h 1187356"/>
                <a:gd name="connsiteX8" fmla="*/ 545910 w 545910"/>
                <a:gd name="connsiteY8" fmla="*/ 586854 h 1187356"/>
                <a:gd name="connsiteX9" fmla="*/ 395785 w 545910"/>
                <a:gd name="connsiteY9" fmla="*/ 655093 h 1187356"/>
                <a:gd name="connsiteX10" fmla="*/ 382137 w 545910"/>
                <a:gd name="connsiteY10" fmla="*/ 736979 h 1187356"/>
                <a:gd name="connsiteX11" fmla="*/ 354841 w 545910"/>
                <a:gd name="connsiteY11" fmla="*/ 777923 h 1187356"/>
                <a:gd name="connsiteX12" fmla="*/ 327546 w 545910"/>
                <a:gd name="connsiteY12" fmla="*/ 873457 h 1187356"/>
                <a:gd name="connsiteX13" fmla="*/ 313898 w 545910"/>
                <a:gd name="connsiteY13" fmla="*/ 914400 h 1187356"/>
                <a:gd name="connsiteX14" fmla="*/ 300250 w 545910"/>
                <a:gd name="connsiteY14" fmla="*/ 982639 h 1187356"/>
                <a:gd name="connsiteX15" fmla="*/ 259307 w 545910"/>
                <a:gd name="connsiteY15" fmla="*/ 996287 h 1187356"/>
                <a:gd name="connsiteX16" fmla="*/ 218364 w 545910"/>
                <a:gd name="connsiteY16" fmla="*/ 1023582 h 1187356"/>
                <a:gd name="connsiteX17" fmla="*/ 177421 w 545910"/>
                <a:gd name="connsiteY17" fmla="*/ 1105469 h 1187356"/>
                <a:gd name="connsiteX18" fmla="*/ 109182 w 545910"/>
                <a:gd name="connsiteY18" fmla="*/ 1187356 h 1187356"/>
                <a:gd name="connsiteX19" fmla="*/ 27295 w 545910"/>
                <a:gd name="connsiteY19" fmla="*/ 1160060 h 1187356"/>
                <a:gd name="connsiteX20" fmla="*/ 0 w 545910"/>
                <a:gd name="connsiteY20" fmla="*/ 1105469 h 1187356"/>
                <a:gd name="connsiteX0" fmla="*/ 330670 w 521739"/>
                <a:gd name="connsiteY0" fmla="*/ 0 h 1187356"/>
                <a:gd name="connsiteX1" fmla="*/ 317023 w 521739"/>
                <a:gd name="connsiteY1" fmla="*/ 163773 h 1187356"/>
                <a:gd name="connsiteX2" fmla="*/ 289727 w 521739"/>
                <a:gd name="connsiteY2" fmla="*/ 245660 h 1187356"/>
                <a:gd name="connsiteX3" fmla="*/ 303375 w 521739"/>
                <a:gd name="connsiteY3" fmla="*/ 354842 h 1187356"/>
                <a:gd name="connsiteX4" fmla="*/ 371614 w 521739"/>
                <a:gd name="connsiteY4" fmla="*/ 436729 h 1187356"/>
                <a:gd name="connsiteX5" fmla="*/ 412557 w 521739"/>
                <a:gd name="connsiteY5" fmla="*/ 450376 h 1187356"/>
                <a:gd name="connsiteX6" fmla="*/ 453500 w 521739"/>
                <a:gd name="connsiteY6" fmla="*/ 491320 h 1187356"/>
                <a:gd name="connsiteX7" fmla="*/ 494444 w 521739"/>
                <a:gd name="connsiteY7" fmla="*/ 504967 h 1187356"/>
                <a:gd name="connsiteX8" fmla="*/ 521739 w 521739"/>
                <a:gd name="connsiteY8" fmla="*/ 586854 h 1187356"/>
                <a:gd name="connsiteX9" fmla="*/ 371614 w 521739"/>
                <a:gd name="connsiteY9" fmla="*/ 655093 h 1187356"/>
                <a:gd name="connsiteX10" fmla="*/ 357966 w 521739"/>
                <a:gd name="connsiteY10" fmla="*/ 736979 h 1187356"/>
                <a:gd name="connsiteX11" fmla="*/ 330670 w 521739"/>
                <a:gd name="connsiteY11" fmla="*/ 777923 h 1187356"/>
                <a:gd name="connsiteX12" fmla="*/ 303375 w 521739"/>
                <a:gd name="connsiteY12" fmla="*/ 873457 h 1187356"/>
                <a:gd name="connsiteX13" fmla="*/ 289727 w 521739"/>
                <a:gd name="connsiteY13" fmla="*/ 914400 h 1187356"/>
                <a:gd name="connsiteX14" fmla="*/ 276079 w 521739"/>
                <a:gd name="connsiteY14" fmla="*/ 982639 h 1187356"/>
                <a:gd name="connsiteX15" fmla="*/ 235136 w 521739"/>
                <a:gd name="connsiteY15" fmla="*/ 996287 h 1187356"/>
                <a:gd name="connsiteX16" fmla="*/ 194193 w 521739"/>
                <a:gd name="connsiteY16" fmla="*/ 1023582 h 1187356"/>
                <a:gd name="connsiteX17" fmla="*/ 153250 w 521739"/>
                <a:gd name="connsiteY17" fmla="*/ 1105469 h 1187356"/>
                <a:gd name="connsiteX18" fmla="*/ 85011 w 521739"/>
                <a:gd name="connsiteY18" fmla="*/ 1187356 h 1187356"/>
                <a:gd name="connsiteX19" fmla="*/ 3124 w 521739"/>
                <a:gd name="connsiteY19" fmla="*/ 1160060 h 1187356"/>
                <a:gd name="connsiteX20" fmla="*/ 18692 w 521739"/>
                <a:gd name="connsiteY20" fmla="*/ 1176907 h 118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21739" h="1187356">
                  <a:moveTo>
                    <a:pt x="330670" y="0"/>
                  </a:moveTo>
                  <a:cubicBezTo>
                    <a:pt x="326121" y="36394"/>
                    <a:pt x="323847" y="122830"/>
                    <a:pt x="317023" y="163773"/>
                  </a:cubicBezTo>
                  <a:cubicBezTo>
                    <a:pt x="310199" y="204716"/>
                    <a:pt x="289727" y="245660"/>
                    <a:pt x="289727" y="245660"/>
                  </a:cubicBezTo>
                  <a:cubicBezTo>
                    <a:pt x="294276" y="282054"/>
                    <a:pt x="293725" y="319457"/>
                    <a:pt x="303375" y="354842"/>
                  </a:cubicBezTo>
                  <a:cubicBezTo>
                    <a:pt x="308970" y="375357"/>
                    <a:pt x="357205" y="427123"/>
                    <a:pt x="371614" y="436729"/>
                  </a:cubicBezTo>
                  <a:cubicBezTo>
                    <a:pt x="383584" y="444709"/>
                    <a:pt x="398909" y="445827"/>
                    <a:pt x="412557" y="450376"/>
                  </a:cubicBezTo>
                  <a:cubicBezTo>
                    <a:pt x="426205" y="464024"/>
                    <a:pt x="437441" y="480614"/>
                    <a:pt x="453500" y="491320"/>
                  </a:cubicBezTo>
                  <a:cubicBezTo>
                    <a:pt x="465470" y="499300"/>
                    <a:pt x="486082" y="493261"/>
                    <a:pt x="494444" y="504967"/>
                  </a:cubicBezTo>
                  <a:cubicBezTo>
                    <a:pt x="511168" y="528380"/>
                    <a:pt x="521739" y="586854"/>
                    <a:pt x="521739" y="586854"/>
                  </a:cubicBezTo>
                  <a:cubicBezTo>
                    <a:pt x="486853" y="726397"/>
                    <a:pt x="551494" y="540624"/>
                    <a:pt x="371614" y="655093"/>
                  </a:cubicBezTo>
                  <a:cubicBezTo>
                    <a:pt x="348268" y="669949"/>
                    <a:pt x="366717" y="710727"/>
                    <a:pt x="357966" y="736979"/>
                  </a:cubicBezTo>
                  <a:cubicBezTo>
                    <a:pt x="352779" y="752540"/>
                    <a:pt x="339769" y="764275"/>
                    <a:pt x="330670" y="777923"/>
                  </a:cubicBezTo>
                  <a:cubicBezTo>
                    <a:pt x="297943" y="876110"/>
                    <a:pt x="337657" y="753473"/>
                    <a:pt x="303375" y="873457"/>
                  </a:cubicBezTo>
                  <a:cubicBezTo>
                    <a:pt x="299423" y="887289"/>
                    <a:pt x="293216" y="900444"/>
                    <a:pt x="289727" y="914400"/>
                  </a:cubicBezTo>
                  <a:cubicBezTo>
                    <a:pt x="284101" y="936904"/>
                    <a:pt x="288946" y="963338"/>
                    <a:pt x="276079" y="982639"/>
                  </a:cubicBezTo>
                  <a:cubicBezTo>
                    <a:pt x="268099" y="994609"/>
                    <a:pt x="248003" y="989853"/>
                    <a:pt x="235136" y="996287"/>
                  </a:cubicBezTo>
                  <a:cubicBezTo>
                    <a:pt x="220465" y="1003622"/>
                    <a:pt x="207841" y="1014484"/>
                    <a:pt x="194193" y="1023582"/>
                  </a:cubicBezTo>
                  <a:cubicBezTo>
                    <a:pt x="115962" y="1140929"/>
                    <a:pt x="209757" y="992455"/>
                    <a:pt x="153250" y="1105469"/>
                  </a:cubicBezTo>
                  <a:cubicBezTo>
                    <a:pt x="134251" y="1143468"/>
                    <a:pt x="115191" y="1157175"/>
                    <a:pt x="85011" y="1187356"/>
                  </a:cubicBezTo>
                  <a:cubicBezTo>
                    <a:pt x="57715" y="1178257"/>
                    <a:pt x="14177" y="1161801"/>
                    <a:pt x="3124" y="1160060"/>
                  </a:cubicBezTo>
                  <a:cubicBezTo>
                    <a:pt x="-7929" y="1158319"/>
                    <a:pt x="13503" y="1171291"/>
                    <a:pt x="18692" y="1176907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igura a mano libera 166"/>
            <p:cNvSpPr/>
            <p:nvPr/>
          </p:nvSpPr>
          <p:spPr>
            <a:xfrm>
              <a:off x="4503761" y="3889612"/>
              <a:ext cx="272955" cy="177421"/>
            </a:xfrm>
            <a:custGeom>
              <a:avLst/>
              <a:gdLst>
                <a:gd name="connsiteX0" fmla="*/ 272955 w 272955"/>
                <a:gd name="connsiteY0" fmla="*/ 0 h 177421"/>
                <a:gd name="connsiteX1" fmla="*/ 204717 w 272955"/>
                <a:gd name="connsiteY1" fmla="*/ 54591 h 177421"/>
                <a:gd name="connsiteX2" fmla="*/ 122830 w 272955"/>
                <a:gd name="connsiteY2" fmla="*/ 95534 h 177421"/>
                <a:gd name="connsiteX3" fmla="*/ 40943 w 272955"/>
                <a:gd name="connsiteY3" fmla="*/ 150125 h 177421"/>
                <a:gd name="connsiteX4" fmla="*/ 0 w 272955"/>
                <a:gd name="connsiteY4" fmla="*/ 177421 h 177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955" h="177421">
                  <a:moveTo>
                    <a:pt x="272955" y="0"/>
                  </a:moveTo>
                  <a:cubicBezTo>
                    <a:pt x="250209" y="18197"/>
                    <a:pt x="229419" y="39153"/>
                    <a:pt x="204717" y="54591"/>
                  </a:cubicBezTo>
                  <a:cubicBezTo>
                    <a:pt x="106237" y="116141"/>
                    <a:pt x="223601" y="11558"/>
                    <a:pt x="122830" y="95534"/>
                  </a:cubicBezTo>
                  <a:cubicBezTo>
                    <a:pt x="54676" y="152330"/>
                    <a:pt x="112898" y="126142"/>
                    <a:pt x="40943" y="150125"/>
                  </a:cubicBezTo>
                  <a:lnTo>
                    <a:pt x="0" y="177421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igura a mano libera 167"/>
            <p:cNvSpPr/>
            <p:nvPr/>
          </p:nvSpPr>
          <p:spPr>
            <a:xfrm>
              <a:off x="4094329" y="6141493"/>
              <a:ext cx="109182" cy="68238"/>
            </a:xfrm>
            <a:custGeom>
              <a:avLst/>
              <a:gdLst>
                <a:gd name="connsiteX0" fmla="*/ 395838 w 395838"/>
                <a:gd name="connsiteY0" fmla="*/ 218364 h 218364"/>
                <a:gd name="connsiteX1" fmla="*/ 327600 w 395838"/>
                <a:gd name="connsiteY1" fmla="*/ 177421 h 218364"/>
                <a:gd name="connsiteX2" fmla="*/ 286656 w 395838"/>
                <a:gd name="connsiteY2" fmla="*/ 150126 h 218364"/>
                <a:gd name="connsiteX3" fmla="*/ 218418 w 395838"/>
                <a:gd name="connsiteY3" fmla="*/ 81887 h 218364"/>
                <a:gd name="connsiteX4" fmla="*/ 109235 w 395838"/>
                <a:gd name="connsiteY4" fmla="*/ 13648 h 218364"/>
                <a:gd name="connsiteX5" fmla="*/ 68292 w 395838"/>
                <a:gd name="connsiteY5" fmla="*/ 0 h 218364"/>
                <a:gd name="connsiteX6" fmla="*/ 53 w 395838"/>
                <a:gd name="connsiteY6" fmla="*/ 27296 h 218364"/>
                <a:gd name="connsiteX0" fmla="*/ 395785 w 395785"/>
                <a:gd name="connsiteY0" fmla="*/ 204716 h 204716"/>
                <a:gd name="connsiteX1" fmla="*/ 327547 w 395785"/>
                <a:gd name="connsiteY1" fmla="*/ 163773 h 204716"/>
                <a:gd name="connsiteX2" fmla="*/ 286603 w 395785"/>
                <a:gd name="connsiteY2" fmla="*/ 136478 h 204716"/>
                <a:gd name="connsiteX3" fmla="*/ 218365 w 395785"/>
                <a:gd name="connsiteY3" fmla="*/ 68239 h 204716"/>
                <a:gd name="connsiteX4" fmla="*/ 109182 w 395785"/>
                <a:gd name="connsiteY4" fmla="*/ 0 h 204716"/>
                <a:gd name="connsiteX5" fmla="*/ 0 w 395785"/>
                <a:gd name="connsiteY5" fmla="*/ 13648 h 204716"/>
                <a:gd name="connsiteX0" fmla="*/ 395785 w 395785"/>
                <a:gd name="connsiteY0" fmla="*/ 204716 h 204716"/>
                <a:gd name="connsiteX1" fmla="*/ 327547 w 395785"/>
                <a:gd name="connsiteY1" fmla="*/ 163773 h 204716"/>
                <a:gd name="connsiteX2" fmla="*/ 286603 w 395785"/>
                <a:gd name="connsiteY2" fmla="*/ 136478 h 204716"/>
                <a:gd name="connsiteX3" fmla="*/ 109182 w 395785"/>
                <a:gd name="connsiteY3" fmla="*/ 0 h 204716"/>
                <a:gd name="connsiteX4" fmla="*/ 0 w 395785"/>
                <a:gd name="connsiteY4" fmla="*/ 13648 h 204716"/>
                <a:gd name="connsiteX0" fmla="*/ 395785 w 395785"/>
                <a:gd name="connsiteY0" fmla="*/ 191068 h 191068"/>
                <a:gd name="connsiteX1" fmla="*/ 327547 w 395785"/>
                <a:gd name="connsiteY1" fmla="*/ 150125 h 191068"/>
                <a:gd name="connsiteX2" fmla="*/ 286603 w 395785"/>
                <a:gd name="connsiteY2" fmla="*/ 122830 h 191068"/>
                <a:gd name="connsiteX3" fmla="*/ 0 w 395785"/>
                <a:gd name="connsiteY3" fmla="*/ 0 h 191068"/>
                <a:gd name="connsiteX0" fmla="*/ 109182 w 109182"/>
                <a:gd name="connsiteY0" fmla="*/ 68238 h 68238"/>
                <a:gd name="connsiteX1" fmla="*/ 40944 w 109182"/>
                <a:gd name="connsiteY1" fmla="*/ 27295 h 68238"/>
                <a:gd name="connsiteX2" fmla="*/ 0 w 109182"/>
                <a:gd name="connsiteY2" fmla="*/ 0 h 6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9182" h="68238">
                  <a:moveTo>
                    <a:pt x="109182" y="68238"/>
                  </a:moveTo>
                  <a:cubicBezTo>
                    <a:pt x="86436" y="54590"/>
                    <a:pt x="63438" y="41354"/>
                    <a:pt x="40944" y="27295"/>
                  </a:cubicBezTo>
                  <a:cubicBezTo>
                    <a:pt x="27035" y="18602"/>
                    <a:pt x="54591" y="25021"/>
                    <a:pt x="0" y="0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igura a mano libera 168"/>
            <p:cNvSpPr/>
            <p:nvPr/>
          </p:nvSpPr>
          <p:spPr>
            <a:xfrm>
              <a:off x="5254683" y="4181189"/>
              <a:ext cx="40943" cy="136478"/>
            </a:xfrm>
            <a:custGeom>
              <a:avLst/>
              <a:gdLst>
                <a:gd name="connsiteX0" fmla="*/ 40943 w 40943"/>
                <a:gd name="connsiteY0" fmla="*/ 0 h 136478"/>
                <a:gd name="connsiteX1" fmla="*/ 27295 w 40943"/>
                <a:gd name="connsiteY1" fmla="*/ 68239 h 136478"/>
                <a:gd name="connsiteX2" fmla="*/ 0 w 40943"/>
                <a:gd name="connsiteY2" fmla="*/ 136478 h 13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43" h="136478">
                  <a:moveTo>
                    <a:pt x="40943" y="0"/>
                  </a:moveTo>
                  <a:cubicBezTo>
                    <a:pt x="36394" y="22746"/>
                    <a:pt x="32921" y="45735"/>
                    <a:pt x="27295" y="68239"/>
                  </a:cubicBezTo>
                  <a:cubicBezTo>
                    <a:pt x="18863" y="101964"/>
                    <a:pt x="14117" y="108242"/>
                    <a:pt x="0" y="136478"/>
                  </a:cubicBez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829424" y="6204794"/>
              <a:ext cx="78432" cy="7906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Figura a mano libera 170"/>
            <p:cNvSpPr/>
            <p:nvPr/>
          </p:nvSpPr>
          <p:spPr>
            <a:xfrm>
              <a:off x="2428875" y="4638675"/>
              <a:ext cx="133350" cy="85725"/>
            </a:xfrm>
            <a:custGeom>
              <a:avLst/>
              <a:gdLst>
                <a:gd name="connsiteX0" fmla="*/ 0 w 133350"/>
                <a:gd name="connsiteY0" fmla="*/ 85725 h 85725"/>
                <a:gd name="connsiteX1" fmla="*/ 57150 w 133350"/>
                <a:gd name="connsiteY1" fmla="*/ 19050 h 85725"/>
                <a:gd name="connsiteX2" fmla="*/ 133350 w 133350"/>
                <a:gd name="connsiteY2" fmla="*/ 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350" h="85725">
                  <a:moveTo>
                    <a:pt x="0" y="85725"/>
                  </a:moveTo>
                  <a:cubicBezTo>
                    <a:pt x="17924" y="55851"/>
                    <a:pt x="23399" y="31323"/>
                    <a:pt x="57150" y="19050"/>
                  </a:cubicBezTo>
                  <a:cubicBezTo>
                    <a:pt x="81755" y="10103"/>
                    <a:pt x="133350" y="0"/>
                    <a:pt x="133350" y="0"/>
                  </a:cubicBezTo>
                </a:path>
              </a:pathLst>
            </a:custGeom>
            <a:noFill/>
            <a:ln w="28575">
              <a:solidFill>
                <a:srgbClr val="C5C5C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690024" y="5833592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Figura a mano libera 172"/>
            <p:cNvSpPr/>
            <p:nvPr/>
          </p:nvSpPr>
          <p:spPr>
            <a:xfrm>
              <a:off x="3771900" y="5765800"/>
              <a:ext cx="279400" cy="76200"/>
            </a:xfrm>
            <a:custGeom>
              <a:avLst/>
              <a:gdLst>
                <a:gd name="connsiteX0" fmla="*/ 0 w 279400"/>
                <a:gd name="connsiteY0" fmla="*/ 76200 h 76200"/>
                <a:gd name="connsiteX1" fmla="*/ 25400 w 279400"/>
                <a:gd name="connsiteY1" fmla="*/ 12700 h 76200"/>
                <a:gd name="connsiteX2" fmla="*/ 63500 w 279400"/>
                <a:gd name="connsiteY2" fmla="*/ 0 h 76200"/>
                <a:gd name="connsiteX3" fmla="*/ 203200 w 279400"/>
                <a:gd name="connsiteY3" fmla="*/ 12700 h 76200"/>
                <a:gd name="connsiteX4" fmla="*/ 279400 w 2794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9400" h="76200">
                  <a:moveTo>
                    <a:pt x="0" y="76200"/>
                  </a:moveTo>
                  <a:cubicBezTo>
                    <a:pt x="8467" y="55033"/>
                    <a:pt x="10806" y="30213"/>
                    <a:pt x="25400" y="12700"/>
                  </a:cubicBezTo>
                  <a:cubicBezTo>
                    <a:pt x="33970" y="2416"/>
                    <a:pt x="50113" y="0"/>
                    <a:pt x="63500" y="0"/>
                  </a:cubicBezTo>
                  <a:cubicBezTo>
                    <a:pt x="110259" y="0"/>
                    <a:pt x="156633" y="8467"/>
                    <a:pt x="203200" y="12700"/>
                  </a:cubicBezTo>
                  <a:lnTo>
                    <a:pt x="279400" y="3810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019379" y="6090341"/>
              <a:ext cx="78432" cy="79061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Figura a mano libera 174"/>
            <p:cNvSpPr/>
            <p:nvPr/>
          </p:nvSpPr>
          <p:spPr>
            <a:xfrm>
              <a:off x="4088535" y="5801923"/>
              <a:ext cx="118734" cy="28247"/>
            </a:xfrm>
            <a:custGeom>
              <a:avLst/>
              <a:gdLst>
                <a:gd name="connsiteX0" fmla="*/ 0 w 238125"/>
                <a:gd name="connsiteY0" fmla="*/ 2116 h 21166"/>
                <a:gd name="connsiteX1" fmla="*/ 238125 w 238125"/>
                <a:gd name="connsiteY1" fmla="*/ 21166 h 21166"/>
                <a:gd name="connsiteX0" fmla="*/ 0 w 200025"/>
                <a:gd name="connsiteY0" fmla="*/ 270 h 47895"/>
                <a:gd name="connsiteX1" fmla="*/ 200025 w 200025"/>
                <a:gd name="connsiteY1" fmla="*/ 47895 h 47895"/>
                <a:gd name="connsiteX0" fmla="*/ 0 w 209550"/>
                <a:gd name="connsiteY0" fmla="*/ 202 h 57352"/>
                <a:gd name="connsiteX1" fmla="*/ 209550 w 209550"/>
                <a:gd name="connsiteY1" fmla="*/ 57352 h 57352"/>
                <a:gd name="connsiteX0" fmla="*/ 0 w 91509"/>
                <a:gd name="connsiteY0" fmla="*/ 1101 h 25723"/>
                <a:gd name="connsiteX1" fmla="*/ 91509 w 91509"/>
                <a:gd name="connsiteY1" fmla="*/ 25723 h 25723"/>
                <a:gd name="connsiteX0" fmla="*/ 0 w 165831"/>
                <a:gd name="connsiteY0" fmla="*/ 731 h 29691"/>
                <a:gd name="connsiteX1" fmla="*/ 165831 w 165831"/>
                <a:gd name="connsiteY1" fmla="*/ 29691 h 29691"/>
                <a:gd name="connsiteX0" fmla="*/ 0 w 148343"/>
                <a:gd name="connsiteY0" fmla="*/ 465 h 35931"/>
                <a:gd name="connsiteX1" fmla="*/ 148343 w 148343"/>
                <a:gd name="connsiteY1" fmla="*/ 35931 h 35931"/>
                <a:gd name="connsiteX0" fmla="*/ 0 w 108996"/>
                <a:gd name="connsiteY0" fmla="*/ 1101 h 25724"/>
                <a:gd name="connsiteX1" fmla="*/ 108996 w 108996"/>
                <a:gd name="connsiteY1" fmla="*/ 25724 h 2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996" h="25724">
                  <a:moveTo>
                    <a:pt x="0" y="1101"/>
                  </a:moveTo>
                  <a:cubicBezTo>
                    <a:pt x="105569" y="-2074"/>
                    <a:pt x="82009" y="324"/>
                    <a:pt x="108996" y="25724"/>
                  </a:cubicBezTo>
                </a:path>
              </a:pathLst>
            </a:custGeom>
            <a:noFill/>
            <a:ln w="28575">
              <a:solidFill>
                <a:srgbClr val="C5C5C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3984949" y="5738308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4119417" y="6145498"/>
              <a:ext cx="117648" cy="118592"/>
            </a:xfrm>
            <a:prstGeom prst="ellipse">
              <a:avLst/>
            </a:prstGeom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398422" y="-223218"/>
            <a:ext cx="11176620" cy="866367"/>
          </a:xfrm>
        </p:spPr>
        <p:txBody>
          <a:bodyPr/>
          <a:lstStyle/>
          <a:p>
            <a:r>
              <a:rPr lang="it-IT"/>
              <a:t>Il quadro delle nuove risorse finanziarie su IFN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idx="13"/>
          </p:nvPr>
        </p:nvSpPr>
        <p:spPr>
          <a:xfrm>
            <a:off x="397591" y="565081"/>
            <a:ext cx="8342050" cy="390933"/>
          </a:xfrm>
        </p:spPr>
        <p:txBody>
          <a:bodyPr>
            <a:normAutofit/>
          </a:bodyPr>
          <a:lstStyle/>
          <a:p>
            <a:r>
              <a:rPr lang="it-IT" dirty="0"/>
              <a:t>Le risorse contrattualizzate nel </a:t>
            </a:r>
            <a:r>
              <a:rPr lang="it-IT" dirty="0" err="1"/>
              <a:t>CdP</a:t>
            </a:r>
            <a:r>
              <a:rPr lang="it-IT" dirty="0"/>
              <a:t>-I 2022-2026</a:t>
            </a:r>
          </a:p>
        </p:txBody>
      </p:sp>
      <p:sp>
        <p:nvSpPr>
          <p:cNvPr id="38" name="Rettangolo 37"/>
          <p:cNvSpPr/>
          <p:nvPr/>
        </p:nvSpPr>
        <p:spPr>
          <a:xfrm>
            <a:off x="10296085" y="145327"/>
            <a:ext cx="2016563" cy="23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ld di €</a:t>
            </a:r>
          </a:p>
        </p:txBody>
      </p:sp>
      <p:sp>
        <p:nvSpPr>
          <p:cNvPr id="51" name="Rettangolo 50"/>
          <p:cNvSpPr/>
          <p:nvPr/>
        </p:nvSpPr>
        <p:spPr>
          <a:xfrm>
            <a:off x="534519" y="1761340"/>
            <a:ext cx="2392048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EA ADRIATICA AV/A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gge di Bilancio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comma 394)</a:t>
            </a:r>
          </a:p>
        </p:txBody>
      </p:sp>
      <p:sp>
        <p:nvSpPr>
          <p:cNvPr id="52" name="Rettangolo 51"/>
          <p:cNvSpPr/>
          <p:nvPr/>
        </p:nvSpPr>
        <p:spPr>
          <a:xfrm>
            <a:off x="544692" y="2575129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,00</a:t>
            </a:r>
          </a:p>
        </p:txBody>
      </p:sp>
      <p:sp>
        <p:nvSpPr>
          <p:cNvPr id="271" name="Rettangolo 270"/>
          <p:cNvSpPr/>
          <p:nvPr/>
        </p:nvSpPr>
        <p:spPr>
          <a:xfrm>
            <a:off x="3389944" y="1738663"/>
            <a:ext cx="233620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SC 2021-2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mediatamente cantierabili</a:t>
            </a:r>
          </a:p>
        </p:txBody>
      </p:sp>
      <p:sp>
        <p:nvSpPr>
          <p:cNvPr id="272" name="Rettangolo 271"/>
          <p:cNvSpPr/>
          <p:nvPr/>
        </p:nvSpPr>
        <p:spPr>
          <a:xfrm>
            <a:off x="3421951" y="2547951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,39</a:t>
            </a:r>
          </a:p>
        </p:txBody>
      </p:sp>
      <p:pic>
        <p:nvPicPr>
          <p:cNvPr id="273" name="Immagine 272"/>
          <p:cNvPicPr>
            <a:picLocks noChangeAspect="1"/>
          </p:cNvPicPr>
          <p:nvPr/>
        </p:nvPicPr>
        <p:blipFill>
          <a:blip r:embed="rId4">
            <a:clrChange>
              <a:clrFrom>
                <a:srgbClr val="999999"/>
              </a:clrFrom>
              <a:clrTo>
                <a:srgbClr val="999999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865132" y="2513374"/>
            <a:ext cx="609992" cy="609992"/>
          </a:xfrm>
          <a:prstGeom prst="rect">
            <a:avLst/>
          </a:prstGeom>
        </p:spPr>
      </p:pic>
      <p:pic>
        <p:nvPicPr>
          <p:cNvPr id="385" name="Picture 6" descr="Larus Pharma nel Mondo – Larus Pharma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4868" y="2112788"/>
            <a:ext cx="1315992" cy="1315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7" name="Rettangolo 386"/>
          <p:cNvSpPr/>
          <p:nvPr/>
        </p:nvSpPr>
        <p:spPr>
          <a:xfrm>
            <a:off x="6374771" y="1855630"/>
            <a:ext cx="2474586" cy="391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NDI INCROCIAT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OSTRADA A22 BRENNERO 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1^ rata Fondo Ferrovia)</a:t>
            </a:r>
          </a:p>
        </p:txBody>
      </p:sp>
      <p:sp>
        <p:nvSpPr>
          <p:cNvPr id="388" name="Rettangolo 387"/>
          <p:cNvSpPr/>
          <p:nvPr/>
        </p:nvSpPr>
        <p:spPr>
          <a:xfrm>
            <a:off x="6393001" y="2585656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09</a:t>
            </a:r>
          </a:p>
        </p:txBody>
      </p:sp>
      <p:grpSp>
        <p:nvGrpSpPr>
          <p:cNvPr id="389" name="Gruppo 384"/>
          <p:cNvGrpSpPr>
            <a:grpSpLocks/>
          </p:cNvGrpSpPr>
          <p:nvPr/>
        </p:nvGrpSpPr>
        <p:grpSpPr bwMode="auto">
          <a:xfrm>
            <a:off x="7830903" y="2507898"/>
            <a:ext cx="778962" cy="930045"/>
            <a:chOff x="6030758" y="980464"/>
            <a:chExt cx="5107083" cy="5839233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390" name="Figura a mano libera 389"/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1" name="Figura a mano libera 390"/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2" name="Figura a mano libera 391"/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3" name="Figura a mano libera 392"/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4" name="Figura a mano libera 393"/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5" name="Figura a mano libera 394"/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6" name="Figura a mano libera 395"/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7" name="Figura a mano libera 396"/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8" name="Figura a mano libera 397"/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9" name="Figura a mano libera 398"/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0" name="Figura a mano libera 399"/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1" name="Figura a mano libera 400"/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grpFill/>
            <a:ln w="9525">
              <a:noFill/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2" name="Figura a mano libera 401"/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3" name="Figura a mano libera 402"/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4" name="Figura a mano libera 403"/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5" name="Figura a mano libera 404"/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6" name="Figura a mano libera 405"/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7" name="Figura a mano libera 406"/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8" name="Figura a mano libera 407"/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9" name="Figura a mano libera 408"/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36" name="Connettore diritto 235">
            <a:extLst>
              <a:ext uri="{FF2B5EF4-FFF2-40B4-BE49-F238E27FC236}">
                <a16:creationId xmlns:a16="http://schemas.microsoft.com/office/drawing/2014/main" id="{9E289A48-B77B-4CDD-9CF8-206404B320B7}"/>
              </a:ext>
            </a:extLst>
          </p:cNvPr>
          <p:cNvCxnSpPr/>
          <p:nvPr/>
        </p:nvCxnSpPr>
        <p:spPr>
          <a:xfrm>
            <a:off x="482136" y="1687993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Connettore diritto 244">
            <a:extLst>
              <a:ext uri="{FF2B5EF4-FFF2-40B4-BE49-F238E27FC236}">
                <a16:creationId xmlns:a16="http://schemas.microsoft.com/office/drawing/2014/main" id="{8C3709D2-B3C1-4EA0-AA7D-871CA88D6142}"/>
              </a:ext>
            </a:extLst>
          </p:cNvPr>
          <p:cNvCxnSpPr/>
          <p:nvPr/>
        </p:nvCxnSpPr>
        <p:spPr>
          <a:xfrm>
            <a:off x="3412706" y="1687993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Connettore diritto 250">
            <a:extLst>
              <a:ext uri="{FF2B5EF4-FFF2-40B4-BE49-F238E27FC236}">
                <a16:creationId xmlns:a16="http://schemas.microsoft.com/office/drawing/2014/main" id="{45ECA5FE-7D0F-4FF5-9EAF-AD3E82E760C5}"/>
              </a:ext>
            </a:extLst>
          </p:cNvPr>
          <p:cNvCxnSpPr/>
          <p:nvPr/>
        </p:nvCxnSpPr>
        <p:spPr>
          <a:xfrm>
            <a:off x="8935908" y="1739436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Rettangolo 251">
            <a:extLst>
              <a:ext uri="{FF2B5EF4-FFF2-40B4-BE49-F238E27FC236}">
                <a16:creationId xmlns:a16="http://schemas.microsoft.com/office/drawing/2014/main" id="{8F0D7F3A-122F-4122-B9CC-1D85B6E7B9A7}"/>
              </a:ext>
            </a:extLst>
          </p:cNvPr>
          <p:cNvSpPr/>
          <p:nvPr/>
        </p:nvSpPr>
        <p:spPr>
          <a:xfrm>
            <a:off x="8848038" y="1747399"/>
            <a:ext cx="2734327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NRR – Altre missioni (ZES) </a:t>
            </a:r>
          </a:p>
        </p:txBody>
      </p:sp>
      <p:sp>
        <p:nvSpPr>
          <p:cNvPr id="253" name="Rettangolo 252">
            <a:extLst>
              <a:ext uri="{FF2B5EF4-FFF2-40B4-BE49-F238E27FC236}">
                <a16:creationId xmlns:a16="http://schemas.microsoft.com/office/drawing/2014/main" id="{49E54A86-DBC2-472F-B5BE-B2FAE70AEFF4}"/>
              </a:ext>
            </a:extLst>
          </p:cNvPr>
          <p:cNvSpPr/>
          <p:nvPr/>
        </p:nvSpPr>
        <p:spPr>
          <a:xfrm>
            <a:off x="8929192" y="2564248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04</a:t>
            </a:r>
          </a:p>
        </p:txBody>
      </p:sp>
      <p:pic>
        <p:nvPicPr>
          <p:cNvPr id="254" name="Picture 6" descr="Larus Pharma nel Mondo – Larus Pharma">
            <a:extLst>
              <a:ext uri="{FF2B5EF4-FFF2-40B4-BE49-F238E27FC236}">
                <a16:creationId xmlns:a16="http://schemas.microsoft.com/office/drawing/2014/main" id="{2DD0F671-EA71-445E-8441-1D13E63879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267" y="4436065"/>
            <a:ext cx="1315992" cy="1315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5" name="Connettore diritto 254">
            <a:extLst>
              <a:ext uri="{FF2B5EF4-FFF2-40B4-BE49-F238E27FC236}">
                <a16:creationId xmlns:a16="http://schemas.microsoft.com/office/drawing/2014/main" id="{50CCA72C-7BDE-4BF2-8891-D53E834FF326}"/>
              </a:ext>
            </a:extLst>
          </p:cNvPr>
          <p:cNvCxnSpPr/>
          <p:nvPr/>
        </p:nvCxnSpPr>
        <p:spPr>
          <a:xfrm>
            <a:off x="404307" y="4062713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Rettangolo 255">
            <a:extLst>
              <a:ext uri="{FF2B5EF4-FFF2-40B4-BE49-F238E27FC236}">
                <a16:creationId xmlns:a16="http://schemas.microsoft.com/office/drawing/2014/main" id="{CD278EF9-93A8-4823-B00B-6E2B82DC1C93}"/>
              </a:ext>
            </a:extLst>
          </p:cNvPr>
          <p:cNvSpPr/>
          <p:nvPr/>
        </p:nvSpPr>
        <p:spPr>
          <a:xfrm>
            <a:off x="316437" y="4070676"/>
            <a:ext cx="2734327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NDO COMPLEMENTARE </a:t>
            </a:r>
            <a:b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terventi sisma Abruzzo - stazioni</a:t>
            </a:r>
          </a:p>
        </p:txBody>
      </p:sp>
      <p:sp>
        <p:nvSpPr>
          <p:cNvPr id="257" name="Rettangolo 256">
            <a:extLst>
              <a:ext uri="{FF2B5EF4-FFF2-40B4-BE49-F238E27FC236}">
                <a16:creationId xmlns:a16="http://schemas.microsoft.com/office/drawing/2014/main" id="{68311FAE-34E7-4E2B-AA20-E8B67B966888}"/>
              </a:ext>
            </a:extLst>
          </p:cNvPr>
          <p:cNvSpPr/>
          <p:nvPr/>
        </p:nvSpPr>
        <p:spPr>
          <a:xfrm>
            <a:off x="397591" y="4887525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04</a:t>
            </a:r>
          </a:p>
        </p:txBody>
      </p:sp>
      <p:sp>
        <p:nvSpPr>
          <p:cNvPr id="258" name="Rettangolo 257">
            <a:extLst>
              <a:ext uri="{FF2B5EF4-FFF2-40B4-BE49-F238E27FC236}">
                <a16:creationId xmlns:a16="http://schemas.microsoft.com/office/drawing/2014/main" id="{4C31FB7D-8A67-4ECF-B2B4-7F89E3DAB22A}"/>
              </a:ext>
            </a:extLst>
          </p:cNvPr>
          <p:cNvSpPr/>
          <p:nvPr/>
        </p:nvSpPr>
        <p:spPr>
          <a:xfrm>
            <a:off x="3465145" y="4904210"/>
            <a:ext cx="1183918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,76</a:t>
            </a:r>
          </a:p>
        </p:txBody>
      </p:sp>
      <p:sp>
        <p:nvSpPr>
          <p:cNvPr id="259" name="Rettangolo 258">
            <a:extLst>
              <a:ext uri="{FF2B5EF4-FFF2-40B4-BE49-F238E27FC236}">
                <a16:creationId xmlns:a16="http://schemas.microsoft.com/office/drawing/2014/main" id="{2C45B81D-884C-44E8-B025-F92891470133}"/>
              </a:ext>
            </a:extLst>
          </p:cNvPr>
          <p:cNvSpPr/>
          <p:nvPr/>
        </p:nvSpPr>
        <p:spPr>
          <a:xfrm>
            <a:off x="3411551" y="4187643"/>
            <a:ext cx="2578911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RE FONTI (UE, EE.LL, </a:t>
            </a:r>
            <a:r>
              <a:rPr kumimoji="0" lang="it-IT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c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pic>
        <p:nvPicPr>
          <p:cNvPr id="260" name="Elemento grafico 259" descr="Banca">
            <a:extLst>
              <a:ext uri="{FF2B5EF4-FFF2-40B4-BE49-F238E27FC236}">
                <a16:creationId xmlns:a16="http://schemas.microsoft.com/office/drawing/2014/main" id="{994F1EF7-D97B-40A9-B748-434423F446A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836236" y="4605028"/>
            <a:ext cx="1039404" cy="1039404"/>
          </a:xfrm>
          <a:prstGeom prst="rect">
            <a:avLst/>
          </a:prstGeom>
        </p:spPr>
      </p:pic>
      <p:cxnSp>
        <p:nvCxnSpPr>
          <p:cNvPr id="261" name="Connettore diritto 260">
            <a:extLst>
              <a:ext uri="{FF2B5EF4-FFF2-40B4-BE49-F238E27FC236}">
                <a16:creationId xmlns:a16="http://schemas.microsoft.com/office/drawing/2014/main" id="{AC6A63BD-EF32-4040-8F8C-564AD4ED24F1}"/>
              </a:ext>
            </a:extLst>
          </p:cNvPr>
          <p:cNvCxnSpPr/>
          <p:nvPr/>
        </p:nvCxnSpPr>
        <p:spPr>
          <a:xfrm>
            <a:off x="3327082" y="4052431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Connettore diritto 261">
            <a:extLst>
              <a:ext uri="{FF2B5EF4-FFF2-40B4-BE49-F238E27FC236}">
                <a16:creationId xmlns:a16="http://schemas.microsoft.com/office/drawing/2014/main" id="{3FD27BA8-04C2-4CB3-B20F-76C28EBA1FCA}"/>
              </a:ext>
            </a:extLst>
          </p:cNvPr>
          <p:cNvCxnSpPr/>
          <p:nvPr/>
        </p:nvCxnSpPr>
        <p:spPr>
          <a:xfrm>
            <a:off x="6217138" y="1709621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Segnaposto contenuto 5"/>
          <p:cNvSpPr txBox="1">
            <a:spLocks/>
          </p:cNvSpPr>
          <p:nvPr/>
        </p:nvSpPr>
        <p:spPr bwMode="auto">
          <a:xfrm>
            <a:off x="1016617" y="1283964"/>
            <a:ext cx="1575131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NCOLATE</a:t>
            </a:r>
          </a:p>
        </p:txBody>
      </p:sp>
      <p:sp>
        <p:nvSpPr>
          <p:cNvPr id="202" name="Segnaposto contenuto 5"/>
          <p:cNvSpPr txBox="1">
            <a:spLocks/>
          </p:cNvSpPr>
          <p:nvPr/>
        </p:nvSpPr>
        <p:spPr bwMode="auto">
          <a:xfrm>
            <a:off x="3846851" y="1283964"/>
            <a:ext cx="1575131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NCOLATE</a:t>
            </a:r>
          </a:p>
        </p:txBody>
      </p:sp>
      <p:sp>
        <p:nvSpPr>
          <p:cNvPr id="203" name="Segnaposto contenuto 5"/>
          <p:cNvSpPr txBox="1">
            <a:spLocks/>
          </p:cNvSpPr>
          <p:nvPr/>
        </p:nvSpPr>
        <p:spPr bwMode="auto">
          <a:xfrm>
            <a:off x="873733" y="3628141"/>
            <a:ext cx="1575131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NCOLATE</a:t>
            </a:r>
          </a:p>
        </p:txBody>
      </p:sp>
      <p:sp>
        <p:nvSpPr>
          <p:cNvPr id="204" name="Segnaposto contenuto 5"/>
          <p:cNvSpPr txBox="1">
            <a:spLocks/>
          </p:cNvSpPr>
          <p:nvPr/>
        </p:nvSpPr>
        <p:spPr bwMode="auto">
          <a:xfrm>
            <a:off x="3815477" y="3628141"/>
            <a:ext cx="1575131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NCOLATE</a:t>
            </a:r>
          </a:p>
        </p:txBody>
      </p:sp>
      <p:sp>
        <p:nvSpPr>
          <p:cNvPr id="205" name="Segnaposto contenuto 5"/>
          <p:cNvSpPr txBox="1">
            <a:spLocks/>
          </p:cNvSpPr>
          <p:nvPr/>
        </p:nvSpPr>
        <p:spPr bwMode="auto">
          <a:xfrm>
            <a:off x="9297302" y="1304864"/>
            <a:ext cx="1575131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NCOLATE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6F1E04B9-8875-4384-A5EA-166F49FF583B}"/>
              </a:ext>
            </a:extLst>
          </p:cNvPr>
          <p:cNvGrpSpPr/>
          <p:nvPr/>
        </p:nvGrpSpPr>
        <p:grpSpPr>
          <a:xfrm>
            <a:off x="8848037" y="3464397"/>
            <a:ext cx="2734327" cy="1950550"/>
            <a:chOff x="319178" y="1387189"/>
            <a:chExt cx="2734327" cy="1950550"/>
          </a:xfrm>
        </p:grpSpPr>
        <p:cxnSp>
          <p:nvCxnSpPr>
            <p:cNvPr id="42" name="Connettore diritto 41"/>
            <p:cNvCxnSpPr/>
            <p:nvPr/>
          </p:nvCxnSpPr>
          <p:spPr>
            <a:xfrm>
              <a:off x="407048" y="1791218"/>
              <a:ext cx="2513985" cy="0"/>
            </a:xfrm>
            <a:prstGeom prst="line">
              <a:avLst/>
            </a:prstGeom>
            <a:ln w="571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ttangolo 46"/>
            <p:cNvSpPr/>
            <p:nvPr/>
          </p:nvSpPr>
          <p:spPr>
            <a:xfrm>
              <a:off x="319178" y="1794044"/>
              <a:ext cx="2734327" cy="5408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ge di Bilancio 2022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comma 395)</a:t>
              </a:r>
            </a:p>
          </p:txBody>
        </p:sp>
        <p:sp>
          <p:nvSpPr>
            <p:cNvPr id="48" name="Rettangolo 47"/>
            <p:cNvSpPr/>
            <p:nvPr/>
          </p:nvSpPr>
          <p:spPr>
            <a:xfrm>
              <a:off x="400332" y="2675545"/>
              <a:ext cx="1181092" cy="5408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4400" b="1" i="0" u="none" strike="noStrike" kern="1200" cap="none" spc="0" normalizeH="0" baseline="0" noProof="0">
                  <a:ln>
                    <a:noFill/>
                  </a:ln>
                  <a:solidFill>
                    <a:srgbClr val="008E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,75 </a:t>
              </a:r>
            </a:p>
          </p:txBody>
        </p:sp>
        <p:pic>
          <p:nvPicPr>
            <p:cNvPr id="61" name="Immagine 60"/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 t="34399" b="32554"/>
            <a:stretch/>
          </p:blipFill>
          <p:spPr>
            <a:xfrm>
              <a:off x="1671957" y="2527623"/>
              <a:ext cx="1093830" cy="810116"/>
            </a:xfrm>
            <a:prstGeom prst="ellipse">
              <a:avLst/>
            </a:prstGeom>
            <a:ln>
              <a:noFill/>
            </a:ln>
            <a:effectLst/>
          </p:spPr>
        </p:pic>
        <p:sp>
          <p:nvSpPr>
            <p:cNvPr id="208" name="Segnaposto contenuto 5"/>
            <p:cNvSpPr txBox="1">
              <a:spLocks/>
            </p:cNvSpPr>
            <p:nvPr/>
          </p:nvSpPr>
          <p:spPr bwMode="auto">
            <a:xfrm>
              <a:off x="424253" y="1387189"/>
              <a:ext cx="2496780" cy="390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t" anchorCtr="0" compatLnSpc="1">
              <a:prstTxWarp prst="textNoShape">
                <a:avLst/>
              </a:prstTxWarp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Font typeface="Arial" panose="020B0604020202020204" pitchFamily="34" charset="0"/>
                <a:buNone/>
                <a:defRPr lang="it-IT" sz="2000" b="1" kern="1200" smtClean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tabLst>
                  <a:tab pos="806450" algn="l"/>
                </a:tabLst>
                <a:defRPr lang="it-IT" sz="18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714375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lang="it-IT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lang="it-IT" sz="14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lang="it-IT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srgbClr val="008E5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N VINCOLATE</a:t>
              </a:r>
            </a:p>
          </p:txBody>
        </p:sp>
      </p:grpSp>
      <p:sp>
        <p:nvSpPr>
          <p:cNvPr id="212" name="Segnaposto contenuto 5"/>
          <p:cNvSpPr txBox="1">
            <a:spLocks/>
          </p:cNvSpPr>
          <p:nvPr/>
        </p:nvSpPr>
        <p:spPr bwMode="auto">
          <a:xfrm>
            <a:off x="6681653" y="1292248"/>
            <a:ext cx="1575131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/>
              </a:defRPr>
            </a:lvl1pPr>
            <a:lvl2pPr marL="4572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</a:lvl2pPr>
            <a:lvl3pPr marL="914400" indent="0" defTabSz="7143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marL="13716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marL="1828800"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NCOLATE</a:t>
            </a:r>
          </a:p>
        </p:txBody>
      </p:sp>
      <p:sp>
        <p:nvSpPr>
          <p:cNvPr id="209" name="Rettangolo 208"/>
          <p:cNvSpPr/>
          <p:nvPr/>
        </p:nvSpPr>
        <p:spPr>
          <a:xfrm>
            <a:off x="7299935" y="6215682"/>
            <a:ext cx="3626257" cy="5075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 cui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,32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ncolate</a:t>
            </a:r>
          </a:p>
        </p:txBody>
      </p:sp>
      <p:grpSp>
        <p:nvGrpSpPr>
          <p:cNvPr id="211" name="Gruppo 210"/>
          <p:cNvGrpSpPr/>
          <p:nvPr/>
        </p:nvGrpSpPr>
        <p:grpSpPr>
          <a:xfrm>
            <a:off x="7299935" y="5675322"/>
            <a:ext cx="4892065" cy="507527"/>
            <a:chOff x="9273743" y="5737502"/>
            <a:chExt cx="2710248" cy="669272"/>
          </a:xfrm>
        </p:grpSpPr>
        <p:sp>
          <p:nvSpPr>
            <p:cNvPr id="216" name="Rettangolo 215"/>
            <p:cNvSpPr/>
            <p:nvPr/>
          </p:nvSpPr>
          <p:spPr>
            <a:xfrm>
              <a:off x="9273743" y="5737502"/>
              <a:ext cx="2710248" cy="6692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TALE RISORSE CONTRATTUALIZZATE</a:t>
              </a:r>
            </a:p>
          </p:txBody>
        </p:sp>
        <p:sp>
          <p:nvSpPr>
            <p:cNvPr id="219" name="Rettangolo 218"/>
            <p:cNvSpPr/>
            <p:nvPr/>
          </p:nvSpPr>
          <p:spPr>
            <a:xfrm>
              <a:off x="9649939" y="5782361"/>
              <a:ext cx="1981786" cy="54437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1" i="0" u="none" strike="noStrike" kern="1200" cap="none" spc="0" normalizeH="0" baseline="0" noProof="0">
                  <a:ln>
                    <a:noFill/>
                  </a:ln>
                  <a:solidFill>
                    <a:srgbClr val="008E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3,0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05353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07988" y="-209601"/>
            <a:ext cx="11176620" cy="86636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/>
          <a:p>
            <a:r>
              <a:rPr lang="it-IT" dirty="0"/>
              <a:t>Nuovi avvii </a:t>
            </a:r>
            <a:r>
              <a:rPr lang="it-IT" dirty="0" err="1"/>
              <a:t>CdP</a:t>
            </a:r>
            <a:r>
              <a:rPr lang="it-IT" dirty="0"/>
              <a:t>-I 2022-2026 finanziati da risorse aggiuntive VINCOLATE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92BFECB-52BE-4AC0-A6A6-4E73F4D9139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988" y="613298"/>
            <a:ext cx="11176620" cy="390933"/>
          </a:xfrm>
        </p:spPr>
        <p:txBody>
          <a:bodyPr/>
          <a:lstStyle/>
          <a:p>
            <a:r>
              <a:rPr lang="it-IT" dirty="0"/>
              <a:t>Principali interventi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A1168629-E710-0BF0-F976-3D04AC041F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1" name="Rettangolo 90">
            <a:extLst>
              <a:ext uri="{FF2B5EF4-FFF2-40B4-BE49-F238E27FC236}">
                <a16:creationId xmlns:a16="http://schemas.microsoft.com/office/drawing/2014/main" id="{68848478-3573-4A3D-9916-13E99C540A8F}"/>
              </a:ext>
            </a:extLst>
          </p:cNvPr>
          <p:cNvSpPr/>
          <p:nvPr/>
        </p:nvSpPr>
        <p:spPr>
          <a:xfrm>
            <a:off x="354736" y="1055489"/>
            <a:ext cx="5578993" cy="231086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TextBox 24">
            <a:extLst>
              <a:ext uri="{FF2B5EF4-FFF2-40B4-BE49-F238E27FC236}">
                <a16:creationId xmlns:a16="http://schemas.microsoft.com/office/drawing/2014/main" id="{8ED9670A-7963-4C50-B342-72DCBB27BA43}"/>
              </a:ext>
            </a:extLst>
          </p:cNvPr>
          <p:cNvSpPr txBox="1">
            <a:spLocks/>
          </p:cNvSpPr>
          <p:nvPr/>
        </p:nvSpPr>
        <p:spPr>
          <a:xfrm>
            <a:off x="462237" y="1175494"/>
            <a:ext cx="3294976" cy="225767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just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67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ORIZZAZIONE RETI REGIONALI</a:t>
            </a:r>
          </a:p>
        </p:txBody>
      </p:sp>
      <p:sp>
        <p:nvSpPr>
          <p:cNvPr id="93" name="Rettangolo 92">
            <a:extLst>
              <a:ext uri="{FF2B5EF4-FFF2-40B4-BE49-F238E27FC236}">
                <a16:creationId xmlns:a16="http://schemas.microsoft.com/office/drawing/2014/main" id="{79E66D7B-2CCE-4276-8F20-7196D25412DC}"/>
              </a:ext>
            </a:extLst>
          </p:cNvPr>
          <p:cNvSpPr/>
          <p:nvPr/>
        </p:nvSpPr>
        <p:spPr>
          <a:xfrm>
            <a:off x="462237" y="1366591"/>
            <a:ext cx="523527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enziamento linea Ponte 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.Pietro-Bergamo-Montello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l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ddoppio Codogno-Cremona-Mantova 1^ fase</a:t>
            </a:r>
          </a:p>
          <a:p>
            <a:pPr marL="171450" marR="0" lvl="0" indent="-171450" algn="l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enziamento PRG di Bergamo</a:t>
            </a:r>
          </a:p>
          <a:p>
            <a:pPr marL="171450" marR="0" lvl="0" indent="-171450" algn="l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locizzazione Villa 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sargia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Carbonia</a:t>
            </a:r>
          </a:p>
          <a:p>
            <a:pPr marL="0" marR="0" lvl="0" indent="0" algn="l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4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5237168" y="795113"/>
            <a:ext cx="740679" cy="753751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Rettangolo 95">
            <a:extLst>
              <a:ext uri="{FF2B5EF4-FFF2-40B4-BE49-F238E27FC236}">
                <a16:creationId xmlns:a16="http://schemas.microsoft.com/office/drawing/2014/main" id="{68848478-3573-4A3D-9916-13E99C540A8F}"/>
              </a:ext>
            </a:extLst>
          </p:cNvPr>
          <p:cNvSpPr/>
          <p:nvPr/>
        </p:nvSpPr>
        <p:spPr>
          <a:xfrm>
            <a:off x="354736" y="3413152"/>
            <a:ext cx="5578993" cy="198975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" name="TextBox 24">
            <a:extLst>
              <a:ext uri="{FF2B5EF4-FFF2-40B4-BE49-F238E27FC236}">
                <a16:creationId xmlns:a16="http://schemas.microsoft.com/office/drawing/2014/main" id="{8ED9670A-7963-4C50-B342-72DCBB27BA43}"/>
              </a:ext>
            </a:extLst>
          </p:cNvPr>
          <p:cNvSpPr txBox="1">
            <a:spLocks/>
          </p:cNvSpPr>
          <p:nvPr/>
        </p:nvSpPr>
        <p:spPr>
          <a:xfrm>
            <a:off x="455881" y="3531840"/>
            <a:ext cx="5125060" cy="225767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l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67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TÀ METROPOLITANE</a:t>
            </a:r>
          </a:p>
        </p:txBody>
      </p:sp>
      <p:sp>
        <p:nvSpPr>
          <p:cNvPr id="98" name="Rettangolo 97">
            <a:extLst>
              <a:ext uri="{FF2B5EF4-FFF2-40B4-BE49-F238E27FC236}">
                <a16:creationId xmlns:a16="http://schemas.microsoft.com/office/drawing/2014/main" id="{79E66D7B-2CCE-4276-8F20-7196D25412DC}"/>
              </a:ext>
            </a:extLst>
          </p:cNvPr>
          <p:cNvSpPr/>
          <p:nvPr/>
        </p:nvSpPr>
        <p:spPr>
          <a:xfrm>
            <a:off x="455881" y="3858648"/>
            <a:ext cx="523527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do di Bari: Bari Nord</a:t>
            </a:r>
          </a:p>
          <a:p>
            <a:pPr marL="171450" indent="-171450" defTabSz="304770" fontAlgn="b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it-IT" sz="1600">
                <a:solidFill>
                  <a:srgbClr val="000000"/>
                </a:solidFill>
              </a:rPr>
              <a:t>Nodo di interscambio di Pigneto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l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do AV di Firenze</a:t>
            </a:r>
          </a:p>
          <a:p>
            <a:pPr marL="171450" lvl="0" indent="-171450" defTabSz="304770" fontAlgn="b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it-IT" sz="1600">
                <a:solidFill>
                  <a:srgbClr val="000000"/>
                </a:solidFill>
              </a:rPr>
              <a:t>ASI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erno: nuova stazione metropolitana zona industriale</a:t>
            </a:r>
          </a:p>
          <a:p>
            <a:pPr marL="171450" marR="0" lvl="0" indent="-171450" algn="l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enziamento e restyling stazioni ferroviaria Regione Marche, Lazio, Umbria e Abruzzo</a:t>
            </a:r>
          </a:p>
        </p:txBody>
      </p:sp>
      <p:sp>
        <p:nvSpPr>
          <p:cNvPr id="143" name="Rettangolo 142">
            <a:extLst>
              <a:ext uri="{FF2B5EF4-FFF2-40B4-BE49-F238E27FC236}">
                <a16:creationId xmlns:a16="http://schemas.microsoft.com/office/drawing/2014/main" id="{68848478-3573-4A3D-9916-13E99C540A8F}"/>
              </a:ext>
            </a:extLst>
          </p:cNvPr>
          <p:cNvSpPr/>
          <p:nvPr/>
        </p:nvSpPr>
        <p:spPr>
          <a:xfrm>
            <a:off x="6111365" y="3427573"/>
            <a:ext cx="5419121" cy="200073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4" name="TextBox 24">
            <a:extLst>
              <a:ext uri="{FF2B5EF4-FFF2-40B4-BE49-F238E27FC236}">
                <a16:creationId xmlns:a16="http://schemas.microsoft.com/office/drawing/2014/main" id="{8ED9670A-7963-4C50-B342-72DCBB27BA43}"/>
              </a:ext>
            </a:extLst>
          </p:cNvPr>
          <p:cNvSpPr txBox="1">
            <a:spLocks/>
          </p:cNvSpPr>
          <p:nvPr/>
        </p:nvSpPr>
        <p:spPr>
          <a:xfrm>
            <a:off x="6373460" y="3457947"/>
            <a:ext cx="5125060" cy="225767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r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67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TTRICI DI INTERESSE NAZIONALE</a:t>
            </a:r>
          </a:p>
        </p:txBody>
      </p:sp>
      <p:sp>
        <p:nvSpPr>
          <p:cNvPr id="145" name="Rettangolo 144">
            <a:extLst>
              <a:ext uri="{FF2B5EF4-FFF2-40B4-BE49-F238E27FC236}">
                <a16:creationId xmlns:a16="http://schemas.microsoft.com/office/drawing/2014/main" id="{79E66D7B-2CCE-4276-8F20-7196D25412DC}"/>
              </a:ext>
            </a:extLst>
          </p:cNvPr>
          <p:cNvSpPr/>
          <p:nvPr/>
        </p:nvSpPr>
        <p:spPr>
          <a:xfrm>
            <a:off x="6544599" y="3648104"/>
            <a:ext cx="496928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r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locizzazione AV/AC linea ferroviaria Adriatica</a:t>
            </a:r>
          </a:p>
          <a:p>
            <a:pPr marL="171450" lvl="0" indent="-171450" algn="r" defTabSz="304770" fontAlgn="b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it-IT" sz="1600">
                <a:solidFill>
                  <a:srgbClr val="000000"/>
                </a:solidFill>
              </a:rPr>
              <a:t> Nuovo collegamento Palermo-Catania 1^ e 2^ macrofase</a:t>
            </a:r>
          </a:p>
          <a:p>
            <a:pPr marL="171450" lvl="0" indent="-171450" algn="r" defTabSz="304770" fontAlgn="b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do di Udine</a:t>
            </a:r>
          </a:p>
          <a:p>
            <a:pPr marL="171450" marR="0" lvl="0" indent="-171450" algn="r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ma-Pescara fasi</a:t>
            </a:r>
          </a:p>
          <a:p>
            <a:pPr marL="171450" indent="-171450" algn="r" defTabSz="304770" fontAlgn="b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tto 4 Accesso al Brennero – ingresso nel nodo di Verona (opere anticipate</a:t>
            </a:r>
            <a:r>
              <a:rPr lang="it-IT" sz="1600">
                <a:solidFill>
                  <a:srgbClr val="000000"/>
                </a:solidFill>
              </a:rPr>
              <a:t>)</a:t>
            </a:r>
          </a:p>
          <a:p>
            <a:pPr marL="171450" marR="0" lvl="0" indent="-171450" algn="r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6" name="Rettangolo 145">
            <a:extLst>
              <a:ext uri="{FF2B5EF4-FFF2-40B4-BE49-F238E27FC236}">
                <a16:creationId xmlns:a16="http://schemas.microsoft.com/office/drawing/2014/main" id="{68848478-3573-4A3D-9916-13E99C540A8F}"/>
              </a:ext>
            </a:extLst>
          </p:cNvPr>
          <p:cNvSpPr/>
          <p:nvPr/>
        </p:nvSpPr>
        <p:spPr>
          <a:xfrm>
            <a:off x="6111365" y="1052005"/>
            <a:ext cx="5419121" cy="232659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7" name="TextBox 24">
            <a:extLst>
              <a:ext uri="{FF2B5EF4-FFF2-40B4-BE49-F238E27FC236}">
                <a16:creationId xmlns:a16="http://schemas.microsoft.com/office/drawing/2014/main" id="{8ED9670A-7963-4C50-B342-72DCBB27BA43}"/>
              </a:ext>
            </a:extLst>
          </p:cNvPr>
          <p:cNvSpPr txBox="1">
            <a:spLocks/>
          </p:cNvSpPr>
          <p:nvPr/>
        </p:nvSpPr>
        <p:spPr>
          <a:xfrm>
            <a:off x="7464160" y="1636505"/>
            <a:ext cx="4034360" cy="225767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r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67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RTI, AEROPORTI E TERMINALI </a:t>
            </a:r>
          </a:p>
        </p:txBody>
      </p:sp>
      <p:pic>
        <p:nvPicPr>
          <p:cNvPr id="47" name="Picture 18" descr="TRENO - Hotel Properzio Assisi"/>
          <p:cNvPicPr>
            <a:picLocks noChangeAspect="1" noChangeArrowheads="1"/>
          </p:cNvPicPr>
          <p:nvPr/>
        </p:nvPicPr>
        <p:blipFill>
          <a:blip r:embed="rId3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6623" y="888196"/>
            <a:ext cx="541768" cy="532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uppo 12"/>
          <p:cNvGrpSpPr/>
          <p:nvPr/>
        </p:nvGrpSpPr>
        <p:grpSpPr>
          <a:xfrm>
            <a:off x="6060266" y="869175"/>
            <a:ext cx="753751" cy="740679"/>
            <a:chOff x="5076604" y="5995217"/>
            <a:chExt cx="753751" cy="740679"/>
          </a:xfrm>
        </p:grpSpPr>
        <p:grpSp>
          <p:nvGrpSpPr>
            <p:cNvPr id="28" name="Gruppo 27"/>
            <p:cNvGrpSpPr/>
            <p:nvPr/>
          </p:nvGrpSpPr>
          <p:grpSpPr>
            <a:xfrm>
              <a:off x="5076604" y="5995217"/>
              <a:ext cx="753751" cy="740679"/>
              <a:chOff x="8718151" y="1061455"/>
              <a:chExt cx="753751" cy="740679"/>
            </a:xfrm>
          </p:grpSpPr>
          <p:sp>
            <p:nvSpPr>
              <p:cNvPr id="138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8724687" y="1054919"/>
                <a:ext cx="740679" cy="753751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anchor="ctr"/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1" i="0" u="none" strike="noStrike" kern="1200" cap="none" spc="-15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 581">
                <a:extLst>
                  <a:ext uri="{FF2B5EF4-FFF2-40B4-BE49-F238E27FC236}">
                    <a16:creationId xmlns:a16="http://schemas.microsoft.com/office/drawing/2014/main" id="{3D3E6481-D54E-4AF3-A12C-3539D9B468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87119" y="1337355"/>
                <a:ext cx="196293" cy="233144"/>
              </a:xfrm>
              <a:custGeom>
                <a:avLst/>
                <a:gdLst>
                  <a:gd name="T0" fmla="*/ 363 w 642"/>
                  <a:gd name="T1" fmla="*/ 721 h 811"/>
                  <a:gd name="T2" fmla="*/ 427 w 642"/>
                  <a:gd name="T3" fmla="*/ 750 h 811"/>
                  <a:gd name="T4" fmla="*/ 491 w 642"/>
                  <a:gd name="T5" fmla="*/ 721 h 811"/>
                  <a:gd name="T6" fmla="*/ 558 w 642"/>
                  <a:gd name="T7" fmla="*/ 712 h 811"/>
                  <a:gd name="T8" fmla="*/ 587 w 642"/>
                  <a:gd name="T9" fmla="*/ 740 h 811"/>
                  <a:gd name="T10" fmla="*/ 583 w 642"/>
                  <a:gd name="T11" fmla="*/ 782 h 811"/>
                  <a:gd name="T12" fmla="*/ 558 w 642"/>
                  <a:gd name="T13" fmla="*/ 773 h 811"/>
                  <a:gd name="T14" fmla="*/ 491 w 642"/>
                  <a:gd name="T15" fmla="*/ 782 h 811"/>
                  <a:gd name="T16" fmla="*/ 427 w 642"/>
                  <a:gd name="T17" fmla="*/ 811 h 811"/>
                  <a:gd name="T18" fmla="*/ 363 w 642"/>
                  <a:gd name="T19" fmla="*/ 782 h 811"/>
                  <a:gd name="T20" fmla="*/ 307 w 642"/>
                  <a:gd name="T21" fmla="*/ 769 h 811"/>
                  <a:gd name="T22" fmla="*/ 246 w 642"/>
                  <a:gd name="T23" fmla="*/ 801 h 811"/>
                  <a:gd name="T24" fmla="*/ 183 w 642"/>
                  <a:gd name="T25" fmla="*/ 801 h 811"/>
                  <a:gd name="T26" fmla="*/ 118 w 642"/>
                  <a:gd name="T27" fmla="*/ 768 h 811"/>
                  <a:gd name="T28" fmla="*/ 64 w 642"/>
                  <a:gd name="T29" fmla="*/ 783 h 811"/>
                  <a:gd name="T30" fmla="*/ 54 w 642"/>
                  <a:gd name="T31" fmla="*/ 778 h 811"/>
                  <a:gd name="T32" fmla="*/ 60 w 642"/>
                  <a:gd name="T33" fmla="*/ 725 h 811"/>
                  <a:gd name="T34" fmla="*/ 118 w 642"/>
                  <a:gd name="T35" fmla="*/ 707 h 811"/>
                  <a:gd name="T36" fmla="*/ 183 w 642"/>
                  <a:gd name="T37" fmla="*/ 740 h 811"/>
                  <a:gd name="T38" fmla="*/ 246 w 642"/>
                  <a:gd name="T39" fmla="*/ 740 h 811"/>
                  <a:gd name="T40" fmla="*/ 307 w 642"/>
                  <a:gd name="T41" fmla="*/ 707 h 811"/>
                  <a:gd name="T42" fmla="*/ 165 w 642"/>
                  <a:gd name="T43" fmla="*/ 107 h 811"/>
                  <a:gd name="T44" fmla="*/ 159 w 642"/>
                  <a:gd name="T45" fmla="*/ 167 h 811"/>
                  <a:gd name="T46" fmla="*/ 149 w 642"/>
                  <a:gd name="T47" fmla="*/ 182 h 811"/>
                  <a:gd name="T48" fmla="*/ 98 w 642"/>
                  <a:gd name="T49" fmla="*/ 182 h 811"/>
                  <a:gd name="T50" fmla="*/ 550 w 642"/>
                  <a:gd name="T51" fmla="*/ 258 h 811"/>
                  <a:gd name="T52" fmla="*/ 515 w 642"/>
                  <a:gd name="T53" fmla="*/ 182 h 811"/>
                  <a:gd name="T54" fmla="*/ 486 w 642"/>
                  <a:gd name="T55" fmla="*/ 176 h 811"/>
                  <a:gd name="T56" fmla="*/ 482 w 642"/>
                  <a:gd name="T57" fmla="*/ 115 h 811"/>
                  <a:gd name="T58" fmla="*/ 469 w 642"/>
                  <a:gd name="T59" fmla="*/ 105 h 811"/>
                  <a:gd name="T60" fmla="*/ 366 w 642"/>
                  <a:gd name="T61" fmla="*/ 2 h 811"/>
                  <a:gd name="T62" fmla="*/ 388 w 642"/>
                  <a:gd name="T63" fmla="*/ 57 h 811"/>
                  <a:gd name="T64" fmla="*/ 511 w 642"/>
                  <a:gd name="T65" fmla="*/ 79 h 811"/>
                  <a:gd name="T66" fmla="*/ 566 w 642"/>
                  <a:gd name="T67" fmla="*/ 153 h 811"/>
                  <a:gd name="T68" fmla="*/ 588 w 642"/>
                  <a:gd name="T69" fmla="*/ 264 h 811"/>
                  <a:gd name="T70" fmla="*/ 642 w 642"/>
                  <a:gd name="T71" fmla="*/ 296 h 811"/>
                  <a:gd name="T72" fmla="*/ 498 w 642"/>
                  <a:gd name="T73" fmla="*/ 690 h 811"/>
                  <a:gd name="T74" fmla="*/ 439 w 642"/>
                  <a:gd name="T75" fmla="*/ 724 h 811"/>
                  <a:gd name="T76" fmla="*/ 388 w 642"/>
                  <a:gd name="T77" fmla="*/ 708 h 811"/>
                  <a:gd name="T78" fmla="*/ 321 w 642"/>
                  <a:gd name="T79" fmla="*/ 684 h 811"/>
                  <a:gd name="T80" fmla="*/ 253 w 642"/>
                  <a:gd name="T81" fmla="*/ 708 h 811"/>
                  <a:gd name="T82" fmla="*/ 202 w 642"/>
                  <a:gd name="T83" fmla="*/ 724 h 811"/>
                  <a:gd name="T84" fmla="*/ 145 w 642"/>
                  <a:gd name="T85" fmla="*/ 690 h 811"/>
                  <a:gd name="T86" fmla="*/ 0 w 642"/>
                  <a:gd name="T87" fmla="*/ 296 h 811"/>
                  <a:gd name="T88" fmla="*/ 53 w 642"/>
                  <a:gd name="T89" fmla="*/ 264 h 811"/>
                  <a:gd name="T90" fmla="*/ 76 w 642"/>
                  <a:gd name="T91" fmla="*/ 153 h 811"/>
                  <a:gd name="T92" fmla="*/ 130 w 642"/>
                  <a:gd name="T93" fmla="*/ 79 h 811"/>
                  <a:gd name="T94" fmla="*/ 253 w 642"/>
                  <a:gd name="T95" fmla="*/ 57 h 811"/>
                  <a:gd name="T96" fmla="*/ 277 w 642"/>
                  <a:gd name="T97" fmla="*/ 2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42" h="811">
                    <a:moveTo>
                      <a:pt x="321" y="707"/>
                    </a:moveTo>
                    <a:lnTo>
                      <a:pt x="334" y="707"/>
                    </a:lnTo>
                    <a:lnTo>
                      <a:pt x="348" y="711"/>
                    </a:lnTo>
                    <a:lnTo>
                      <a:pt x="363" y="721"/>
                    </a:lnTo>
                    <a:lnTo>
                      <a:pt x="379" y="730"/>
                    </a:lnTo>
                    <a:lnTo>
                      <a:pt x="395" y="740"/>
                    </a:lnTo>
                    <a:lnTo>
                      <a:pt x="411" y="747"/>
                    </a:lnTo>
                    <a:lnTo>
                      <a:pt x="427" y="750"/>
                    </a:lnTo>
                    <a:lnTo>
                      <a:pt x="443" y="747"/>
                    </a:lnTo>
                    <a:lnTo>
                      <a:pt x="459" y="740"/>
                    </a:lnTo>
                    <a:lnTo>
                      <a:pt x="475" y="730"/>
                    </a:lnTo>
                    <a:lnTo>
                      <a:pt x="491" y="721"/>
                    </a:lnTo>
                    <a:lnTo>
                      <a:pt x="508" y="711"/>
                    </a:lnTo>
                    <a:lnTo>
                      <a:pt x="524" y="707"/>
                    </a:lnTo>
                    <a:lnTo>
                      <a:pt x="541" y="707"/>
                    </a:lnTo>
                    <a:lnTo>
                      <a:pt x="558" y="712"/>
                    </a:lnTo>
                    <a:lnTo>
                      <a:pt x="575" y="719"/>
                    </a:lnTo>
                    <a:lnTo>
                      <a:pt x="582" y="725"/>
                    </a:lnTo>
                    <a:lnTo>
                      <a:pt x="586" y="733"/>
                    </a:lnTo>
                    <a:lnTo>
                      <a:pt x="587" y="740"/>
                    </a:lnTo>
                    <a:lnTo>
                      <a:pt x="587" y="776"/>
                    </a:lnTo>
                    <a:lnTo>
                      <a:pt x="587" y="778"/>
                    </a:lnTo>
                    <a:lnTo>
                      <a:pt x="586" y="780"/>
                    </a:lnTo>
                    <a:lnTo>
                      <a:pt x="583" y="782"/>
                    </a:lnTo>
                    <a:lnTo>
                      <a:pt x="581" y="783"/>
                    </a:lnTo>
                    <a:lnTo>
                      <a:pt x="579" y="783"/>
                    </a:lnTo>
                    <a:lnTo>
                      <a:pt x="575" y="782"/>
                    </a:lnTo>
                    <a:lnTo>
                      <a:pt x="558" y="773"/>
                    </a:lnTo>
                    <a:lnTo>
                      <a:pt x="541" y="769"/>
                    </a:lnTo>
                    <a:lnTo>
                      <a:pt x="524" y="768"/>
                    </a:lnTo>
                    <a:lnTo>
                      <a:pt x="508" y="773"/>
                    </a:lnTo>
                    <a:lnTo>
                      <a:pt x="491" y="782"/>
                    </a:lnTo>
                    <a:lnTo>
                      <a:pt x="475" y="793"/>
                    </a:lnTo>
                    <a:lnTo>
                      <a:pt x="459" y="801"/>
                    </a:lnTo>
                    <a:lnTo>
                      <a:pt x="443" y="809"/>
                    </a:lnTo>
                    <a:lnTo>
                      <a:pt x="427" y="811"/>
                    </a:lnTo>
                    <a:lnTo>
                      <a:pt x="411" y="809"/>
                    </a:lnTo>
                    <a:lnTo>
                      <a:pt x="395" y="801"/>
                    </a:lnTo>
                    <a:lnTo>
                      <a:pt x="379" y="793"/>
                    </a:lnTo>
                    <a:lnTo>
                      <a:pt x="363" y="782"/>
                    </a:lnTo>
                    <a:lnTo>
                      <a:pt x="348" y="773"/>
                    </a:lnTo>
                    <a:lnTo>
                      <a:pt x="334" y="769"/>
                    </a:lnTo>
                    <a:lnTo>
                      <a:pt x="321" y="768"/>
                    </a:lnTo>
                    <a:lnTo>
                      <a:pt x="307" y="769"/>
                    </a:lnTo>
                    <a:lnTo>
                      <a:pt x="295" y="773"/>
                    </a:lnTo>
                    <a:lnTo>
                      <a:pt x="278" y="782"/>
                    </a:lnTo>
                    <a:lnTo>
                      <a:pt x="262" y="793"/>
                    </a:lnTo>
                    <a:lnTo>
                      <a:pt x="246" y="801"/>
                    </a:lnTo>
                    <a:lnTo>
                      <a:pt x="231" y="809"/>
                    </a:lnTo>
                    <a:lnTo>
                      <a:pt x="214" y="811"/>
                    </a:lnTo>
                    <a:lnTo>
                      <a:pt x="198" y="809"/>
                    </a:lnTo>
                    <a:lnTo>
                      <a:pt x="183" y="801"/>
                    </a:lnTo>
                    <a:lnTo>
                      <a:pt x="167" y="793"/>
                    </a:lnTo>
                    <a:lnTo>
                      <a:pt x="151" y="782"/>
                    </a:lnTo>
                    <a:lnTo>
                      <a:pt x="135" y="773"/>
                    </a:lnTo>
                    <a:lnTo>
                      <a:pt x="118" y="768"/>
                    </a:lnTo>
                    <a:lnTo>
                      <a:pt x="101" y="769"/>
                    </a:lnTo>
                    <a:lnTo>
                      <a:pt x="83" y="773"/>
                    </a:lnTo>
                    <a:lnTo>
                      <a:pt x="66" y="782"/>
                    </a:lnTo>
                    <a:lnTo>
                      <a:pt x="64" y="783"/>
                    </a:lnTo>
                    <a:lnTo>
                      <a:pt x="61" y="783"/>
                    </a:lnTo>
                    <a:lnTo>
                      <a:pt x="58" y="782"/>
                    </a:lnTo>
                    <a:lnTo>
                      <a:pt x="57" y="780"/>
                    </a:lnTo>
                    <a:lnTo>
                      <a:pt x="54" y="778"/>
                    </a:lnTo>
                    <a:lnTo>
                      <a:pt x="54" y="776"/>
                    </a:lnTo>
                    <a:lnTo>
                      <a:pt x="54" y="740"/>
                    </a:lnTo>
                    <a:lnTo>
                      <a:pt x="55" y="733"/>
                    </a:lnTo>
                    <a:lnTo>
                      <a:pt x="60" y="725"/>
                    </a:lnTo>
                    <a:lnTo>
                      <a:pt x="66" y="719"/>
                    </a:lnTo>
                    <a:lnTo>
                      <a:pt x="83" y="712"/>
                    </a:lnTo>
                    <a:lnTo>
                      <a:pt x="101" y="707"/>
                    </a:lnTo>
                    <a:lnTo>
                      <a:pt x="118" y="707"/>
                    </a:lnTo>
                    <a:lnTo>
                      <a:pt x="135" y="711"/>
                    </a:lnTo>
                    <a:lnTo>
                      <a:pt x="151" y="721"/>
                    </a:lnTo>
                    <a:lnTo>
                      <a:pt x="167" y="730"/>
                    </a:lnTo>
                    <a:lnTo>
                      <a:pt x="183" y="740"/>
                    </a:lnTo>
                    <a:lnTo>
                      <a:pt x="198" y="747"/>
                    </a:lnTo>
                    <a:lnTo>
                      <a:pt x="214" y="750"/>
                    </a:lnTo>
                    <a:lnTo>
                      <a:pt x="231" y="747"/>
                    </a:lnTo>
                    <a:lnTo>
                      <a:pt x="246" y="740"/>
                    </a:lnTo>
                    <a:lnTo>
                      <a:pt x="262" y="730"/>
                    </a:lnTo>
                    <a:lnTo>
                      <a:pt x="278" y="721"/>
                    </a:lnTo>
                    <a:lnTo>
                      <a:pt x="295" y="711"/>
                    </a:lnTo>
                    <a:lnTo>
                      <a:pt x="307" y="707"/>
                    </a:lnTo>
                    <a:lnTo>
                      <a:pt x="321" y="707"/>
                    </a:lnTo>
                    <a:close/>
                    <a:moveTo>
                      <a:pt x="174" y="105"/>
                    </a:moveTo>
                    <a:lnTo>
                      <a:pt x="169" y="105"/>
                    </a:lnTo>
                    <a:lnTo>
                      <a:pt x="165" y="107"/>
                    </a:lnTo>
                    <a:lnTo>
                      <a:pt x="162" y="111"/>
                    </a:lnTo>
                    <a:lnTo>
                      <a:pt x="159" y="115"/>
                    </a:lnTo>
                    <a:lnTo>
                      <a:pt x="159" y="120"/>
                    </a:lnTo>
                    <a:lnTo>
                      <a:pt x="159" y="167"/>
                    </a:lnTo>
                    <a:lnTo>
                      <a:pt x="158" y="172"/>
                    </a:lnTo>
                    <a:lnTo>
                      <a:pt x="157" y="176"/>
                    </a:lnTo>
                    <a:lnTo>
                      <a:pt x="153" y="179"/>
                    </a:lnTo>
                    <a:lnTo>
                      <a:pt x="149" y="182"/>
                    </a:lnTo>
                    <a:lnTo>
                      <a:pt x="145" y="182"/>
                    </a:lnTo>
                    <a:lnTo>
                      <a:pt x="126" y="182"/>
                    </a:lnTo>
                    <a:lnTo>
                      <a:pt x="110" y="182"/>
                    </a:lnTo>
                    <a:lnTo>
                      <a:pt x="98" y="182"/>
                    </a:lnTo>
                    <a:lnTo>
                      <a:pt x="92" y="182"/>
                    </a:lnTo>
                    <a:lnTo>
                      <a:pt x="92" y="258"/>
                    </a:lnTo>
                    <a:lnTo>
                      <a:pt x="321" y="227"/>
                    </a:lnTo>
                    <a:lnTo>
                      <a:pt x="550" y="258"/>
                    </a:lnTo>
                    <a:lnTo>
                      <a:pt x="550" y="182"/>
                    </a:lnTo>
                    <a:lnTo>
                      <a:pt x="544" y="182"/>
                    </a:lnTo>
                    <a:lnTo>
                      <a:pt x="532" y="182"/>
                    </a:lnTo>
                    <a:lnTo>
                      <a:pt x="515" y="182"/>
                    </a:lnTo>
                    <a:lnTo>
                      <a:pt x="497" y="182"/>
                    </a:lnTo>
                    <a:lnTo>
                      <a:pt x="493" y="182"/>
                    </a:lnTo>
                    <a:lnTo>
                      <a:pt x="488" y="179"/>
                    </a:lnTo>
                    <a:lnTo>
                      <a:pt x="486" y="176"/>
                    </a:lnTo>
                    <a:lnTo>
                      <a:pt x="483" y="172"/>
                    </a:lnTo>
                    <a:lnTo>
                      <a:pt x="483" y="167"/>
                    </a:lnTo>
                    <a:lnTo>
                      <a:pt x="483" y="120"/>
                    </a:lnTo>
                    <a:lnTo>
                      <a:pt x="482" y="115"/>
                    </a:lnTo>
                    <a:lnTo>
                      <a:pt x="480" y="111"/>
                    </a:lnTo>
                    <a:lnTo>
                      <a:pt x="477" y="107"/>
                    </a:lnTo>
                    <a:lnTo>
                      <a:pt x="472" y="105"/>
                    </a:lnTo>
                    <a:lnTo>
                      <a:pt x="469" y="105"/>
                    </a:lnTo>
                    <a:lnTo>
                      <a:pt x="174" y="105"/>
                    </a:lnTo>
                    <a:close/>
                    <a:moveTo>
                      <a:pt x="290" y="0"/>
                    </a:moveTo>
                    <a:lnTo>
                      <a:pt x="351" y="0"/>
                    </a:lnTo>
                    <a:lnTo>
                      <a:pt x="366" y="2"/>
                    </a:lnTo>
                    <a:lnTo>
                      <a:pt x="378" y="11"/>
                    </a:lnTo>
                    <a:lnTo>
                      <a:pt x="385" y="23"/>
                    </a:lnTo>
                    <a:lnTo>
                      <a:pt x="388" y="37"/>
                    </a:lnTo>
                    <a:lnTo>
                      <a:pt x="388" y="57"/>
                    </a:lnTo>
                    <a:lnTo>
                      <a:pt x="477" y="57"/>
                    </a:lnTo>
                    <a:lnTo>
                      <a:pt x="492" y="60"/>
                    </a:lnTo>
                    <a:lnTo>
                      <a:pt x="503" y="68"/>
                    </a:lnTo>
                    <a:lnTo>
                      <a:pt x="511" y="79"/>
                    </a:lnTo>
                    <a:lnTo>
                      <a:pt x="514" y="94"/>
                    </a:lnTo>
                    <a:lnTo>
                      <a:pt x="514" y="150"/>
                    </a:lnTo>
                    <a:lnTo>
                      <a:pt x="552" y="150"/>
                    </a:lnTo>
                    <a:lnTo>
                      <a:pt x="566" y="153"/>
                    </a:lnTo>
                    <a:lnTo>
                      <a:pt x="577" y="161"/>
                    </a:lnTo>
                    <a:lnTo>
                      <a:pt x="586" y="172"/>
                    </a:lnTo>
                    <a:lnTo>
                      <a:pt x="588" y="187"/>
                    </a:lnTo>
                    <a:lnTo>
                      <a:pt x="588" y="264"/>
                    </a:lnTo>
                    <a:lnTo>
                      <a:pt x="614" y="267"/>
                    </a:lnTo>
                    <a:lnTo>
                      <a:pt x="627" y="272"/>
                    </a:lnTo>
                    <a:lnTo>
                      <a:pt x="637" y="282"/>
                    </a:lnTo>
                    <a:lnTo>
                      <a:pt x="642" y="296"/>
                    </a:lnTo>
                    <a:lnTo>
                      <a:pt x="641" y="310"/>
                    </a:lnTo>
                    <a:lnTo>
                      <a:pt x="526" y="684"/>
                    </a:lnTo>
                    <a:lnTo>
                      <a:pt x="511" y="685"/>
                    </a:lnTo>
                    <a:lnTo>
                      <a:pt x="498" y="690"/>
                    </a:lnTo>
                    <a:lnTo>
                      <a:pt x="482" y="699"/>
                    </a:lnTo>
                    <a:lnTo>
                      <a:pt x="466" y="708"/>
                    </a:lnTo>
                    <a:lnTo>
                      <a:pt x="453" y="717"/>
                    </a:lnTo>
                    <a:lnTo>
                      <a:pt x="439" y="724"/>
                    </a:lnTo>
                    <a:lnTo>
                      <a:pt x="427" y="727"/>
                    </a:lnTo>
                    <a:lnTo>
                      <a:pt x="415" y="724"/>
                    </a:lnTo>
                    <a:lnTo>
                      <a:pt x="403" y="717"/>
                    </a:lnTo>
                    <a:lnTo>
                      <a:pt x="388" y="708"/>
                    </a:lnTo>
                    <a:lnTo>
                      <a:pt x="373" y="699"/>
                    </a:lnTo>
                    <a:lnTo>
                      <a:pt x="357" y="690"/>
                    </a:lnTo>
                    <a:lnTo>
                      <a:pt x="339" y="685"/>
                    </a:lnTo>
                    <a:lnTo>
                      <a:pt x="321" y="684"/>
                    </a:lnTo>
                    <a:lnTo>
                      <a:pt x="302" y="685"/>
                    </a:lnTo>
                    <a:lnTo>
                      <a:pt x="285" y="690"/>
                    </a:lnTo>
                    <a:lnTo>
                      <a:pt x="269" y="699"/>
                    </a:lnTo>
                    <a:lnTo>
                      <a:pt x="253" y="708"/>
                    </a:lnTo>
                    <a:lnTo>
                      <a:pt x="240" y="717"/>
                    </a:lnTo>
                    <a:lnTo>
                      <a:pt x="227" y="724"/>
                    </a:lnTo>
                    <a:lnTo>
                      <a:pt x="214" y="727"/>
                    </a:lnTo>
                    <a:lnTo>
                      <a:pt x="202" y="724"/>
                    </a:lnTo>
                    <a:lnTo>
                      <a:pt x="190" y="717"/>
                    </a:lnTo>
                    <a:lnTo>
                      <a:pt x="175" y="708"/>
                    </a:lnTo>
                    <a:lnTo>
                      <a:pt x="160" y="699"/>
                    </a:lnTo>
                    <a:lnTo>
                      <a:pt x="145" y="690"/>
                    </a:lnTo>
                    <a:lnTo>
                      <a:pt x="131" y="685"/>
                    </a:lnTo>
                    <a:lnTo>
                      <a:pt x="116" y="684"/>
                    </a:lnTo>
                    <a:lnTo>
                      <a:pt x="2" y="310"/>
                    </a:lnTo>
                    <a:lnTo>
                      <a:pt x="0" y="296"/>
                    </a:lnTo>
                    <a:lnTo>
                      <a:pt x="5" y="282"/>
                    </a:lnTo>
                    <a:lnTo>
                      <a:pt x="15" y="272"/>
                    </a:lnTo>
                    <a:lnTo>
                      <a:pt x="28" y="267"/>
                    </a:lnTo>
                    <a:lnTo>
                      <a:pt x="53" y="264"/>
                    </a:lnTo>
                    <a:lnTo>
                      <a:pt x="53" y="187"/>
                    </a:lnTo>
                    <a:lnTo>
                      <a:pt x="57" y="172"/>
                    </a:lnTo>
                    <a:lnTo>
                      <a:pt x="64" y="161"/>
                    </a:lnTo>
                    <a:lnTo>
                      <a:pt x="76" y="153"/>
                    </a:lnTo>
                    <a:lnTo>
                      <a:pt x="91" y="150"/>
                    </a:lnTo>
                    <a:lnTo>
                      <a:pt x="127" y="150"/>
                    </a:lnTo>
                    <a:lnTo>
                      <a:pt x="127" y="94"/>
                    </a:lnTo>
                    <a:lnTo>
                      <a:pt x="130" y="79"/>
                    </a:lnTo>
                    <a:lnTo>
                      <a:pt x="138" y="68"/>
                    </a:lnTo>
                    <a:lnTo>
                      <a:pt x="151" y="60"/>
                    </a:lnTo>
                    <a:lnTo>
                      <a:pt x="164" y="57"/>
                    </a:lnTo>
                    <a:lnTo>
                      <a:pt x="253" y="57"/>
                    </a:lnTo>
                    <a:lnTo>
                      <a:pt x="253" y="37"/>
                    </a:lnTo>
                    <a:lnTo>
                      <a:pt x="256" y="23"/>
                    </a:lnTo>
                    <a:lnTo>
                      <a:pt x="264" y="11"/>
                    </a:lnTo>
                    <a:lnTo>
                      <a:pt x="277" y="2"/>
                    </a:lnTo>
                    <a:lnTo>
                      <a:pt x="290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12290" name="Picture 2" descr="Crane - Free industry icons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53882" y="6206052"/>
              <a:ext cx="314413" cy="3144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8" name="Rettangolo 57">
            <a:extLst>
              <a:ext uri="{FF2B5EF4-FFF2-40B4-BE49-F238E27FC236}">
                <a16:creationId xmlns:a16="http://schemas.microsoft.com/office/drawing/2014/main" id="{79E66D7B-2CCE-4276-8F20-7196D25412DC}"/>
              </a:ext>
            </a:extLst>
          </p:cNvPr>
          <p:cNvSpPr/>
          <p:nvPr/>
        </p:nvSpPr>
        <p:spPr>
          <a:xfrm>
            <a:off x="6056977" y="1965394"/>
            <a:ext cx="544154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r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llegamento ferroviario aeroporto di Olbia</a:t>
            </a:r>
          </a:p>
          <a:p>
            <a:pPr marL="171450" marR="0" lvl="0" indent="-171450" algn="r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minal scalo merci Valle 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fita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171450" marR="0" lvl="0" indent="-171450" algn="r" defTabSz="30477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389FF064-D858-4DDE-92AD-83DF8BE2AD8F}"/>
              </a:ext>
            </a:extLst>
          </p:cNvPr>
          <p:cNvGrpSpPr/>
          <p:nvPr/>
        </p:nvGrpSpPr>
        <p:grpSpPr>
          <a:xfrm>
            <a:off x="6794058" y="853360"/>
            <a:ext cx="753751" cy="740679"/>
            <a:chOff x="6561726" y="1877318"/>
            <a:chExt cx="753751" cy="740679"/>
          </a:xfrm>
        </p:grpSpPr>
        <p:sp>
          <p:nvSpPr>
            <p:cNvPr id="59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6568262" y="1870782"/>
              <a:ext cx="740679" cy="753751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3019">
              <a:extLst>
                <a:ext uri="{FF2B5EF4-FFF2-40B4-BE49-F238E27FC236}">
                  <a16:creationId xmlns:a16="http://schemas.microsoft.com/office/drawing/2014/main" id="{A079DD7B-A267-4D20-ACA6-9270C842F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6901" y="2040355"/>
              <a:ext cx="432472" cy="459276"/>
            </a:xfrm>
            <a:custGeom>
              <a:avLst/>
              <a:gdLst/>
              <a:ahLst/>
              <a:cxnLst>
                <a:cxn ang="0">
                  <a:pos x="697" y="22"/>
                </a:cxn>
                <a:cxn ang="0">
                  <a:pos x="617" y="22"/>
                </a:cxn>
                <a:cxn ang="0">
                  <a:pos x="461" y="179"/>
                </a:cxn>
                <a:cxn ang="0">
                  <a:pos x="65" y="89"/>
                </a:cxn>
                <a:cxn ang="0">
                  <a:pos x="45" y="95"/>
                </a:cxn>
                <a:cxn ang="0">
                  <a:pos x="7" y="134"/>
                </a:cxn>
                <a:cxn ang="0">
                  <a:pos x="1" y="153"/>
                </a:cxn>
                <a:cxn ang="0">
                  <a:pos x="13" y="169"/>
                </a:cxn>
                <a:cxn ang="0">
                  <a:pos x="328" y="312"/>
                </a:cxn>
                <a:cxn ang="0">
                  <a:pos x="184" y="456"/>
                </a:cxn>
                <a:cxn ang="0">
                  <a:pos x="59" y="448"/>
                </a:cxn>
                <a:cxn ang="0">
                  <a:pos x="42" y="454"/>
                </a:cxn>
                <a:cxn ang="0">
                  <a:pos x="22" y="475"/>
                </a:cxn>
                <a:cxn ang="0">
                  <a:pos x="16" y="495"/>
                </a:cxn>
                <a:cxn ang="0">
                  <a:pos x="30" y="510"/>
                </a:cxn>
                <a:cxn ang="0">
                  <a:pos x="160" y="559"/>
                </a:cxn>
                <a:cxn ang="0">
                  <a:pos x="209" y="690"/>
                </a:cxn>
                <a:cxn ang="0">
                  <a:pos x="225" y="703"/>
                </a:cxn>
                <a:cxn ang="0">
                  <a:pos x="229" y="704"/>
                </a:cxn>
                <a:cxn ang="0">
                  <a:pos x="245" y="698"/>
                </a:cxn>
                <a:cxn ang="0">
                  <a:pos x="265" y="677"/>
                </a:cxn>
                <a:cxn ang="0">
                  <a:pos x="271" y="661"/>
                </a:cxn>
                <a:cxn ang="0">
                  <a:pos x="264" y="535"/>
                </a:cxn>
                <a:cxn ang="0">
                  <a:pos x="407" y="392"/>
                </a:cxn>
                <a:cxn ang="0">
                  <a:pos x="551" y="706"/>
                </a:cxn>
                <a:cxn ang="0">
                  <a:pos x="567" y="718"/>
                </a:cxn>
                <a:cxn ang="0">
                  <a:pos x="571" y="719"/>
                </a:cxn>
                <a:cxn ang="0">
                  <a:pos x="586" y="712"/>
                </a:cxn>
                <a:cxn ang="0">
                  <a:pos x="624" y="674"/>
                </a:cxn>
                <a:cxn ang="0">
                  <a:pos x="630" y="654"/>
                </a:cxn>
                <a:cxn ang="0">
                  <a:pos x="541" y="258"/>
                </a:cxn>
                <a:cxn ang="0">
                  <a:pos x="697" y="102"/>
                </a:cxn>
                <a:cxn ang="0">
                  <a:pos x="697" y="22"/>
                </a:cxn>
              </a:cxnLst>
              <a:rect l="0" t="0" r="r" b="b"/>
              <a:pathLst>
                <a:path w="719" h="719">
                  <a:moveTo>
                    <a:pt x="697" y="22"/>
                  </a:moveTo>
                  <a:cubicBezTo>
                    <a:pt x="675" y="0"/>
                    <a:pt x="639" y="0"/>
                    <a:pt x="617" y="22"/>
                  </a:cubicBezTo>
                  <a:cubicBezTo>
                    <a:pt x="461" y="179"/>
                    <a:pt x="461" y="179"/>
                    <a:pt x="461" y="17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58" y="88"/>
                    <a:pt x="51" y="90"/>
                    <a:pt x="45" y="95"/>
                  </a:cubicBezTo>
                  <a:cubicBezTo>
                    <a:pt x="7" y="134"/>
                    <a:pt x="7" y="134"/>
                    <a:pt x="7" y="134"/>
                  </a:cubicBezTo>
                  <a:cubicBezTo>
                    <a:pt x="2" y="139"/>
                    <a:pt x="0" y="146"/>
                    <a:pt x="1" y="153"/>
                  </a:cubicBezTo>
                  <a:cubicBezTo>
                    <a:pt x="2" y="160"/>
                    <a:pt x="7" y="166"/>
                    <a:pt x="13" y="169"/>
                  </a:cubicBezTo>
                  <a:cubicBezTo>
                    <a:pt x="328" y="312"/>
                    <a:pt x="328" y="312"/>
                    <a:pt x="328" y="312"/>
                  </a:cubicBezTo>
                  <a:cubicBezTo>
                    <a:pt x="184" y="456"/>
                    <a:pt x="184" y="456"/>
                    <a:pt x="184" y="456"/>
                  </a:cubicBezTo>
                  <a:cubicBezTo>
                    <a:pt x="59" y="448"/>
                    <a:pt x="59" y="448"/>
                    <a:pt x="59" y="448"/>
                  </a:cubicBezTo>
                  <a:cubicBezTo>
                    <a:pt x="53" y="448"/>
                    <a:pt x="47" y="450"/>
                    <a:pt x="42" y="454"/>
                  </a:cubicBezTo>
                  <a:cubicBezTo>
                    <a:pt x="22" y="475"/>
                    <a:pt x="22" y="475"/>
                    <a:pt x="22" y="475"/>
                  </a:cubicBezTo>
                  <a:cubicBezTo>
                    <a:pt x="17" y="480"/>
                    <a:pt x="14" y="488"/>
                    <a:pt x="16" y="495"/>
                  </a:cubicBezTo>
                  <a:cubicBezTo>
                    <a:pt x="18" y="502"/>
                    <a:pt x="23" y="508"/>
                    <a:pt x="30" y="510"/>
                  </a:cubicBezTo>
                  <a:cubicBezTo>
                    <a:pt x="160" y="559"/>
                    <a:pt x="160" y="559"/>
                    <a:pt x="160" y="559"/>
                  </a:cubicBezTo>
                  <a:cubicBezTo>
                    <a:pt x="209" y="690"/>
                    <a:pt x="209" y="690"/>
                    <a:pt x="209" y="690"/>
                  </a:cubicBezTo>
                  <a:cubicBezTo>
                    <a:pt x="212" y="697"/>
                    <a:pt x="217" y="702"/>
                    <a:pt x="225" y="703"/>
                  </a:cubicBezTo>
                  <a:cubicBezTo>
                    <a:pt x="226" y="704"/>
                    <a:pt x="228" y="704"/>
                    <a:pt x="229" y="704"/>
                  </a:cubicBezTo>
                  <a:cubicBezTo>
                    <a:pt x="235" y="704"/>
                    <a:pt x="240" y="702"/>
                    <a:pt x="245" y="698"/>
                  </a:cubicBezTo>
                  <a:cubicBezTo>
                    <a:pt x="265" y="677"/>
                    <a:pt x="265" y="677"/>
                    <a:pt x="265" y="677"/>
                  </a:cubicBezTo>
                  <a:cubicBezTo>
                    <a:pt x="269" y="673"/>
                    <a:pt x="272" y="667"/>
                    <a:pt x="271" y="661"/>
                  </a:cubicBezTo>
                  <a:cubicBezTo>
                    <a:pt x="264" y="535"/>
                    <a:pt x="264" y="535"/>
                    <a:pt x="264" y="535"/>
                  </a:cubicBezTo>
                  <a:cubicBezTo>
                    <a:pt x="407" y="392"/>
                    <a:pt x="407" y="392"/>
                    <a:pt x="407" y="392"/>
                  </a:cubicBezTo>
                  <a:cubicBezTo>
                    <a:pt x="551" y="706"/>
                    <a:pt x="551" y="706"/>
                    <a:pt x="551" y="706"/>
                  </a:cubicBezTo>
                  <a:cubicBezTo>
                    <a:pt x="554" y="713"/>
                    <a:pt x="560" y="717"/>
                    <a:pt x="567" y="718"/>
                  </a:cubicBezTo>
                  <a:cubicBezTo>
                    <a:pt x="568" y="719"/>
                    <a:pt x="569" y="719"/>
                    <a:pt x="571" y="719"/>
                  </a:cubicBezTo>
                  <a:cubicBezTo>
                    <a:pt x="576" y="719"/>
                    <a:pt x="582" y="717"/>
                    <a:pt x="586" y="712"/>
                  </a:cubicBezTo>
                  <a:cubicBezTo>
                    <a:pt x="624" y="674"/>
                    <a:pt x="624" y="674"/>
                    <a:pt x="624" y="674"/>
                  </a:cubicBezTo>
                  <a:cubicBezTo>
                    <a:pt x="630" y="669"/>
                    <a:pt x="632" y="661"/>
                    <a:pt x="630" y="654"/>
                  </a:cubicBezTo>
                  <a:cubicBezTo>
                    <a:pt x="541" y="258"/>
                    <a:pt x="541" y="258"/>
                    <a:pt x="541" y="258"/>
                  </a:cubicBezTo>
                  <a:cubicBezTo>
                    <a:pt x="697" y="102"/>
                    <a:pt x="697" y="102"/>
                    <a:pt x="697" y="102"/>
                  </a:cubicBezTo>
                  <a:cubicBezTo>
                    <a:pt x="719" y="80"/>
                    <a:pt x="719" y="44"/>
                    <a:pt x="697" y="2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6" name="Gruppo 15"/>
          <p:cNvGrpSpPr/>
          <p:nvPr/>
        </p:nvGrpSpPr>
        <p:grpSpPr>
          <a:xfrm>
            <a:off x="5172698" y="2652954"/>
            <a:ext cx="1775224" cy="1156720"/>
            <a:chOff x="5189241" y="3726058"/>
            <a:chExt cx="1775224" cy="1156720"/>
          </a:xfrm>
        </p:grpSpPr>
        <p:sp>
          <p:nvSpPr>
            <p:cNvPr id="21" name="Ovale 20">
              <a:extLst>
                <a:ext uri="{FF2B5EF4-FFF2-40B4-BE49-F238E27FC236}">
                  <a16:creationId xmlns:a16="http://schemas.microsoft.com/office/drawing/2014/main" id="{C9CC12BD-20DB-429E-82F3-54461D1BF4BA}"/>
                </a:ext>
              </a:extLst>
            </p:cNvPr>
            <p:cNvSpPr/>
            <p:nvPr/>
          </p:nvSpPr>
          <p:spPr>
            <a:xfrm>
              <a:off x="5554852" y="3837289"/>
              <a:ext cx="1044000" cy="1045489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Ovale 21">
              <a:extLst>
                <a:ext uri="{FF2B5EF4-FFF2-40B4-BE49-F238E27FC236}">
                  <a16:creationId xmlns:a16="http://schemas.microsoft.com/office/drawing/2014/main" id="{DEE9510F-4D17-4BF1-B933-E1FC186A7EAD}"/>
                </a:ext>
              </a:extLst>
            </p:cNvPr>
            <p:cNvSpPr/>
            <p:nvPr/>
          </p:nvSpPr>
          <p:spPr>
            <a:xfrm>
              <a:off x="5189241" y="4207576"/>
              <a:ext cx="1775223" cy="54088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iliardi di euro</a:t>
              </a:r>
            </a:p>
          </p:txBody>
        </p:sp>
        <p:sp>
          <p:nvSpPr>
            <p:cNvPr id="24" name="Ovale 23">
              <a:extLst>
                <a:ext uri="{FF2B5EF4-FFF2-40B4-BE49-F238E27FC236}">
                  <a16:creationId xmlns:a16="http://schemas.microsoft.com/office/drawing/2014/main" id="{DEE9510F-4D17-4BF1-B933-E1FC186A7EAD}"/>
                </a:ext>
              </a:extLst>
            </p:cNvPr>
            <p:cNvSpPr/>
            <p:nvPr/>
          </p:nvSpPr>
          <p:spPr>
            <a:xfrm>
              <a:off x="5189242" y="3726058"/>
              <a:ext cx="1775223" cy="84850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,32</a:t>
              </a:r>
            </a:p>
          </p:txBody>
        </p:sp>
      </p:grpSp>
      <p:sp>
        <p:nvSpPr>
          <p:cNvPr id="102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7854671" y="3050697"/>
            <a:ext cx="740679" cy="753751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Freeform 59">
            <a:extLst>
              <a:ext uri="{FF2B5EF4-FFF2-40B4-BE49-F238E27FC236}">
                <a16:creationId xmlns:a16="http://schemas.microsoft.com/office/drawing/2014/main" id="{99A1C32E-D269-418A-9AF3-BF07FBDBB41A}"/>
              </a:ext>
            </a:extLst>
          </p:cNvPr>
          <p:cNvSpPr>
            <a:spLocks noEditPoints="1"/>
          </p:cNvSpPr>
          <p:nvPr/>
        </p:nvSpPr>
        <p:spPr bwMode="auto">
          <a:xfrm>
            <a:off x="7949618" y="3089919"/>
            <a:ext cx="548691" cy="642731"/>
          </a:xfrm>
          <a:custGeom>
            <a:avLst/>
            <a:gdLst>
              <a:gd name="T0" fmla="*/ 2077 w 3960"/>
              <a:gd name="T1" fmla="*/ 4332 h 4860"/>
              <a:gd name="T2" fmla="*/ 3097 w 3960"/>
              <a:gd name="T3" fmla="*/ 3778 h 4860"/>
              <a:gd name="T4" fmla="*/ 3182 w 3960"/>
              <a:gd name="T5" fmla="*/ 4065 h 4860"/>
              <a:gd name="T6" fmla="*/ 2877 w 3960"/>
              <a:gd name="T7" fmla="*/ 4150 h 4860"/>
              <a:gd name="T8" fmla="*/ 2233 w 3960"/>
              <a:gd name="T9" fmla="*/ 3958 h 4860"/>
              <a:gd name="T10" fmla="*/ 2266 w 3960"/>
              <a:gd name="T11" fmla="*/ 3734 h 4860"/>
              <a:gd name="T12" fmla="*/ 2567 w 3960"/>
              <a:gd name="T13" fmla="*/ 3752 h 4860"/>
              <a:gd name="T14" fmla="*/ 3054 w 3960"/>
              <a:gd name="T15" fmla="*/ 3596 h 4860"/>
              <a:gd name="T16" fmla="*/ 2959 w 3960"/>
              <a:gd name="T17" fmla="*/ 3459 h 4860"/>
              <a:gd name="T18" fmla="*/ 3026 w 3960"/>
              <a:gd name="T19" fmla="*/ 3336 h 4860"/>
              <a:gd name="T20" fmla="*/ 752 w 3960"/>
              <a:gd name="T21" fmla="*/ 3532 h 4860"/>
              <a:gd name="T22" fmla="*/ 664 w 3960"/>
              <a:gd name="T23" fmla="*/ 2730 h 4860"/>
              <a:gd name="T24" fmla="*/ 981 w 3960"/>
              <a:gd name="T25" fmla="*/ 2603 h 4860"/>
              <a:gd name="T26" fmla="*/ 1076 w 3960"/>
              <a:gd name="T27" fmla="*/ 2629 h 4860"/>
              <a:gd name="T28" fmla="*/ 1097 w 3960"/>
              <a:gd name="T29" fmla="*/ 2719 h 4860"/>
              <a:gd name="T30" fmla="*/ 1164 w 3960"/>
              <a:gd name="T31" fmla="*/ 2941 h 4860"/>
              <a:gd name="T32" fmla="*/ 1173 w 3960"/>
              <a:gd name="T33" fmla="*/ 3253 h 4860"/>
              <a:gd name="T34" fmla="*/ 1050 w 3960"/>
              <a:gd name="T35" fmla="*/ 3445 h 4860"/>
              <a:gd name="T36" fmla="*/ 929 w 3960"/>
              <a:gd name="T37" fmla="*/ 3596 h 4860"/>
              <a:gd name="T38" fmla="*/ 776 w 3960"/>
              <a:gd name="T39" fmla="*/ 3476 h 4860"/>
              <a:gd name="T40" fmla="*/ 809 w 3960"/>
              <a:gd name="T41" fmla="*/ 3218 h 4860"/>
              <a:gd name="T42" fmla="*/ 752 w 3960"/>
              <a:gd name="T43" fmla="*/ 3005 h 4860"/>
              <a:gd name="T44" fmla="*/ 655 w 3960"/>
              <a:gd name="T45" fmla="*/ 2745 h 4860"/>
              <a:gd name="T46" fmla="*/ 967 w 3960"/>
              <a:gd name="T47" fmla="*/ 2588 h 4860"/>
              <a:gd name="T48" fmla="*/ 1164 w 3960"/>
              <a:gd name="T49" fmla="*/ 1983 h 4860"/>
              <a:gd name="T50" fmla="*/ 1213 w 3960"/>
              <a:gd name="T51" fmla="*/ 1888 h 4860"/>
              <a:gd name="T52" fmla="*/ 1563 w 3960"/>
              <a:gd name="T53" fmla="*/ 85 h 4860"/>
              <a:gd name="T54" fmla="*/ 2001 w 3960"/>
              <a:gd name="T55" fmla="*/ 196 h 4860"/>
              <a:gd name="T56" fmla="*/ 2006 w 3960"/>
              <a:gd name="T57" fmla="*/ 400 h 4860"/>
              <a:gd name="T58" fmla="*/ 1975 w 3960"/>
              <a:gd name="T59" fmla="*/ 532 h 4860"/>
              <a:gd name="T60" fmla="*/ 1713 w 3960"/>
              <a:gd name="T61" fmla="*/ 660 h 4860"/>
              <a:gd name="T62" fmla="*/ 1672 w 3960"/>
              <a:gd name="T63" fmla="*/ 667 h 4860"/>
              <a:gd name="T64" fmla="*/ 1694 w 3960"/>
              <a:gd name="T65" fmla="*/ 795 h 4860"/>
              <a:gd name="T66" fmla="*/ 1769 w 3960"/>
              <a:gd name="T67" fmla="*/ 894 h 4860"/>
              <a:gd name="T68" fmla="*/ 1748 w 3960"/>
              <a:gd name="T69" fmla="*/ 1145 h 4860"/>
              <a:gd name="T70" fmla="*/ 2261 w 3960"/>
              <a:gd name="T71" fmla="*/ 1545 h 4860"/>
              <a:gd name="T72" fmla="*/ 3092 w 3960"/>
              <a:gd name="T73" fmla="*/ 1978 h 4860"/>
              <a:gd name="T74" fmla="*/ 3726 w 3960"/>
              <a:gd name="T75" fmla="*/ 2361 h 4860"/>
              <a:gd name="T76" fmla="*/ 3910 w 3960"/>
              <a:gd name="T77" fmla="*/ 2688 h 4860"/>
              <a:gd name="T78" fmla="*/ 3530 w 3960"/>
              <a:gd name="T79" fmla="*/ 2496 h 4860"/>
              <a:gd name="T80" fmla="*/ 3470 w 3960"/>
              <a:gd name="T81" fmla="*/ 2891 h 4860"/>
              <a:gd name="T82" fmla="*/ 3482 w 3960"/>
              <a:gd name="T83" fmla="*/ 3215 h 4860"/>
              <a:gd name="T84" fmla="*/ 3210 w 3960"/>
              <a:gd name="T85" fmla="*/ 3525 h 4860"/>
              <a:gd name="T86" fmla="*/ 3132 w 3960"/>
              <a:gd name="T87" fmla="*/ 2875 h 4860"/>
              <a:gd name="T88" fmla="*/ 2827 w 3960"/>
              <a:gd name="T89" fmla="*/ 2711 h 4860"/>
              <a:gd name="T90" fmla="*/ 2586 w 3960"/>
              <a:gd name="T91" fmla="*/ 2527 h 4860"/>
              <a:gd name="T92" fmla="*/ 2164 w 3960"/>
              <a:gd name="T93" fmla="*/ 2418 h 4860"/>
              <a:gd name="T94" fmla="*/ 1708 w 3960"/>
              <a:gd name="T95" fmla="*/ 2111 h 4860"/>
              <a:gd name="T96" fmla="*/ 1450 w 3960"/>
              <a:gd name="T97" fmla="*/ 1917 h 4860"/>
              <a:gd name="T98" fmla="*/ 1097 w 3960"/>
              <a:gd name="T99" fmla="*/ 1379 h 4860"/>
              <a:gd name="T100" fmla="*/ 889 w 3960"/>
              <a:gd name="T101" fmla="*/ 1313 h 4860"/>
              <a:gd name="T102" fmla="*/ 544 w 3960"/>
              <a:gd name="T103" fmla="*/ 1389 h 4860"/>
              <a:gd name="T104" fmla="*/ 321 w 3960"/>
              <a:gd name="T105" fmla="*/ 1408 h 4860"/>
              <a:gd name="T106" fmla="*/ 139 w 3960"/>
              <a:gd name="T107" fmla="*/ 1174 h 4860"/>
              <a:gd name="T108" fmla="*/ 99 w 3960"/>
              <a:gd name="T109" fmla="*/ 980 h 4860"/>
              <a:gd name="T110" fmla="*/ 47 w 3960"/>
              <a:gd name="T111" fmla="*/ 708 h 4860"/>
              <a:gd name="T112" fmla="*/ 376 w 3960"/>
              <a:gd name="T113" fmla="*/ 611 h 4860"/>
              <a:gd name="T114" fmla="*/ 575 w 3960"/>
              <a:gd name="T115" fmla="*/ 549 h 4860"/>
              <a:gd name="T116" fmla="*/ 688 w 3960"/>
              <a:gd name="T117" fmla="*/ 551 h 4860"/>
              <a:gd name="T118" fmla="*/ 866 w 3960"/>
              <a:gd name="T119" fmla="*/ 421 h 4860"/>
              <a:gd name="T120" fmla="*/ 963 w 3960"/>
              <a:gd name="T121" fmla="*/ 284 h 4860"/>
              <a:gd name="T122" fmla="*/ 1145 w 3960"/>
              <a:gd name="T123" fmla="*/ 182 h 4860"/>
              <a:gd name="T124" fmla="*/ 1386 w 3960"/>
              <a:gd name="T125" fmla="*/ 62 h 4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60" h="4860">
                <a:moveTo>
                  <a:pt x="2368" y="4857"/>
                </a:moveTo>
                <a:lnTo>
                  <a:pt x="2368" y="4857"/>
                </a:lnTo>
                <a:lnTo>
                  <a:pt x="2366" y="4860"/>
                </a:lnTo>
                <a:lnTo>
                  <a:pt x="2363" y="4860"/>
                </a:lnTo>
                <a:lnTo>
                  <a:pt x="2361" y="4857"/>
                </a:lnTo>
                <a:lnTo>
                  <a:pt x="2358" y="4860"/>
                </a:lnTo>
                <a:lnTo>
                  <a:pt x="2344" y="4855"/>
                </a:lnTo>
                <a:lnTo>
                  <a:pt x="2337" y="4855"/>
                </a:lnTo>
                <a:lnTo>
                  <a:pt x="2335" y="4853"/>
                </a:lnTo>
                <a:lnTo>
                  <a:pt x="2337" y="4850"/>
                </a:lnTo>
                <a:lnTo>
                  <a:pt x="2344" y="4850"/>
                </a:lnTo>
                <a:lnTo>
                  <a:pt x="2349" y="4850"/>
                </a:lnTo>
                <a:lnTo>
                  <a:pt x="2363" y="4848"/>
                </a:lnTo>
                <a:lnTo>
                  <a:pt x="2368" y="4850"/>
                </a:lnTo>
                <a:lnTo>
                  <a:pt x="2368" y="4850"/>
                </a:lnTo>
                <a:lnTo>
                  <a:pt x="2368" y="4850"/>
                </a:lnTo>
                <a:lnTo>
                  <a:pt x="2368" y="4850"/>
                </a:lnTo>
                <a:lnTo>
                  <a:pt x="2368" y="4855"/>
                </a:lnTo>
                <a:lnTo>
                  <a:pt x="2368" y="4857"/>
                </a:lnTo>
                <a:moveTo>
                  <a:pt x="2434" y="4694"/>
                </a:moveTo>
                <a:lnTo>
                  <a:pt x="2434" y="4694"/>
                </a:lnTo>
                <a:lnTo>
                  <a:pt x="2429" y="4694"/>
                </a:lnTo>
                <a:lnTo>
                  <a:pt x="2427" y="4694"/>
                </a:lnTo>
                <a:lnTo>
                  <a:pt x="2425" y="4692"/>
                </a:lnTo>
                <a:lnTo>
                  <a:pt x="2425" y="4689"/>
                </a:lnTo>
                <a:lnTo>
                  <a:pt x="2427" y="4687"/>
                </a:lnTo>
                <a:lnTo>
                  <a:pt x="2427" y="4687"/>
                </a:lnTo>
                <a:lnTo>
                  <a:pt x="2432" y="4687"/>
                </a:lnTo>
                <a:lnTo>
                  <a:pt x="2434" y="4689"/>
                </a:lnTo>
                <a:lnTo>
                  <a:pt x="2434" y="4692"/>
                </a:lnTo>
                <a:lnTo>
                  <a:pt x="2434" y="4694"/>
                </a:lnTo>
                <a:moveTo>
                  <a:pt x="2082" y="4334"/>
                </a:moveTo>
                <a:lnTo>
                  <a:pt x="2082" y="4334"/>
                </a:lnTo>
                <a:lnTo>
                  <a:pt x="2084" y="4334"/>
                </a:lnTo>
                <a:lnTo>
                  <a:pt x="2084" y="4334"/>
                </a:lnTo>
                <a:lnTo>
                  <a:pt x="2086" y="4330"/>
                </a:lnTo>
                <a:lnTo>
                  <a:pt x="2101" y="4339"/>
                </a:lnTo>
                <a:lnTo>
                  <a:pt x="2108" y="4346"/>
                </a:lnTo>
                <a:lnTo>
                  <a:pt x="2108" y="4356"/>
                </a:lnTo>
                <a:lnTo>
                  <a:pt x="2103" y="4368"/>
                </a:lnTo>
                <a:lnTo>
                  <a:pt x="2091" y="4368"/>
                </a:lnTo>
                <a:lnTo>
                  <a:pt x="2077" y="4361"/>
                </a:lnTo>
                <a:lnTo>
                  <a:pt x="2067" y="4351"/>
                </a:lnTo>
                <a:lnTo>
                  <a:pt x="2067" y="4349"/>
                </a:lnTo>
                <a:lnTo>
                  <a:pt x="2063" y="4342"/>
                </a:lnTo>
                <a:lnTo>
                  <a:pt x="2060" y="4337"/>
                </a:lnTo>
                <a:lnTo>
                  <a:pt x="2065" y="4332"/>
                </a:lnTo>
                <a:lnTo>
                  <a:pt x="2067" y="4332"/>
                </a:lnTo>
                <a:lnTo>
                  <a:pt x="2070" y="4330"/>
                </a:lnTo>
                <a:lnTo>
                  <a:pt x="2070" y="4327"/>
                </a:lnTo>
                <a:lnTo>
                  <a:pt x="2072" y="4330"/>
                </a:lnTo>
                <a:lnTo>
                  <a:pt x="2077" y="4332"/>
                </a:lnTo>
                <a:lnTo>
                  <a:pt x="2077" y="4332"/>
                </a:lnTo>
                <a:lnTo>
                  <a:pt x="2082" y="4334"/>
                </a:lnTo>
                <a:moveTo>
                  <a:pt x="2134" y="3849"/>
                </a:moveTo>
                <a:lnTo>
                  <a:pt x="2134" y="3849"/>
                </a:lnTo>
                <a:lnTo>
                  <a:pt x="2138" y="3852"/>
                </a:lnTo>
                <a:lnTo>
                  <a:pt x="2145" y="3854"/>
                </a:lnTo>
                <a:lnTo>
                  <a:pt x="2150" y="3854"/>
                </a:lnTo>
                <a:lnTo>
                  <a:pt x="2145" y="3859"/>
                </a:lnTo>
                <a:lnTo>
                  <a:pt x="2141" y="3859"/>
                </a:lnTo>
                <a:lnTo>
                  <a:pt x="2136" y="3859"/>
                </a:lnTo>
                <a:lnTo>
                  <a:pt x="2131" y="3857"/>
                </a:lnTo>
                <a:lnTo>
                  <a:pt x="2127" y="3859"/>
                </a:lnTo>
                <a:lnTo>
                  <a:pt x="2124" y="3859"/>
                </a:lnTo>
                <a:lnTo>
                  <a:pt x="2119" y="3857"/>
                </a:lnTo>
                <a:lnTo>
                  <a:pt x="2117" y="3852"/>
                </a:lnTo>
                <a:lnTo>
                  <a:pt x="2122" y="3852"/>
                </a:lnTo>
                <a:lnTo>
                  <a:pt x="2124" y="3849"/>
                </a:lnTo>
                <a:lnTo>
                  <a:pt x="2127" y="3847"/>
                </a:lnTo>
                <a:lnTo>
                  <a:pt x="2131" y="3847"/>
                </a:lnTo>
                <a:lnTo>
                  <a:pt x="2134" y="3849"/>
                </a:lnTo>
                <a:moveTo>
                  <a:pt x="2051" y="3854"/>
                </a:moveTo>
                <a:lnTo>
                  <a:pt x="2051" y="3854"/>
                </a:lnTo>
                <a:lnTo>
                  <a:pt x="2053" y="3857"/>
                </a:lnTo>
                <a:lnTo>
                  <a:pt x="2048" y="3859"/>
                </a:lnTo>
                <a:lnTo>
                  <a:pt x="2041" y="3854"/>
                </a:lnTo>
                <a:lnTo>
                  <a:pt x="2037" y="3849"/>
                </a:lnTo>
                <a:lnTo>
                  <a:pt x="2034" y="3845"/>
                </a:lnTo>
                <a:lnTo>
                  <a:pt x="2037" y="3842"/>
                </a:lnTo>
                <a:lnTo>
                  <a:pt x="2041" y="3840"/>
                </a:lnTo>
                <a:lnTo>
                  <a:pt x="2046" y="3842"/>
                </a:lnTo>
                <a:lnTo>
                  <a:pt x="2048" y="3849"/>
                </a:lnTo>
                <a:lnTo>
                  <a:pt x="2051" y="3854"/>
                </a:lnTo>
                <a:moveTo>
                  <a:pt x="3196" y="3523"/>
                </a:moveTo>
                <a:lnTo>
                  <a:pt x="3196" y="3523"/>
                </a:lnTo>
                <a:lnTo>
                  <a:pt x="3194" y="3525"/>
                </a:lnTo>
                <a:lnTo>
                  <a:pt x="3191" y="3525"/>
                </a:lnTo>
                <a:lnTo>
                  <a:pt x="3179" y="3537"/>
                </a:lnTo>
                <a:lnTo>
                  <a:pt x="3175" y="3544"/>
                </a:lnTo>
                <a:lnTo>
                  <a:pt x="3175" y="3549"/>
                </a:lnTo>
                <a:lnTo>
                  <a:pt x="3175" y="3556"/>
                </a:lnTo>
                <a:lnTo>
                  <a:pt x="3179" y="3554"/>
                </a:lnTo>
                <a:lnTo>
                  <a:pt x="3168" y="3584"/>
                </a:lnTo>
                <a:lnTo>
                  <a:pt x="3163" y="3606"/>
                </a:lnTo>
                <a:lnTo>
                  <a:pt x="3134" y="3660"/>
                </a:lnTo>
                <a:lnTo>
                  <a:pt x="3113" y="3712"/>
                </a:lnTo>
                <a:lnTo>
                  <a:pt x="3111" y="3726"/>
                </a:lnTo>
                <a:lnTo>
                  <a:pt x="3106" y="3736"/>
                </a:lnTo>
                <a:lnTo>
                  <a:pt x="3099" y="3743"/>
                </a:lnTo>
                <a:lnTo>
                  <a:pt x="3092" y="3760"/>
                </a:lnTo>
                <a:lnTo>
                  <a:pt x="3089" y="3767"/>
                </a:lnTo>
                <a:lnTo>
                  <a:pt x="3092" y="3771"/>
                </a:lnTo>
                <a:lnTo>
                  <a:pt x="3097" y="3778"/>
                </a:lnTo>
                <a:lnTo>
                  <a:pt x="3099" y="3783"/>
                </a:lnTo>
                <a:lnTo>
                  <a:pt x="3097" y="3788"/>
                </a:lnTo>
                <a:lnTo>
                  <a:pt x="3094" y="3793"/>
                </a:lnTo>
                <a:lnTo>
                  <a:pt x="3094" y="3797"/>
                </a:lnTo>
                <a:lnTo>
                  <a:pt x="3094" y="3805"/>
                </a:lnTo>
                <a:lnTo>
                  <a:pt x="3092" y="3819"/>
                </a:lnTo>
                <a:lnTo>
                  <a:pt x="3092" y="3828"/>
                </a:lnTo>
                <a:lnTo>
                  <a:pt x="3089" y="3845"/>
                </a:lnTo>
                <a:lnTo>
                  <a:pt x="3075" y="3866"/>
                </a:lnTo>
                <a:lnTo>
                  <a:pt x="3073" y="3878"/>
                </a:lnTo>
                <a:lnTo>
                  <a:pt x="3071" y="3887"/>
                </a:lnTo>
                <a:lnTo>
                  <a:pt x="3073" y="3894"/>
                </a:lnTo>
                <a:lnTo>
                  <a:pt x="3080" y="3935"/>
                </a:lnTo>
                <a:lnTo>
                  <a:pt x="3082" y="3942"/>
                </a:lnTo>
                <a:lnTo>
                  <a:pt x="3085" y="3946"/>
                </a:lnTo>
                <a:lnTo>
                  <a:pt x="3087" y="3949"/>
                </a:lnTo>
                <a:lnTo>
                  <a:pt x="3113" y="3958"/>
                </a:lnTo>
                <a:lnTo>
                  <a:pt x="3125" y="3958"/>
                </a:lnTo>
                <a:lnTo>
                  <a:pt x="3132" y="3961"/>
                </a:lnTo>
                <a:lnTo>
                  <a:pt x="3139" y="3968"/>
                </a:lnTo>
                <a:lnTo>
                  <a:pt x="3144" y="3977"/>
                </a:lnTo>
                <a:lnTo>
                  <a:pt x="3137" y="3972"/>
                </a:lnTo>
                <a:lnTo>
                  <a:pt x="3134" y="3975"/>
                </a:lnTo>
                <a:lnTo>
                  <a:pt x="3132" y="3980"/>
                </a:lnTo>
                <a:lnTo>
                  <a:pt x="3132" y="3984"/>
                </a:lnTo>
                <a:lnTo>
                  <a:pt x="3130" y="3977"/>
                </a:lnTo>
                <a:lnTo>
                  <a:pt x="3127" y="3975"/>
                </a:lnTo>
                <a:lnTo>
                  <a:pt x="3125" y="3977"/>
                </a:lnTo>
                <a:lnTo>
                  <a:pt x="3120" y="3980"/>
                </a:lnTo>
                <a:lnTo>
                  <a:pt x="3123" y="3984"/>
                </a:lnTo>
                <a:lnTo>
                  <a:pt x="3120" y="3994"/>
                </a:lnTo>
                <a:lnTo>
                  <a:pt x="3125" y="4006"/>
                </a:lnTo>
                <a:lnTo>
                  <a:pt x="3134" y="4013"/>
                </a:lnTo>
                <a:lnTo>
                  <a:pt x="3139" y="4008"/>
                </a:lnTo>
                <a:lnTo>
                  <a:pt x="3144" y="4010"/>
                </a:lnTo>
                <a:lnTo>
                  <a:pt x="3144" y="4013"/>
                </a:lnTo>
                <a:lnTo>
                  <a:pt x="3139" y="4015"/>
                </a:lnTo>
                <a:lnTo>
                  <a:pt x="3142" y="4020"/>
                </a:lnTo>
                <a:lnTo>
                  <a:pt x="3146" y="4027"/>
                </a:lnTo>
                <a:lnTo>
                  <a:pt x="3153" y="4029"/>
                </a:lnTo>
                <a:lnTo>
                  <a:pt x="3160" y="4027"/>
                </a:lnTo>
                <a:lnTo>
                  <a:pt x="3168" y="4029"/>
                </a:lnTo>
                <a:lnTo>
                  <a:pt x="3170" y="4036"/>
                </a:lnTo>
                <a:lnTo>
                  <a:pt x="3170" y="4046"/>
                </a:lnTo>
                <a:lnTo>
                  <a:pt x="3163" y="4043"/>
                </a:lnTo>
                <a:lnTo>
                  <a:pt x="3163" y="4048"/>
                </a:lnTo>
                <a:lnTo>
                  <a:pt x="3163" y="4053"/>
                </a:lnTo>
                <a:lnTo>
                  <a:pt x="3168" y="4055"/>
                </a:lnTo>
                <a:lnTo>
                  <a:pt x="3172" y="4053"/>
                </a:lnTo>
                <a:lnTo>
                  <a:pt x="3177" y="4053"/>
                </a:lnTo>
                <a:lnTo>
                  <a:pt x="3179" y="4058"/>
                </a:lnTo>
                <a:lnTo>
                  <a:pt x="3182" y="4065"/>
                </a:lnTo>
                <a:lnTo>
                  <a:pt x="3179" y="4067"/>
                </a:lnTo>
                <a:lnTo>
                  <a:pt x="3177" y="4067"/>
                </a:lnTo>
                <a:lnTo>
                  <a:pt x="3175" y="4065"/>
                </a:lnTo>
                <a:lnTo>
                  <a:pt x="3172" y="4065"/>
                </a:lnTo>
                <a:lnTo>
                  <a:pt x="3160" y="4074"/>
                </a:lnTo>
                <a:lnTo>
                  <a:pt x="3165" y="4077"/>
                </a:lnTo>
                <a:lnTo>
                  <a:pt x="3163" y="4079"/>
                </a:lnTo>
                <a:lnTo>
                  <a:pt x="3160" y="4079"/>
                </a:lnTo>
                <a:lnTo>
                  <a:pt x="3163" y="4081"/>
                </a:lnTo>
                <a:lnTo>
                  <a:pt x="3163" y="4086"/>
                </a:lnTo>
                <a:lnTo>
                  <a:pt x="3156" y="4088"/>
                </a:lnTo>
                <a:lnTo>
                  <a:pt x="3151" y="4091"/>
                </a:lnTo>
                <a:lnTo>
                  <a:pt x="3146" y="4096"/>
                </a:lnTo>
                <a:lnTo>
                  <a:pt x="3142" y="4098"/>
                </a:lnTo>
                <a:lnTo>
                  <a:pt x="3134" y="4103"/>
                </a:lnTo>
                <a:lnTo>
                  <a:pt x="3130" y="4112"/>
                </a:lnTo>
                <a:lnTo>
                  <a:pt x="3120" y="4159"/>
                </a:lnTo>
                <a:lnTo>
                  <a:pt x="3120" y="4164"/>
                </a:lnTo>
                <a:lnTo>
                  <a:pt x="3118" y="4169"/>
                </a:lnTo>
                <a:lnTo>
                  <a:pt x="3120" y="4176"/>
                </a:lnTo>
                <a:lnTo>
                  <a:pt x="3130" y="4190"/>
                </a:lnTo>
                <a:lnTo>
                  <a:pt x="3139" y="4214"/>
                </a:lnTo>
                <a:lnTo>
                  <a:pt x="3139" y="4219"/>
                </a:lnTo>
                <a:lnTo>
                  <a:pt x="3134" y="4226"/>
                </a:lnTo>
                <a:lnTo>
                  <a:pt x="3127" y="4228"/>
                </a:lnTo>
                <a:lnTo>
                  <a:pt x="3120" y="4228"/>
                </a:lnTo>
                <a:lnTo>
                  <a:pt x="3113" y="4226"/>
                </a:lnTo>
                <a:lnTo>
                  <a:pt x="3108" y="4219"/>
                </a:lnTo>
                <a:lnTo>
                  <a:pt x="3104" y="4216"/>
                </a:lnTo>
                <a:lnTo>
                  <a:pt x="3101" y="4216"/>
                </a:lnTo>
                <a:lnTo>
                  <a:pt x="3097" y="4214"/>
                </a:lnTo>
                <a:lnTo>
                  <a:pt x="3092" y="4216"/>
                </a:lnTo>
                <a:lnTo>
                  <a:pt x="3092" y="4219"/>
                </a:lnTo>
                <a:lnTo>
                  <a:pt x="3087" y="4221"/>
                </a:lnTo>
                <a:lnTo>
                  <a:pt x="3080" y="4219"/>
                </a:lnTo>
                <a:lnTo>
                  <a:pt x="3066" y="4214"/>
                </a:lnTo>
                <a:lnTo>
                  <a:pt x="3052" y="4211"/>
                </a:lnTo>
                <a:lnTo>
                  <a:pt x="3040" y="4214"/>
                </a:lnTo>
                <a:lnTo>
                  <a:pt x="3021" y="4230"/>
                </a:lnTo>
                <a:lnTo>
                  <a:pt x="3018" y="4226"/>
                </a:lnTo>
                <a:lnTo>
                  <a:pt x="3018" y="4226"/>
                </a:lnTo>
                <a:lnTo>
                  <a:pt x="3014" y="4228"/>
                </a:lnTo>
                <a:lnTo>
                  <a:pt x="3007" y="4223"/>
                </a:lnTo>
                <a:lnTo>
                  <a:pt x="2988" y="4226"/>
                </a:lnTo>
                <a:lnTo>
                  <a:pt x="2981" y="4219"/>
                </a:lnTo>
                <a:lnTo>
                  <a:pt x="2976" y="4214"/>
                </a:lnTo>
                <a:lnTo>
                  <a:pt x="2957" y="4211"/>
                </a:lnTo>
                <a:lnTo>
                  <a:pt x="2950" y="4209"/>
                </a:lnTo>
                <a:lnTo>
                  <a:pt x="2945" y="4209"/>
                </a:lnTo>
                <a:lnTo>
                  <a:pt x="2917" y="4209"/>
                </a:lnTo>
                <a:lnTo>
                  <a:pt x="2912" y="4204"/>
                </a:lnTo>
                <a:lnTo>
                  <a:pt x="2877" y="4150"/>
                </a:lnTo>
                <a:lnTo>
                  <a:pt x="2867" y="4140"/>
                </a:lnTo>
                <a:lnTo>
                  <a:pt x="2832" y="4117"/>
                </a:lnTo>
                <a:lnTo>
                  <a:pt x="2808" y="4105"/>
                </a:lnTo>
                <a:lnTo>
                  <a:pt x="2777" y="4098"/>
                </a:lnTo>
                <a:lnTo>
                  <a:pt x="2765" y="4098"/>
                </a:lnTo>
                <a:lnTo>
                  <a:pt x="2727" y="4107"/>
                </a:lnTo>
                <a:lnTo>
                  <a:pt x="2725" y="4107"/>
                </a:lnTo>
                <a:lnTo>
                  <a:pt x="2720" y="4112"/>
                </a:lnTo>
                <a:lnTo>
                  <a:pt x="2716" y="4114"/>
                </a:lnTo>
                <a:lnTo>
                  <a:pt x="2701" y="4114"/>
                </a:lnTo>
                <a:lnTo>
                  <a:pt x="2680" y="4103"/>
                </a:lnTo>
                <a:lnTo>
                  <a:pt x="2666" y="4100"/>
                </a:lnTo>
                <a:lnTo>
                  <a:pt x="2652" y="4100"/>
                </a:lnTo>
                <a:lnTo>
                  <a:pt x="2638" y="4096"/>
                </a:lnTo>
                <a:lnTo>
                  <a:pt x="2626" y="4091"/>
                </a:lnTo>
                <a:lnTo>
                  <a:pt x="2595" y="4067"/>
                </a:lnTo>
                <a:lnTo>
                  <a:pt x="2583" y="4062"/>
                </a:lnTo>
                <a:lnTo>
                  <a:pt x="2571" y="4060"/>
                </a:lnTo>
                <a:lnTo>
                  <a:pt x="2557" y="4060"/>
                </a:lnTo>
                <a:lnTo>
                  <a:pt x="2543" y="4058"/>
                </a:lnTo>
                <a:lnTo>
                  <a:pt x="2533" y="4053"/>
                </a:lnTo>
                <a:lnTo>
                  <a:pt x="2515" y="4043"/>
                </a:lnTo>
                <a:lnTo>
                  <a:pt x="2498" y="4036"/>
                </a:lnTo>
                <a:lnTo>
                  <a:pt x="2491" y="4032"/>
                </a:lnTo>
                <a:lnTo>
                  <a:pt x="2489" y="4029"/>
                </a:lnTo>
                <a:lnTo>
                  <a:pt x="2484" y="4029"/>
                </a:lnTo>
                <a:lnTo>
                  <a:pt x="2481" y="4027"/>
                </a:lnTo>
                <a:lnTo>
                  <a:pt x="2470" y="4013"/>
                </a:lnTo>
                <a:lnTo>
                  <a:pt x="2467" y="4013"/>
                </a:lnTo>
                <a:lnTo>
                  <a:pt x="2460" y="4008"/>
                </a:lnTo>
                <a:lnTo>
                  <a:pt x="2455" y="4003"/>
                </a:lnTo>
                <a:lnTo>
                  <a:pt x="2453" y="4003"/>
                </a:lnTo>
                <a:lnTo>
                  <a:pt x="2448" y="4001"/>
                </a:lnTo>
                <a:lnTo>
                  <a:pt x="2446" y="4001"/>
                </a:lnTo>
                <a:lnTo>
                  <a:pt x="2441" y="3996"/>
                </a:lnTo>
                <a:lnTo>
                  <a:pt x="2441" y="3994"/>
                </a:lnTo>
                <a:lnTo>
                  <a:pt x="2399" y="3996"/>
                </a:lnTo>
                <a:lnTo>
                  <a:pt x="2394" y="3999"/>
                </a:lnTo>
                <a:lnTo>
                  <a:pt x="2392" y="4001"/>
                </a:lnTo>
                <a:lnTo>
                  <a:pt x="2387" y="3999"/>
                </a:lnTo>
                <a:lnTo>
                  <a:pt x="2384" y="3996"/>
                </a:lnTo>
                <a:lnTo>
                  <a:pt x="2382" y="3987"/>
                </a:lnTo>
                <a:lnTo>
                  <a:pt x="2380" y="3984"/>
                </a:lnTo>
                <a:lnTo>
                  <a:pt x="2370" y="3975"/>
                </a:lnTo>
                <a:lnTo>
                  <a:pt x="2358" y="3972"/>
                </a:lnTo>
                <a:lnTo>
                  <a:pt x="2332" y="3975"/>
                </a:lnTo>
                <a:lnTo>
                  <a:pt x="2306" y="3980"/>
                </a:lnTo>
                <a:lnTo>
                  <a:pt x="2278" y="3989"/>
                </a:lnTo>
                <a:lnTo>
                  <a:pt x="2266" y="3989"/>
                </a:lnTo>
                <a:lnTo>
                  <a:pt x="2257" y="3984"/>
                </a:lnTo>
                <a:lnTo>
                  <a:pt x="2240" y="3963"/>
                </a:lnTo>
                <a:lnTo>
                  <a:pt x="2233" y="3958"/>
                </a:lnTo>
                <a:lnTo>
                  <a:pt x="2228" y="3956"/>
                </a:lnTo>
                <a:lnTo>
                  <a:pt x="2216" y="3958"/>
                </a:lnTo>
                <a:lnTo>
                  <a:pt x="2209" y="3956"/>
                </a:lnTo>
                <a:lnTo>
                  <a:pt x="2202" y="3949"/>
                </a:lnTo>
                <a:lnTo>
                  <a:pt x="2198" y="3942"/>
                </a:lnTo>
                <a:lnTo>
                  <a:pt x="2193" y="3935"/>
                </a:lnTo>
                <a:lnTo>
                  <a:pt x="2190" y="3928"/>
                </a:lnTo>
                <a:lnTo>
                  <a:pt x="2190" y="3923"/>
                </a:lnTo>
                <a:lnTo>
                  <a:pt x="2188" y="3918"/>
                </a:lnTo>
                <a:lnTo>
                  <a:pt x="2183" y="3913"/>
                </a:lnTo>
                <a:lnTo>
                  <a:pt x="2181" y="3909"/>
                </a:lnTo>
                <a:lnTo>
                  <a:pt x="2176" y="3904"/>
                </a:lnTo>
                <a:lnTo>
                  <a:pt x="2176" y="3899"/>
                </a:lnTo>
                <a:lnTo>
                  <a:pt x="2181" y="3894"/>
                </a:lnTo>
                <a:lnTo>
                  <a:pt x="2181" y="3897"/>
                </a:lnTo>
                <a:lnTo>
                  <a:pt x="2186" y="3892"/>
                </a:lnTo>
                <a:lnTo>
                  <a:pt x="2188" y="3892"/>
                </a:lnTo>
                <a:lnTo>
                  <a:pt x="2186" y="3890"/>
                </a:lnTo>
                <a:lnTo>
                  <a:pt x="2188" y="3878"/>
                </a:lnTo>
                <a:lnTo>
                  <a:pt x="2188" y="3878"/>
                </a:lnTo>
                <a:lnTo>
                  <a:pt x="2188" y="3871"/>
                </a:lnTo>
                <a:lnTo>
                  <a:pt x="2188" y="3866"/>
                </a:lnTo>
                <a:lnTo>
                  <a:pt x="2188" y="3864"/>
                </a:lnTo>
                <a:lnTo>
                  <a:pt x="2183" y="3859"/>
                </a:lnTo>
                <a:lnTo>
                  <a:pt x="2183" y="3857"/>
                </a:lnTo>
                <a:lnTo>
                  <a:pt x="2181" y="3854"/>
                </a:lnTo>
                <a:lnTo>
                  <a:pt x="2181" y="3854"/>
                </a:lnTo>
                <a:lnTo>
                  <a:pt x="2183" y="3852"/>
                </a:lnTo>
                <a:lnTo>
                  <a:pt x="2188" y="3835"/>
                </a:lnTo>
                <a:lnTo>
                  <a:pt x="2188" y="3823"/>
                </a:lnTo>
                <a:lnTo>
                  <a:pt x="2190" y="3816"/>
                </a:lnTo>
                <a:lnTo>
                  <a:pt x="2190" y="3809"/>
                </a:lnTo>
                <a:lnTo>
                  <a:pt x="2186" y="3807"/>
                </a:lnTo>
                <a:lnTo>
                  <a:pt x="2195" y="3800"/>
                </a:lnTo>
                <a:lnTo>
                  <a:pt x="2202" y="3790"/>
                </a:lnTo>
                <a:lnTo>
                  <a:pt x="2209" y="3781"/>
                </a:lnTo>
                <a:lnTo>
                  <a:pt x="2221" y="3783"/>
                </a:lnTo>
                <a:lnTo>
                  <a:pt x="2231" y="3774"/>
                </a:lnTo>
                <a:lnTo>
                  <a:pt x="2233" y="3769"/>
                </a:lnTo>
                <a:lnTo>
                  <a:pt x="2233" y="3762"/>
                </a:lnTo>
                <a:lnTo>
                  <a:pt x="2235" y="3757"/>
                </a:lnTo>
                <a:lnTo>
                  <a:pt x="2240" y="3757"/>
                </a:lnTo>
                <a:lnTo>
                  <a:pt x="2245" y="3757"/>
                </a:lnTo>
                <a:lnTo>
                  <a:pt x="2250" y="3757"/>
                </a:lnTo>
                <a:lnTo>
                  <a:pt x="2254" y="3750"/>
                </a:lnTo>
                <a:lnTo>
                  <a:pt x="2254" y="3741"/>
                </a:lnTo>
                <a:lnTo>
                  <a:pt x="2250" y="3731"/>
                </a:lnTo>
                <a:lnTo>
                  <a:pt x="2254" y="3722"/>
                </a:lnTo>
                <a:lnTo>
                  <a:pt x="2257" y="3726"/>
                </a:lnTo>
                <a:lnTo>
                  <a:pt x="2259" y="3726"/>
                </a:lnTo>
                <a:lnTo>
                  <a:pt x="2264" y="3726"/>
                </a:lnTo>
                <a:lnTo>
                  <a:pt x="2266" y="3734"/>
                </a:lnTo>
                <a:lnTo>
                  <a:pt x="2278" y="3750"/>
                </a:lnTo>
                <a:lnTo>
                  <a:pt x="2287" y="3767"/>
                </a:lnTo>
                <a:lnTo>
                  <a:pt x="2292" y="3769"/>
                </a:lnTo>
                <a:lnTo>
                  <a:pt x="2302" y="3771"/>
                </a:lnTo>
                <a:lnTo>
                  <a:pt x="2306" y="3774"/>
                </a:lnTo>
                <a:lnTo>
                  <a:pt x="2306" y="3778"/>
                </a:lnTo>
                <a:lnTo>
                  <a:pt x="2318" y="3783"/>
                </a:lnTo>
                <a:lnTo>
                  <a:pt x="2332" y="3778"/>
                </a:lnTo>
                <a:lnTo>
                  <a:pt x="2358" y="3762"/>
                </a:lnTo>
                <a:lnTo>
                  <a:pt x="2368" y="3750"/>
                </a:lnTo>
                <a:lnTo>
                  <a:pt x="2370" y="3748"/>
                </a:lnTo>
                <a:lnTo>
                  <a:pt x="2370" y="3745"/>
                </a:lnTo>
                <a:lnTo>
                  <a:pt x="2370" y="3743"/>
                </a:lnTo>
                <a:lnTo>
                  <a:pt x="2368" y="3738"/>
                </a:lnTo>
                <a:lnTo>
                  <a:pt x="2368" y="3734"/>
                </a:lnTo>
                <a:lnTo>
                  <a:pt x="2363" y="3731"/>
                </a:lnTo>
                <a:lnTo>
                  <a:pt x="2363" y="3726"/>
                </a:lnTo>
                <a:lnTo>
                  <a:pt x="2373" y="3715"/>
                </a:lnTo>
                <a:lnTo>
                  <a:pt x="2370" y="3712"/>
                </a:lnTo>
                <a:lnTo>
                  <a:pt x="2370" y="3708"/>
                </a:lnTo>
                <a:lnTo>
                  <a:pt x="2375" y="3703"/>
                </a:lnTo>
                <a:lnTo>
                  <a:pt x="2377" y="3703"/>
                </a:lnTo>
                <a:lnTo>
                  <a:pt x="2382" y="3703"/>
                </a:lnTo>
                <a:lnTo>
                  <a:pt x="2394" y="3705"/>
                </a:lnTo>
                <a:lnTo>
                  <a:pt x="2401" y="3705"/>
                </a:lnTo>
                <a:lnTo>
                  <a:pt x="2410" y="3703"/>
                </a:lnTo>
                <a:lnTo>
                  <a:pt x="2418" y="3698"/>
                </a:lnTo>
                <a:lnTo>
                  <a:pt x="2418" y="3689"/>
                </a:lnTo>
                <a:lnTo>
                  <a:pt x="2425" y="3691"/>
                </a:lnTo>
                <a:lnTo>
                  <a:pt x="2427" y="3689"/>
                </a:lnTo>
                <a:lnTo>
                  <a:pt x="2432" y="3686"/>
                </a:lnTo>
                <a:lnTo>
                  <a:pt x="2436" y="3684"/>
                </a:lnTo>
                <a:lnTo>
                  <a:pt x="2441" y="3679"/>
                </a:lnTo>
                <a:lnTo>
                  <a:pt x="2444" y="3679"/>
                </a:lnTo>
                <a:lnTo>
                  <a:pt x="2446" y="3679"/>
                </a:lnTo>
                <a:lnTo>
                  <a:pt x="2446" y="3681"/>
                </a:lnTo>
                <a:lnTo>
                  <a:pt x="2448" y="3686"/>
                </a:lnTo>
                <a:lnTo>
                  <a:pt x="2448" y="3686"/>
                </a:lnTo>
                <a:lnTo>
                  <a:pt x="2463" y="3693"/>
                </a:lnTo>
                <a:lnTo>
                  <a:pt x="2465" y="3696"/>
                </a:lnTo>
                <a:lnTo>
                  <a:pt x="2467" y="3710"/>
                </a:lnTo>
                <a:lnTo>
                  <a:pt x="2467" y="3712"/>
                </a:lnTo>
                <a:lnTo>
                  <a:pt x="2474" y="3724"/>
                </a:lnTo>
                <a:lnTo>
                  <a:pt x="2515" y="3715"/>
                </a:lnTo>
                <a:lnTo>
                  <a:pt x="2524" y="3719"/>
                </a:lnTo>
                <a:lnTo>
                  <a:pt x="2524" y="3726"/>
                </a:lnTo>
                <a:lnTo>
                  <a:pt x="2526" y="3731"/>
                </a:lnTo>
                <a:lnTo>
                  <a:pt x="2529" y="3736"/>
                </a:lnTo>
                <a:lnTo>
                  <a:pt x="2533" y="3738"/>
                </a:lnTo>
                <a:lnTo>
                  <a:pt x="2543" y="3741"/>
                </a:lnTo>
                <a:lnTo>
                  <a:pt x="2555" y="3748"/>
                </a:lnTo>
                <a:lnTo>
                  <a:pt x="2567" y="3752"/>
                </a:lnTo>
                <a:lnTo>
                  <a:pt x="2581" y="3752"/>
                </a:lnTo>
                <a:lnTo>
                  <a:pt x="2586" y="3755"/>
                </a:lnTo>
                <a:lnTo>
                  <a:pt x="2586" y="3757"/>
                </a:lnTo>
                <a:lnTo>
                  <a:pt x="2586" y="3757"/>
                </a:lnTo>
                <a:lnTo>
                  <a:pt x="2586" y="3757"/>
                </a:lnTo>
                <a:lnTo>
                  <a:pt x="2593" y="3757"/>
                </a:lnTo>
                <a:lnTo>
                  <a:pt x="2614" y="3757"/>
                </a:lnTo>
                <a:lnTo>
                  <a:pt x="2621" y="3752"/>
                </a:lnTo>
                <a:lnTo>
                  <a:pt x="2633" y="3743"/>
                </a:lnTo>
                <a:lnTo>
                  <a:pt x="2647" y="3738"/>
                </a:lnTo>
                <a:lnTo>
                  <a:pt x="2652" y="3734"/>
                </a:lnTo>
                <a:lnTo>
                  <a:pt x="2654" y="3729"/>
                </a:lnTo>
                <a:lnTo>
                  <a:pt x="2659" y="3724"/>
                </a:lnTo>
                <a:lnTo>
                  <a:pt x="2680" y="3717"/>
                </a:lnTo>
                <a:lnTo>
                  <a:pt x="2683" y="3712"/>
                </a:lnTo>
                <a:lnTo>
                  <a:pt x="2699" y="3717"/>
                </a:lnTo>
                <a:lnTo>
                  <a:pt x="2706" y="3719"/>
                </a:lnTo>
                <a:lnTo>
                  <a:pt x="2713" y="3719"/>
                </a:lnTo>
                <a:lnTo>
                  <a:pt x="2718" y="3717"/>
                </a:lnTo>
                <a:lnTo>
                  <a:pt x="2727" y="3712"/>
                </a:lnTo>
                <a:lnTo>
                  <a:pt x="2768" y="3712"/>
                </a:lnTo>
                <a:lnTo>
                  <a:pt x="2787" y="3708"/>
                </a:lnTo>
                <a:lnTo>
                  <a:pt x="2803" y="3698"/>
                </a:lnTo>
                <a:lnTo>
                  <a:pt x="2817" y="3689"/>
                </a:lnTo>
                <a:lnTo>
                  <a:pt x="2829" y="3691"/>
                </a:lnTo>
                <a:lnTo>
                  <a:pt x="2843" y="3684"/>
                </a:lnTo>
                <a:lnTo>
                  <a:pt x="2881" y="3663"/>
                </a:lnTo>
                <a:lnTo>
                  <a:pt x="2891" y="3653"/>
                </a:lnTo>
                <a:lnTo>
                  <a:pt x="2900" y="3641"/>
                </a:lnTo>
                <a:lnTo>
                  <a:pt x="2910" y="3625"/>
                </a:lnTo>
                <a:lnTo>
                  <a:pt x="2912" y="3622"/>
                </a:lnTo>
                <a:lnTo>
                  <a:pt x="2924" y="3620"/>
                </a:lnTo>
                <a:lnTo>
                  <a:pt x="2929" y="3620"/>
                </a:lnTo>
                <a:lnTo>
                  <a:pt x="2952" y="3608"/>
                </a:lnTo>
                <a:lnTo>
                  <a:pt x="2957" y="3603"/>
                </a:lnTo>
                <a:lnTo>
                  <a:pt x="2959" y="3603"/>
                </a:lnTo>
                <a:lnTo>
                  <a:pt x="2964" y="3601"/>
                </a:lnTo>
                <a:lnTo>
                  <a:pt x="2974" y="3601"/>
                </a:lnTo>
                <a:lnTo>
                  <a:pt x="2976" y="3601"/>
                </a:lnTo>
                <a:lnTo>
                  <a:pt x="2983" y="3608"/>
                </a:lnTo>
                <a:lnTo>
                  <a:pt x="2985" y="3608"/>
                </a:lnTo>
                <a:lnTo>
                  <a:pt x="2990" y="3608"/>
                </a:lnTo>
                <a:lnTo>
                  <a:pt x="2997" y="3611"/>
                </a:lnTo>
                <a:lnTo>
                  <a:pt x="3009" y="3608"/>
                </a:lnTo>
                <a:lnTo>
                  <a:pt x="3011" y="3608"/>
                </a:lnTo>
                <a:lnTo>
                  <a:pt x="3014" y="3608"/>
                </a:lnTo>
                <a:lnTo>
                  <a:pt x="3016" y="3613"/>
                </a:lnTo>
                <a:lnTo>
                  <a:pt x="3018" y="3615"/>
                </a:lnTo>
                <a:lnTo>
                  <a:pt x="3026" y="3615"/>
                </a:lnTo>
                <a:lnTo>
                  <a:pt x="3030" y="3611"/>
                </a:lnTo>
                <a:lnTo>
                  <a:pt x="3035" y="3608"/>
                </a:lnTo>
                <a:lnTo>
                  <a:pt x="3054" y="3596"/>
                </a:lnTo>
                <a:lnTo>
                  <a:pt x="3059" y="3584"/>
                </a:lnTo>
                <a:lnTo>
                  <a:pt x="3068" y="3558"/>
                </a:lnTo>
                <a:lnTo>
                  <a:pt x="3066" y="3556"/>
                </a:lnTo>
                <a:lnTo>
                  <a:pt x="3066" y="3554"/>
                </a:lnTo>
                <a:lnTo>
                  <a:pt x="3066" y="3554"/>
                </a:lnTo>
                <a:lnTo>
                  <a:pt x="3066" y="3549"/>
                </a:lnTo>
                <a:lnTo>
                  <a:pt x="3066" y="3549"/>
                </a:lnTo>
                <a:lnTo>
                  <a:pt x="3066" y="3549"/>
                </a:lnTo>
                <a:lnTo>
                  <a:pt x="3068" y="3551"/>
                </a:lnTo>
                <a:lnTo>
                  <a:pt x="3068" y="3563"/>
                </a:lnTo>
                <a:lnTo>
                  <a:pt x="3071" y="3568"/>
                </a:lnTo>
                <a:lnTo>
                  <a:pt x="3075" y="3570"/>
                </a:lnTo>
                <a:lnTo>
                  <a:pt x="3080" y="3570"/>
                </a:lnTo>
                <a:lnTo>
                  <a:pt x="3087" y="3570"/>
                </a:lnTo>
                <a:lnTo>
                  <a:pt x="3097" y="3566"/>
                </a:lnTo>
                <a:lnTo>
                  <a:pt x="3120" y="3551"/>
                </a:lnTo>
                <a:lnTo>
                  <a:pt x="3125" y="3544"/>
                </a:lnTo>
                <a:lnTo>
                  <a:pt x="3130" y="3542"/>
                </a:lnTo>
                <a:lnTo>
                  <a:pt x="3142" y="3532"/>
                </a:lnTo>
                <a:lnTo>
                  <a:pt x="3151" y="3518"/>
                </a:lnTo>
                <a:lnTo>
                  <a:pt x="3156" y="3514"/>
                </a:lnTo>
                <a:lnTo>
                  <a:pt x="3168" y="3514"/>
                </a:lnTo>
                <a:lnTo>
                  <a:pt x="3186" y="3518"/>
                </a:lnTo>
                <a:lnTo>
                  <a:pt x="3198" y="3518"/>
                </a:lnTo>
                <a:lnTo>
                  <a:pt x="3198" y="3521"/>
                </a:lnTo>
                <a:lnTo>
                  <a:pt x="3196" y="3523"/>
                </a:lnTo>
                <a:moveTo>
                  <a:pt x="2981" y="3518"/>
                </a:moveTo>
                <a:lnTo>
                  <a:pt x="2981" y="3518"/>
                </a:lnTo>
                <a:lnTo>
                  <a:pt x="2976" y="3523"/>
                </a:lnTo>
                <a:lnTo>
                  <a:pt x="2969" y="3516"/>
                </a:lnTo>
                <a:lnTo>
                  <a:pt x="2962" y="3511"/>
                </a:lnTo>
                <a:lnTo>
                  <a:pt x="2959" y="3504"/>
                </a:lnTo>
                <a:lnTo>
                  <a:pt x="2964" y="3495"/>
                </a:lnTo>
                <a:lnTo>
                  <a:pt x="2966" y="3495"/>
                </a:lnTo>
                <a:lnTo>
                  <a:pt x="2966" y="3502"/>
                </a:lnTo>
                <a:lnTo>
                  <a:pt x="2971" y="3502"/>
                </a:lnTo>
                <a:lnTo>
                  <a:pt x="2976" y="3506"/>
                </a:lnTo>
                <a:lnTo>
                  <a:pt x="2981" y="3511"/>
                </a:lnTo>
                <a:lnTo>
                  <a:pt x="2983" y="3516"/>
                </a:lnTo>
                <a:lnTo>
                  <a:pt x="2981" y="3518"/>
                </a:lnTo>
                <a:moveTo>
                  <a:pt x="2964" y="3487"/>
                </a:moveTo>
                <a:lnTo>
                  <a:pt x="2964" y="3487"/>
                </a:lnTo>
                <a:lnTo>
                  <a:pt x="2959" y="3487"/>
                </a:lnTo>
                <a:lnTo>
                  <a:pt x="2955" y="3485"/>
                </a:lnTo>
                <a:lnTo>
                  <a:pt x="2948" y="3483"/>
                </a:lnTo>
                <a:lnTo>
                  <a:pt x="2943" y="3480"/>
                </a:lnTo>
                <a:lnTo>
                  <a:pt x="2940" y="3478"/>
                </a:lnTo>
                <a:lnTo>
                  <a:pt x="2940" y="3471"/>
                </a:lnTo>
                <a:lnTo>
                  <a:pt x="2940" y="3464"/>
                </a:lnTo>
                <a:lnTo>
                  <a:pt x="2945" y="3459"/>
                </a:lnTo>
                <a:lnTo>
                  <a:pt x="2957" y="3459"/>
                </a:lnTo>
                <a:lnTo>
                  <a:pt x="2959" y="3459"/>
                </a:lnTo>
                <a:lnTo>
                  <a:pt x="2959" y="3466"/>
                </a:lnTo>
                <a:lnTo>
                  <a:pt x="2962" y="3469"/>
                </a:lnTo>
                <a:lnTo>
                  <a:pt x="2964" y="3471"/>
                </a:lnTo>
                <a:lnTo>
                  <a:pt x="2966" y="3471"/>
                </a:lnTo>
                <a:lnTo>
                  <a:pt x="2966" y="3473"/>
                </a:lnTo>
                <a:lnTo>
                  <a:pt x="2957" y="3476"/>
                </a:lnTo>
                <a:lnTo>
                  <a:pt x="2959" y="3480"/>
                </a:lnTo>
                <a:lnTo>
                  <a:pt x="2962" y="3483"/>
                </a:lnTo>
                <a:lnTo>
                  <a:pt x="2964" y="3483"/>
                </a:lnTo>
                <a:lnTo>
                  <a:pt x="2964" y="3487"/>
                </a:lnTo>
                <a:moveTo>
                  <a:pt x="2763" y="3487"/>
                </a:moveTo>
                <a:lnTo>
                  <a:pt x="2763" y="3487"/>
                </a:lnTo>
                <a:lnTo>
                  <a:pt x="2758" y="3490"/>
                </a:lnTo>
                <a:lnTo>
                  <a:pt x="2756" y="3485"/>
                </a:lnTo>
                <a:lnTo>
                  <a:pt x="2761" y="3483"/>
                </a:lnTo>
                <a:lnTo>
                  <a:pt x="2763" y="3487"/>
                </a:lnTo>
                <a:moveTo>
                  <a:pt x="2924" y="3452"/>
                </a:moveTo>
                <a:lnTo>
                  <a:pt x="2924" y="3452"/>
                </a:lnTo>
                <a:lnTo>
                  <a:pt x="2924" y="3457"/>
                </a:lnTo>
                <a:lnTo>
                  <a:pt x="2912" y="3454"/>
                </a:lnTo>
                <a:lnTo>
                  <a:pt x="2900" y="3447"/>
                </a:lnTo>
                <a:lnTo>
                  <a:pt x="2907" y="3440"/>
                </a:lnTo>
                <a:lnTo>
                  <a:pt x="2919" y="3438"/>
                </a:lnTo>
                <a:lnTo>
                  <a:pt x="2924" y="3438"/>
                </a:lnTo>
                <a:lnTo>
                  <a:pt x="2926" y="3443"/>
                </a:lnTo>
                <a:lnTo>
                  <a:pt x="2926" y="3445"/>
                </a:lnTo>
                <a:lnTo>
                  <a:pt x="2926" y="3447"/>
                </a:lnTo>
                <a:lnTo>
                  <a:pt x="2924" y="3452"/>
                </a:lnTo>
                <a:moveTo>
                  <a:pt x="2834" y="3466"/>
                </a:moveTo>
                <a:lnTo>
                  <a:pt x="2834" y="3466"/>
                </a:lnTo>
                <a:lnTo>
                  <a:pt x="2829" y="3466"/>
                </a:lnTo>
                <a:lnTo>
                  <a:pt x="2822" y="3466"/>
                </a:lnTo>
                <a:lnTo>
                  <a:pt x="2820" y="3461"/>
                </a:lnTo>
                <a:lnTo>
                  <a:pt x="2817" y="3457"/>
                </a:lnTo>
                <a:lnTo>
                  <a:pt x="2820" y="3454"/>
                </a:lnTo>
                <a:lnTo>
                  <a:pt x="2824" y="3457"/>
                </a:lnTo>
                <a:lnTo>
                  <a:pt x="2829" y="3459"/>
                </a:lnTo>
                <a:lnTo>
                  <a:pt x="2832" y="3461"/>
                </a:lnTo>
                <a:lnTo>
                  <a:pt x="2834" y="3464"/>
                </a:lnTo>
                <a:lnTo>
                  <a:pt x="2834" y="3466"/>
                </a:lnTo>
                <a:moveTo>
                  <a:pt x="2368" y="3487"/>
                </a:moveTo>
                <a:lnTo>
                  <a:pt x="2368" y="3487"/>
                </a:lnTo>
                <a:lnTo>
                  <a:pt x="2366" y="3490"/>
                </a:lnTo>
                <a:lnTo>
                  <a:pt x="2361" y="3490"/>
                </a:lnTo>
                <a:lnTo>
                  <a:pt x="2361" y="3485"/>
                </a:lnTo>
                <a:lnTo>
                  <a:pt x="2361" y="3483"/>
                </a:lnTo>
                <a:lnTo>
                  <a:pt x="2366" y="3478"/>
                </a:lnTo>
                <a:lnTo>
                  <a:pt x="2370" y="3478"/>
                </a:lnTo>
                <a:lnTo>
                  <a:pt x="2373" y="3480"/>
                </a:lnTo>
                <a:lnTo>
                  <a:pt x="2375" y="3480"/>
                </a:lnTo>
                <a:lnTo>
                  <a:pt x="2368" y="3487"/>
                </a:lnTo>
                <a:moveTo>
                  <a:pt x="3026" y="3336"/>
                </a:moveTo>
                <a:lnTo>
                  <a:pt x="3026" y="3336"/>
                </a:lnTo>
                <a:lnTo>
                  <a:pt x="3023" y="3336"/>
                </a:lnTo>
                <a:lnTo>
                  <a:pt x="3018" y="3336"/>
                </a:lnTo>
                <a:lnTo>
                  <a:pt x="3011" y="3331"/>
                </a:lnTo>
                <a:lnTo>
                  <a:pt x="3011" y="3331"/>
                </a:lnTo>
                <a:lnTo>
                  <a:pt x="3014" y="3329"/>
                </a:lnTo>
                <a:lnTo>
                  <a:pt x="3016" y="3327"/>
                </a:lnTo>
                <a:lnTo>
                  <a:pt x="3018" y="3324"/>
                </a:lnTo>
                <a:lnTo>
                  <a:pt x="3018" y="3322"/>
                </a:lnTo>
                <a:lnTo>
                  <a:pt x="3021" y="3322"/>
                </a:lnTo>
                <a:lnTo>
                  <a:pt x="3023" y="3322"/>
                </a:lnTo>
                <a:lnTo>
                  <a:pt x="3026" y="3322"/>
                </a:lnTo>
                <a:lnTo>
                  <a:pt x="3028" y="3322"/>
                </a:lnTo>
                <a:lnTo>
                  <a:pt x="3028" y="3327"/>
                </a:lnTo>
                <a:lnTo>
                  <a:pt x="3026" y="3329"/>
                </a:lnTo>
                <a:lnTo>
                  <a:pt x="3026" y="3331"/>
                </a:lnTo>
                <a:lnTo>
                  <a:pt x="3026" y="3336"/>
                </a:lnTo>
                <a:moveTo>
                  <a:pt x="776" y="3521"/>
                </a:moveTo>
                <a:lnTo>
                  <a:pt x="776" y="3521"/>
                </a:lnTo>
                <a:lnTo>
                  <a:pt x="783" y="3525"/>
                </a:lnTo>
                <a:lnTo>
                  <a:pt x="795" y="3523"/>
                </a:lnTo>
                <a:lnTo>
                  <a:pt x="804" y="3525"/>
                </a:lnTo>
                <a:lnTo>
                  <a:pt x="809" y="3537"/>
                </a:lnTo>
                <a:lnTo>
                  <a:pt x="809" y="3540"/>
                </a:lnTo>
                <a:lnTo>
                  <a:pt x="811" y="3540"/>
                </a:lnTo>
                <a:lnTo>
                  <a:pt x="813" y="3540"/>
                </a:lnTo>
                <a:lnTo>
                  <a:pt x="816" y="3537"/>
                </a:lnTo>
                <a:lnTo>
                  <a:pt x="816" y="3537"/>
                </a:lnTo>
                <a:lnTo>
                  <a:pt x="816" y="3537"/>
                </a:lnTo>
                <a:lnTo>
                  <a:pt x="818" y="3537"/>
                </a:lnTo>
                <a:lnTo>
                  <a:pt x="811" y="3544"/>
                </a:lnTo>
                <a:lnTo>
                  <a:pt x="811" y="3547"/>
                </a:lnTo>
                <a:lnTo>
                  <a:pt x="811" y="3549"/>
                </a:lnTo>
                <a:lnTo>
                  <a:pt x="809" y="3556"/>
                </a:lnTo>
                <a:lnTo>
                  <a:pt x="809" y="3570"/>
                </a:lnTo>
                <a:lnTo>
                  <a:pt x="806" y="3582"/>
                </a:lnTo>
                <a:lnTo>
                  <a:pt x="804" y="3584"/>
                </a:lnTo>
                <a:lnTo>
                  <a:pt x="802" y="3584"/>
                </a:lnTo>
                <a:lnTo>
                  <a:pt x="797" y="3584"/>
                </a:lnTo>
                <a:lnTo>
                  <a:pt x="797" y="3584"/>
                </a:lnTo>
                <a:lnTo>
                  <a:pt x="795" y="3580"/>
                </a:lnTo>
                <a:lnTo>
                  <a:pt x="795" y="3577"/>
                </a:lnTo>
                <a:lnTo>
                  <a:pt x="780" y="3558"/>
                </a:lnTo>
                <a:lnTo>
                  <a:pt x="773" y="3544"/>
                </a:lnTo>
                <a:lnTo>
                  <a:pt x="773" y="3537"/>
                </a:lnTo>
                <a:lnTo>
                  <a:pt x="773" y="3532"/>
                </a:lnTo>
                <a:lnTo>
                  <a:pt x="771" y="3532"/>
                </a:lnTo>
                <a:lnTo>
                  <a:pt x="771" y="3530"/>
                </a:lnTo>
                <a:lnTo>
                  <a:pt x="776" y="3521"/>
                </a:lnTo>
                <a:moveTo>
                  <a:pt x="757" y="3528"/>
                </a:moveTo>
                <a:lnTo>
                  <a:pt x="757" y="3528"/>
                </a:lnTo>
                <a:lnTo>
                  <a:pt x="752" y="3532"/>
                </a:lnTo>
                <a:lnTo>
                  <a:pt x="745" y="3532"/>
                </a:lnTo>
                <a:lnTo>
                  <a:pt x="740" y="3530"/>
                </a:lnTo>
                <a:lnTo>
                  <a:pt x="740" y="3525"/>
                </a:lnTo>
                <a:lnTo>
                  <a:pt x="740" y="3523"/>
                </a:lnTo>
                <a:lnTo>
                  <a:pt x="733" y="3514"/>
                </a:lnTo>
                <a:lnTo>
                  <a:pt x="728" y="3509"/>
                </a:lnTo>
                <a:lnTo>
                  <a:pt x="731" y="3502"/>
                </a:lnTo>
                <a:lnTo>
                  <a:pt x="735" y="3499"/>
                </a:lnTo>
                <a:lnTo>
                  <a:pt x="750" y="3495"/>
                </a:lnTo>
                <a:lnTo>
                  <a:pt x="754" y="3492"/>
                </a:lnTo>
                <a:lnTo>
                  <a:pt x="757" y="3504"/>
                </a:lnTo>
                <a:lnTo>
                  <a:pt x="759" y="3523"/>
                </a:lnTo>
                <a:lnTo>
                  <a:pt x="757" y="3528"/>
                </a:lnTo>
                <a:moveTo>
                  <a:pt x="2489" y="2598"/>
                </a:moveTo>
                <a:lnTo>
                  <a:pt x="2489" y="2598"/>
                </a:lnTo>
                <a:lnTo>
                  <a:pt x="2486" y="2603"/>
                </a:lnTo>
                <a:lnTo>
                  <a:pt x="2481" y="2603"/>
                </a:lnTo>
                <a:lnTo>
                  <a:pt x="2477" y="2603"/>
                </a:lnTo>
                <a:lnTo>
                  <a:pt x="2472" y="2605"/>
                </a:lnTo>
                <a:lnTo>
                  <a:pt x="2470" y="2610"/>
                </a:lnTo>
                <a:lnTo>
                  <a:pt x="2467" y="2607"/>
                </a:lnTo>
                <a:lnTo>
                  <a:pt x="2458" y="2605"/>
                </a:lnTo>
                <a:lnTo>
                  <a:pt x="2455" y="2603"/>
                </a:lnTo>
                <a:lnTo>
                  <a:pt x="2455" y="2593"/>
                </a:lnTo>
                <a:lnTo>
                  <a:pt x="2458" y="2591"/>
                </a:lnTo>
                <a:lnTo>
                  <a:pt x="2460" y="2588"/>
                </a:lnTo>
                <a:lnTo>
                  <a:pt x="2458" y="2586"/>
                </a:lnTo>
                <a:lnTo>
                  <a:pt x="2455" y="2581"/>
                </a:lnTo>
                <a:lnTo>
                  <a:pt x="2463" y="2581"/>
                </a:lnTo>
                <a:lnTo>
                  <a:pt x="2484" y="2584"/>
                </a:lnTo>
                <a:lnTo>
                  <a:pt x="2491" y="2588"/>
                </a:lnTo>
                <a:lnTo>
                  <a:pt x="2489" y="2591"/>
                </a:lnTo>
                <a:lnTo>
                  <a:pt x="2491" y="2593"/>
                </a:lnTo>
                <a:lnTo>
                  <a:pt x="2491" y="2596"/>
                </a:lnTo>
                <a:lnTo>
                  <a:pt x="2489" y="2598"/>
                </a:lnTo>
                <a:moveTo>
                  <a:pt x="2316" y="2593"/>
                </a:moveTo>
                <a:lnTo>
                  <a:pt x="2316" y="2593"/>
                </a:lnTo>
                <a:lnTo>
                  <a:pt x="2313" y="2596"/>
                </a:lnTo>
                <a:lnTo>
                  <a:pt x="2313" y="2593"/>
                </a:lnTo>
                <a:lnTo>
                  <a:pt x="2316" y="2591"/>
                </a:lnTo>
                <a:lnTo>
                  <a:pt x="2318" y="2588"/>
                </a:lnTo>
                <a:lnTo>
                  <a:pt x="2316" y="2593"/>
                </a:lnTo>
                <a:moveTo>
                  <a:pt x="686" y="2681"/>
                </a:moveTo>
                <a:lnTo>
                  <a:pt x="686" y="2681"/>
                </a:lnTo>
                <a:lnTo>
                  <a:pt x="690" y="2683"/>
                </a:lnTo>
                <a:lnTo>
                  <a:pt x="690" y="2688"/>
                </a:lnTo>
                <a:lnTo>
                  <a:pt x="690" y="2693"/>
                </a:lnTo>
                <a:lnTo>
                  <a:pt x="688" y="2697"/>
                </a:lnTo>
                <a:lnTo>
                  <a:pt x="669" y="2702"/>
                </a:lnTo>
                <a:lnTo>
                  <a:pt x="662" y="2709"/>
                </a:lnTo>
                <a:lnTo>
                  <a:pt x="664" y="2721"/>
                </a:lnTo>
                <a:lnTo>
                  <a:pt x="664" y="2730"/>
                </a:lnTo>
                <a:lnTo>
                  <a:pt x="653" y="2730"/>
                </a:lnTo>
                <a:lnTo>
                  <a:pt x="655" y="2726"/>
                </a:lnTo>
                <a:lnTo>
                  <a:pt x="655" y="2723"/>
                </a:lnTo>
                <a:lnTo>
                  <a:pt x="655" y="2719"/>
                </a:lnTo>
                <a:lnTo>
                  <a:pt x="655" y="2714"/>
                </a:lnTo>
                <a:lnTo>
                  <a:pt x="655" y="2711"/>
                </a:lnTo>
                <a:lnTo>
                  <a:pt x="660" y="2707"/>
                </a:lnTo>
                <a:lnTo>
                  <a:pt x="664" y="2700"/>
                </a:lnTo>
                <a:lnTo>
                  <a:pt x="669" y="2697"/>
                </a:lnTo>
                <a:lnTo>
                  <a:pt x="669" y="2693"/>
                </a:lnTo>
                <a:lnTo>
                  <a:pt x="669" y="2685"/>
                </a:lnTo>
                <a:lnTo>
                  <a:pt x="669" y="2683"/>
                </a:lnTo>
                <a:lnTo>
                  <a:pt x="672" y="2681"/>
                </a:lnTo>
                <a:lnTo>
                  <a:pt x="676" y="2681"/>
                </a:lnTo>
                <a:lnTo>
                  <a:pt x="679" y="2681"/>
                </a:lnTo>
                <a:lnTo>
                  <a:pt x="679" y="2678"/>
                </a:lnTo>
                <a:lnTo>
                  <a:pt x="681" y="2676"/>
                </a:lnTo>
                <a:lnTo>
                  <a:pt x="683" y="2671"/>
                </a:lnTo>
                <a:lnTo>
                  <a:pt x="683" y="2676"/>
                </a:lnTo>
                <a:lnTo>
                  <a:pt x="686" y="2678"/>
                </a:lnTo>
                <a:lnTo>
                  <a:pt x="686" y="2681"/>
                </a:lnTo>
                <a:moveTo>
                  <a:pt x="1045" y="2605"/>
                </a:moveTo>
                <a:lnTo>
                  <a:pt x="1045" y="2605"/>
                </a:lnTo>
                <a:lnTo>
                  <a:pt x="1045" y="2607"/>
                </a:lnTo>
                <a:lnTo>
                  <a:pt x="1045" y="2610"/>
                </a:lnTo>
                <a:lnTo>
                  <a:pt x="1045" y="2612"/>
                </a:lnTo>
                <a:lnTo>
                  <a:pt x="1043" y="2612"/>
                </a:lnTo>
                <a:lnTo>
                  <a:pt x="1041" y="2610"/>
                </a:lnTo>
                <a:lnTo>
                  <a:pt x="1038" y="2607"/>
                </a:lnTo>
                <a:lnTo>
                  <a:pt x="1036" y="2607"/>
                </a:lnTo>
                <a:lnTo>
                  <a:pt x="1033" y="2607"/>
                </a:lnTo>
                <a:lnTo>
                  <a:pt x="1036" y="2598"/>
                </a:lnTo>
                <a:lnTo>
                  <a:pt x="1036" y="2596"/>
                </a:lnTo>
                <a:lnTo>
                  <a:pt x="1036" y="2593"/>
                </a:lnTo>
                <a:lnTo>
                  <a:pt x="1038" y="2586"/>
                </a:lnTo>
                <a:lnTo>
                  <a:pt x="1038" y="2581"/>
                </a:lnTo>
                <a:lnTo>
                  <a:pt x="1041" y="2584"/>
                </a:lnTo>
                <a:lnTo>
                  <a:pt x="1043" y="2584"/>
                </a:lnTo>
                <a:lnTo>
                  <a:pt x="1045" y="2588"/>
                </a:lnTo>
                <a:lnTo>
                  <a:pt x="1045" y="2588"/>
                </a:lnTo>
                <a:lnTo>
                  <a:pt x="1045" y="2593"/>
                </a:lnTo>
                <a:lnTo>
                  <a:pt x="1045" y="2605"/>
                </a:lnTo>
                <a:moveTo>
                  <a:pt x="967" y="2588"/>
                </a:moveTo>
                <a:lnTo>
                  <a:pt x="967" y="2588"/>
                </a:lnTo>
                <a:lnTo>
                  <a:pt x="972" y="2588"/>
                </a:lnTo>
                <a:lnTo>
                  <a:pt x="974" y="2586"/>
                </a:lnTo>
                <a:lnTo>
                  <a:pt x="979" y="2593"/>
                </a:lnTo>
                <a:lnTo>
                  <a:pt x="979" y="2607"/>
                </a:lnTo>
                <a:lnTo>
                  <a:pt x="984" y="2610"/>
                </a:lnTo>
                <a:lnTo>
                  <a:pt x="981" y="2607"/>
                </a:lnTo>
                <a:lnTo>
                  <a:pt x="981" y="2605"/>
                </a:lnTo>
                <a:lnTo>
                  <a:pt x="981" y="2603"/>
                </a:lnTo>
                <a:lnTo>
                  <a:pt x="981" y="2598"/>
                </a:lnTo>
                <a:lnTo>
                  <a:pt x="984" y="2598"/>
                </a:lnTo>
                <a:lnTo>
                  <a:pt x="986" y="2603"/>
                </a:lnTo>
                <a:lnTo>
                  <a:pt x="986" y="2605"/>
                </a:lnTo>
                <a:lnTo>
                  <a:pt x="986" y="2607"/>
                </a:lnTo>
                <a:lnTo>
                  <a:pt x="986" y="2610"/>
                </a:lnTo>
                <a:lnTo>
                  <a:pt x="991" y="2607"/>
                </a:lnTo>
                <a:lnTo>
                  <a:pt x="991" y="2607"/>
                </a:lnTo>
                <a:lnTo>
                  <a:pt x="993" y="2605"/>
                </a:lnTo>
                <a:lnTo>
                  <a:pt x="996" y="2607"/>
                </a:lnTo>
                <a:lnTo>
                  <a:pt x="1000" y="2610"/>
                </a:lnTo>
                <a:lnTo>
                  <a:pt x="1000" y="2600"/>
                </a:lnTo>
                <a:lnTo>
                  <a:pt x="1005" y="2600"/>
                </a:lnTo>
                <a:lnTo>
                  <a:pt x="1019" y="2612"/>
                </a:lnTo>
                <a:lnTo>
                  <a:pt x="1019" y="2607"/>
                </a:lnTo>
                <a:lnTo>
                  <a:pt x="1022" y="2610"/>
                </a:lnTo>
                <a:lnTo>
                  <a:pt x="1024" y="2610"/>
                </a:lnTo>
                <a:lnTo>
                  <a:pt x="1026" y="2610"/>
                </a:lnTo>
                <a:lnTo>
                  <a:pt x="1029" y="2610"/>
                </a:lnTo>
                <a:lnTo>
                  <a:pt x="1031" y="2612"/>
                </a:lnTo>
                <a:lnTo>
                  <a:pt x="1029" y="2614"/>
                </a:lnTo>
                <a:lnTo>
                  <a:pt x="1029" y="2614"/>
                </a:lnTo>
                <a:lnTo>
                  <a:pt x="1026" y="2617"/>
                </a:lnTo>
                <a:lnTo>
                  <a:pt x="1026" y="2619"/>
                </a:lnTo>
                <a:lnTo>
                  <a:pt x="1031" y="2622"/>
                </a:lnTo>
                <a:lnTo>
                  <a:pt x="1033" y="2624"/>
                </a:lnTo>
                <a:lnTo>
                  <a:pt x="1036" y="2626"/>
                </a:lnTo>
                <a:lnTo>
                  <a:pt x="1038" y="2629"/>
                </a:lnTo>
                <a:lnTo>
                  <a:pt x="1036" y="2633"/>
                </a:lnTo>
                <a:lnTo>
                  <a:pt x="1038" y="2638"/>
                </a:lnTo>
                <a:lnTo>
                  <a:pt x="1041" y="2648"/>
                </a:lnTo>
                <a:lnTo>
                  <a:pt x="1043" y="2638"/>
                </a:lnTo>
                <a:lnTo>
                  <a:pt x="1045" y="2633"/>
                </a:lnTo>
                <a:lnTo>
                  <a:pt x="1048" y="2631"/>
                </a:lnTo>
                <a:lnTo>
                  <a:pt x="1045" y="2629"/>
                </a:lnTo>
                <a:lnTo>
                  <a:pt x="1045" y="2629"/>
                </a:lnTo>
                <a:lnTo>
                  <a:pt x="1045" y="2626"/>
                </a:lnTo>
                <a:lnTo>
                  <a:pt x="1043" y="2626"/>
                </a:lnTo>
                <a:lnTo>
                  <a:pt x="1045" y="2624"/>
                </a:lnTo>
                <a:lnTo>
                  <a:pt x="1050" y="2622"/>
                </a:lnTo>
                <a:lnTo>
                  <a:pt x="1055" y="2624"/>
                </a:lnTo>
                <a:lnTo>
                  <a:pt x="1060" y="2624"/>
                </a:lnTo>
                <a:lnTo>
                  <a:pt x="1060" y="2622"/>
                </a:lnTo>
                <a:lnTo>
                  <a:pt x="1062" y="2619"/>
                </a:lnTo>
                <a:lnTo>
                  <a:pt x="1064" y="2619"/>
                </a:lnTo>
                <a:lnTo>
                  <a:pt x="1067" y="2624"/>
                </a:lnTo>
                <a:lnTo>
                  <a:pt x="1064" y="2626"/>
                </a:lnTo>
                <a:lnTo>
                  <a:pt x="1067" y="2629"/>
                </a:lnTo>
                <a:lnTo>
                  <a:pt x="1069" y="2631"/>
                </a:lnTo>
                <a:lnTo>
                  <a:pt x="1071" y="2631"/>
                </a:lnTo>
                <a:lnTo>
                  <a:pt x="1074" y="2629"/>
                </a:lnTo>
                <a:lnTo>
                  <a:pt x="1076" y="2629"/>
                </a:lnTo>
                <a:lnTo>
                  <a:pt x="1076" y="2629"/>
                </a:lnTo>
                <a:lnTo>
                  <a:pt x="1076" y="2631"/>
                </a:lnTo>
                <a:lnTo>
                  <a:pt x="1076" y="2631"/>
                </a:lnTo>
                <a:lnTo>
                  <a:pt x="1078" y="2631"/>
                </a:lnTo>
                <a:lnTo>
                  <a:pt x="1078" y="2636"/>
                </a:lnTo>
                <a:lnTo>
                  <a:pt x="1078" y="2640"/>
                </a:lnTo>
                <a:lnTo>
                  <a:pt x="1076" y="2645"/>
                </a:lnTo>
                <a:lnTo>
                  <a:pt x="1074" y="2650"/>
                </a:lnTo>
                <a:lnTo>
                  <a:pt x="1074" y="2648"/>
                </a:lnTo>
                <a:lnTo>
                  <a:pt x="1071" y="2645"/>
                </a:lnTo>
                <a:lnTo>
                  <a:pt x="1071" y="2643"/>
                </a:lnTo>
                <a:lnTo>
                  <a:pt x="1069" y="2669"/>
                </a:lnTo>
                <a:lnTo>
                  <a:pt x="1067" y="2676"/>
                </a:lnTo>
                <a:lnTo>
                  <a:pt x="1071" y="2676"/>
                </a:lnTo>
                <a:lnTo>
                  <a:pt x="1069" y="2669"/>
                </a:lnTo>
                <a:lnTo>
                  <a:pt x="1074" y="2667"/>
                </a:lnTo>
                <a:lnTo>
                  <a:pt x="1078" y="2667"/>
                </a:lnTo>
                <a:lnTo>
                  <a:pt x="1081" y="2671"/>
                </a:lnTo>
                <a:lnTo>
                  <a:pt x="1078" y="2678"/>
                </a:lnTo>
                <a:lnTo>
                  <a:pt x="1081" y="2678"/>
                </a:lnTo>
                <a:lnTo>
                  <a:pt x="1081" y="2676"/>
                </a:lnTo>
                <a:lnTo>
                  <a:pt x="1081" y="2676"/>
                </a:lnTo>
                <a:lnTo>
                  <a:pt x="1081" y="2674"/>
                </a:lnTo>
                <a:lnTo>
                  <a:pt x="1083" y="2676"/>
                </a:lnTo>
                <a:lnTo>
                  <a:pt x="1083" y="2676"/>
                </a:lnTo>
                <a:lnTo>
                  <a:pt x="1086" y="2676"/>
                </a:lnTo>
                <a:lnTo>
                  <a:pt x="1090" y="2671"/>
                </a:lnTo>
                <a:lnTo>
                  <a:pt x="1100" y="2671"/>
                </a:lnTo>
                <a:lnTo>
                  <a:pt x="1107" y="2674"/>
                </a:lnTo>
                <a:lnTo>
                  <a:pt x="1114" y="2676"/>
                </a:lnTo>
                <a:lnTo>
                  <a:pt x="1112" y="2681"/>
                </a:lnTo>
                <a:lnTo>
                  <a:pt x="1107" y="2681"/>
                </a:lnTo>
                <a:lnTo>
                  <a:pt x="1100" y="2681"/>
                </a:lnTo>
                <a:lnTo>
                  <a:pt x="1095" y="2678"/>
                </a:lnTo>
                <a:lnTo>
                  <a:pt x="1090" y="2683"/>
                </a:lnTo>
                <a:lnTo>
                  <a:pt x="1090" y="2690"/>
                </a:lnTo>
                <a:lnTo>
                  <a:pt x="1090" y="2697"/>
                </a:lnTo>
                <a:lnTo>
                  <a:pt x="1086" y="2702"/>
                </a:lnTo>
                <a:lnTo>
                  <a:pt x="1088" y="2709"/>
                </a:lnTo>
                <a:lnTo>
                  <a:pt x="1083" y="2711"/>
                </a:lnTo>
                <a:lnTo>
                  <a:pt x="1069" y="2711"/>
                </a:lnTo>
                <a:lnTo>
                  <a:pt x="1069" y="2714"/>
                </a:lnTo>
                <a:lnTo>
                  <a:pt x="1069" y="2714"/>
                </a:lnTo>
                <a:lnTo>
                  <a:pt x="1067" y="2714"/>
                </a:lnTo>
                <a:lnTo>
                  <a:pt x="1071" y="2719"/>
                </a:lnTo>
                <a:lnTo>
                  <a:pt x="1074" y="2719"/>
                </a:lnTo>
                <a:lnTo>
                  <a:pt x="1076" y="2716"/>
                </a:lnTo>
                <a:lnTo>
                  <a:pt x="1078" y="2716"/>
                </a:lnTo>
                <a:lnTo>
                  <a:pt x="1083" y="2716"/>
                </a:lnTo>
                <a:lnTo>
                  <a:pt x="1088" y="2721"/>
                </a:lnTo>
                <a:lnTo>
                  <a:pt x="1090" y="2721"/>
                </a:lnTo>
                <a:lnTo>
                  <a:pt x="1097" y="2719"/>
                </a:lnTo>
                <a:lnTo>
                  <a:pt x="1100" y="2714"/>
                </a:lnTo>
                <a:lnTo>
                  <a:pt x="1104" y="2711"/>
                </a:lnTo>
                <a:lnTo>
                  <a:pt x="1112" y="2711"/>
                </a:lnTo>
                <a:lnTo>
                  <a:pt x="1112" y="2716"/>
                </a:lnTo>
                <a:lnTo>
                  <a:pt x="1109" y="2719"/>
                </a:lnTo>
                <a:lnTo>
                  <a:pt x="1107" y="2721"/>
                </a:lnTo>
                <a:lnTo>
                  <a:pt x="1104" y="2721"/>
                </a:lnTo>
                <a:lnTo>
                  <a:pt x="1104" y="2726"/>
                </a:lnTo>
                <a:lnTo>
                  <a:pt x="1116" y="2728"/>
                </a:lnTo>
                <a:lnTo>
                  <a:pt x="1119" y="2730"/>
                </a:lnTo>
                <a:lnTo>
                  <a:pt x="1119" y="2735"/>
                </a:lnTo>
                <a:lnTo>
                  <a:pt x="1121" y="2737"/>
                </a:lnTo>
                <a:lnTo>
                  <a:pt x="1123" y="2737"/>
                </a:lnTo>
                <a:lnTo>
                  <a:pt x="1128" y="2733"/>
                </a:lnTo>
                <a:lnTo>
                  <a:pt x="1130" y="2737"/>
                </a:lnTo>
                <a:lnTo>
                  <a:pt x="1133" y="2740"/>
                </a:lnTo>
                <a:lnTo>
                  <a:pt x="1138" y="2740"/>
                </a:lnTo>
                <a:lnTo>
                  <a:pt x="1142" y="2740"/>
                </a:lnTo>
                <a:lnTo>
                  <a:pt x="1130" y="2745"/>
                </a:lnTo>
                <a:lnTo>
                  <a:pt x="1128" y="2749"/>
                </a:lnTo>
                <a:lnTo>
                  <a:pt x="1133" y="2754"/>
                </a:lnTo>
                <a:lnTo>
                  <a:pt x="1133" y="2756"/>
                </a:lnTo>
                <a:lnTo>
                  <a:pt x="1128" y="2756"/>
                </a:lnTo>
                <a:lnTo>
                  <a:pt x="1123" y="2759"/>
                </a:lnTo>
                <a:lnTo>
                  <a:pt x="1123" y="2764"/>
                </a:lnTo>
                <a:lnTo>
                  <a:pt x="1126" y="2766"/>
                </a:lnTo>
                <a:lnTo>
                  <a:pt x="1126" y="2761"/>
                </a:lnTo>
                <a:lnTo>
                  <a:pt x="1128" y="2766"/>
                </a:lnTo>
                <a:lnTo>
                  <a:pt x="1140" y="2778"/>
                </a:lnTo>
                <a:lnTo>
                  <a:pt x="1142" y="2782"/>
                </a:lnTo>
                <a:lnTo>
                  <a:pt x="1145" y="2792"/>
                </a:lnTo>
                <a:lnTo>
                  <a:pt x="1157" y="2808"/>
                </a:lnTo>
                <a:lnTo>
                  <a:pt x="1157" y="2816"/>
                </a:lnTo>
                <a:lnTo>
                  <a:pt x="1161" y="2842"/>
                </a:lnTo>
                <a:lnTo>
                  <a:pt x="1164" y="2846"/>
                </a:lnTo>
                <a:lnTo>
                  <a:pt x="1166" y="2849"/>
                </a:lnTo>
                <a:lnTo>
                  <a:pt x="1168" y="2849"/>
                </a:lnTo>
                <a:lnTo>
                  <a:pt x="1173" y="2849"/>
                </a:lnTo>
                <a:lnTo>
                  <a:pt x="1173" y="2853"/>
                </a:lnTo>
                <a:lnTo>
                  <a:pt x="1175" y="2856"/>
                </a:lnTo>
                <a:lnTo>
                  <a:pt x="1178" y="2861"/>
                </a:lnTo>
                <a:lnTo>
                  <a:pt x="1187" y="2868"/>
                </a:lnTo>
                <a:lnTo>
                  <a:pt x="1190" y="2870"/>
                </a:lnTo>
                <a:lnTo>
                  <a:pt x="1190" y="2875"/>
                </a:lnTo>
                <a:lnTo>
                  <a:pt x="1187" y="2882"/>
                </a:lnTo>
                <a:lnTo>
                  <a:pt x="1185" y="2887"/>
                </a:lnTo>
                <a:lnTo>
                  <a:pt x="1185" y="2896"/>
                </a:lnTo>
                <a:lnTo>
                  <a:pt x="1185" y="2903"/>
                </a:lnTo>
                <a:lnTo>
                  <a:pt x="1178" y="2915"/>
                </a:lnTo>
                <a:lnTo>
                  <a:pt x="1175" y="2931"/>
                </a:lnTo>
                <a:lnTo>
                  <a:pt x="1171" y="2939"/>
                </a:lnTo>
                <a:lnTo>
                  <a:pt x="1164" y="2941"/>
                </a:lnTo>
                <a:lnTo>
                  <a:pt x="1159" y="2943"/>
                </a:lnTo>
                <a:lnTo>
                  <a:pt x="1157" y="2950"/>
                </a:lnTo>
                <a:lnTo>
                  <a:pt x="1152" y="2962"/>
                </a:lnTo>
                <a:lnTo>
                  <a:pt x="1149" y="2967"/>
                </a:lnTo>
                <a:lnTo>
                  <a:pt x="1142" y="2976"/>
                </a:lnTo>
                <a:lnTo>
                  <a:pt x="1140" y="2981"/>
                </a:lnTo>
                <a:lnTo>
                  <a:pt x="1138" y="2991"/>
                </a:lnTo>
                <a:lnTo>
                  <a:pt x="1138" y="2998"/>
                </a:lnTo>
                <a:lnTo>
                  <a:pt x="1140" y="3014"/>
                </a:lnTo>
                <a:lnTo>
                  <a:pt x="1142" y="3019"/>
                </a:lnTo>
                <a:lnTo>
                  <a:pt x="1152" y="3040"/>
                </a:lnTo>
                <a:lnTo>
                  <a:pt x="1157" y="3045"/>
                </a:lnTo>
                <a:lnTo>
                  <a:pt x="1161" y="3047"/>
                </a:lnTo>
                <a:lnTo>
                  <a:pt x="1164" y="3050"/>
                </a:lnTo>
                <a:lnTo>
                  <a:pt x="1171" y="3059"/>
                </a:lnTo>
                <a:lnTo>
                  <a:pt x="1180" y="3062"/>
                </a:lnTo>
                <a:lnTo>
                  <a:pt x="1180" y="3069"/>
                </a:lnTo>
                <a:lnTo>
                  <a:pt x="1171" y="3102"/>
                </a:lnTo>
                <a:lnTo>
                  <a:pt x="1171" y="3116"/>
                </a:lnTo>
                <a:lnTo>
                  <a:pt x="1175" y="3128"/>
                </a:lnTo>
                <a:lnTo>
                  <a:pt x="1178" y="3125"/>
                </a:lnTo>
                <a:lnTo>
                  <a:pt x="1178" y="3123"/>
                </a:lnTo>
                <a:lnTo>
                  <a:pt x="1180" y="3123"/>
                </a:lnTo>
                <a:lnTo>
                  <a:pt x="1183" y="3125"/>
                </a:lnTo>
                <a:lnTo>
                  <a:pt x="1180" y="3130"/>
                </a:lnTo>
                <a:lnTo>
                  <a:pt x="1180" y="3133"/>
                </a:lnTo>
                <a:lnTo>
                  <a:pt x="1178" y="3133"/>
                </a:lnTo>
                <a:lnTo>
                  <a:pt x="1175" y="3133"/>
                </a:lnTo>
                <a:lnTo>
                  <a:pt x="1173" y="3140"/>
                </a:lnTo>
                <a:lnTo>
                  <a:pt x="1173" y="3144"/>
                </a:lnTo>
                <a:lnTo>
                  <a:pt x="1173" y="3149"/>
                </a:lnTo>
                <a:lnTo>
                  <a:pt x="1175" y="3154"/>
                </a:lnTo>
                <a:lnTo>
                  <a:pt x="1173" y="3154"/>
                </a:lnTo>
                <a:lnTo>
                  <a:pt x="1173" y="3156"/>
                </a:lnTo>
                <a:lnTo>
                  <a:pt x="1175" y="3156"/>
                </a:lnTo>
                <a:lnTo>
                  <a:pt x="1178" y="3159"/>
                </a:lnTo>
                <a:lnTo>
                  <a:pt x="1178" y="3159"/>
                </a:lnTo>
                <a:lnTo>
                  <a:pt x="1178" y="3161"/>
                </a:lnTo>
                <a:lnTo>
                  <a:pt x="1175" y="3168"/>
                </a:lnTo>
                <a:lnTo>
                  <a:pt x="1173" y="3178"/>
                </a:lnTo>
                <a:lnTo>
                  <a:pt x="1173" y="3187"/>
                </a:lnTo>
                <a:lnTo>
                  <a:pt x="1173" y="3199"/>
                </a:lnTo>
                <a:lnTo>
                  <a:pt x="1175" y="3204"/>
                </a:lnTo>
                <a:lnTo>
                  <a:pt x="1178" y="3213"/>
                </a:lnTo>
                <a:lnTo>
                  <a:pt x="1178" y="3220"/>
                </a:lnTo>
                <a:lnTo>
                  <a:pt x="1178" y="3222"/>
                </a:lnTo>
                <a:lnTo>
                  <a:pt x="1175" y="3232"/>
                </a:lnTo>
                <a:lnTo>
                  <a:pt x="1175" y="3237"/>
                </a:lnTo>
                <a:lnTo>
                  <a:pt x="1175" y="3239"/>
                </a:lnTo>
                <a:lnTo>
                  <a:pt x="1173" y="3244"/>
                </a:lnTo>
                <a:lnTo>
                  <a:pt x="1173" y="3249"/>
                </a:lnTo>
                <a:lnTo>
                  <a:pt x="1173" y="3253"/>
                </a:lnTo>
                <a:lnTo>
                  <a:pt x="1178" y="3272"/>
                </a:lnTo>
                <a:lnTo>
                  <a:pt x="1178" y="3284"/>
                </a:lnTo>
                <a:lnTo>
                  <a:pt x="1173" y="3312"/>
                </a:lnTo>
                <a:lnTo>
                  <a:pt x="1178" y="3319"/>
                </a:lnTo>
                <a:lnTo>
                  <a:pt x="1178" y="3334"/>
                </a:lnTo>
                <a:lnTo>
                  <a:pt x="1173" y="3357"/>
                </a:lnTo>
                <a:lnTo>
                  <a:pt x="1171" y="3376"/>
                </a:lnTo>
                <a:lnTo>
                  <a:pt x="1171" y="3381"/>
                </a:lnTo>
                <a:lnTo>
                  <a:pt x="1173" y="3388"/>
                </a:lnTo>
                <a:lnTo>
                  <a:pt x="1175" y="3390"/>
                </a:lnTo>
                <a:lnTo>
                  <a:pt x="1183" y="3395"/>
                </a:lnTo>
                <a:lnTo>
                  <a:pt x="1185" y="3400"/>
                </a:lnTo>
                <a:lnTo>
                  <a:pt x="1175" y="3402"/>
                </a:lnTo>
                <a:lnTo>
                  <a:pt x="1168" y="3414"/>
                </a:lnTo>
                <a:lnTo>
                  <a:pt x="1166" y="3426"/>
                </a:lnTo>
                <a:lnTo>
                  <a:pt x="1168" y="3435"/>
                </a:lnTo>
                <a:lnTo>
                  <a:pt x="1166" y="3440"/>
                </a:lnTo>
                <a:lnTo>
                  <a:pt x="1166" y="3443"/>
                </a:lnTo>
                <a:lnTo>
                  <a:pt x="1171" y="3445"/>
                </a:lnTo>
                <a:lnTo>
                  <a:pt x="1171" y="3447"/>
                </a:lnTo>
                <a:lnTo>
                  <a:pt x="1171" y="3450"/>
                </a:lnTo>
                <a:lnTo>
                  <a:pt x="1168" y="3459"/>
                </a:lnTo>
                <a:lnTo>
                  <a:pt x="1168" y="3464"/>
                </a:lnTo>
                <a:lnTo>
                  <a:pt x="1166" y="3469"/>
                </a:lnTo>
                <a:lnTo>
                  <a:pt x="1161" y="3471"/>
                </a:lnTo>
                <a:lnTo>
                  <a:pt x="1154" y="3476"/>
                </a:lnTo>
                <a:lnTo>
                  <a:pt x="1154" y="3485"/>
                </a:lnTo>
                <a:lnTo>
                  <a:pt x="1152" y="3483"/>
                </a:lnTo>
                <a:lnTo>
                  <a:pt x="1152" y="3483"/>
                </a:lnTo>
                <a:lnTo>
                  <a:pt x="1152" y="3480"/>
                </a:lnTo>
                <a:lnTo>
                  <a:pt x="1152" y="3476"/>
                </a:lnTo>
                <a:lnTo>
                  <a:pt x="1147" y="3473"/>
                </a:lnTo>
                <a:lnTo>
                  <a:pt x="1140" y="3473"/>
                </a:lnTo>
                <a:lnTo>
                  <a:pt x="1135" y="3476"/>
                </a:lnTo>
                <a:lnTo>
                  <a:pt x="1130" y="3478"/>
                </a:lnTo>
                <a:lnTo>
                  <a:pt x="1128" y="3480"/>
                </a:lnTo>
                <a:lnTo>
                  <a:pt x="1128" y="3476"/>
                </a:lnTo>
                <a:lnTo>
                  <a:pt x="1123" y="3473"/>
                </a:lnTo>
                <a:lnTo>
                  <a:pt x="1116" y="3471"/>
                </a:lnTo>
                <a:lnTo>
                  <a:pt x="1107" y="3461"/>
                </a:lnTo>
                <a:lnTo>
                  <a:pt x="1107" y="3461"/>
                </a:lnTo>
                <a:lnTo>
                  <a:pt x="1102" y="3459"/>
                </a:lnTo>
                <a:lnTo>
                  <a:pt x="1095" y="3452"/>
                </a:lnTo>
                <a:lnTo>
                  <a:pt x="1090" y="3452"/>
                </a:lnTo>
                <a:lnTo>
                  <a:pt x="1088" y="3450"/>
                </a:lnTo>
                <a:lnTo>
                  <a:pt x="1083" y="3450"/>
                </a:lnTo>
                <a:lnTo>
                  <a:pt x="1078" y="3447"/>
                </a:lnTo>
                <a:lnTo>
                  <a:pt x="1076" y="3445"/>
                </a:lnTo>
                <a:lnTo>
                  <a:pt x="1074" y="3447"/>
                </a:lnTo>
                <a:lnTo>
                  <a:pt x="1069" y="3445"/>
                </a:lnTo>
                <a:lnTo>
                  <a:pt x="1062" y="3445"/>
                </a:lnTo>
                <a:lnTo>
                  <a:pt x="1050" y="3445"/>
                </a:lnTo>
                <a:lnTo>
                  <a:pt x="1045" y="3447"/>
                </a:lnTo>
                <a:lnTo>
                  <a:pt x="1041" y="3454"/>
                </a:lnTo>
                <a:lnTo>
                  <a:pt x="1036" y="3461"/>
                </a:lnTo>
                <a:lnTo>
                  <a:pt x="1036" y="3464"/>
                </a:lnTo>
                <a:lnTo>
                  <a:pt x="1026" y="3461"/>
                </a:lnTo>
                <a:lnTo>
                  <a:pt x="1017" y="3454"/>
                </a:lnTo>
                <a:lnTo>
                  <a:pt x="1003" y="3440"/>
                </a:lnTo>
                <a:lnTo>
                  <a:pt x="1000" y="3443"/>
                </a:lnTo>
                <a:lnTo>
                  <a:pt x="998" y="3443"/>
                </a:lnTo>
                <a:lnTo>
                  <a:pt x="993" y="3438"/>
                </a:lnTo>
                <a:lnTo>
                  <a:pt x="991" y="3435"/>
                </a:lnTo>
                <a:lnTo>
                  <a:pt x="986" y="3435"/>
                </a:lnTo>
                <a:lnTo>
                  <a:pt x="984" y="3435"/>
                </a:lnTo>
                <a:lnTo>
                  <a:pt x="981" y="3438"/>
                </a:lnTo>
                <a:lnTo>
                  <a:pt x="986" y="3440"/>
                </a:lnTo>
                <a:lnTo>
                  <a:pt x="989" y="3443"/>
                </a:lnTo>
                <a:lnTo>
                  <a:pt x="986" y="3445"/>
                </a:lnTo>
                <a:lnTo>
                  <a:pt x="989" y="3447"/>
                </a:lnTo>
                <a:lnTo>
                  <a:pt x="991" y="3450"/>
                </a:lnTo>
                <a:lnTo>
                  <a:pt x="993" y="3452"/>
                </a:lnTo>
                <a:lnTo>
                  <a:pt x="993" y="3450"/>
                </a:lnTo>
                <a:lnTo>
                  <a:pt x="996" y="3452"/>
                </a:lnTo>
                <a:lnTo>
                  <a:pt x="1005" y="3450"/>
                </a:lnTo>
                <a:lnTo>
                  <a:pt x="1005" y="3450"/>
                </a:lnTo>
                <a:lnTo>
                  <a:pt x="1007" y="3454"/>
                </a:lnTo>
                <a:lnTo>
                  <a:pt x="1007" y="3457"/>
                </a:lnTo>
                <a:lnTo>
                  <a:pt x="996" y="3471"/>
                </a:lnTo>
                <a:lnTo>
                  <a:pt x="991" y="3478"/>
                </a:lnTo>
                <a:lnTo>
                  <a:pt x="989" y="3485"/>
                </a:lnTo>
                <a:lnTo>
                  <a:pt x="989" y="3495"/>
                </a:lnTo>
                <a:lnTo>
                  <a:pt x="991" y="3504"/>
                </a:lnTo>
                <a:lnTo>
                  <a:pt x="993" y="3511"/>
                </a:lnTo>
                <a:lnTo>
                  <a:pt x="998" y="3518"/>
                </a:lnTo>
                <a:lnTo>
                  <a:pt x="998" y="3521"/>
                </a:lnTo>
                <a:lnTo>
                  <a:pt x="1000" y="3523"/>
                </a:lnTo>
                <a:lnTo>
                  <a:pt x="1003" y="3525"/>
                </a:lnTo>
                <a:lnTo>
                  <a:pt x="998" y="3535"/>
                </a:lnTo>
                <a:lnTo>
                  <a:pt x="996" y="3549"/>
                </a:lnTo>
                <a:lnTo>
                  <a:pt x="998" y="3549"/>
                </a:lnTo>
                <a:lnTo>
                  <a:pt x="996" y="3551"/>
                </a:lnTo>
                <a:lnTo>
                  <a:pt x="993" y="3551"/>
                </a:lnTo>
                <a:lnTo>
                  <a:pt x="991" y="3551"/>
                </a:lnTo>
                <a:lnTo>
                  <a:pt x="989" y="3556"/>
                </a:lnTo>
                <a:lnTo>
                  <a:pt x="960" y="3594"/>
                </a:lnTo>
                <a:lnTo>
                  <a:pt x="958" y="3594"/>
                </a:lnTo>
                <a:lnTo>
                  <a:pt x="953" y="3596"/>
                </a:lnTo>
                <a:lnTo>
                  <a:pt x="953" y="3596"/>
                </a:lnTo>
                <a:lnTo>
                  <a:pt x="948" y="3603"/>
                </a:lnTo>
                <a:lnTo>
                  <a:pt x="946" y="3606"/>
                </a:lnTo>
                <a:lnTo>
                  <a:pt x="941" y="3606"/>
                </a:lnTo>
                <a:lnTo>
                  <a:pt x="936" y="3601"/>
                </a:lnTo>
                <a:lnTo>
                  <a:pt x="929" y="3596"/>
                </a:lnTo>
                <a:lnTo>
                  <a:pt x="929" y="3603"/>
                </a:lnTo>
                <a:lnTo>
                  <a:pt x="925" y="3596"/>
                </a:lnTo>
                <a:lnTo>
                  <a:pt x="915" y="3592"/>
                </a:lnTo>
                <a:lnTo>
                  <a:pt x="906" y="3587"/>
                </a:lnTo>
                <a:lnTo>
                  <a:pt x="899" y="3587"/>
                </a:lnTo>
                <a:lnTo>
                  <a:pt x="892" y="3592"/>
                </a:lnTo>
                <a:lnTo>
                  <a:pt x="884" y="3599"/>
                </a:lnTo>
                <a:lnTo>
                  <a:pt x="880" y="3606"/>
                </a:lnTo>
                <a:lnTo>
                  <a:pt x="882" y="3615"/>
                </a:lnTo>
                <a:lnTo>
                  <a:pt x="877" y="3618"/>
                </a:lnTo>
                <a:lnTo>
                  <a:pt x="875" y="3615"/>
                </a:lnTo>
                <a:lnTo>
                  <a:pt x="877" y="3608"/>
                </a:lnTo>
                <a:lnTo>
                  <a:pt x="873" y="3606"/>
                </a:lnTo>
                <a:lnTo>
                  <a:pt x="868" y="3606"/>
                </a:lnTo>
                <a:lnTo>
                  <a:pt x="863" y="3606"/>
                </a:lnTo>
                <a:lnTo>
                  <a:pt x="863" y="3603"/>
                </a:lnTo>
                <a:lnTo>
                  <a:pt x="866" y="3594"/>
                </a:lnTo>
                <a:lnTo>
                  <a:pt x="866" y="3584"/>
                </a:lnTo>
                <a:lnTo>
                  <a:pt x="861" y="3577"/>
                </a:lnTo>
                <a:lnTo>
                  <a:pt x="854" y="3580"/>
                </a:lnTo>
                <a:lnTo>
                  <a:pt x="849" y="3558"/>
                </a:lnTo>
                <a:lnTo>
                  <a:pt x="842" y="3540"/>
                </a:lnTo>
                <a:lnTo>
                  <a:pt x="839" y="3540"/>
                </a:lnTo>
                <a:lnTo>
                  <a:pt x="837" y="3542"/>
                </a:lnTo>
                <a:lnTo>
                  <a:pt x="830" y="3540"/>
                </a:lnTo>
                <a:lnTo>
                  <a:pt x="825" y="3540"/>
                </a:lnTo>
                <a:lnTo>
                  <a:pt x="825" y="3537"/>
                </a:lnTo>
                <a:lnTo>
                  <a:pt x="828" y="3530"/>
                </a:lnTo>
                <a:lnTo>
                  <a:pt x="823" y="3528"/>
                </a:lnTo>
                <a:lnTo>
                  <a:pt x="816" y="3532"/>
                </a:lnTo>
                <a:lnTo>
                  <a:pt x="816" y="3532"/>
                </a:lnTo>
                <a:lnTo>
                  <a:pt x="813" y="3528"/>
                </a:lnTo>
                <a:lnTo>
                  <a:pt x="813" y="3523"/>
                </a:lnTo>
                <a:lnTo>
                  <a:pt x="809" y="3516"/>
                </a:lnTo>
                <a:lnTo>
                  <a:pt x="806" y="3516"/>
                </a:lnTo>
                <a:lnTo>
                  <a:pt x="802" y="3518"/>
                </a:lnTo>
                <a:lnTo>
                  <a:pt x="799" y="3514"/>
                </a:lnTo>
                <a:lnTo>
                  <a:pt x="799" y="3504"/>
                </a:lnTo>
                <a:lnTo>
                  <a:pt x="797" y="3499"/>
                </a:lnTo>
                <a:lnTo>
                  <a:pt x="795" y="3495"/>
                </a:lnTo>
                <a:lnTo>
                  <a:pt x="792" y="3495"/>
                </a:lnTo>
                <a:lnTo>
                  <a:pt x="790" y="3495"/>
                </a:lnTo>
                <a:lnTo>
                  <a:pt x="792" y="3499"/>
                </a:lnTo>
                <a:lnTo>
                  <a:pt x="790" y="3497"/>
                </a:lnTo>
                <a:lnTo>
                  <a:pt x="787" y="3497"/>
                </a:lnTo>
                <a:lnTo>
                  <a:pt x="785" y="3492"/>
                </a:lnTo>
                <a:lnTo>
                  <a:pt x="785" y="3490"/>
                </a:lnTo>
                <a:lnTo>
                  <a:pt x="785" y="3485"/>
                </a:lnTo>
                <a:lnTo>
                  <a:pt x="783" y="3483"/>
                </a:lnTo>
                <a:lnTo>
                  <a:pt x="780" y="3483"/>
                </a:lnTo>
                <a:lnTo>
                  <a:pt x="778" y="3483"/>
                </a:lnTo>
                <a:lnTo>
                  <a:pt x="776" y="3476"/>
                </a:lnTo>
                <a:lnTo>
                  <a:pt x="773" y="3473"/>
                </a:lnTo>
                <a:lnTo>
                  <a:pt x="776" y="3471"/>
                </a:lnTo>
                <a:lnTo>
                  <a:pt x="790" y="3450"/>
                </a:lnTo>
                <a:lnTo>
                  <a:pt x="792" y="3440"/>
                </a:lnTo>
                <a:lnTo>
                  <a:pt x="785" y="3433"/>
                </a:lnTo>
                <a:lnTo>
                  <a:pt x="785" y="3426"/>
                </a:lnTo>
                <a:lnTo>
                  <a:pt x="773" y="3419"/>
                </a:lnTo>
                <a:lnTo>
                  <a:pt x="769" y="3409"/>
                </a:lnTo>
                <a:lnTo>
                  <a:pt x="771" y="3407"/>
                </a:lnTo>
                <a:lnTo>
                  <a:pt x="776" y="3400"/>
                </a:lnTo>
                <a:lnTo>
                  <a:pt x="776" y="3395"/>
                </a:lnTo>
                <a:lnTo>
                  <a:pt x="778" y="3388"/>
                </a:lnTo>
                <a:lnTo>
                  <a:pt x="776" y="3386"/>
                </a:lnTo>
                <a:lnTo>
                  <a:pt x="771" y="3374"/>
                </a:lnTo>
                <a:lnTo>
                  <a:pt x="769" y="3374"/>
                </a:lnTo>
                <a:lnTo>
                  <a:pt x="769" y="3372"/>
                </a:lnTo>
                <a:lnTo>
                  <a:pt x="771" y="3367"/>
                </a:lnTo>
                <a:lnTo>
                  <a:pt x="780" y="3355"/>
                </a:lnTo>
                <a:lnTo>
                  <a:pt x="783" y="3346"/>
                </a:lnTo>
                <a:lnTo>
                  <a:pt x="787" y="3331"/>
                </a:lnTo>
                <a:lnTo>
                  <a:pt x="790" y="3324"/>
                </a:lnTo>
                <a:lnTo>
                  <a:pt x="787" y="3319"/>
                </a:lnTo>
                <a:lnTo>
                  <a:pt x="790" y="3315"/>
                </a:lnTo>
                <a:lnTo>
                  <a:pt x="787" y="3308"/>
                </a:lnTo>
                <a:lnTo>
                  <a:pt x="783" y="3289"/>
                </a:lnTo>
                <a:lnTo>
                  <a:pt x="780" y="3270"/>
                </a:lnTo>
                <a:lnTo>
                  <a:pt x="778" y="3265"/>
                </a:lnTo>
                <a:lnTo>
                  <a:pt x="778" y="3263"/>
                </a:lnTo>
                <a:lnTo>
                  <a:pt x="778" y="3258"/>
                </a:lnTo>
                <a:lnTo>
                  <a:pt x="778" y="3249"/>
                </a:lnTo>
                <a:lnTo>
                  <a:pt x="778" y="3246"/>
                </a:lnTo>
                <a:lnTo>
                  <a:pt x="783" y="3246"/>
                </a:lnTo>
                <a:lnTo>
                  <a:pt x="785" y="3249"/>
                </a:lnTo>
                <a:lnTo>
                  <a:pt x="797" y="3263"/>
                </a:lnTo>
                <a:lnTo>
                  <a:pt x="804" y="3270"/>
                </a:lnTo>
                <a:lnTo>
                  <a:pt x="811" y="3270"/>
                </a:lnTo>
                <a:lnTo>
                  <a:pt x="818" y="3267"/>
                </a:lnTo>
                <a:lnTo>
                  <a:pt x="802" y="3263"/>
                </a:lnTo>
                <a:lnTo>
                  <a:pt x="797" y="3260"/>
                </a:lnTo>
                <a:lnTo>
                  <a:pt x="797" y="3253"/>
                </a:lnTo>
                <a:lnTo>
                  <a:pt x="802" y="3246"/>
                </a:lnTo>
                <a:lnTo>
                  <a:pt x="806" y="3239"/>
                </a:lnTo>
                <a:lnTo>
                  <a:pt x="809" y="3234"/>
                </a:lnTo>
                <a:lnTo>
                  <a:pt x="806" y="3234"/>
                </a:lnTo>
                <a:lnTo>
                  <a:pt x="806" y="3237"/>
                </a:lnTo>
                <a:lnTo>
                  <a:pt x="804" y="3239"/>
                </a:lnTo>
                <a:lnTo>
                  <a:pt x="802" y="3241"/>
                </a:lnTo>
                <a:lnTo>
                  <a:pt x="802" y="3244"/>
                </a:lnTo>
                <a:lnTo>
                  <a:pt x="804" y="3239"/>
                </a:lnTo>
                <a:lnTo>
                  <a:pt x="806" y="3232"/>
                </a:lnTo>
                <a:lnTo>
                  <a:pt x="809" y="3222"/>
                </a:lnTo>
                <a:lnTo>
                  <a:pt x="809" y="3218"/>
                </a:lnTo>
                <a:lnTo>
                  <a:pt x="809" y="3204"/>
                </a:lnTo>
                <a:lnTo>
                  <a:pt x="809" y="3199"/>
                </a:lnTo>
                <a:lnTo>
                  <a:pt x="804" y="3194"/>
                </a:lnTo>
                <a:lnTo>
                  <a:pt x="797" y="3185"/>
                </a:lnTo>
                <a:lnTo>
                  <a:pt x="787" y="3180"/>
                </a:lnTo>
                <a:lnTo>
                  <a:pt x="776" y="3180"/>
                </a:lnTo>
                <a:lnTo>
                  <a:pt x="769" y="3187"/>
                </a:lnTo>
                <a:lnTo>
                  <a:pt x="771" y="3189"/>
                </a:lnTo>
                <a:lnTo>
                  <a:pt x="771" y="3187"/>
                </a:lnTo>
                <a:lnTo>
                  <a:pt x="773" y="3187"/>
                </a:lnTo>
                <a:lnTo>
                  <a:pt x="776" y="3187"/>
                </a:lnTo>
                <a:lnTo>
                  <a:pt x="778" y="3187"/>
                </a:lnTo>
                <a:lnTo>
                  <a:pt x="773" y="3189"/>
                </a:lnTo>
                <a:lnTo>
                  <a:pt x="771" y="3194"/>
                </a:lnTo>
                <a:lnTo>
                  <a:pt x="771" y="3206"/>
                </a:lnTo>
                <a:lnTo>
                  <a:pt x="769" y="3204"/>
                </a:lnTo>
                <a:lnTo>
                  <a:pt x="771" y="3196"/>
                </a:lnTo>
                <a:lnTo>
                  <a:pt x="769" y="3194"/>
                </a:lnTo>
                <a:lnTo>
                  <a:pt x="764" y="3192"/>
                </a:lnTo>
                <a:lnTo>
                  <a:pt x="759" y="3187"/>
                </a:lnTo>
                <a:lnTo>
                  <a:pt x="757" y="3187"/>
                </a:lnTo>
                <a:lnTo>
                  <a:pt x="757" y="3187"/>
                </a:lnTo>
                <a:lnTo>
                  <a:pt x="754" y="3185"/>
                </a:lnTo>
                <a:lnTo>
                  <a:pt x="754" y="3180"/>
                </a:lnTo>
                <a:lnTo>
                  <a:pt x="754" y="3178"/>
                </a:lnTo>
                <a:lnTo>
                  <a:pt x="757" y="3175"/>
                </a:lnTo>
                <a:lnTo>
                  <a:pt x="757" y="3173"/>
                </a:lnTo>
                <a:lnTo>
                  <a:pt x="752" y="3156"/>
                </a:lnTo>
                <a:lnTo>
                  <a:pt x="752" y="3152"/>
                </a:lnTo>
                <a:lnTo>
                  <a:pt x="754" y="3142"/>
                </a:lnTo>
                <a:lnTo>
                  <a:pt x="754" y="3137"/>
                </a:lnTo>
                <a:lnTo>
                  <a:pt x="750" y="3130"/>
                </a:lnTo>
                <a:lnTo>
                  <a:pt x="745" y="3135"/>
                </a:lnTo>
                <a:lnTo>
                  <a:pt x="745" y="3133"/>
                </a:lnTo>
                <a:lnTo>
                  <a:pt x="747" y="3130"/>
                </a:lnTo>
                <a:lnTo>
                  <a:pt x="752" y="3125"/>
                </a:lnTo>
                <a:lnTo>
                  <a:pt x="752" y="3125"/>
                </a:lnTo>
                <a:lnTo>
                  <a:pt x="761" y="3123"/>
                </a:lnTo>
                <a:lnTo>
                  <a:pt x="769" y="3121"/>
                </a:lnTo>
                <a:lnTo>
                  <a:pt x="771" y="3121"/>
                </a:lnTo>
                <a:lnTo>
                  <a:pt x="773" y="3118"/>
                </a:lnTo>
                <a:lnTo>
                  <a:pt x="776" y="3111"/>
                </a:lnTo>
                <a:lnTo>
                  <a:pt x="778" y="3107"/>
                </a:lnTo>
                <a:lnTo>
                  <a:pt x="778" y="3099"/>
                </a:lnTo>
                <a:lnTo>
                  <a:pt x="776" y="3095"/>
                </a:lnTo>
                <a:lnTo>
                  <a:pt x="769" y="3083"/>
                </a:lnTo>
                <a:lnTo>
                  <a:pt x="766" y="3076"/>
                </a:lnTo>
                <a:lnTo>
                  <a:pt x="764" y="3052"/>
                </a:lnTo>
                <a:lnTo>
                  <a:pt x="766" y="3033"/>
                </a:lnTo>
                <a:lnTo>
                  <a:pt x="766" y="3019"/>
                </a:lnTo>
                <a:lnTo>
                  <a:pt x="761" y="3012"/>
                </a:lnTo>
                <a:lnTo>
                  <a:pt x="752" y="3005"/>
                </a:lnTo>
                <a:lnTo>
                  <a:pt x="745" y="3000"/>
                </a:lnTo>
                <a:lnTo>
                  <a:pt x="742" y="3002"/>
                </a:lnTo>
                <a:lnTo>
                  <a:pt x="733" y="2998"/>
                </a:lnTo>
                <a:lnTo>
                  <a:pt x="733" y="2991"/>
                </a:lnTo>
                <a:lnTo>
                  <a:pt x="733" y="2967"/>
                </a:lnTo>
                <a:lnTo>
                  <a:pt x="733" y="2960"/>
                </a:lnTo>
                <a:lnTo>
                  <a:pt x="728" y="2948"/>
                </a:lnTo>
                <a:lnTo>
                  <a:pt x="721" y="2939"/>
                </a:lnTo>
                <a:lnTo>
                  <a:pt x="716" y="2936"/>
                </a:lnTo>
                <a:lnTo>
                  <a:pt x="709" y="2931"/>
                </a:lnTo>
                <a:lnTo>
                  <a:pt x="707" y="2924"/>
                </a:lnTo>
                <a:lnTo>
                  <a:pt x="705" y="2915"/>
                </a:lnTo>
                <a:lnTo>
                  <a:pt x="702" y="2905"/>
                </a:lnTo>
                <a:lnTo>
                  <a:pt x="695" y="2898"/>
                </a:lnTo>
                <a:lnTo>
                  <a:pt x="686" y="2898"/>
                </a:lnTo>
                <a:lnTo>
                  <a:pt x="672" y="2910"/>
                </a:lnTo>
                <a:lnTo>
                  <a:pt x="664" y="2908"/>
                </a:lnTo>
                <a:lnTo>
                  <a:pt x="667" y="2901"/>
                </a:lnTo>
                <a:lnTo>
                  <a:pt x="669" y="2894"/>
                </a:lnTo>
                <a:lnTo>
                  <a:pt x="662" y="2891"/>
                </a:lnTo>
                <a:lnTo>
                  <a:pt x="657" y="2896"/>
                </a:lnTo>
                <a:lnTo>
                  <a:pt x="655" y="2905"/>
                </a:lnTo>
                <a:lnTo>
                  <a:pt x="653" y="2915"/>
                </a:lnTo>
                <a:lnTo>
                  <a:pt x="650" y="2910"/>
                </a:lnTo>
                <a:lnTo>
                  <a:pt x="648" y="2903"/>
                </a:lnTo>
                <a:lnTo>
                  <a:pt x="645" y="2894"/>
                </a:lnTo>
                <a:lnTo>
                  <a:pt x="645" y="2891"/>
                </a:lnTo>
                <a:lnTo>
                  <a:pt x="650" y="2887"/>
                </a:lnTo>
                <a:lnTo>
                  <a:pt x="655" y="2882"/>
                </a:lnTo>
                <a:lnTo>
                  <a:pt x="657" y="2875"/>
                </a:lnTo>
                <a:lnTo>
                  <a:pt x="657" y="2865"/>
                </a:lnTo>
                <a:lnTo>
                  <a:pt x="657" y="2865"/>
                </a:lnTo>
                <a:lnTo>
                  <a:pt x="660" y="2863"/>
                </a:lnTo>
                <a:lnTo>
                  <a:pt x="660" y="2861"/>
                </a:lnTo>
                <a:lnTo>
                  <a:pt x="657" y="2858"/>
                </a:lnTo>
                <a:lnTo>
                  <a:pt x="655" y="2861"/>
                </a:lnTo>
                <a:lnTo>
                  <a:pt x="653" y="2858"/>
                </a:lnTo>
                <a:lnTo>
                  <a:pt x="650" y="2856"/>
                </a:lnTo>
                <a:lnTo>
                  <a:pt x="645" y="2849"/>
                </a:lnTo>
                <a:lnTo>
                  <a:pt x="643" y="2846"/>
                </a:lnTo>
                <a:lnTo>
                  <a:pt x="638" y="2846"/>
                </a:lnTo>
                <a:lnTo>
                  <a:pt x="657" y="2787"/>
                </a:lnTo>
                <a:lnTo>
                  <a:pt x="657" y="2780"/>
                </a:lnTo>
                <a:lnTo>
                  <a:pt x="657" y="2771"/>
                </a:lnTo>
                <a:lnTo>
                  <a:pt x="655" y="2766"/>
                </a:lnTo>
                <a:lnTo>
                  <a:pt x="650" y="2764"/>
                </a:lnTo>
                <a:lnTo>
                  <a:pt x="645" y="2761"/>
                </a:lnTo>
                <a:lnTo>
                  <a:pt x="645" y="2754"/>
                </a:lnTo>
                <a:lnTo>
                  <a:pt x="648" y="2745"/>
                </a:lnTo>
                <a:lnTo>
                  <a:pt x="650" y="2740"/>
                </a:lnTo>
                <a:lnTo>
                  <a:pt x="653" y="2740"/>
                </a:lnTo>
                <a:lnTo>
                  <a:pt x="655" y="2745"/>
                </a:lnTo>
                <a:lnTo>
                  <a:pt x="657" y="2745"/>
                </a:lnTo>
                <a:lnTo>
                  <a:pt x="660" y="2745"/>
                </a:lnTo>
                <a:lnTo>
                  <a:pt x="662" y="2747"/>
                </a:lnTo>
                <a:lnTo>
                  <a:pt x="662" y="2752"/>
                </a:lnTo>
                <a:lnTo>
                  <a:pt x="662" y="2756"/>
                </a:lnTo>
                <a:lnTo>
                  <a:pt x="662" y="2761"/>
                </a:lnTo>
                <a:lnTo>
                  <a:pt x="662" y="2766"/>
                </a:lnTo>
                <a:lnTo>
                  <a:pt x="679" y="2785"/>
                </a:lnTo>
                <a:lnTo>
                  <a:pt x="690" y="2790"/>
                </a:lnTo>
                <a:lnTo>
                  <a:pt x="726" y="2790"/>
                </a:lnTo>
                <a:lnTo>
                  <a:pt x="745" y="2794"/>
                </a:lnTo>
                <a:lnTo>
                  <a:pt x="752" y="2794"/>
                </a:lnTo>
                <a:lnTo>
                  <a:pt x="759" y="2792"/>
                </a:lnTo>
                <a:lnTo>
                  <a:pt x="783" y="2778"/>
                </a:lnTo>
                <a:lnTo>
                  <a:pt x="787" y="2773"/>
                </a:lnTo>
                <a:lnTo>
                  <a:pt x="792" y="2766"/>
                </a:lnTo>
                <a:lnTo>
                  <a:pt x="795" y="2759"/>
                </a:lnTo>
                <a:lnTo>
                  <a:pt x="813" y="2747"/>
                </a:lnTo>
                <a:lnTo>
                  <a:pt x="823" y="2745"/>
                </a:lnTo>
                <a:lnTo>
                  <a:pt x="828" y="2745"/>
                </a:lnTo>
                <a:lnTo>
                  <a:pt x="832" y="2747"/>
                </a:lnTo>
                <a:lnTo>
                  <a:pt x="849" y="2730"/>
                </a:lnTo>
                <a:lnTo>
                  <a:pt x="854" y="2723"/>
                </a:lnTo>
                <a:lnTo>
                  <a:pt x="863" y="2702"/>
                </a:lnTo>
                <a:lnTo>
                  <a:pt x="868" y="2700"/>
                </a:lnTo>
                <a:lnTo>
                  <a:pt x="866" y="2697"/>
                </a:lnTo>
                <a:lnTo>
                  <a:pt x="866" y="2697"/>
                </a:lnTo>
                <a:lnTo>
                  <a:pt x="866" y="2697"/>
                </a:lnTo>
                <a:lnTo>
                  <a:pt x="866" y="2697"/>
                </a:lnTo>
                <a:lnTo>
                  <a:pt x="875" y="2690"/>
                </a:lnTo>
                <a:lnTo>
                  <a:pt x="877" y="2690"/>
                </a:lnTo>
                <a:lnTo>
                  <a:pt x="880" y="2685"/>
                </a:lnTo>
                <a:lnTo>
                  <a:pt x="882" y="2678"/>
                </a:lnTo>
                <a:lnTo>
                  <a:pt x="884" y="2676"/>
                </a:lnTo>
                <a:lnTo>
                  <a:pt x="887" y="2674"/>
                </a:lnTo>
                <a:lnTo>
                  <a:pt x="892" y="2669"/>
                </a:lnTo>
                <a:lnTo>
                  <a:pt x="896" y="2662"/>
                </a:lnTo>
                <a:lnTo>
                  <a:pt x="901" y="2650"/>
                </a:lnTo>
                <a:lnTo>
                  <a:pt x="906" y="2648"/>
                </a:lnTo>
                <a:lnTo>
                  <a:pt x="927" y="2640"/>
                </a:lnTo>
                <a:lnTo>
                  <a:pt x="932" y="2638"/>
                </a:lnTo>
                <a:lnTo>
                  <a:pt x="939" y="2629"/>
                </a:lnTo>
                <a:lnTo>
                  <a:pt x="941" y="2631"/>
                </a:lnTo>
                <a:lnTo>
                  <a:pt x="946" y="2624"/>
                </a:lnTo>
                <a:lnTo>
                  <a:pt x="948" y="2619"/>
                </a:lnTo>
                <a:lnTo>
                  <a:pt x="946" y="2600"/>
                </a:lnTo>
                <a:lnTo>
                  <a:pt x="946" y="2593"/>
                </a:lnTo>
                <a:lnTo>
                  <a:pt x="953" y="2588"/>
                </a:lnTo>
                <a:lnTo>
                  <a:pt x="960" y="2586"/>
                </a:lnTo>
                <a:lnTo>
                  <a:pt x="965" y="2581"/>
                </a:lnTo>
                <a:lnTo>
                  <a:pt x="967" y="2586"/>
                </a:lnTo>
                <a:lnTo>
                  <a:pt x="967" y="2588"/>
                </a:lnTo>
                <a:moveTo>
                  <a:pt x="1031" y="2593"/>
                </a:moveTo>
                <a:lnTo>
                  <a:pt x="1031" y="2593"/>
                </a:lnTo>
                <a:lnTo>
                  <a:pt x="1019" y="2598"/>
                </a:lnTo>
                <a:lnTo>
                  <a:pt x="1015" y="2598"/>
                </a:lnTo>
                <a:lnTo>
                  <a:pt x="1012" y="2596"/>
                </a:lnTo>
                <a:lnTo>
                  <a:pt x="1012" y="2591"/>
                </a:lnTo>
                <a:lnTo>
                  <a:pt x="1012" y="2588"/>
                </a:lnTo>
                <a:lnTo>
                  <a:pt x="1015" y="2588"/>
                </a:lnTo>
                <a:lnTo>
                  <a:pt x="1017" y="2586"/>
                </a:lnTo>
                <a:lnTo>
                  <a:pt x="1019" y="2584"/>
                </a:lnTo>
                <a:lnTo>
                  <a:pt x="1019" y="2579"/>
                </a:lnTo>
                <a:lnTo>
                  <a:pt x="1019" y="2579"/>
                </a:lnTo>
                <a:lnTo>
                  <a:pt x="1022" y="2577"/>
                </a:lnTo>
                <a:lnTo>
                  <a:pt x="1024" y="2577"/>
                </a:lnTo>
                <a:lnTo>
                  <a:pt x="1026" y="2577"/>
                </a:lnTo>
                <a:lnTo>
                  <a:pt x="1029" y="2579"/>
                </a:lnTo>
                <a:lnTo>
                  <a:pt x="1029" y="2581"/>
                </a:lnTo>
                <a:lnTo>
                  <a:pt x="1029" y="2586"/>
                </a:lnTo>
                <a:lnTo>
                  <a:pt x="1029" y="2588"/>
                </a:lnTo>
                <a:lnTo>
                  <a:pt x="1031" y="2591"/>
                </a:lnTo>
                <a:lnTo>
                  <a:pt x="1031" y="2593"/>
                </a:lnTo>
                <a:lnTo>
                  <a:pt x="1031" y="2593"/>
                </a:lnTo>
                <a:moveTo>
                  <a:pt x="1254" y="2084"/>
                </a:moveTo>
                <a:lnTo>
                  <a:pt x="1254" y="2084"/>
                </a:lnTo>
                <a:lnTo>
                  <a:pt x="1254" y="2092"/>
                </a:lnTo>
                <a:lnTo>
                  <a:pt x="1246" y="2089"/>
                </a:lnTo>
                <a:lnTo>
                  <a:pt x="1246" y="2082"/>
                </a:lnTo>
                <a:lnTo>
                  <a:pt x="1249" y="2080"/>
                </a:lnTo>
                <a:lnTo>
                  <a:pt x="1254" y="2084"/>
                </a:lnTo>
                <a:moveTo>
                  <a:pt x="1443" y="2063"/>
                </a:moveTo>
                <a:lnTo>
                  <a:pt x="1443" y="2063"/>
                </a:lnTo>
                <a:lnTo>
                  <a:pt x="1438" y="2066"/>
                </a:lnTo>
                <a:lnTo>
                  <a:pt x="1426" y="2054"/>
                </a:lnTo>
                <a:lnTo>
                  <a:pt x="1422" y="2051"/>
                </a:lnTo>
                <a:lnTo>
                  <a:pt x="1424" y="2047"/>
                </a:lnTo>
                <a:lnTo>
                  <a:pt x="1424" y="2042"/>
                </a:lnTo>
                <a:lnTo>
                  <a:pt x="1426" y="2040"/>
                </a:lnTo>
                <a:lnTo>
                  <a:pt x="1431" y="2042"/>
                </a:lnTo>
                <a:lnTo>
                  <a:pt x="1436" y="2044"/>
                </a:lnTo>
                <a:lnTo>
                  <a:pt x="1440" y="2054"/>
                </a:lnTo>
                <a:lnTo>
                  <a:pt x="1445" y="2056"/>
                </a:lnTo>
                <a:lnTo>
                  <a:pt x="1443" y="2058"/>
                </a:lnTo>
                <a:lnTo>
                  <a:pt x="1443" y="2063"/>
                </a:lnTo>
                <a:moveTo>
                  <a:pt x="1173" y="1992"/>
                </a:moveTo>
                <a:lnTo>
                  <a:pt x="1173" y="1992"/>
                </a:lnTo>
                <a:lnTo>
                  <a:pt x="1171" y="1995"/>
                </a:lnTo>
                <a:lnTo>
                  <a:pt x="1166" y="1995"/>
                </a:lnTo>
                <a:lnTo>
                  <a:pt x="1161" y="1995"/>
                </a:lnTo>
                <a:lnTo>
                  <a:pt x="1159" y="1992"/>
                </a:lnTo>
                <a:lnTo>
                  <a:pt x="1159" y="1990"/>
                </a:lnTo>
                <a:lnTo>
                  <a:pt x="1161" y="1987"/>
                </a:lnTo>
                <a:lnTo>
                  <a:pt x="1164" y="1983"/>
                </a:lnTo>
                <a:lnTo>
                  <a:pt x="1166" y="1978"/>
                </a:lnTo>
                <a:lnTo>
                  <a:pt x="1168" y="1978"/>
                </a:lnTo>
                <a:lnTo>
                  <a:pt x="1168" y="1983"/>
                </a:lnTo>
                <a:lnTo>
                  <a:pt x="1171" y="1985"/>
                </a:lnTo>
                <a:lnTo>
                  <a:pt x="1173" y="1987"/>
                </a:lnTo>
                <a:lnTo>
                  <a:pt x="1173" y="1987"/>
                </a:lnTo>
                <a:lnTo>
                  <a:pt x="1173" y="1990"/>
                </a:lnTo>
                <a:lnTo>
                  <a:pt x="1173" y="1992"/>
                </a:lnTo>
                <a:moveTo>
                  <a:pt x="1265" y="1879"/>
                </a:moveTo>
                <a:lnTo>
                  <a:pt x="1265" y="1879"/>
                </a:lnTo>
                <a:lnTo>
                  <a:pt x="1268" y="1883"/>
                </a:lnTo>
                <a:lnTo>
                  <a:pt x="1265" y="1890"/>
                </a:lnTo>
                <a:lnTo>
                  <a:pt x="1263" y="1895"/>
                </a:lnTo>
                <a:lnTo>
                  <a:pt x="1261" y="1900"/>
                </a:lnTo>
                <a:lnTo>
                  <a:pt x="1254" y="1902"/>
                </a:lnTo>
                <a:lnTo>
                  <a:pt x="1261" y="1905"/>
                </a:lnTo>
                <a:lnTo>
                  <a:pt x="1268" y="1909"/>
                </a:lnTo>
                <a:lnTo>
                  <a:pt x="1270" y="1919"/>
                </a:lnTo>
                <a:lnTo>
                  <a:pt x="1265" y="1924"/>
                </a:lnTo>
                <a:lnTo>
                  <a:pt x="1263" y="1921"/>
                </a:lnTo>
                <a:lnTo>
                  <a:pt x="1261" y="1921"/>
                </a:lnTo>
                <a:lnTo>
                  <a:pt x="1258" y="1921"/>
                </a:lnTo>
                <a:lnTo>
                  <a:pt x="1254" y="1919"/>
                </a:lnTo>
                <a:lnTo>
                  <a:pt x="1254" y="1919"/>
                </a:lnTo>
                <a:lnTo>
                  <a:pt x="1249" y="1909"/>
                </a:lnTo>
                <a:lnTo>
                  <a:pt x="1246" y="1909"/>
                </a:lnTo>
                <a:lnTo>
                  <a:pt x="1244" y="1907"/>
                </a:lnTo>
                <a:lnTo>
                  <a:pt x="1239" y="1905"/>
                </a:lnTo>
                <a:lnTo>
                  <a:pt x="1235" y="1905"/>
                </a:lnTo>
                <a:lnTo>
                  <a:pt x="1232" y="1914"/>
                </a:lnTo>
                <a:lnTo>
                  <a:pt x="1227" y="1907"/>
                </a:lnTo>
                <a:lnTo>
                  <a:pt x="1218" y="1914"/>
                </a:lnTo>
                <a:lnTo>
                  <a:pt x="1211" y="1909"/>
                </a:lnTo>
                <a:lnTo>
                  <a:pt x="1209" y="1917"/>
                </a:lnTo>
                <a:lnTo>
                  <a:pt x="1209" y="1919"/>
                </a:lnTo>
                <a:lnTo>
                  <a:pt x="1206" y="1921"/>
                </a:lnTo>
                <a:lnTo>
                  <a:pt x="1180" y="1924"/>
                </a:lnTo>
                <a:lnTo>
                  <a:pt x="1173" y="1921"/>
                </a:lnTo>
                <a:lnTo>
                  <a:pt x="1168" y="1917"/>
                </a:lnTo>
                <a:lnTo>
                  <a:pt x="1164" y="1905"/>
                </a:lnTo>
                <a:lnTo>
                  <a:pt x="1166" y="1898"/>
                </a:lnTo>
                <a:lnTo>
                  <a:pt x="1173" y="1893"/>
                </a:lnTo>
                <a:lnTo>
                  <a:pt x="1180" y="1888"/>
                </a:lnTo>
                <a:lnTo>
                  <a:pt x="1187" y="1888"/>
                </a:lnTo>
                <a:lnTo>
                  <a:pt x="1190" y="1888"/>
                </a:lnTo>
                <a:lnTo>
                  <a:pt x="1197" y="1890"/>
                </a:lnTo>
                <a:lnTo>
                  <a:pt x="1201" y="1890"/>
                </a:lnTo>
                <a:lnTo>
                  <a:pt x="1206" y="1890"/>
                </a:lnTo>
                <a:lnTo>
                  <a:pt x="1213" y="1890"/>
                </a:lnTo>
                <a:lnTo>
                  <a:pt x="1213" y="1888"/>
                </a:lnTo>
                <a:lnTo>
                  <a:pt x="1213" y="1888"/>
                </a:lnTo>
                <a:lnTo>
                  <a:pt x="1213" y="1888"/>
                </a:lnTo>
                <a:lnTo>
                  <a:pt x="1211" y="1886"/>
                </a:lnTo>
                <a:lnTo>
                  <a:pt x="1216" y="1883"/>
                </a:lnTo>
                <a:lnTo>
                  <a:pt x="1216" y="1881"/>
                </a:lnTo>
                <a:lnTo>
                  <a:pt x="1216" y="1881"/>
                </a:lnTo>
                <a:lnTo>
                  <a:pt x="1220" y="1881"/>
                </a:lnTo>
                <a:lnTo>
                  <a:pt x="1232" y="1879"/>
                </a:lnTo>
                <a:lnTo>
                  <a:pt x="1232" y="1883"/>
                </a:lnTo>
                <a:lnTo>
                  <a:pt x="1235" y="1886"/>
                </a:lnTo>
                <a:lnTo>
                  <a:pt x="1239" y="1886"/>
                </a:lnTo>
                <a:lnTo>
                  <a:pt x="1242" y="1886"/>
                </a:lnTo>
                <a:lnTo>
                  <a:pt x="1242" y="1881"/>
                </a:lnTo>
                <a:lnTo>
                  <a:pt x="1244" y="1879"/>
                </a:lnTo>
                <a:lnTo>
                  <a:pt x="1246" y="1876"/>
                </a:lnTo>
                <a:lnTo>
                  <a:pt x="1249" y="1874"/>
                </a:lnTo>
                <a:lnTo>
                  <a:pt x="1251" y="1862"/>
                </a:lnTo>
                <a:lnTo>
                  <a:pt x="1251" y="1857"/>
                </a:lnTo>
                <a:lnTo>
                  <a:pt x="1256" y="1855"/>
                </a:lnTo>
                <a:lnTo>
                  <a:pt x="1258" y="1855"/>
                </a:lnTo>
                <a:lnTo>
                  <a:pt x="1263" y="1857"/>
                </a:lnTo>
                <a:lnTo>
                  <a:pt x="1265" y="1862"/>
                </a:lnTo>
                <a:lnTo>
                  <a:pt x="1268" y="1864"/>
                </a:lnTo>
                <a:lnTo>
                  <a:pt x="1265" y="1869"/>
                </a:lnTo>
                <a:lnTo>
                  <a:pt x="1263" y="1874"/>
                </a:lnTo>
                <a:lnTo>
                  <a:pt x="1265" y="1879"/>
                </a:lnTo>
                <a:moveTo>
                  <a:pt x="1071" y="1798"/>
                </a:moveTo>
                <a:lnTo>
                  <a:pt x="1071" y="1798"/>
                </a:lnTo>
                <a:lnTo>
                  <a:pt x="1071" y="1798"/>
                </a:lnTo>
                <a:lnTo>
                  <a:pt x="1074" y="1798"/>
                </a:lnTo>
                <a:lnTo>
                  <a:pt x="1071" y="1808"/>
                </a:lnTo>
                <a:lnTo>
                  <a:pt x="1069" y="1815"/>
                </a:lnTo>
                <a:lnTo>
                  <a:pt x="1062" y="1817"/>
                </a:lnTo>
                <a:lnTo>
                  <a:pt x="1057" y="1810"/>
                </a:lnTo>
                <a:lnTo>
                  <a:pt x="1062" y="1793"/>
                </a:lnTo>
                <a:lnTo>
                  <a:pt x="1064" y="1789"/>
                </a:lnTo>
                <a:lnTo>
                  <a:pt x="1069" y="1796"/>
                </a:lnTo>
                <a:lnTo>
                  <a:pt x="1071" y="1796"/>
                </a:lnTo>
                <a:lnTo>
                  <a:pt x="1071" y="1798"/>
                </a:lnTo>
                <a:moveTo>
                  <a:pt x="1521" y="50"/>
                </a:moveTo>
                <a:lnTo>
                  <a:pt x="1521" y="50"/>
                </a:lnTo>
                <a:lnTo>
                  <a:pt x="1523" y="59"/>
                </a:lnTo>
                <a:lnTo>
                  <a:pt x="1528" y="64"/>
                </a:lnTo>
                <a:lnTo>
                  <a:pt x="1530" y="66"/>
                </a:lnTo>
                <a:lnTo>
                  <a:pt x="1530" y="71"/>
                </a:lnTo>
                <a:lnTo>
                  <a:pt x="1526" y="76"/>
                </a:lnTo>
                <a:lnTo>
                  <a:pt x="1530" y="76"/>
                </a:lnTo>
                <a:lnTo>
                  <a:pt x="1537" y="76"/>
                </a:lnTo>
                <a:lnTo>
                  <a:pt x="1540" y="78"/>
                </a:lnTo>
                <a:lnTo>
                  <a:pt x="1545" y="81"/>
                </a:lnTo>
                <a:lnTo>
                  <a:pt x="1547" y="83"/>
                </a:lnTo>
                <a:lnTo>
                  <a:pt x="1547" y="85"/>
                </a:lnTo>
                <a:lnTo>
                  <a:pt x="1552" y="85"/>
                </a:lnTo>
                <a:lnTo>
                  <a:pt x="1563" y="85"/>
                </a:lnTo>
                <a:lnTo>
                  <a:pt x="1568" y="88"/>
                </a:lnTo>
                <a:lnTo>
                  <a:pt x="1573" y="95"/>
                </a:lnTo>
                <a:lnTo>
                  <a:pt x="1573" y="102"/>
                </a:lnTo>
                <a:lnTo>
                  <a:pt x="1573" y="104"/>
                </a:lnTo>
                <a:lnTo>
                  <a:pt x="1573" y="107"/>
                </a:lnTo>
                <a:lnTo>
                  <a:pt x="1573" y="111"/>
                </a:lnTo>
                <a:lnTo>
                  <a:pt x="1573" y="118"/>
                </a:lnTo>
                <a:lnTo>
                  <a:pt x="1575" y="121"/>
                </a:lnTo>
                <a:lnTo>
                  <a:pt x="1578" y="121"/>
                </a:lnTo>
                <a:lnTo>
                  <a:pt x="1580" y="123"/>
                </a:lnTo>
                <a:lnTo>
                  <a:pt x="1587" y="126"/>
                </a:lnTo>
                <a:lnTo>
                  <a:pt x="1592" y="126"/>
                </a:lnTo>
                <a:lnTo>
                  <a:pt x="1597" y="128"/>
                </a:lnTo>
                <a:lnTo>
                  <a:pt x="1601" y="135"/>
                </a:lnTo>
                <a:lnTo>
                  <a:pt x="1608" y="149"/>
                </a:lnTo>
                <a:lnTo>
                  <a:pt x="1620" y="156"/>
                </a:lnTo>
                <a:lnTo>
                  <a:pt x="1632" y="159"/>
                </a:lnTo>
                <a:lnTo>
                  <a:pt x="1649" y="159"/>
                </a:lnTo>
                <a:lnTo>
                  <a:pt x="1658" y="163"/>
                </a:lnTo>
                <a:lnTo>
                  <a:pt x="1663" y="166"/>
                </a:lnTo>
                <a:lnTo>
                  <a:pt x="1668" y="166"/>
                </a:lnTo>
                <a:lnTo>
                  <a:pt x="1684" y="161"/>
                </a:lnTo>
                <a:lnTo>
                  <a:pt x="1698" y="159"/>
                </a:lnTo>
                <a:lnTo>
                  <a:pt x="1701" y="161"/>
                </a:lnTo>
                <a:lnTo>
                  <a:pt x="1708" y="163"/>
                </a:lnTo>
                <a:lnTo>
                  <a:pt x="1710" y="163"/>
                </a:lnTo>
                <a:lnTo>
                  <a:pt x="1713" y="163"/>
                </a:lnTo>
                <a:lnTo>
                  <a:pt x="1717" y="161"/>
                </a:lnTo>
                <a:lnTo>
                  <a:pt x="1720" y="161"/>
                </a:lnTo>
                <a:lnTo>
                  <a:pt x="1729" y="163"/>
                </a:lnTo>
                <a:lnTo>
                  <a:pt x="1748" y="170"/>
                </a:lnTo>
                <a:lnTo>
                  <a:pt x="1814" y="166"/>
                </a:lnTo>
                <a:lnTo>
                  <a:pt x="1840" y="166"/>
                </a:lnTo>
                <a:lnTo>
                  <a:pt x="1859" y="175"/>
                </a:lnTo>
                <a:lnTo>
                  <a:pt x="1866" y="175"/>
                </a:lnTo>
                <a:lnTo>
                  <a:pt x="1878" y="175"/>
                </a:lnTo>
                <a:lnTo>
                  <a:pt x="1907" y="163"/>
                </a:lnTo>
                <a:lnTo>
                  <a:pt x="1918" y="163"/>
                </a:lnTo>
                <a:lnTo>
                  <a:pt x="1935" y="159"/>
                </a:lnTo>
                <a:lnTo>
                  <a:pt x="1937" y="161"/>
                </a:lnTo>
                <a:lnTo>
                  <a:pt x="1942" y="163"/>
                </a:lnTo>
                <a:lnTo>
                  <a:pt x="1944" y="166"/>
                </a:lnTo>
                <a:lnTo>
                  <a:pt x="1959" y="163"/>
                </a:lnTo>
                <a:lnTo>
                  <a:pt x="1994" y="168"/>
                </a:lnTo>
                <a:lnTo>
                  <a:pt x="1999" y="168"/>
                </a:lnTo>
                <a:lnTo>
                  <a:pt x="2004" y="168"/>
                </a:lnTo>
                <a:lnTo>
                  <a:pt x="2004" y="170"/>
                </a:lnTo>
                <a:lnTo>
                  <a:pt x="2004" y="173"/>
                </a:lnTo>
                <a:lnTo>
                  <a:pt x="2004" y="175"/>
                </a:lnTo>
                <a:lnTo>
                  <a:pt x="2001" y="180"/>
                </a:lnTo>
                <a:lnTo>
                  <a:pt x="2004" y="189"/>
                </a:lnTo>
                <a:lnTo>
                  <a:pt x="2001" y="196"/>
                </a:lnTo>
                <a:lnTo>
                  <a:pt x="1996" y="201"/>
                </a:lnTo>
                <a:lnTo>
                  <a:pt x="1989" y="201"/>
                </a:lnTo>
                <a:lnTo>
                  <a:pt x="1980" y="204"/>
                </a:lnTo>
                <a:lnTo>
                  <a:pt x="1973" y="213"/>
                </a:lnTo>
                <a:lnTo>
                  <a:pt x="1970" y="223"/>
                </a:lnTo>
                <a:lnTo>
                  <a:pt x="1963" y="230"/>
                </a:lnTo>
                <a:lnTo>
                  <a:pt x="1951" y="241"/>
                </a:lnTo>
                <a:lnTo>
                  <a:pt x="1947" y="246"/>
                </a:lnTo>
                <a:lnTo>
                  <a:pt x="1942" y="249"/>
                </a:lnTo>
                <a:lnTo>
                  <a:pt x="1940" y="251"/>
                </a:lnTo>
                <a:lnTo>
                  <a:pt x="1937" y="253"/>
                </a:lnTo>
                <a:lnTo>
                  <a:pt x="1935" y="263"/>
                </a:lnTo>
                <a:lnTo>
                  <a:pt x="1930" y="275"/>
                </a:lnTo>
                <a:lnTo>
                  <a:pt x="1923" y="279"/>
                </a:lnTo>
                <a:lnTo>
                  <a:pt x="1925" y="284"/>
                </a:lnTo>
                <a:lnTo>
                  <a:pt x="1928" y="289"/>
                </a:lnTo>
                <a:lnTo>
                  <a:pt x="1933" y="298"/>
                </a:lnTo>
                <a:lnTo>
                  <a:pt x="1933" y="298"/>
                </a:lnTo>
                <a:lnTo>
                  <a:pt x="1933" y="298"/>
                </a:lnTo>
                <a:lnTo>
                  <a:pt x="1937" y="303"/>
                </a:lnTo>
                <a:lnTo>
                  <a:pt x="1940" y="310"/>
                </a:lnTo>
                <a:lnTo>
                  <a:pt x="1942" y="312"/>
                </a:lnTo>
                <a:lnTo>
                  <a:pt x="1949" y="310"/>
                </a:lnTo>
                <a:lnTo>
                  <a:pt x="1944" y="303"/>
                </a:lnTo>
                <a:lnTo>
                  <a:pt x="1949" y="303"/>
                </a:lnTo>
                <a:lnTo>
                  <a:pt x="1959" y="303"/>
                </a:lnTo>
                <a:lnTo>
                  <a:pt x="1963" y="305"/>
                </a:lnTo>
                <a:lnTo>
                  <a:pt x="1970" y="305"/>
                </a:lnTo>
                <a:lnTo>
                  <a:pt x="1977" y="308"/>
                </a:lnTo>
                <a:lnTo>
                  <a:pt x="1987" y="315"/>
                </a:lnTo>
                <a:lnTo>
                  <a:pt x="1994" y="315"/>
                </a:lnTo>
                <a:lnTo>
                  <a:pt x="2004" y="312"/>
                </a:lnTo>
                <a:lnTo>
                  <a:pt x="2011" y="312"/>
                </a:lnTo>
                <a:lnTo>
                  <a:pt x="2013" y="320"/>
                </a:lnTo>
                <a:lnTo>
                  <a:pt x="2008" y="338"/>
                </a:lnTo>
                <a:lnTo>
                  <a:pt x="1980" y="367"/>
                </a:lnTo>
                <a:lnTo>
                  <a:pt x="1975" y="379"/>
                </a:lnTo>
                <a:lnTo>
                  <a:pt x="1977" y="379"/>
                </a:lnTo>
                <a:lnTo>
                  <a:pt x="1977" y="383"/>
                </a:lnTo>
                <a:lnTo>
                  <a:pt x="1977" y="386"/>
                </a:lnTo>
                <a:lnTo>
                  <a:pt x="1977" y="388"/>
                </a:lnTo>
                <a:lnTo>
                  <a:pt x="1975" y="390"/>
                </a:lnTo>
                <a:lnTo>
                  <a:pt x="1970" y="395"/>
                </a:lnTo>
                <a:lnTo>
                  <a:pt x="1975" y="400"/>
                </a:lnTo>
                <a:lnTo>
                  <a:pt x="1977" y="400"/>
                </a:lnTo>
                <a:lnTo>
                  <a:pt x="1977" y="400"/>
                </a:lnTo>
                <a:lnTo>
                  <a:pt x="1977" y="400"/>
                </a:lnTo>
                <a:lnTo>
                  <a:pt x="1977" y="400"/>
                </a:lnTo>
                <a:lnTo>
                  <a:pt x="1977" y="402"/>
                </a:lnTo>
                <a:lnTo>
                  <a:pt x="1987" y="409"/>
                </a:lnTo>
                <a:lnTo>
                  <a:pt x="1996" y="407"/>
                </a:lnTo>
                <a:lnTo>
                  <a:pt x="2006" y="400"/>
                </a:lnTo>
                <a:lnTo>
                  <a:pt x="2015" y="398"/>
                </a:lnTo>
                <a:lnTo>
                  <a:pt x="2020" y="405"/>
                </a:lnTo>
                <a:lnTo>
                  <a:pt x="2020" y="421"/>
                </a:lnTo>
                <a:lnTo>
                  <a:pt x="2013" y="450"/>
                </a:lnTo>
                <a:lnTo>
                  <a:pt x="2015" y="464"/>
                </a:lnTo>
                <a:lnTo>
                  <a:pt x="2020" y="471"/>
                </a:lnTo>
                <a:lnTo>
                  <a:pt x="2030" y="476"/>
                </a:lnTo>
                <a:lnTo>
                  <a:pt x="2039" y="476"/>
                </a:lnTo>
                <a:lnTo>
                  <a:pt x="2044" y="476"/>
                </a:lnTo>
                <a:lnTo>
                  <a:pt x="2060" y="485"/>
                </a:lnTo>
                <a:lnTo>
                  <a:pt x="2082" y="490"/>
                </a:lnTo>
                <a:lnTo>
                  <a:pt x="2112" y="525"/>
                </a:lnTo>
                <a:lnTo>
                  <a:pt x="2115" y="528"/>
                </a:lnTo>
                <a:lnTo>
                  <a:pt x="2119" y="530"/>
                </a:lnTo>
                <a:lnTo>
                  <a:pt x="2124" y="530"/>
                </a:lnTo>
                <a:lnTo>
                  <a:pt x="2124" y="530"/>
                </a:lnTo>
                <a:lnTo>
                  <a:pt x="2122" y="537"/>
                </a:lnTo>
                <a:lnTo>
                  <a:pt x="2115" y="554"/>
                </a:lnTo>
                <a:lnTo>
                  <a:pt x="2101" y="556"/>
                </a:lnTo>
                <a:lnTo>
                  <a:pt x="2089" y="554"/>
                </a:lnTo>
                <a:lnTo>
                  <a:pt x="2074" y="556"/>
                </a:lnTo>
                <a:lnTo>
                  <a:pt x="2074" y="554"/>
                </a:lnTo>
                <a:lnTo>
                  <a:pt x="2077" y="547"/>
                </a:lnTo>
                <a:lnTo>
                  <a:pt x="2086" y="547"/>
                </a:lnTo>
                <a:lnTo>
                  <a:pt x="2093" y="544"/>
                </a:lnTo>
                <a:lnTo>
                  <a:pt x="2101" y="542"/>
                </a:lnTo>
                <a:lnTo>
                  <a:pt x="2096" y="542"/>
                </a:lnTo>
                <a:lnTo>
                  <a:pt x="2093" y="540"/>
                </a:lnTo>
                <a:lnTo>
                  <a:pt x="2089" y="535"/>
                </a:lnTo>
                <a:lnTo>
                  <a:pt x="2077" y="532"/>
                </a:lnTo>
                <a:lnTo>
                  <a:pt x="2082" y="528"/>
                </a:lnTo>
                <a:lnTo>
                  <a:pt x="2079" y="521"/>
                </a:lnTo>
                <a:lnTo>
                  <a:pt x="2074" y="514"/>
                </a:lnTo>
                <a:lnTo>
                  <a:pt x="2070" y="509"/>
                </a:lnTo>
                <a:lnTo>
                  <a:pt x="2044" y="490"/>
                </a:lnTo>
                <a:lnTo>
                  <a:pt x="2037" y="485"/>
                </a:lnTo>
                <a:lnTo>
                  <a:pt x="2020" y="480"/>
                </a:lnTo>
                <a:lnTo>
                  <a:pt x="2013" y="480"/>
                </a:lnTo>
                <a:lnTo>
                  <a:pt x="2008" y="485"/>
                </a:lnTo>
                <a:lnTo>
                  <a:pt x="2008" y="495"/>
                </a:lnTo>
                <a:lnTo>
                  <a:pt x="2011" y="504"/>
                </a:lnTo>
                <a:lnTo>
                  <a:pt x="2018" y="504"/>
                </a:lnTo>
                <a:lnTo>
                  <a:pt x="2008" y="511"/>
                </a:lnTo>
                <a:lnTo>
                  <a:pt x="2006" y="514"/>
                </a:lnTo>
                <a:lnTo>
                  <a:pt x="2006" y="516"/>
                </a:lnTo>
                <a:lnTo>
                  <a:pt x="1999" y="518"/>
                </a:lnTo>
                <a:lnTo>
                  <a:pt x="1994" y="521"/>
                </a:lnTo>
                <a:lnTo>
                  <a:pt x="1992" y="528"/>
                </a:lnTo>
                <a:lnTo>
                  <a:pt x="1985" y="535"/>
                </a:lnTo>
                <a:lnTo>
                  <a:pt x="1977" y="537"/>
                </a:lnTo>
                <a:lnTo>
                  <a:pt x="1970" y="535"/>
                </a:lnTo>
                <a:lnTo>
                  <a:pt x="1975" y="532"/>
                </a:lnTo>
                <a:lnTo>
                  <a:pt x="1980" y="530"/>
                </a:lnTo>
                <a:lnTo>
                  <a:pt x="1982" y="525"/>
                </a:lnTo>
                <a:lnTo>
                  <a:pt x="1985" y="523"/>
                </a:lnTo>
                <a:lnTo>
                  <a:pt x="1980" y="516"/>
                </a:lnTo>
                <a:lnTo>
                  <a:pt x="1968" y="516"/>
                </a:lnTo>
                <a:lnTo>
                  <a:pt x="1963" y="509"/>
                </a:lnTo>
                <a:lnTo>
                  <a:pt x="1959" y="514"/>
                </a:lnTo>
                <a:lnTo>
                  <a:pt x="1930" y="511"/>
                </a:lnTo>
                <a:lnTo>
                  <a:pt x="1928" y="509"/>
                </a:lnTo>
                <a:lnTo>
                  <a:pt x="1918" y="504"/>
                </a:lnTo>
                <a:lnTo>
                  <a:pt x="1916" y="502"/>
                </a:lnTo>
                <a:lnTo>
                  <a:pt x="1914" y="504"/>
                </a:lnTo>
                <a:lnTo>
                  <a:pt x="1904" y="509"/>
                </a:lnTo>
                <a:lnTo>
                  <a:pt x="1902" y="516"/>
                </a:lnTo>
                <a:lnTo>
                  <a:pt x="1899" y="518"/>
                </a:lnTo>
                <a:lnTo>
                  <a:pt x="1897" y="516"/>
                </a:lnTo>
                <a:lnTo>
                  <a:pt x="1892" y="511"/>
                </a:lnTo>
                <a:lnTo>
                  <a:pt x="1890" y="511"/>
                </a:lnTo>
                <a:lnTo>
                  <a:pt x="1888" y="514"/>
                </a:lnTo>
                <a:lnTo>
                  <a:pt x="1888" y="516"/>
                </a:lnTo>
                <a:lnTo>
                  <a:pt x="1888" y="521"/>
                </a:lnTo>
                <a:lnTo>
                  <a:pt x="1892" y="521"/>
                </a:lnTo>
                <a:lnTo>
                  <a:pt x="1892" y="525"/>
                </a:lnTo>
                <a:lnTo>
                  <a:pt x="1885" y="525"/>
                </a:lnTo>
                <a:lnTo>
                  <a:pt x="1880" y="530"/>
                </a:lnTo>
                <a:lnTo>
                  <a:pt x="1878" y="537"/>
                </a:lnTo>
                <a:lnTo>
                  <a:pt x="1880" y="544"/>
                </a:lnTo>
                <a:lnTo>
                  <a:pt x="1888" y="547"/>
                </a:lnTo>
                <a:lnTo>
                  <a:pt x="1892" y="544"/>
                </a:lnTo>
                <a:lnTo>
                  <a:pt x="1902" y="537"/>
                </a:lnTo>
                <a:lnTo>
                  <a:pt x="1899" y="544"/>
                </a:lnTo>
                <a:lnTo>
                  <a:pt x="1892" y="554"/>
                </a:lnTo>
                <a:lnTo>
                  <a:pt x="1890" y="561"/>
                </a:lnTo>
                <a:lnTo>
                  <a:pt x="1888" y="568"/>
                </a:lnTo>
                <a:lnTo>
                  <a:pt x="1880" y="570"/>
                </a:lnTo>
                <a:lnTo>
                  <a:pt x="1859" y="575"/>
                </a:lnTo>
                <a:lnTo>
                  <a:pt x="1847" y="580"/>
                </a:lnTo>
                <a:lnTo>
                  <a:pt x="1805" y="618"/>
                </a:lnTo>
                <a:lnTo>
                  <a:pt x="1760" y="651"/>
                </a:lnTo>
                <a:lnTo>
                  <a:pt x="1734" y="665"/>
                </a:lnTo>
                <a:lnTo>
                  <a:pt x="1729" y="672"/>
                </a:lnTo>
                <a:lnTo>
                  <a:pt x="1727" y="672"/>
                </a:lnTo>
                <a:lnTo>
                  <a:pt x="1717" y="677"/>
                </a:lnTo>
                <a:lnTo>
                  <a:pt x="1708" y="684"/>
                </a:lnTo>
                <a:lnTo>
                  <a:pt x="1705" y="686"/>
                </a:lnTo>
                <a:lnTo>
                  <a:pt x="1705" y="679"/>
                </a:lnTo>
                <a:lnTo>
                  <a:pt x="1708" y="672"/>
                </a:lnTo>
                <a:lnTo>
                  <a:pt x="1710" y="667"/>
                </a:lnTo>
                <a:lnTo>
                  <a:pt x="1708" y="665"/>
                </a:lnTo>
                <a:lnTo>
                  <a:pt x="1710" y="665"/>
                </a:lnTo>
                <a:lnTo>
                  <a:pt x="1713" y="663"/>
                </a:lnTo>
                <a:lnTo>
                  <a:pt x="1713" y="660"/>
                </a:lnTo>
                <a:lnTo>
                  <a:pt x="1713" y="658"/>
                </a:lnTo>
                <a:lnTo>
                  <a:pt x="1715" y="658"/>
                </a:lnTo>
                <a:lnTo>
                  <a:pt x="1717" y="660"/>
                </a:lnTo>
                <a:lnTo>
                  <a:pt x="1717" y="663"/>
                </a:lnTo>
                <a:lnTo>
                  <a:pt x="1720" y="660"/>
                </a:lnTo>
                <a:lnTo>
                  <a:pt x="1722" y="658"/>
                </a:lnTo>
                <a:lnTo>
                  <a:pt x="1717" y="653"/>
                </a:lnTo>
                <a:lnTo>
                  <a:pt x="1720" y="653"/>
                </a:lnTo>
                <a:lnTo>
                  <a:pt x="1722" y="653"/>
                </a:lnTo>
                <a:lnTo>
                  <a:pt x="1727" y="651"/>
                </a:lnTo>
                <a:lnTo>
                  <a:pt x="1727" y="653"/>
                </a:lnTo>
                <a:lnTo>
                  <a:pt x="1727" y="651"/>
                </a:lnTo>
                <a:lnTo>
                  <a:pt x="1727" y="653"/>
                </a:lnTo>
                <a:lnTo>
                  <a:pt x="1729" y="653"/>
                </a:lnTo>
                <a:lnTo>
                  <a:pt x="1729" y="655"/>
                </a:lnTo>
                <a:lnTo>
                  <a:pt x="1729" y="655"/>
                </a:lnTo>
                <a:lnTo>
                  <a:pt x="1724" y="655"/>
                </a:lnTo>
                <a:lnTo>
                  <a:pt x="1727" y="658"/>
                </a:lnTo>
                <a:lnTo>
                  <a:pt x="1731" y="655"/>
                </a:lnTo>
                <a:lnTo>
                  <a:pt x="1734" y="651"/>
                </a:lnTo>
                <a:lnTo>
                  <a:pt x="1731" y="646"/>
                </a:lnTo>
                <a:lnTo>
                  <a:pt x="1734" y="641"/>
                </a:lnTo>
                <a:lnTo>
                  <a:pt x="1739" y="641"/>
                </a:lnTo>
                <a:lnTo>
                  <a:pt x="1743" y="639"/>
                </a:lnTo>
                <a:lnTo>
                  <a:pt x="1746" y="634"/>
                </a:lnTo>
                <a:lnTo>
                  <a:pt x="1748" y="627"/>
                </a:lnTo>
                <a:lnTo>
                  <a:pt x="1743" y="629"/>
                </a:lnTo>
                <a:lnTo>
                  <a:pt x="1739" y="637"/>
                </a:lnTo>
                <a:lnTo>
                  <a:pt x="1736" y="637"/>
                </a:lnTo>
                <a:lnTo>
                  <a:pt x="1729" y="632"/>
                </a:lnTo>
                <a:lnTo>
                  <a:pt x="1727" y="629"/>
                </a:lnTo>
                <a:lnTo>
                  <a:pt x="1724" y="622"/>
                </a:lnTo>
                <a:lnTo>
                  <a:pt x="1720" y="627"/>
                </a:lnTo>
                <a:lnTo>
                  <a:pt x="1713" y="637"/>
                </a:lnTo>
                <a:lnTo>
                  <a:pt x="1708" y="644"/>
                </a:lnTo>
                <a:lnTo>
                  <a:pt x="1713" y="648"/>
                </a:lnTo>
                <a:lnTo>
                  <a:pt x="1713" y="651"/>
                </a:lnTo>
                <a:lnTo>
                  <a:pt x="1708" y="651"/>
                </a:lnTo>
                <a:lnTo>
                  <a:pt x="1701" y="648"/>
                </a:lnTo>
                <a:lnTo>
                  <a:pt x="1701" y="651"/>
                </a:lnTo>
                <a:lnTo>
                  <a:pt x="1698" y="651"/>
                </a:lnTo>
                <a:lnTo>
                  <a:pt x="1694" y="641"/>
                </a:lnTo>
                <a:lnTo>
                  <a:pt x="1691" y="651"/>
                </a:lnTo>
                <a:lnTo>
                  <a:pt x="1694" y="653"/>
                </a:lnTo>
                <a:lnTo>
                  <a:pt x="1705" y="655"/>
                </a:lnTo>
                <a:lnTo>
                  <a:pt x="1705" y="658"/>
                </a:lnTo>
                <a:lnTo>
                  <a:pt x="1701" y="660"/>
                </a:lnTo>
                <a:lnTo>
                  <a:pt x="1696" y="663"/>
                </a:lnTo>
                <a:lnTo>
                  <a:pt x="1694" y="663"/>
                </a:lnTo>
                <a:lnTo>
                  <a:pt x="1694" y="658"/>
                </a:lnTo>
                <a:lnTo>
                  <a:pt x="1684" y="658"/>
                </a:lnTo>
                <a:lnTo>
                  <a:pt x="1672" y="667"/>
                </a:lnTo>
                <a:lnTo>
                  <a:pt x="1663" y="679"/>
                </a:lnTo>
                <a:lnTo>
                  <a:pt x="1658" y="693"/>
                </a:lnTo>
                <a:lnTo>
                  <a:pt x="1660" y="696"/>
                </a:lnTo>
                <a:lnTo>
                  <a:pt x="1660" y="696"/>
                </a:lnTo>
                <a:lnTo>
                  <a:pt x="1658" y="698"/>
                </a:lnTo>
                <a:lnTo>
                  <a:pt x="1658" y="703"/>
                </a:lnTo>
                <a:lnTo>
                  <a:pt x="1660" y="708"/>
                </a:lnTo>
                <a:lnTo>
                  <a:pt x="1663" y="710"/>
                </a:lnTo>
                <a:lnTo>
                  <a:pt x="1660" y="715"/>
                </a:lnTo>
                <a:lnTo>
                  <a:pt x="1660" y="717"/>
                </a:lnTo>
                <a:lnTo>
                  <a:pt x="1663" y="719"/>
                </a:lnTo>
                <a:lnTo>
                  <a:pt x="1660" y="724"/>
                </a:lnTo>
                <a:lnTo>
                  <a:pt x="1660" y="726"/>
                </a:lnTo>
                <a:lnTo>
                  <a:pt x="1656" y="726"/>
                </a:lnTo>
                <a:lnTo>
                  <a:pt x="1656" y="729"/>
                </a:lnTo>
                <a:lnTo>
                  <a:pt x="1658" y="734"/>
                </a:lnTo>
                <a:lnTo>
                  <a:pt x="1656" y="741"/>
                </a:lnTo>
                <a:lnTo>
                  <a:pt x="1656" y="745"/>
                </a:lnTo>
                <a:lnTo>
                  <a:pt x="1653" y="748"/>
                </a:lnTo>
                <a:lnTo>
                  <a:pt x="1649" y="750"/>
                </a:lnTo>
                <a:lnTo>
                  <a:pt x="1644" y="748"/>
                </a:lnTo>
                <a:lnTo>
                  <a:pt x="1639" y="748"/>
                </a:lnTo>
                <a:lnTo>
                  <a:pt x="1637" y="748"/>
                </a:lnTo>
                <a:lnTo>
                  <a:pt x="1637" y="757"/>
                </a:lnTo>
                <a:lnTo>
                  <a:pt x="1642" y="762"/>
                </a:lnTo>
                <a:lnTo>
                  <a:pt x="1646" y="769"/>
                </a:lnTo>
                <a:lnTo>
                  <a:pt x="1649" y="771"/>
                </a:lnTo>
                <a:lnTo>
                  <a:pt x="1651" y="769"/>
                </a:lnTo>
                <a:lnTo>
                  <a:pt x="1653" y="762"/>
                </a:lnTo>
                <a:lnTo>
                  <a:pt x="1653" y="757"/>
                </a:lnTo>
                <a:lnTo>
                  <a:pt x="1651" y="752"/>
                </a:lnTo>
                <a:lnTo>
                  <a:pt x="1658" y="755"/>
                </a:lnTo>
                <a:lnTo>
                  <a:pt x="1660" y="757"/>
                </a:lnTo>
                <a:lnTo>
                  <a:pt x="1660" y="764"/>
                </a:lnTo>
                <a:lnTo>
                  <a:pt x="1663" y="771"/>
                </a:lnTo>
                <a:lnTo>
                  <a:pt x="1660" y="774"/>
                </a:lnTo>
                <a:lnTo>
                  <a:pt x="1658" y="776"/>
                </a:lnTo>
                <a:lnTo>
                  <a:pt x="1660" y="778"/>
                </a:lnTo>
                <a:lnTo>
                  <a:pt x="1663" y="781"/>
                </a:lnTo>
                <a:lnTo>
                  <a:pt x="1663" y="786"/>
                </a:lnTo>
                <a:lnTo>
                  <a:pt x="1668" y="790"/>
                </a:lnTo>
                <a:lnTo>
                  <a:pt x="1672" y="793"/>
                </a:lnTo>
                <a:lnTo>
                  <a:pt x="1679" y="793"/>
                </a:lnTo>
                <a:lnTo>
                  <a:pt x="1677" y="790"/>
                </a:lnTo>
                <a:lnTo>
                  <a:pt x="1677" y="790"/>
                </a:lnTo>
                <a:lnTo>
                  <a:pt x="1675" y="790"/>
                </a:lnTo>
                <a:lnTo>
                  <a:pt x="1679" y="786"/>
                </a:lnTo>
                <a:lnTo>
                  <a:pt x="1684" y="778"/>
                </a:lnTo>
                <a:lnTo>
                  <a:pt x="1689" y="776"/>
                </a:lnTo>
                <a:lnTo>
                  <a:pt x="1686" y="783"/>
                </a:lnTo>
                <a:lnTo>
                  <a:pt x="1689" y="790"/>
                </a:lnTo>
                <a:lnTo>
                  <a:pt x="1694" y="795"/>
                </a:lnTo>
                <a:lnTo>
                  <a:pt x="1696" y="800"/>
                </a:lnTo>
                <a:lnTo>
                  <a:pt x="1698" y="814"/>
                </a:lnTo>
                <a:lnTo>
                  <a:pt x="1703" y="831"/>
                </a:lnTo>
                <a:lnTo>
                  <a:pt x="1701" y="831"/>
                </a:lnTo>
                <a:lnTo>
                  <a:pt x="1696" y="828"/>
                </a:lnTo>
                <a:lnTo>
                  <a:pt x="1696" y="826"/>
                </a:lnTo>
                <a:lnTo>
                  <a:pt x="1696" y="821"/>
                </a:lnTo>
                <a:lnTo>
                  <a:pt x="1696" y="819"/>
                </a:lnTo>
                <a:lnTo>
                  <a:pt x="1694" y="831"/>
                </a:lnTo>
                <a:lnTo>
                  <a:pt x="1694" y="838"/>
                </a:lnTo>
                <a:lnTo>
                  <a:pt x="1698" y="840"/>
                </a:lnTo>
                <a:lnTo>
                  <a:pt x="1703" y="840"/>
                </a:lnTo>
                <a:lnTo>
                  <a:pt x="1703" y="838"/>
                </a:lnTo>
                <a:lnTo>
                  <a:pt x="1703" y="838"/>
                </a:lnTo>
                <a:lnTo>
                  <a:pt x="1701" y="833"/>
                </a:lnTo>
                <a:lnTo>
                  <a:pt x="1708" y="838"/>
                </a:lnTo>
                <a:lnTo>
                  <a:pt x="1713" y="845"/>
                </a:lnTo>
                <a:lnTo>
                  <a:pt x="1717" y="849"/>
                </a:lnTo>
                <a:lnTo>
                  <a:pt x="1722" y="854"/>
                </a:lnTo>
                <a:lnTo>
                  <a:pt x="1722" y="857"/>
                </a:lnTo>
                <a:lnTo>
                  <a:pt x="1720" y="859"/>
                </a:lnTo>
                <a:lnTo>
                  <a:pt x="1717" y="859"/>
                </a:lnTo>
                <a:lnTo>
                  <a:pt x="1717" y="859"/>
                </a:lnTo>
                <a:lnTo>
                  <a:pt x="1715" y="861"/>
                </a:lnTo>
                <a:lnTo>
                  <a:pt x="1720" y="866"/>
                </a:lnTo>
                <a:lnTo>
                  <a:pt x="1724" y="859"/>
                </a:lnTo>
                <a:lnTo>
                  <a:pt x="1724" y="854"/>
                </a:lnTo>
                <a:lnTo>
                  <a:pt x="1722" y="849"/>
                </a:lnTo>
                <a:lnTo>
                  <a:pt x="1717" y="842"/>
                </a:lnTo>
                <a:lnTo>
                  <a:pt x="1722" y="847"/>
                </a:lnTo>
                <a:lnTo>
                  <a:pt x="1727" y="849"/>
                </a:lnTo>
                <a:lnTo>
                  <a:pt x="1731" y="852"/>
                </a:lnTo>
                <a:lnTo>
                  <a:pt x="1731" y="857"/>
                </a:lnTo>
                <a:lnTo>
                  <a:pt x="1736" y="861"/>
                </a:lnTo>
                <a:lnTo>
                  <a:pt x="1739" y="861"/>
                </a:lnTo>
                <a:lnTo>
                  <a:pt x="1743" y="864"/>
                </a:lnTo>
                <a:lnTo>
                  <a:pt x="1750" y="871"/>
                </a:lnTo>
                <a:lnTo>
                  <a:pt x="1757" y="875"/>
                </a:lnTo>
                <a:lnTo>
                  <a:pt x="1760" y="873"/>
                </a:lnTo>
                <a:lnTo>
                  <a:pt x="1760" y="873"/>
                </a:lnTo>
                <a:lnTo>
                  <a:pt x="1757" y="873"/>
                </a:lnTo>
                <a:lnTo>
                  <a:pt x="1757" y="873"/>
                </a:lnTo>
                <a:lnTo>
                  <a:pt x="1757" y="868"/>
                </a:lnTo>
                <a:lnTo>
                  <a:pt x="1762" y="868"/>
                </a:lnTo>
                <a:lnTo>
                  <a:pt x="1765" y="871"/>
                </a:lnTo>
                <a:lnTo>
                  <a:pt x="1769" y="873"/>
                </a:lnTo>
                <a:lnTo>
                  <a:pt x="1772" y="875"/>
                </a:lnTo>
                <a:lnTo>
                  <a:pt x="1772" y="880"/>
                </a:lnTo>
                <a:lnTo>
                  <a:pt x="1769" y="885"/>
                </a:lnTo>
                <a:lnTo>
                  <a:pt x="1772" y="887"/>
                </a:lnTo>
                <a:lnTo>
                  <a:pt x="1769" y="892"/>
                </a:lnTo>
                <a:lnTo>
                  <a:pt x="1769" y="894"/>
                </a:lnTo>
                <a:lnTo>
                  <a:pt x="1769" y="897"/>
                </a:lnTo>
                <a:lnTo>
                  <a:pt x="1767" y="897"/>
                </a:lnTo>
                <a:lnTo>
                  <a:pt x="1765" y="899"/>
                </a:lnTo>
                <a:lnTo>
                  <a:pt x="1765" y="904"/>
                </a:lnTo>
                <a:lnTo>
                  <a:pt x="1767" y="918"/>
                </a:lnTo>
                <a:lnTo>
                  <a:pt x="1765" y="923"/>
                </a:lnTo>
                <a:lnTo>
                  <a:pt x="1762" y="932"/>
                </a:lnTo>
                <a:lnTo>
                  <a:pt x="1755" y="944"/>
                </a:lnTo>
                <a:lnTo>
                  <a:pt x="1755" y="942"/>
                </a:lnTo>
                <a:lnTo>
                  <a:pt x="1753" y="937"/>
                </a:lnTo>
                <a:lnTo>
                  <a:pt x="1750" y="932"/>
                </a:lnTo>
                <a:lnTo>
                  <a:pt x="1748" y="930"/>
                </a:lnTo>
                <a:lnTo>
                  <a:pt x="1750" y="920"/>
                </a:lnTo>
                <a:lnTo>
                  <a:pt x="1750" y="913"/>
                </a:lnTo>
                <a:lnTo>
                  <a:pt x="1748" y="909"/>
                </a:lnTo>
                <a:lnTo>
                  <a:pt x="1746" y="909"/>
                </a:lnTo>
                <a:lnTo>
                  <a:pt x="1741" y="911"/>
                </a:lnTo>
                <a:lnTo>
                  <a:pt x="1739" y="916"/>
                </a:lnTo>
                <a:lnTo>
                  <a:pt x="1739" y="918"/>
                </a:lnTo>
                <a:lnTo>
                  <a:pt x="1736" y="925"/>
                </a:lnTo>
                <a:lnTo>
                  <a:pt x="1736" y="930"/>
                </a:lnTo>
                <a:lnTo>
                  <a:pt x="1746" y="932"/>
                </a:lnTo>
                <a:lnTo>
                  <a:pt x="1746" y="935"/>
                </a:lnTo>
                <a:lnTo>
                  <a:pt x="1743" y="939"/>
                </a:lnTo>
                <a:lnTo>
                  <a:pt x="1741" y="939"/>
                </a:lnTo>
                <a:lnTo>
                  <a:pt x="1741" y="944"/>
                </a:lnTo>
                <a:lnTo>
                  <a:pt x="1743" y="944"/>
                </a:lnTo>
                <a:lnTo>
                  <a:pt x="1746" y="944"/>
                </a:lnTo>
                <a:lnTo>
                  <a:pt x="1748" y="944"/>
                </a:lnTo>
                <a:lnTo>
                  <a:pt x="1748" y="951"/>
                </a:lnTo>
                <a:lnTo>
                  <a:pt x="1743" y="956"/>
                </a:lnTo>
                <a:lnTo>
                  <a:pt x="1736" y="958"/>
                </a:lnTo>
                <a:lnTo>
                  <a:pt x="1731" y="954"/>
                </a:lnTo>
                <a:lnTo>
                  <a:pt x="1727" y="951"/>
                </a:lnTo>
                <a:lnTo>
                  <a:pt x="1717" y="944"/>
                </a:lnTo>
                <a:lnTo>
                  <a:pt x="1713" y="939"/>
                </a:lnTo>
                <a:lnTo>
                  <a:pt x="1708" y="942"/>
                </a:lnTo>
                <a:lnTo>
                  <a:pt x="1703" y="949"/>
                </a:lnTo>
                <a:lnTo>
                  <a:pt x="1703" y="951"/>
                </a:lnTo>
                <a:lnTo>
                  <a:pt x="1705" y="951"/>
                </a:lnTo>
                <a:lnTo>
                  <a:pt x="1703" y="982"/>
                </a:lnTo>
                <a:lnTo>
                  <a:pt x="1703" y="999"/>
                </a:lnTo>
                <a:lnTo>
                  <a:pt x="1708" y="1017"/>
                </a:lnTo>
                <a:lnTo>
                  <a:pt x="1715" y="1029"/>
                </a:lnTo>
                <a:lnTo>
                  <a:pt x="1717" y="1036"/>
                </a:lnTo>
                <a:lnTo>
                  <a:pt x="1720" y="1039"/>
                </a:lnTo>
                <a:lnTo>
                  <a:pt x="1722" y="1043"/>
                </a:lnTo>
                <a:lnTo>
                  <a:pt x="1724" y="1072"/>
                </a:lnTo>
                <a:lnTo>
                  <a:pt x="1729" y="1091"/>
                </a:lnTo>
                <a:lnTo>
                  <a:pt x="1743" y="1133"/>
                </a:lnTo>
                <a:lnTo>
                  <a:pt x="1748" y="1143"/>
                </a:lnTo>
                <a:lnTo>
                  <a:pt x="1748" y="1145"/>
                </a:lnTo>
                <a:lnTo>
                  <a:pt x="1750" y="1148"/>
                </a:lnTo>
                <a:lnTo>
                  <a:pt x="1755" y="1155"/>
                </a:lnTo>
                <a:lnTo>
                  <a:pt x="1757" y="1155"/>
                </a:lnTo>
                <a:lnTo>
                  <a:pt x="1757" y="1164"/>
                </a:lnTo>
                <a:lnTo>
                  <a:pt x="1762" y="1174"/>
                </a:lnTo>
                <a:lnTo>
                  <a:pt x="1769" y="1188"/>
                </a:lnTo>
                <a:lnTo>
                  <a:pt x="1776" y="1200"/>
                </a:lnTo>
                <a:lnTo>
                  <a:pt x="1788" y="1209"/>
                </a:lnTo>
                <a:lnTo>
                  <a:pt x="1802" y="1219"/>
                </a:lnTo>
                <a:lnTo>
                  <a:pt x="1810" y="1230"/>
                </a:lnTo>
                <a:lnTo>
                  <a:pt x="1821" y="1237"/>
                </a:lnTo>
                <a:lnTo>
                  <a:pt x="1833" y="1245"/>
                </a:lnTo>
                <a:lnTo>
                  <a:pt x="1843" y="1247"/>
                </a:lnTo>
                <a:lnTo>
                  <a:pt x="1862" y="1268"/>
                </a:lnTo>
                <a:lnTo>
                  <a:pt x="1873" y="1275"/>
                </a:lnTo>
                <a:lnTo>
                  <a:pt x="1883" y="1282"/>
                </a:lnTo>
                <a:lnTo>
                  <a:pt x="1890" y="1285"/>
                </a:lnTo>
                <a:lnTo>
                  <a:pt x="1904" y="1287"/>
                </a:lnTo>
                <a:lnTo>
                  <a:pt x="1918" y="1287"/>
                </a:lnTo>
                <a:lnTo>
                  <a:pt x="1925" y="1290"/>
                </a:lnTo>
                <a:lnTo>
                  <a:pt x="1937" y="1297"/>
                </a:lnTo>
                <a:lnTo>
                  <a:pt x="1959" y="1301"/>
                </a:lnTo>
                <a:lnTo>
                  <a:pt x="1963" y="1306"/>
                </a:lnTo>
                <a:lnTo>
                  <a:pt x="1966" y="1308"/>
                </a:lnTo>
                <a:lnTo>
                  <a:pt x="2070" y="1377"/>
                </a:lnTo>
                <a:lnTo>
                  <a:pt x="2110" y="1391"/>
                </a:lnTo>
                <a:lnTo>
                  <a:pt x="2115" y="1394"/>
                </a:lnTo>
                <a:lnTo>
                  <a:pt x="2119" y="1396"/>
                </a:lnTo>
                <a:lnTo>
                  <a:pt x="2134" y="1401"/>
                </a:lnTo>
                <a:lnTo>
                  <a:pt x="2143" y="1403"/>
                </a:lnTo>
                <a:lnTo>
                  <a:pt x="2145" y="1401"/>
                </a:lnTo>
                <a:lnTo>
                  <a:pt x="2148" y="1398"/>
                </a:lnTo>
                <a:lnTo>
                  <a:pt x="2148" y="1396"/>
                </a:lnTo>
                <a:lnTo>
                  <a:pt x="2150" y="1396"/>
                </a:lnTo>
                <a:lnTo>
                  <a:pt x="2150" y="1394"/>
                </a:lnTo>
                <a:lnTo>
                  <a:pt x="2150" y="1394"/>
                </a:lnTo>
                <a:lnTo>
                  <a:pt x="2153" y="1391"/>
                </a:lnTo>
                <a:lnTo>
                  <a:pt x="2155" y="1394"/>
                </a:lnTo>
                <a:lnTo>
                  <a:pt x="2155" y="1394"/>
                </a:lnTo>
                <a:lnTo>
                  <a:pt x="2157" y="1396"/>
                </a:lnTo>
                <a:lnTo>
                  <a:pt x="2157" y="1396"/>
                </a:lnTo>
                <a:lnTo>
                  <a:pt x="2164" y="1398"/>
                </a:lnTo>
                <a:lnTo>
                  <a:pt x="2169" y="1405"/>
                </a:lnTo>
                <a:lnTo>
                  <a:pt x="2174" y="1413"/>
                </a:lnTo>
                <a:lnTo>
                  <a:pt x="2176" y="1415"/>
                </a:lnTo>
                <a:lnTo>
                  <a:pt x="2183" y="1415"/>
                </a:lnTo>
                <a:lnTo>
                  <a:pt x="2190" y="1417"/>
                </a:lnTo>
                <a:lnTo>
                  <a:pt x="2193" y="1422"/>
                </a:lnTo>
                <a:lnTo>
                  <a:pt x="2193" y="1429"/>
                </a:lnTo>
                <a:lnTo>
                  <a:pt x="2254" y="1536"/>
                </a:lnTo>
                <a:lnTo>
                  <a:pt x="2259" y="1543"/>
                </a:lnTo>
                <a:lnTo>
                  <a:pt x="2261" y="1545"/>
                </a:lnTo>
                <a:lnTo>
                  <a:pt x="2266" y="1559"/>
                </a:lnTo>
                <a:lnTo>
                  <a:pt x="2269" y="1564"/>
                </a:lnTo>
                <a:lnTo>
                  <a:pt x="2273" y="1569"/>
                </a:lnTo>
                <a:lnTo>
                  <a:pt x="2285" y="1588"/>
                </a:lnTo>
                <a:lnTo>
                  <a:pt x="2292" y="1602"/>
                </a:lnTo>
                <a:lnTo>
                  <a:pt x="2304" y="1637"/>
                </a:lnTo>
                <a:lnTo>
                  <a:pt x="2342" y="1722"/>
                </a:lnTo>
                <a:lnTo>
                  <a:pt x="2358" y="1749"/>
                </a:lnTo>
                <a:lnTo>
                  <a:pt x="2366" y="1760"/>
                </a:lnTo>
                <a:lnTo>
                  <a:pt x="2389" y="1789"/>
                </a:lnTo>
                <a:lnTo>
                  <a:pt x="2394" y="1793"/>
                </a:lnTo>
                <a:lnTo>
                  <a:pt x="2396" y="1798"/>
                </a:lnTo>
                <a:lnTo>
                  <a:pt x="2448" y="1846"/>
                </a:lnTo>
                <a:lnTo>
                  <a:pt x="2472" y="1860"/>
                </a:lnTo>
                <a:lnTo>
                  <a:pt x="2496" y="1869"/>
                </a:lnTo>
                <a:lnTo>
                  <a:pt x="2507" y="1876"/>
                </a:lnTo>
                <a:lnTo>
                  <a:pt x="2524" y="1895"/>
                </a:lnTo>
                <a:lnTo>
                  <a:pt x="2571" y="1928"/>
                </a:lnTo>
                <a:lnTo>
                  <a:pt x="2583" y="1933"/>
                </a:lnTo>
                <a:lnTo>
                  <a:pt x="2602" y="1938"/>
                </a:lnTo>
                <a:lnTo>
                  <a:pt x="2614" y="1938"/>
                </a:lnTo>
                <a:lnTo>
                  <a:pt x="2619" y="1940"/>
                </a:lnTo>
                <a:lnTo>
                  <a:pt x="2623" y="1947"/>
                </a:lnTo>
                <a:lnTo>
                  <a:pt x="2628" y="1964"/>
                </a:lnTo>
                <a:lnTo>
                  <a:pt x="2630" y="1971"/>
                </a:lnTo>
                <a:lnTo>
                  <a:pt x="2635" y="1978"/>
                </a:lnTo>
                <a:lnTo>
                  <a:pt x="2642" y="1978"/>
                </a:lnTo>
                <a:lnTo>
                  <a:pt x="2649" y="1978"/>
                </a:lnTo>
                <a:lnTo>
                  <a:pt x="2657" y="1983"/>
                </a:lnTo>
                <a:lnTo>
                  <a:pt x="2668" y="1990"/>
                </a:lnTo>
                <a:lnTo>
                  <a:pt x="2680" y="1992"/>
                </a:lnTo>
                <a:lnTo>
                  <a:pt x="2706" y="1992"/>
                </a:lnTo>
                <a:lnTo>
                  <a:pt x="2718" y="1995"/>
                </a:lnTo>
                <a:lnTo>
                  <a:pt x="2725" y="1997"/>
                </a:lnTo>
                <a:lnTo>
                  <a:pt x="2735" y="2006"/>
                </a:lnTo>
                <a:lnTo>
                  <a:pt x="2737" y="2009"/>
                </a:lnTo>
                <a:lnTo>
                  <a:pt x="2744" y="2009"/>
                </a:lnTo>
                <a:lnTo>
                  <a:pt x="2758" y="2016"/>
                </a:lnTo>
                <a:lnTo>
                  <a:pt x="2765" y="2018"/>
                </a:lnTo>
                <a:lnTo>
                  <a:pt x="2777" y="2018"/>
                </a:lnTo>
                <a:lnTo>
                  <a:pt x="2813" y="2011"/>
                </a:lnTo>
                <a:lnTo>
                  <a:pt x="2851" y="2014"/>
                </a:lnTo>
                <a:lnTo>
                  <a:pt x="2865" y="2011"/>
                </a:lnTo>
                <a:lnTo>
                  <a:pt x="2914" y="1992"/>
                </a:lnTo>
                <a:lnTo>
                  <a:pt x="2964" y="1985"/>
                </a:lnTo>
                <a:lnTo>
                  <a:pt x="3040" y="1959"/>
                </a:lnTo>
                <a:lnTo>
                  <a:pt x="3068" y="1961"/>
                </a:lnTo>
                <a:lnTo>
                  <a:pt x="3068" y="1961"/>
                </a:lnTo>
                <a:lnTo>
                  <a:pt x="3078" y="1964"/>
                </a:lnTo>
                <a:lnTo>
                  <a:pt x="3085" y="1973"/>
                </a:lnTo>
                <a:lnTo>
                  <a:pt x="3092" y="1971"/>
                </a:lnTo>
                <a:lnTo>
                  <a:pt x="3092" y="1978"/>
                </a:lnTo>
                <a:lnTo>
                  <a:pt x="3094" y="1985"/>
                </a:lnTo>
                <a:lnTo>
                  <a:pt x="3101" y="2002"/>
                </a:lnTo>
                <a:lnTo>
                  <a:pt x="3101" y="2006"/>
                </a:lnTo>
                <a:lnTo>
                  <a:pt x="3104" y="2014"/>
                </a:lnTo>
                <a:lnTo>
                  <a:pt x="3101" y="2018"/>
                </a:lnTo>
                <a:lnTo>
                  <a:pt x="3097" y="2028"/>
                </a:lnTo>
                <a:lnTo>
                  <a:pt x="3092" y="2035"/>
                </a:lnTo>
                <a:lnTo>
                  <a:pt x="3087" y="2037"/>
                </a:lnTo>
                <a:lnTo>
                  <a:pt x="3080" y="2042"/>
                </a:lnTo>
                <a:lnTo>
                  <a:pt x="3078" y="2047"/>
                </a:lnTo>
                <a:lnTo>
                  <a:pt x="3071" y="2058"/>
                </a:lnTo>
                <a:lnTo>
                  <a:pt x="3061" y="2070"/>
                </a:lnTo>
                <a:lnTo>
                  <a:pt x="3033" y="2094"/>
                </a:lnTo>
                <a:lnTo>
                  <a:pt x="3028" y="2106"/>
                </a:lnTo>
                <a:lnTo>
                  <a:pt x="3028" y="2122"/>
                </a:lnTo>
                <a:lnTo>
                  <a:pt x="3033" y="2139"/>
                </a:lnTo>
                <a:lnTo>
                  <a:pt x="3040" y="2151"/>
                </a:lnTo>
                <a:lnTo>
                  <a:pt x="3049" y="2160"/>
                </a:lnTo>
                <a:lnTo>
                  <a:pt x="3059" y="2167"/>
                </a:lnTo>
                <a:lnTo>
                  <a:pt x="3080" y="2177"/>
                </a:lnTo>
                <a:lnTo>
                  <a:pt x="3099" y="2179"/>
                </a:lnTo>
                <a:lnTo>
                  <a:pt x="3106" y="2181"/>
                </a:lnTo>
                <a:lnTo>
                  <a:pt x="3111" y="2186"/>
                </a:lnTo>
                <a:lnTo>
                  <a:pt x="3172" y="2200"/>
                </a:lnTo>
                <a:lnTo>
                  <a:pt x="3227" y="2217"/>
                </a:lnTo>
                <a:lnTo>
                  <a:pt x="3248" y="2219"/>
                </a:lnTo>
                <a:lnTo>
                  <a:pt x="3253" y="2222"/>
                </a:lnTo>
                <a:lnTo>
                  <a:pt x="3260" y="2226"/>
                </a:lnTo>
                <a:lnTo>
                  <a:pt x="3274" y="2231"/>
                </a:lnTo>
                <a:lnTo>
                  <a:pt x="3350" y="2243"/>
                </a:lnTo>
                <a:lnTo>
                  <a:pt x="3359" y="2245"/>
                </a:lnTo>
                <a:lnTo>
                  <a:pt x="3359" y="2245"/>
                </a:lnTo>
                <a:lnTo>
                  <a:pt x="3359" y="2243"/>
                </a:lnTo>
                <a:lnTo>
                  <a:pt x="3362" y="2243"/>
                </a:lnTo>
                <a:lnTo>
                  <a:pt x="3369" y="2248"/>
                </a:lnTo>
                <a:lnTo>
                  <a:pt x="3425" y="2255"/>
                </a:lnTo>
                <a:lnTo>
                  <a:pt x="3475" y="2269"/>
                </a:lnTo>
                <a:lnTo>
                  <a:pt x="3501" y="2281"/>
                </a:lnTo>
                <a:lnTo>
                  <a:pt x="3515" y="2290"/>
                </a:lnTo>
                <a:lnTo>
                  <a:pt x="3530" y="2305"/>
                </a:lnTo>
                <a:lnTo>
                  <a:pt x="3534" y="2307"/>
                </a:lnTo>
                <a:lnTo>
                  <a:pt x="3539" y="2307"/>
                </a:lnTo>
                <a:lnTo>
                  <a:pt x="3553" y="2314"/>
                </a:lnTo>
                <a:lnTo>
                  <a:pt x="3577" y="2331"/>
                </a:lnTo>
                <a:lnTo>
                  <a:pt x="3582" y="2333"/>
                </a:lnTo>
                <a:lnTo>
                  <a:pt x="3589" y="2333"/>
                </a:lnTo>
                <a:lnTo>
                  <a:pt x="3601" y="2338"/>
                </a:lnTo>
                <a:lnTo>
                  <a:pt x="3629" y="2338"/>
                </a:lnTo>
                <a:lnTo>
                  <a:pt x="3631" y="2340"/>
                </a:lnTo>
                <a:lnTo>
                  <a:pt x="3667" y="2347"/>
                </a:lnTo>
                <a:lnTo>
                  <a:pt x="3700" y="2361"/>
                </a:lnTo>
                <a:lnTo>
                  <a:pt x="3726" y="2361"/>
                </a:lnTo>
                <a:lnTo>
                  <a:pt x="3738" y="2364"/>
                </a:lnTo>
                <a:lnTo>
                  <a:pt x="3740" y="2373"/>
                </a:lnTo>
                <a:lnTo>
                  <a:pt x="3742" y="2373"/>
                </a:lnTo>
                <a:lnTo>
                  <a:pt x="3750" y="2368"/>
                </a:lnTo>
                <a:lnTo>
                  <a:pt x="3754" y="2368"/>
                </a:lnTo>
                <a:lnTo>
                  <a:pt x="3757" y="2371"/>
                </a:lnTo>
                <a:lnTo>
                  <a:pt x="3757" y="2375"/>
                </a:lnTo>
                <a:lnTo>
                  <a:pt x="3759" y="2378"/>
                </a:lnTo>
                <a:lnTo>
                  <a:pt x="3768" y="2385"/>
                </a:lnTo>
                <a:lnTo>
                  <a:pt x="3771" y="2387"/>
                </a:lnTo>
                <a:lnTo>
                  <a:pt x="3773" y="2406"/>
                </a:lnTo>
                <a:lnTo>
                  <a:pt x="3802" y="2420"/>
                </a:lnTo>
                <a:lnTo>
                  <a:pt x="3835" y="2432"/>
                </a:lnTo>
                <a:lnTo>
                  <a:pt x="3839" y="2432"/>
                </a:lnTo>
                <a:lnTo>
                  <a:pt x="3842" y="2432"/>
                </a:lnTo>
                <a:lnTo>
                  <a:pt x="3851" y="2442"/>
                </a:lnTo>
                <a:lnTo>
                  <a:pt x="3856" y="2444"/>
                </a:lnTo>
                <a:lnTo>
                  <a:pt x="3868" y="2451"/>
                </a:lnTo>
                <a:lnTo>
                  <a:pt x="3880" y="2463"/>
                </a:lnTo>
                <a:lnTo>
                  <a:pt x="3884" y="2468"/>
                </a:lnTo>
                <a:lnTo>
                  <a:pt x="3892" y="2470"/>
                </a:lnTo>
                <a:lnTo>
                  <a:pt x="3894" y="2472"/>
                </a:lnTo>
                <a:lnTo>
                  <a:pt x="3920" y="2496"/>
                </a:lnTo>
                <a:lnTo>
                  <a:pt x="3951" y="2541"/>
                </a:lnTo>
                <a:lnTo>
                  <a:pt x="3953" y="2543"/>
                </a:lnTo>
                <a:lnTo>
                  <a:pt x="3953" y="2543"/>
                </a:lnTo>
                <a:lnTo>
                  <a:pt x="3955" y="2543"/>
                </a:lnTo>
                <a:lnTo>
                  <a:pt x="3955" y="2551"/>
                </a:lnTo>
                <a:lnTo>
                  <a:pt x="3958" y="2553"/>
                </a:lnTo>
                <a:lnTo>
                  <a:pt x="3960" y="2555"/>
                </a:lnTo>
                <a:lnTo>
                  <a:pt x="3960" y="2560"/>
                </a:lnTo>
                <a:lnTo>
                  <a:pt x="3958" y="2565"/>
                </a:lnTo>
                <a:lnTo>
                  <a:pt x="3953" y="2570"/>
                </a:lnTo>
                <a:lnTo>
                  <a:pt x="3953" y="2581"/>
                </a:lnTo>
                <a:lnTo>
                  <a:pt x="3951" y="2588"/>
                </a:lnTo>
                <a:lnTo>
                  <a:pt x="3941" y="2598"/>
                </a:lnTo>
                <a:lnTo>
                  <a:pt x="3939" y="2619"/>
                </a:lnTo>
                <a:lnTo>
                  <a:pt x="3939" y="2624"/>
                </a:lnTo>
                <a:lnTo>
                  <a:pt x="3939" y="2633"/>
                </a:lnTo>
                <a:lnTo>
                  <a:pt x="3936" y="2643"/>
                </a:lnTo>
                <a:lnTo>
                  <a:pt x="3936" y="2645"/>
                </a:lnTo>
                <a:lnTo>
                  <a:pt x="3941" y="2657"/>
                </a:lnTo>
                <a:lnTo>
                  <a:pt x="3944" y="2662"/>
                </a:lnTo>
                <a:lnTo>
                  <a:pt x="3944" y="2685"/>
                </a:lnTo>
                <a:lnTo>
                  <a:pt x="3946" y="2688"/>
                </a:lnTo>
                <a:lnTo>
                  <a:pt x="3944" y="2690"/>
                </a:lnTo>
                <a:lnTo>
                  <a:pt x="3941" y="2695"/>
                </a:lnTo>
                <a:lnTo>
                  <a:pt x="3941" y="2697"/>
                </a:lnTo>
                <a:lnTo>
                  <a:pt x="3934" y="2700"/>
                </a:lnTo>
                <a:lnTo>
                  <a:pt x="3932" y="2700"/>
                </a:lnTo>
                <a:lnTo>
                  <a:pt x="3927" y="2697"/>
                </a:lnTo>
                <a:lnTo>
                  <a:pt x="3910" y="2688"/>
                </a:lnTo>
                <a:lnTo>
                  <a:pt x="3906" y="2688"/>
                </a:lnTo>
                <a:lnTo>
                  <a:pt x="3892" y="2690"/>
                </a:lnTo>
                <a:lnTo>
                  <a:pt x="3887" y="2693"/>
                </a:lnTo>
                <a:lnTo>
                  <a:pt x="3880" y="2688"/>
                </a:lnTo>
                <a:lnTo>
                  <a:pt x="3870" y="2685"/>
                </a:lnTo>
                <a:lnTo>
                  <a:pt x="3858" y="2678"/>
                </a:lnTo>
                <a:lnTo>
                  <a:pt x="3847" y="2674"/>
                </a:lnTo>
                <a:lnTo>
                  <a:pt x="3842" y="2674"/>
                </a:lnTo>
                <a:lnTo>
                  <a:pt x="3837" y="2671"/>
                </a:lnTo>
                <a:lnTo>
                  <a:pt x="3811" y="2645"/>
                </a:lnTo>
                <a:lnTo>
                  <a:pt x="3806" y="2643"/>
                </a:lnTo>
                <a:lnTo>
                  <a:pt x="3806" y="2638"/>
                </a:lnTo>
                <a:lnTo>
                  <a:pt x="3811" y="2638"/>
                </a:lnTo>
                <a:lnTo>
                  <a:pt x="3813" y="2633"/>
                </a:lnTo>
                <a:lnTo>
                  <a:pt x="3813" y="2629"/>
                </a:lnTo>
                <a:lnTo>
                  <a:pt x="3811" y="2624"/>
                </a:lnTo>
                <a:lnTo>
                  <a:pt x="3806" y="2622"/>
                </a:lnTo>
                <a:lnTo>
                  <a:pt x="3797" y="2619"/>
                </a:lnTo>
                <a:lnTo>
                  <a:pt x="3792" y="2619"/>
                </a:lnTo>
                <a:lnTo>
                  <a:pt x="3802" y="2610"/>
                </a:lnTo>
                <a:lnTo>
                  <a:pt x="3804" y="2598"/>
                </a:lnTo>
                <a:lnTo>
                  <a:pt x="3797" y="2591"/>
                </a:lnTo>
                <a:lnTo>
                  <a:pt x="3785" y="2581"/>
                </a:lnTo>
                <a:lnTo>
                  <a:pt x="3776" y="2577"/>
                </a:lnTo>
                <a:lnTo>
                  <a:pt x="3771" y="2572"/>
                </a:lnTo>
                <a:lnTo>
                  <a:pt x="3766" y="2567"/>
                </a:lnTo>
                <a:lnTo>
                  <a:pt x="3766" y="2558"/>
                </a:lnTo>
                <a:lnTo>
                  <a:pt x="3764" y="2551"/>
                </a:lnTo>
                <a:lnTo>
                  <a:pt x="3759" y="2546"/>
                </a:lnTo>
                <a:lnTo>
                  <a:pt x="3757" y="2543"/>
                </a:lnTo>
                <a:lnTo>
                  <a:pt x="3759" y="2543"/>
                </a:lnTo>
                <a:lnTo>
                  <a:pt x="3759" y="2539"/>
                </a:lnTo>
                <a:lnTo>
                  <a:pt x="3742" y="2532"/>
                </a:lnTo>
                <a:lnTo>
                  <a:pt x="3735" y="2529"/>
                </a:lnTo>
                <a:lnTo>
                  <a:pt x="3631" y="2548"/>
                </a:lnTo>
                <a:lnTo>
                  <a:pt x="3624" y="2548"/>
                </a:lnTo>
                <a:lnTo>
                  <a:pt x="3605" y="2541"/>
                </a:lnTo>
                <a:lnTo>
                  <a:pt x="3603" y="2541"/>
                </a:lnTo>
                <a:lnTo>
                  <a:pt x="3596" y="2543"/>
                </a:lnTo>
                <a:lnTo>
                  <a:pt x="3593" y="2543"/>
                </a:lnTo>
                <a:lnTo>
                  <a:pt x="3591" y="2543"/>
                </a:lnTo>
                <a:lnTo>
                  <a:pt x="3584" y="2539"/>
                </a:lnTo>
                <a:lnTo>
                  <a:pt x="3582" y="2539"/>
                </a:lnTo>
                <a:lnTo>
                  <a:pt x="3577" y="2536"/>
                </a:lnTo>
                <a:lnTo>
                  <a:pt x="3558" y="2532"/>
                </a:lnTo>
                <a:lnTo>
                  <a:pt x="3539" y="2529"/>
                </a:lnTo>
                <a:lnTo>
                  <a:pt x="3530" y="2525"/>
                </a:lnTo>
                <a:lnTo>
                  <a:pt x="3525" y="2520"/>
                </a:lnTo>
                <a:lnTo>
                  <a:pt x="3532" y="2515"/>
                </a:lnTo>
                <a:lnTo>
                  <a:pt x="3537" y="2508"/>
                </a:lnTo>
                <a:lnTo>
                  <a:pt x="3537" y="2501"/>
                </a:lnTo>
                <a:lnTo>
                  <a:pt x="3530" y="2496"/>
                </a:lnTo>
                <a:lnTo>
                  <a:pt x="3534" y="2491"/>
                </a:lnTo>
                <a:lnTo>
                  <a:pt x="3551" y="2491"/>
                </a:lnTo>
                <a:lnTo>
                  <a:pt x="3556" y="2487"/>
                </a:lnTo>
                <a:lnTo>
                  <a:pt x="3556" y="2480"/>
                </a:lnTo>
                <a:lnTo>
                  <a:pt x="3551" y="2480"/>
                </a:lnTo>
                <a:lnTo>
                  <a:pt x="3539" y="2487"/>
                </a:lnTo>
                <a:lnTo>
                  <a:pt x="3539" y="2487"/>
                </a:lnTo>
                <a:lnTo>
                  <a:pt x="3539" y="2484"/>
                </a:lnTo>
                <a:lnTo>
                  <a:pt x="3532" y="2482"/>
                </a:lnTo>
                <a:lnTo>
                  <a:pt x="3527" y="2487"/>
                </a:lnTo>
                <a:lnTo>
                  <a:pt x="3522" y="2491"/>
                </a:lnTo>
                <a:lnTo>
                  <a:pt x="3515" y="2496"/>
                </a:lnTo>
                <a:lnTo>
                  <a:pt x="3513" y="2494"/>
                </a:lnTo>
                <a:lnTo>
                  <a:pt x="3511" y="2491"/>
                </a:lnTo>
                <a:lnTo>
                  <a:pt x="3508" y="2489"/>
                </a:lnTo>
                <a:lnTo>
                  <a:pt x="3506" y="2487"/>
                </a:lnTo>
                <a:lnTo>
                  <a:pt x="3504" y="2484"/>
                </a:lnTo>
                <a:lnTo>
                  <a:pt x="3496" y="2487"/>
                </a:lnTo>
                <a:lnTo>
                  <a:pt x="3494" y="2487"/>
                </a:lnTo>
                <a:lnTo>
                  <a:pt x="3470" y="2489"/>
                </a:lnTo>
                <a:lnTo>
                  <a:pt x="3449" y="2506"/>
                </a:lnTo>
                <a:lnTo>
                  <a:pt x="3433" y="2529"/>
                </a:lnTo>
                <a:lnTo>
                  <a:pt x="3404" y="2598"/>
                </a:lnTo>
                <a:lnTo>
                  <a:pt x="3399" y="2612"/>
                </a:lnTo>
                <a:lnTo>
                  <a:pt x="3397" y="2638"/>
                </a:lnTo>
                <a:lnTo>
                  <a:pt x="3395" y="2643"/>
                </a:lnTo>
                <a:lnTo>
                  <a:pt x="3392" y="2648"/>
                </a:lnTo>
                <a:lnTo>
                  <a:pt x="3385" y="2669"/>
                </a:lnTo>
                <a:lnTo>
                  <a:pt x="3371" y="2690"/>
                </a:lnTo>
                <a:lnTo>
                  <a:pt x="3366" y="2700"/>
                </a:lnTo>
                <a:lnTo>
                  <a:pt x="3366" y="2716"/>
                </a:lnTo>
                <a:lnTo>
                  <a:pt x="3369" y="2721"/>
                </a:lnTo>
                <a:lnTo>
                  <a:pt x="3376" y="2737"/>
                </a:lnTo>
                <a:lnTo>
                  <a:pt x="3383" y="2749"/>
                </a:lnTo>
                <a:lnTo>
                  <a:pt x="3380" y="2754"/>
                </a:lnTo>
                <a:lnTo>
                  <a:pt x="3376" y="2759"/>
                </a:lnTo>
                <a:lnTo>
                  <a:pt x="3373" y="2771"/>
                </a:lnTo>
                <a:lnTo>
                  <a:pt x="3362" y="2787"/>
                </a:lnTo>
                <a:lnTo>
                  <a:pt x="3354" y="2811"/>
                </a:lnTo>
                <a:lnTo>
                  <a:pt x="3352" y="2825"/>
                </a:lnTo>
                <a:lnTo>
                  <a:pt x="3354" y="2837"/>
                </a:lnTo>
                <a:lnTo>
                  <a:pt x="3359" y="2849"/>
                </a:lnTo>
                <a:lnTo>
                  <a:pt x="3371" y="2858"/>
                </a:lnTo>
                <a:lnTo>
                  <a:pt x="3371" y="2861"/>
                </a:lnTo>
                <a:lnTo>
                  <a:pt x="3369" y="2872"/>
                </a:lnTo>
                <a:lnTo>
                  <a:pt x="3380" y="2882"/>
                </a:lnTo>
                <a:lnTo>
                  <a:pt x="3397" y="2889"/>
                </a:lnTo>
                <a:lnTo>
                  <a:pt x="3409" y="2891"/>
                </a:lnTo>
                <a:lnTo>
                  <a:pt x="3447" y="2884"/>
                </a:lnTo>
                <a:lnTo>
                  <a:pt x="3459" y="2887"/>
                </a:lnTo>
                <a:lnTo>
                  <a:pt x="3463" y="2889"/>
                </a:lnTo>
                <a:lnTo>
                  <a:pt x="3470" y="2891"/>
                </a:lnTo>
                <a:lnTo>
                  <a:pt x="3477" y="2898"/>
                </a:lnTo>
                <a:lnTo>
                  <a:pt x="3480" y="2903"/>
                </a:lnTo>
                <a:lnTo>
                  <a:pt x="3482" y="2905"/>
                </a:lnTo>
                <a:lnTo>
                  <a:pt x="3504" y="2913"/>
                </a:lnTo>
                <a:lnTo>
                  <a:pt x="3520" y="2922"/>
                </a:lnTo>
                <a:lnTo>
                  <a:pt x="3527" y="2922"/>
                </a:lnTo>
                <a:lnTo>
                  <a:pt x="3534" y="2922"/>
                </a:lnTo>
                <a:lnTo>
                  <a:pt x="3541" y="2922"/>
                </a:lnTo>
                <a:lnTo>
                  <a:pt x="3546" y="2927"/>
                </a:lnTo>
                <a:lnTo>
                  <a:pt x="3551" y="2931"/>
                </a:lnTo>
                <a:lnTo>
                  <a:pt x="3558" y="2939"/>
                </a:lnTo>
                <a:lnTo>
                  <a:pt x="3570" y="2943"/>
                </a:lnTo>
                <a:lnTo>
                  <a:pt x="3582" y="2948"/>
                </a:lnTo>
                <a:lnTo>
                  <a:pt x="3593" y="2946"/>
                </a:lnTo>
                <a:lnTo>
                  <a:pt x="3586" y="2976"/>
                </a:lnTo>
                <a:lnTo>
                  <a:pt x="3589" y="3000"/>
                </a:lnTo>
                <a:lnTo>
                  <a:pt x="3591" y="3007"/>
                </a:lnTo>
                <a:lnTo>
                  <a:pt x="3593" y="3012"/>
                </a:lnTo>
                <a:lnTo>
                  <a:pt x="3596" y="3017"/>
                </a:lnTo>
                <a:lnTo>
                  <a:pt x="3603" y="3024"/>
                </a:lnTo>
                <a:lnTo>
                  <a:pt x="3605" y="3028"/>
                </a:lnTo>
                <a:lnTo>
                  <a:pt x="3605" y="3043"/>
                </a:lnTo>
                <a:lnTo>
                  <a:pt x="3605" y="3066"/>
                </a:lnTo>
                <a:lnTo>
                  <a:pt x="3608" y="3081"/>
                </a:lnTo>
                <a:lnTo>
                  <a:pt x="3617" y="3092"/>
                </a:lnTo>
                <a:lnTo>
                  <a:pt x="3619" y="3097"/>
                </a:lnTo>
                <a:lnTo>
                  <a:pt x="3622" y="3099"/>
                </a:lnTo>
                <a:lnTo>
                  <a:pt x="3634" y="3099"/>
                </a:lnTo>
                <a:lnTo>
                  <a:pt x="3638" y="3099"/>
                </a:lnTo>
                <a:lnTo>
                  <a:pt x="3634" y="3107"/>
                </a:lnTo>
                <a:lnTo>
                  <a:pt x="3631" y="3109"/>
                </a:lnTo>
                <a:lnTo>
                  <a:pt x="3629" y="3111"/>
                </a:lnTo>
                <a:lnTo>
                  <a:pt x="3634" y="3128"/>
                </a:lnTo>
                <a:lnTo>
                  <a:pt x="3634" y="3130"/>
                </a:lnTo>
                <a:lnTo>
                  <a:pt x="3624" y="3142"/>
                </a:lnTo>
                <a:lnTo>
                  <a:pt x="3624" y="3144"/>
                </a:lnTo>
                <a:lnTo>
                  <a:pt x="3622" y="3147"/>
                </a:lnTo>
                <a:lnTo>
                  <a:pt x="3619" y="3152"/>
                </a:lnTo>
                <a:lnTo>
                  <a:pt x="3617" y="3161"/>
                </a:lnTo>
                <a:lnTo>
                  <a:pt x="3612" y="3154"/>
                </a:lnTo>
                <a:lnTo>
                  <a:pt x="3603" y="3154"/>
                </a:lnTo>
                <a:lnTo>
                  <a:pt x="3596" y="3159"/>
                </a:lnTo>
                <a:lnTo>
                  <a:pt x="3591" y="3163"/>
                </a:lnTo>
                <a:lnTo>
                  <a:pt x="3579" y="3156"/>
                </a:lnTo>
                <a:lnTo>
                  <a:pt x="3574" y="3154"/>
                </a:lnTo>
                <a:lnTo>
                  <a:pt x="3567" y="3154"/>
                </a:lnTo>
                <a:lnTo>
                  <a:pt x="3560" y="3156"/>
                </a:lnTo>
                <a:lnTo>
                  <a:pt x="3530" y="3170"/>
                </a:lnTo>
                <a:lnTo>
                  <a:pt x="3499" y="3194"/>
                </a:lnTo>
                <a:lnTo>
                  <a:pt x="3487" y="3208"/>
                </a:lnTo>
                <a:lnTo>
                  <a:pt x="3485" y="3211"/>
                </a:lnTo>
                <a:lnTo>
                  <a:pt x="3482" y="3215"/>
                </a:lnTo>
                <a:lnTo>
                  <a:pt x="3466" y="3230"/>
                </a:lnTo>
                <a:lnTo>
                  <a:pt x="3459" y="3239"/>
                </a:lnTo>
                <a:lnTo>
                  <a:pt x="3456" y="3244"/>
                </a:lnTo>
                <a:lnTo>
                  <a:pt x="3456" y="3258"/>
                </a:lnTo>
                <a:lnTo>
                  <a:pt x="3451" y="3265"/>
                </a:lnTo>
                <a:lnTo>
                  <a:pt x="3449" y="3272"/>
                </a:lnTo>
                <a:lnTo>
                  <a:pt x="3451" y="3284"/>
                </a:lnTo>
                <a:lnTo>
                  <a:pt x="3454" y="3284"/>
                </a:lnTo>
                <a:lnTo>
                  <a:pt x="3456" y="3286"/>
                </a:lnTo>
                <a:lnTo>
                  <a:pt x="3456" y="3293"/>
                </a:lnTo>
                <a:lnTo>
                  <a:pt x="3466" y="3324"/>
                </a:lnTo>
                <a:lnTo>
                  <a:pt x="3477" y="3353"/>
                </a:lnTo>
                <a:lnTo>
                  <a:pt x="3480" y="3362"/>
                </a:lnTo>
                <a:lnTo>
                  <a:pt x="3482" y="3393"/>
                </a:lnTo>
                <a:lnTo>
                  <a:pt x="3480" y="3400"/>
                </a:lnTo>
                <a:lnTo>
                  <a:pt x="3470" y="3414"/>
                </a:lnTo>
                <a:lnTo>
                  <a:pt x="3466" y="3421"/>
                </a:lnTo>
                <a:lnTo>
                  <a:pt x="3463" y="3424"/>
                </a:lnTo>
                <a:lnTo>
                  <a:pt x="3456" y="3433"/>
                </a:lnTo>
                <a:lnTo>
                  <a:pt x="3447" y="3440"/>
                </a:lnTo>
                <a:lnTo>
                  <a:pt x="3418" y="3461"/>
                </a:lnTo>
                <a:lnTo>
                  <a:pt x="3409" y="3473"/>
                </a:lnTo>
                <a:lnTo>
                  <a:pt x="3376" y="3540"/>
                </a:lnTo>
                <a:lnTo>
                  <a:pt x="3371" y="3554"/>
                </a:lnTo>
                <a:lnTo>
                  <a:pt x="3371" y="3599"/>
                </a:lnTo>
                <a:lnTo>
                  <a:pt x="3369" y="3613"/>
                </a:lnTo>
                <a:lnTo>
                  <a:pt x="3366" y="3620"/>
                </a:lnTo>
                <a:lnTo>
                  <a:pt x="3364" y="3625"/>
                </a:lnTo>
                <a:lnTo>
                  <a:pt x="3359" y="3629"/>
                </a:lnTo>
                <a:lnTo>
                  <a:pt x="3357" y="3634"/>
                </a:lnTo>
                <a:lnTo>
                  <a:pt x="3340" y="3641"/>
                </a:lnTo>
                <a:lnTo>
                  <a:pt x="3336" y="3644"/>
                </a:lnTo>
                <a:lnTo>
                  <a:pt x="3317" y="3641"/>
                </a:lnTo>
                <a:lnTo>
                  <a:pt x="3257" y="3658"/>
                </a:lnTo>
                <a:lnTo>
                  <a:pt x="3250" y="3655"/>
                </a:lnTo>
                <a:lnTo>
                  <a:pt x="3241" y="3653"/>
                </a:lnTo>
                <a:lnTo>
                  <a:pt x="3231" y="3651"/>
                </a:lnTo>
                <a:lnTo>
                  <a:pt x="3224" y="3646"/>
                </a:lnTo>
                <a:lnTo>
                  <a:pt x="3217" y="3639"/>
                </a:lnTo>
                <a:lnTo>
                  <a:pt x="3213" y="3629"/>
                </a:lnTo>
                <a:lnTo>
                  <a:pt x="3213" y="3622"/>
                </a:lnTo>
                <a:lnTo>
                  <a:pt x="3217" y="3615"/>
                </a:lnTo>
                <a:lnTo>
                  <a:pt x="3205" y="3603"/>
                </a:lnTo>
                <a:lnTo>
                  <a:pt x="3203" y="3596"/>
                </a:lnTo>
                <a:lnTo>
                  <a:pt x="3203" y="3589"/>
                </a:lnTo>
                <a:lnTo>
                  <a:pt x="3205" y="3580"/>
                </a:lnTo>
                <a:lnTo>
                  <a:pt x="3205" y="3573"/>
                </a:lnTo>
                <a:lnTo>
                  <a:pt x="3205" y="3566"/>
                </a:lnTo>
                <a:lnTo>
                  <a:pt x="3201" y="3556"/>
                </a:lnTo>
                <a:lnTo>
                  <a:pt x="3196" y="3542"/>
                </a:lnTo>
                <a:lnTo>
                  <a:pt x="3201" y="3532"/>
                </a:lnTo>
                <a:lnTo>
                  <a:pt x="3210" y="3525"/>
                </a:lnTo>
                <a:lnTo>
                  <a:pt x="3241" y="3509"/>
                </a:lnTo>
                <a:lnTo>
                  <a:pt x="3243" y="3504"/>
                </a:lnTo>
                <a:lnTo>
                  <a:pt x="3243" y="3502"/>
                </a:lnTo>
                <a:lnTo>
                  <a:pt x="3248" y="3497"/>
                </a:lnTo>
                <a:lnTo>
                  <a:pt x="3248" y="3495"/>
                </a:lnTo>
                <a:lnTo>
                  <a:pt x="3250" y="3476"/>
                </a:lnTo>
                <a:lnTo>
                  <a:pt x="3265" y="3419"/>
                </a:lnTo>
                <a:lnTo>
                  <a:pt x="3267" y="3400"/>
                </a:lnTo>
                <a:lnTo>
                  <a:pt x="3262" y="3386"/>
                </a:lnTo>
                <a:lnTo>
                  <a:pt x="3255" y="3376"/>
                </a:lnTo>
                <a:lnTo>
                  <a:pt x="3246" y="3367"/>
                </a:lnTo>
                <a:lnTo>
                  <a:pt x="3243" y="3364"/>
                </a:lnTo>
                <a:lnTo>
                  <a:pt x="3239" y="3364"/>
                </a:lnTo>
                <a:lnTo>
                  <a:pt x="3236" y="3362"/>
                </a:lnTo>
                <a:lnTo>
                  <a:pt x="3231" y="3360"/>
                </a:lnTo>
                <a:lnTo>
                  <a:pt x="3231" y="3357"/>
                </a:lnTo>
                <a:lnTo>
                  <a:pt x="3231" y="3355"/>
                </a:lnTo>
                <a:lnTo>
                  <a:pt x="3231" y="3350"/>
                </a:lnTo>
                <a:lnTo>
                  <a:pt x="3231" y="3346"/>
                </a:lnTo>
                <a:lnTo>
                  <a:pt x="3239" y="3341"/>
                </a:lnTo>
                <a:lnTo>
                  <a:pt x="3250" y="3334"/>
                </a:lnTo>
                <a:lnTo>
                  <a:pt x="3269" y="3315"/>
                </a:lnTo>
                <a:lnTo>
                  <a:pt x="3279" y="3308"/>
                </a:lnTo>
                <a:lnTo>
                  <a:pt x="3293" y="3303"/>
                </a:lnTo>
                <a:lnTo>
                  <a:pt x="3317" y="3301"/>
                </a:lnTo>
                <a:lnTo>
                  <a:pt x="3321" y="3298"/>
                </a:lnTo>
                <a:lnTo>
                  <a:pt x="3326" y="3296"/>
                </a:lnTo>
                <a:lnTo>
                  <a:pt x="3333" y="3286"/>
                </a:lnTo>
                <a:lnTo>
                  <a:pt x="3338" y="3272"/>
                </a:lnTo>
                <a:lnTo>
                  <a:pt x="3340" y="3256"/>
                </a:lnTo>
                <a:lnTo>
                  <a:pt x="3338" y="3239"/>
                </a:lnTo>
                <a:lnTo>
                  <a:pt x="3336" y="3220"/>
                </a:lnTo>
                <a:lnTo>
                  <a:pt x="3331" y="3213"/>
                </a:lnTo>
                <a:lnTo>
                  <a:pt x="3328" y="3206"/>
                </a:lnTo>
                <a:lnTo>
                  <a:pt x="3321" y="3204"/>
                </a:lnTo>
                <a:lnTo>
                  <a:pt x="3314" y="3204"/>
                </a:lnTo>
                <a:lnTo>
                  <a:pt x="3310" y="3201"/>
                </a:lnTo>
                <a:lnTo>
                  <a:pt x="3305" y="3194"/>
                </a:lnTo>
                <a:lnTo>
                  <a:pt x="3279" y="3156"/>
                </a:lnTo>
                <a:lnTo>
                  <a:pt x="3248" y="3062"/>
                </a:lnTo>
                <a:lnTo>
                  <a:pt x="3241" y="3047"/>
                </a:lnTo>
                <a:lnTo>
                  <a:pt x="3205" y="2991"/>
                </a:lnTo>
                <a:lnTo>
                  <a:pt x="3198" y="2984"/>
                </a:lnTo>
                <a:lnTo>
                  <a:pt x="3186" y="2974"/>
                </a:lnTo>
                <a:lnTo>
                  <a:pt x="3177" y="2969"/>
                </a:lnTo>
                <a:lnTo>
                  <a:pt x="3172" y="2967"/>
                </a:lnTo>
                <a:lnTo>
                  <a:pt x="3170" y="2955"/>
                </a:lnTo>
                <a:lnTo>
                  <a:pt x="3163" y="2946"/>
                </a:lnTo>
                <a:lnTo>
                  <a:pt x="3156" y="2931"/>
                </a:lnTo>
                <a:lnTo>
                  <a:pt x="3149" y="2922"/>
                </a:lnTo>
                <a:lnTo>
                  <a:pt x="3144" y="2915"/>
                </a:lnTo>
                <a:lnTo>
                  <a:pt x="3132" y="2875"/>
                </a:lnTo>
                <a:lnTo>
                  <a:pt x="3132" y="2877"/>
                </a:lnTo>
                <a:lnTo>
                  <a:pt x="3127" y="2868"/>
                </a:lnTo>
                <a:lnTo>
                  <a:pt x="3125" y="2865"/>
                </a:lnTo>
                <a:lnTo>
                  <a:pt x="3123" y="2863"/>
                </a:lnTo>
                <a:lnTo>
                  <a:pt x="3123" y="2861"/>
                </a:lnTo>
                <a:lnTo>
                  <a:pt x="3123" y="2844"/>
                </a:lnTo>
                <a:lnTo>
                  <a:pt x="3120" y="2834"/>
                </a:lnTo>
                <a:lnTo>
                  <a:pt x="3106" y="2820"/>
                </a:lnTo>
                <a:lnTo>
                  <a:pt x="3104" y="2816"/>
                </a:lnTo>
                <a:lnTo>
                  <a:pt x="3099" y="2806"/>
                </a:lnTo>
                <a:lnTo>
                  <a:pt x="3094" y="2801"/>
                </a:lnTo>
                <a:lnTo>
                  <a:pt x="3080" y="2792"/>
                </a:lnTo>
                <a:lnTo>
                  <a:pt x="3068" y="2778"/>
                </a:lnTo>
                <a:lnTo>
                  <a:pt x="3061" y="2775"/>
                </a:lnTo>
                <a:lnTo>
                  <a:pt x="3059" y="2771"/>
                </a:lnTo>
                <a:lnTo>
                  <a:pt x="3059" y="2766"/>
                </a:lnTo>
                <a:lnTo>
                  <a:pt x="3054" y="2768"/>
                </a:lnTo>
                <a:lnTo>
                  <a:pt x="3030" y="2771"/>
                </a:lnTo>
                <a:lnTo>
                  <a:pt x="3023" y="2775"/>
                </a:lnTo>
                <a:lnTo>
                  <a:pt x="3018" y="2782"/>
                </a:lnTo>
                <a:lnTo>
                  <a:pt x="3009" y="2797"/>
                </a:lnTo>
                <a:lnTo>
                  <a:pt x="3000" y="2808"/>
                </a:lnTo>
                <a:lnTo>
                  <a:pt x="2995" y="2813"/>
                </a:lnTo>
                <a:lnTo>
                  <a:pt x="2985" y="2813"/>
                </a:lnTo>
                <a:lnTo>
                  <a:pt x="2978" y="2811"/>
                </a:lnTo>
                <a:lnTo>
                  <a:pt x="2964" y="2804"/>
                </a:lnTo>
                <a:lnTo>
                  <a:pt x="2959" y="2804"/>
                </a:lnTo>
                <a:lnTo>
                  <a:pt x="2957" y="2806"/>
                </a:lnTo>
                <a:lnTo>
                  <a:pt x="2955" y="2808"/>
                </a:lnTo>
                <a:lnTo>
                  <a:pt x="2950" y="2808"/>
                </a:lnTo>
                <a:lnTo>
                  <a:pt x="2948" y="2808"/>
                </a:lnTo>
                <a:lnTo>
                  <a:pt x="2948" y="2806"/>
                </a:lnTo>
                <a:lnTo>
                  <a:pt x="2952" y="2799"/>
                </a:lnTo>
                <a:lnTo>
                  <a:pt x="2945" y="2790"/>
                </a:lnTo>
                <a:lnTo>
                  <a:pt x="2933" y="2780"/>
                </a:lnTo>
                <a:lnTo>
                  <a:pt x="2926" y="2778"/>
                </a:lnTo>
                <a:lnTo>
                  <a:pt x="2919" y="2775"/>
                </a:lnTo>
                <a:lnTo>
                  <a:pt x="2895" y="2759"/>
                </a:lnTo>
                <a:lnTo>
                  <a:pt x="2891" y="2756"/>
                </a:lnTo>
                <a:lnTo>
                  <a:pt x="2884" y="2759"/>
                </a:lnTo>
                <a:lnTo>
                  <a:pt x="2877" y="2764"/>
                </a:lnTo>
                <a:lnTo>
                  <a:pt x="2869" y="2764"/>
                </a:lnTo>
                <a:lnTo>
                  <a:pt x="2865" y="2761"/>
                </a:lnTo>
                <a:lnTo>
                  <a:pt x="2858" y="2754"/>
                </a:lnTo>
                <a:lnTo>
                  <a:pt x="2843" y="2745"/>
                </a:lnTo>
                <a:lnTo>
                  <a:pt x="2841" y="2745"/>
                </a:lnTo>
                <a:lnTo>
                  <a:pt x="2836" y="2742"/>
                </a:lnTo>
                <a:lnTo>
                  <a:pt x="2824" y="2742"/>
                </a:lnTo>
                <a:lnTo>
                  <a:pt x="2822" y="2740"/>
                </a:lnTo>
                <a:lnTo>
                  <a:pt x="2820" y="2735"/>
                </a:lnTo>
                <a:lnTo>
                  <a:pt x="2824" y="2721"/>
                </a:lnTo>
                <a:lnTo>
                  <a:pt x="2827" y="2711"/>
                </a:lnTo>
                <a:lnTo>
                  <a:pt x="2822" y="2704"/>
                </a:lnTo>
                <a:lnTo>
                  <a:pt x="2822" y="2702"/>
                </a:lnTo>
                <a:lnTo>
                  <a:pt x="2824" y="2700"/>
                </a:lnTo>
                <a:lnTo>
                  <a:pt x="2829" y="2697"/>
                </a:lnTo>
                <a:lnTo>
                  <a:pt x="2832" y="2695"/>
                </a:lnTo>
                <a:lnTo>
                  <a:pt x="2834" y="2690"/>
                </a:lnTo>
                <a:lnTo>
                  <a:pt x="2834" y="2688"/>
                </a:lnTo>
                <a:lnTo>
                  <a:pt x="2836" y="2671"/>
                </a:lnTo>
                <a:lnTo>
                  <a:pt x="2829" y="2657"/>
                </a:lnTo>
                <a:lnTo>
                  <a:pt x="2791" y="2603"/>
                </a:lnTo>
                <a:lnTo>
                  <a:pt x="2780" y="2591"/>
                </a:lnTo>
                <a:lnTo>
                  <a:pt x="2770" y="2581"/>
                </a:lnTo>
                <a:lnTo>
                  <a:pt x="2761" y="2574"/>
                </a:lnTo>
                <a:lnTo>
                  <a:pt x="2751" y="2570"/>
                </a:lnTo>
                <a:lnTo>
                  <a:pt x="2742" y="2567"/>
                </a:lnTo>
                <a:lnTo>
                  <a:pt x="2732" y="2574"/>
                </a:lnTo>
                <a:lnTo>
                  <a:pt x="2723" y="2584"/>
                </a:lnTo>
                <a:lnTo>
                  <a:pt x="2720" y="2584"/>
                </a:lnTo>
                <a:lnTo>
                  <a:pt x="2704" y="2586"/>
                </a:lnTo>
                <a:lnTo>
                  <a:pt x="2699" y="2588"/>
                </a:lnTo>
                <a:lnTo>
                  <a:pt x="2687" y="2603"/>
                </a:lnTo>
                <a:lnTo>
                  <a:pt x="2680" y="2607"/>
                </a:lnTo>
                <a:lnTo>
                  <a:pt x="2671" y="2605"/>
                </a:lnTo>
                <a:lnTo>
                  <a:pt x="2661" y="2603"/>
                </a:lnTo>
                <a:lnTo>
                  <a:pt x="2657" y="2605"/>
                </a:lnTo>
                <a:lnTo>
                  <a:pt x="2642" y="2612"/>
                </a:lnTo>
                <a:lnTo>
                  <a:pt x="2635" y="2619"/>
                </a:lnTo>
                <a:lnTo>
                  <a:pt x="2623" y="2629"/>
                </a:lnTo>
                <a:lnTo>
                  <a:pt x="2619" y="2636"/>
                </a:lnTo>
                <a:lnTo>
                  <a:pt x="2614" y="2631"/>
                </a:lnTo>
                <a:lnTo>
                  <a:pt x="2614" y="2622"/>
                </a:lnTo>
                <a:lnTo>
                  <a:pt x="2614" y="2614"/>
                </a:lnTo>
                <a:lnTo>
                  <a:pt x="2621" y="2610"/>
                </a:lnTo>
                <a:lnTo>
                  <a:pt x="2628" y="2607"/>
                </a:lnTo>
                <a:lnTo>
                  <a:pt x="2628" y="2605"/>
                </a:lnTo>
                <a:lnTo>
                  <a:pt x="2630" y="2600"/>
                </a:lnTo>
                <a:lnTo>
                  <a:pt x="2633" y="2596"/>
                </a:lnTo>
                <a:lnTo>
                  <a:pt x="2652" y="2574"/>
                </a:lnTo>
                <a:lnTo>
                  <a:pt x="2654" y="2570"/>
                </a:lnTo>
                <a:lnTo>
                  <a:pt x="2649" y="2562"/>
                </a:lnTo>
                <a:lnTo>
                  <a:pt x="2645" y="2555"/>
                </a:lnTo>
                <a:lnTo>
                  <a:pt x="2638" y="2553"/>
                </a:lnTo>
                <a:lnTo>
                  <a:pt x="2633" y="2551"/>
                </a:lnTo>
                <a:lnTo>
                  <a:pt x="2628" y="2551"/>
                </a:lnTo>
                <a:lnTo>
                  <a:pt x="2623" y="2551"/>
                </a:lnTo>
                <a:lnTo>
                  <a:pt x="2621" y="2551"/>
                </a:lnTo>
                <a:lnTo>
                  <a:pt x="2619" y="2548"/>
                </a:lnTo>
                <a:lnTo>
                  <a:pt x="2614" y="2543"/>
                </a:lnTo>
                <a:lnTo>
                  <a:pt x="2612" y="2543"/>
                </a:lnTo>
                <a:lnTo>
                  <a:pt x="2607" y="2541"/>
                </a:lnTo>
                <a:lnTo>
                  <a:pt x="2593" y="2529"/>
                </a:lnTo>
                <a:lnTo>
                  <a:pt x="2586" y="2527"/>
                </a:lnTo>
                <a:lnTo>
                  <a:pt x="2581" y="2527"/>
                </a:lnTo>
                <a:lnTo>
                  <a:pt x="2571" y="2529"/>
                </a:lnTo>
                <a:lnTo>
                  <a:pt x="2564" y="2534"/>
                </a:lnTo>
                <a:lnTo>
                  <a:pt x="2562" y="2539"/>
                </a:lnTo>
                <a:lnTo>
                  <a:pt x="2560" y="2546"/>
                </a:lnTo>
                <a:lnTo>
                  <a:pt x="2552" y="2548"/>
                </a:lnTo>
                <a:lnTo>
                  <a:pt x="2529" y="2541"/>
                </a:lnTo>
                <a:lnTo>
                  <a:pt x="2524" y="2539"/>
                </a:lnTo>
                <a:lnTo>
                  <a:pt x="2519" y="2541"/>
                </a:lnTo>
                <a:lnTo>
                  <a:pt x="2519" y="2546"/>
                </a:lnTo>
                <a:lnTo>
                  <a:pt x="2519" y="2551"/>
                </a:lnTo>
                <a:lnTo>
                  <a:pt x="2522" y="2555"/>
                </a:lnTo>
                <a:lnTo>
                  <a:pt x="2524" y="2560"/>
                </a:lnTo>
                <a:lnTo>
                  <a:pt x="2522" y="2560"/>
                </a:lnTo>
                <a:lnTo>
                  <a:pt x="2510" y="2558"/>
                </a:lnTo>
                <a:lnTo>
                  <a:pt x="2510" y="2541"/>
                </a:lnTo>
                <a:lnTo>
                  <a:pt x="2505" y="2525"/>
                </a:lnTo>
                <a:lnTo>
                  <a:pt x="2472" y="2477"/>
                </a:lnTo>
                <a:lnTo>
                  <a:pt x="2460" y="2472"/>
                </a:lnTo>
                <a:lnTo>
                  <a:pt x="2455" y="2470"/>
                </a:lnTo>
                <a:lnTo>
                  <a:pt x="2453" y="2465"/>
                </a:lnTo>
                <a:lnTo>
                  <a:pt x="2453" y="2456"/>
                </a:lnTo>
                <a:lnTo>
                  <a:pt x="2451" y="2454"/>
                </a:lnTo>
                <a:lnTo>
                  <a:pt x="2439" y="2437"/>
                </a:lnTo>
                <a:lnTo>
                  <a:pt x="2401" y="2402"/>
                </a:lnTo>
                <a:lnTo>
                  <a:pt x="2380" y="2385"/>
                </a:lnTo>
                <a:lnTo>
                  <a:pt x="2375" y="2383"/>
                </a:lnTo>
                <a:lnTo>
                  <a:pt x="2366" y="2387"/>
                </a:lnTo>
                <a:lnTo>
                  <a:pt x="2361" y="2387"/>
                </a:lnTo>
                <a:lnTo>
                  <a:pt x="2358" y="2385"/>
                </a:lnTo>
                <a:lnTo>
                  <a:pt x="2339" y="2390"/>
                </a:lnTo>
                <a:lnTo>
                  <a:pt x="2330" y="2399"/>
                </a:lnTo>
                <a:lnTo>
                  <a:pt x="2337" y="2411"/>
                </a:lnTo>
                <a:lnTo>
                  <a:pt x="2328" y="2413"/>
                </a:lnTo>
                <a:lnTo>
                  <a:pt x="2323" y="2413"/>
                </a:lnTo>
                <a:lnTo>
                  <a:pt x="2321" y="2411"/>
                </a:lnTo>
                <a:lnTo>
                  <a:pt x="2318" y="2406"/>
                </a:lnTo>
                <a:lnTo>
                  <a:pt x="2316" y="2404"/>
                </a:lnTo>
                <a:lnTo>
                  <a:pt x="2313" y="2409"/>
                </a:lnTo>
                <a:lnTo>
                  <a:pt x="2311" y="2409"/>
                </a:lnTo>
                <a:lnTo>
                  <a:pt x="2304" y="2402"/>
                </a:lnTo>
                <a:lnTo>
                  <a:pt x="2252" y="2387"/>
                </a:lnTo>
                <a:lnTo>
                  <a:pt x="2240" y="2390"/>
                </a:lnTo>
                <a:lnTo>
                  <a:pt x="2216" y="2397"/>
                </a:lnTo>
                <a:lnTo>
                  <a:pt x="2209" y="2402"/>
                </a:lnTo>
                <a:lnTo>
                  <a:pt x="2200" y="2411"/>
                </a:lnTo>
                <a:lnTo>
                  <a:pt x="2190" y="2416"/>
                </a:lnTo>
                <a:lnTo>
                  <a:pt x="2183" y="2428"/>
                </a:lnTo>
                <a:lnTo>
                  <a:pt x="2176" y="2432"/>
                </a:lnTo>
                <a:lnTo>
                  <a:pt x="2169" y="2430"/>
                </a:lnTo>
                <a:lnTo>
                  <a:pt x="2167" y="2425"/>
                </a:lnTo>
                <a:lnTo>
                  <a:pt x="2164" y="2418"/>
                </a:lnTo>
                <a:lnTo>
                  <a:pt x="2160" y="2411"/>
                </a:lnTo>
                <a:lnTo>
                  <a:pt x="2155" y="2406"/>
                </a:lnTo>
                <a:lnTo>
                  <a:pt x="2148" y="2394"/>
                </a:lnTo>
                <a:lnTo>
                  <a:pt x="2143" y="2390"/>
                </a:lnTo>
                <a:lnTo>
                  <a:pt x="2122" y="2373"/>
                </a:lnTo>
                <a:lnTo>
                  <a:pt x="2110" y="2366"/>
                </a:lnTo>
                <a:lnTo>
                  <a:pt x="2101" y="2361"/>
                </a:lnTo>
                <a:lnTo>
                  <a:pt x="2093" y="2359"/>
                </a:lnTo>
                <a:lnTo>
                  <a:pt x="2070" y="2364"/>
                </a:lnTo>
                <a:lnTo>
                  <a:pt x="2065" y="2361"/>
                </a:lnTo>
                <a:lnTo>
                  <a:pt x="2039" y="2352"/>
                </a:lnTo>
                <a:lnTo>
                  <a:pt x="2032" y="2349"/>
                </a:lnTo>
                <a:lnTo>
                  <a:pt x="2030" y="2352"/>
                </a:lnTo>
                <a:lnTo>
                  <a:pt x="2027" y="2359"/>
                </a:lnTo>
                <a:lnTo>
                  <a:pt x="2022" y="2354"/>
                </a:lnTo>
                <a:lnTo>
                  <a:pt x="1994" y="2321"/>
                </a:lnTo>
                <a:lnTo>
                  <a:pt x="1959" y="2290"/>
                </a:lnTo>
                <a:lnTo>
                  <a:pt x="1921" y="2264"/>
                </a:lnTo>
                <a:lnTo>
                  <a:pt x="1916" y="2262"/>
                </a:lnTo>
                <a:lnTo>
                  <a:pt x="1907" y="2260"/>
                </a:lnTo>
                <a:lnTo>
                  <a:pt x="1902" y="2257"/>
                </a:lnTo>
                <a:lnTo>
                  <a:pt x="1897" y="2257"/>
                </a:lnTo>
                <a:lnTo>
                  <a:pt x="1888" y="2257"/>
                </a:lnTo>
                <a:lnTo>
                  <a:pt x="1885" y="2255"/>
                </a:lnTo>
                <a:lnTo>
                  <a:pt x="1880" y="2250"/>
                </a:lnTo>
                <a:lnTo>
                  <a:pt x="1876" y="2243"/>
                </a:lnTo>
                <a:lnTo>
                  <a:pt x="1873" y="2236"/>
                </a:lnTo>
                <a:lnTo>
                  <a:pt x="1873" y="2226"/>
                </a:lnTo>
                <a:lnTo>
                  <a:pt x="1871" y="2219"/>
                </a:lnTo>
                <a:lnTo>
                  <a:pt x="1866" y="2210"/>
                </a:lnTo>
                <a:lnTo>
                  <a:pt x="1857" y="2198"/>
                </a:lnTo>
                <a:lnTo>
                  <a:pt x="1847" y="2189"/>
                </a:lnTo>
                <a:lnTo>
                  <a:pt x="1814" y="2170"/>
                </a:lnTo>
                <a:lnTo>
                  <a:pt x="1810" y="2167"/>
                </a:lnTo>
                <a:lnTo>
                  <a:pt x="1807" y="2165"/>
                </a:lnTo>
                <a:lnTo>
                  <a:pt x="1805" y="2160"/>
                </a:lnTo>
                <a:lnTo>
                  <a:pt x="1802" y="2158"/>
                </a:lnTo>
                <a:lnTo>
                  <a:pt x="1793" y="2158"/>
                </a:lnTo>
                <a:lnTo>
                  <a:pt x="1791" y="2155"/>
                </a:lnTo>
                <a:lnTo>
                  <a:pt x="1786" y="2153"/>
                </a:lnTo>
                <a:lnTo>
                  <a:pt x="1779" y="2148"/>
                </a:lnTo>
                <a:lnTo>
                  <a:pt x="1774" y="2146"/>
                </a:lnTo>
                <a:lnTo>
                  <a:pt x="1767" y="2144"/>
                </a:lnTo>
                <a:lnTo>
                  <a:pt x="1743" y="2148"/>
                </a:lnTo>
                <a:lnTo>
                  <a:pt x="1741" y="2148"/>
                </a:lnTo>
                <a:lnTo>
                  <a:pt x="1739" y="2144"/>
                </a:lnTo>
                <a:lnTo>
                  <a:pt x="1734" y="2137"/>
                </a:lnTo>
                <a:lnTo>
                  <a:pt x="1727" y="2129"/>
                </a:lnTo>
                <a:lnTo>
                  <a:pt x="1722" y="2127"/>
                </a:lnTo>
                <a:lnTo>
                  <a:pt x="1720" y="2120"/>
                </a:lnTo>
                <a:lnTo>
                  <a:pt x="1710" y="2113"/>
                </a:lnTo>
                <a:lnTo>
                  <a:pt x="1708" y="2111"/>
                </a:lnTo>
                <a:lnTo>
                  <a:pt x="1708" y="2103"/>
                </a:lnTo>
                <a:lnTo>
                  <a:pt x="1703" y="2096"/>
                </a:lnTo>
                <a:lnTo>
                  <a:pt x="1682" y="2063"/>
                </a:lnTo>
                <a:lnTo>
                  <a:pt x="1672" y="2054"/>
                </a:lnTo>
                <a:lnTo>
                  <a:pt x="1632" y="2030"/>
                </a:lnTo>
                <a:lnTo>
                  <a:pt x="1616" y="2028"/>
                </a:lnTo>
                <a:lnTo>
                  <a:pt x="1594" y="2018"/>
                </a:lnTo>
                <a:lnTo>
                  <a:pt x="1585" y="2016"/>
                </a:lnTo>
                <a:lnTo>
                  <a:pt x="1585" y="2014"/>
                </a:lnTo>
                <a:lnTo>
                  <a:pt x="1582" y="2014"/>
                </a:lnTo>
                <a:lnTo>
                  <a:pt x="1580" y="2011"/>
                </a:lnTo>
                <a:lnTo>
                  <a:pt x="1575" y="2011"/>
                </a:lnTo>
                <a:lnTo>
                  <a:pt x="1573" y="2014"/>
                </a:lnTo>
                <a:lnTo>
                  <a:pt x="1575" y="2016"/>
                </a:lnTo>
                <a:lnTo>
                  <a:pt x="1566" y="2016"/>
                </a:lnTo>
                <a:lnTo>
                  <a:pt x="1542" y="2011"/>
                </a:lnTo>
                <a:lnTo>
                  <a:pt x="1537" y="2011"/>
                </a:lnTo>
                <a:lnTo>
                  <a:pt x="1533" y="2011"/>
                </a:lnTo>
                <a:lnTo>
                  <a:pt x="1528" y="2014"/>
                </a:lnTo>
                <a:lnTo>
                  <a:pt x="1526" y="2018"/>
                </a:lnTo>
                <a:lnTo>
                  <a:pt x="1526" y="2025"/>
                </a:lnTo>
                <a:lnTo>
                  <a:pt x="1521" y="2032"/>
                </a:lnTo>
                <a:lnTo>
                  <a:pt x="1521" y="2037"/>
                </a:lnTo>
                <a:lnTo>
                  <a:pt x="1519" y="2037"/>
                </a:lnTo>
                <a:lnTo>
                  <a:pt x="1516" y="2037"/>
                </a:lnTo>
                <a:lnTo>
                  <a:pt x="1514" y="2037"/>
                </a:lnTo>
                <a:lnTo>
                  <a:pt x="1514" y="2040"/>
                </a:lnTo>
                <a:lnTo>
                  <a:pt x="1509" y="2037"/>
                </a:lnTo>
                <a:lnTo>
                  <a:pt x="1504" y="2032"/>
                </a:lnTo>
                <a:lnTo>
                  <a:pt x="1497" y="2030"/>
                </a:lnTo>
                <a:lnTo>
                  <a:pt x="1492" y="2025"/>
                </a:lnTo>
                <a:lnTo>
                  <a:pt x="1488" y="2018"/>
                </a:lnTo>
                <a:lnTo>
                  <a:pt x="1485" y="2014"/>
                </a:lnTo>
                <a:lnTo>
                  <a:pt x="1490" y="2009"/>
                </a:lnTo>
                <a:lnTo>
                  <a:pt x="1497" y="2006"/>
                </a:lnTo>
                <a:lnTo>
                  <a:pt x="1511" y="2004"/>
                </a:lnTo>
                <a:lnTo>
                  <a:pt x="1514" y="1999"/>
                </a:lnTo>
                <a:lnTo>
                  <a:pt x="1516" y="1990"/>
                </a:lnTo>
                <a:lnTo>
                  <a:pt x="1516" y="1978"/>
                </a:lnTo>
                <a:lnTo>
                  <a:pt x="1514" y="1971"/>
                </a:lnTo>
                <a:lnTo>
                  <a:pt x="1507" y="1961"/>
                </a:lnTo>
                <a:lnTo>
                  <a:pt x="1502" y="1954"/>
                </a:lnTo>
                <a:lnTo>
                  <a:pt x="1500" y="1954"/>
                </a:lnTo>
                <a:lnTo>
                  <a:pt x="1497" y="1957"/>
                </a:lnTo>
                <a:lnTo>
                  <a:pt x="1495" y="1959"/>
                </a:lnTo>
                <a:lnTo>
                  <a:pt x="1490" y="1952"/>
                </a:lnTo>
                <a:lnTo>
                  <a:pt x="1485" y="1945"/>
                </a:lnTo>
                <a:lnTo>
                  <a:pt x="1481" y="1940"/>
                </a:lnTo>
                <a:lnTo>
                  <a:pt x="1476" y="1938"/>
                </a:lnTo>
                <a:lnTo>
                  <a:pt x="1474" y="1928"/>
                </a:lnTo>
                <a:lnTo>
                  <a:pt x="1466" y="1924"/>
                </a:lnTo>
                <a:lnTo>
                  <a:pt x="1450" y="1917"/>
                </a:lnTo>
                <a:lnTo>
                  <a:pt x="1448" y="1912"/>
                </a:lnTo>
                <a:lnTo>
                  <a:pt x="1445" y="1905"/>
                </a:lnTo>
                <a:lnTo>
                  <a:pt x="1443" y="1900"/>
                </a:lnTo>
                <a:lnTo>
                  <a:pt x="1440" y="1898"/>
                </a:lnTo>
                <a:lnTo>
                  <a:pt x="1436" y="1898"/>
                </a:lnTo>
                <a:lnTo>
                  <a:pt x="1426" y="1888"/>
                </a:lnTo>
                <a:lnTo>
                  <a:pt x="1410" y="1881"/>
                </a:lnTo>
                <a:lnTo>
                  <a:pt x="1358" y="1872"/>
                </a:lnTo>
                <a:lnTo>
                  <a:pt x="1365" y="1864"/>
                </a:lnTo>
                <a:lnTo>
                  <a:pt x="1367" y="1857"/>
                </a:lnTo>
                <a:lnTo>
                  <a:pt x="1365" y="1848"/>
                </a:lnTo>
                <a:lnTo>
                  <a:pt x="1365" y="1838"/>
                </a:lnTo>
                <a:lnTo>
                  <a:pt x="1365" y="1836"/>
                </a:lnTo>
                <a:lnTo>
                  <a:pt x="1367" y="1834"/>
                </a:lnTo>
                <a:lnTo>
                  <a:pt x="1367" y="1831"/>
                </a:lnTo>
                <a:lnTo>
                  <a:pt x="1365" y="1824"/>
                </a:lnTo>
                <a:lnTo>
                  <a:pt x="1362" y="1822"/>
                </a:lnTo>
                <a:lnTo>
                  <a:pt x="1358" y="1820"/>
                </a:lnTo>
                <a:lnTo>
                  <a:pt x="1334" y="1812"/>
                </a:lnTo>
                <a:lnTo>
                  <a:pt x="1320" y="1810"/>
                </a:lnTo>
                <a:lnTo>
                  <a:pt x="1303" y="1812"/>
                </a:lnTo>
                <a:lnTo>
                  <a:pt x="1291" y="1817"/>
                </a:lnTo>
                <a:lnTo>
                  <a:pt x="1294" y="1822"/>
                </a:lnTo>
                <a:lnTo>
                  <a:pt x="1294" y="1824"/>
                </a:lnTo>
                <a:lnTo>
                  <a:pt x="1287" y="1829"/>
                </a:lnTo>
                <a:lnTo>
                  <a:pt x="1280" y="1822"/>
                </a:lnTo>
                <a:lnTo>
                  <a:pt x="1270" y="1803"/>
                </a:lnTo>
                <a:lnTo>
                  <a:pt x="1277" y="1796"/>
                </a:lnTo>
                <a:lnTo>
                  <a:pt x="1280" y="1786"/>
                </a:lnTo>
                <a:lnTo>
                  <a:pt x="1284" y="1763"/>
                </a:lnTo>
                <a:lnTo>
                  <a:pt x="1282" y="1758"/>
                </a:lnTo>
                <a:lnTo>
                  <a:pt x="1282" y="1749"/>
                </a:lnTo>
                <a:lnTo>
                  <a:pt x="1282" y="1739"/>
                </a:lnTo>
                <a:lnTo>
                  <a:pt x="1282" y="1734"/>
                </a:lnTo>
                <a:lnTo>
                  <a:pt x="1280" y="1727"/>
                </a:lnTo>
                <a:lnTo>
                  <a:pt x="1277" y="1718"/>
                </a:lnTo>
                <a:lnTo>
                  <a:pt x="1275" y="1701"/>
                </a:lnTo>
                <a:lnTo>
                  <a:pt x="1272" y="1692"/>
                </a:lnTo>
                <a:lnTo>
                  <a:pt x="1268" y="1685"/>
                </a:lnTo>
                <a:lnTo>
                  <a:pt x="1237" y="1635"/>
                </a:lnTo>
                <a:lnTo>
                  <a:pt x="1213" y="1611"/>
                </a:lnTo>
                <a:lnTo>
                  <a:pt x="1209" y="1607"/>
                </a:lnTo>
                <a:lnTo>
                  <a:pt x="1197" y="1602"/>
                </a:lnTo>
                <a:lnTo>
                  <a:pt x="1194" y="1597"/>
                </a:lnTo>
                <a:lnTo>
                  <a:pt x="1183" y="1564"/>
                </a:lnTo>
                <a:lnTo>
                  <a:pt x="1161" y="1465"/>
                </a:lnTo>
                <a:lnTo>
                  <a:pt x="1157" y="1448"/>
                </a:lnTo>
                <a:lnTo>
                  <a:pt x="1140" y="1420"/>
                </a:lnTo>
                <a:lnTo>
                  <a:pt x="1128" y="1405"/>
                </a:lnTo>
                <a:lnTo>
                  <a:pt x="1114" y="1398"/>
                </a:lnTo>
                <a:lnTo>
                  <a:pt x="1102" y="1382"/>
                </a:lnTo>
                <a:lnTo>
                  <a:pt x="1097" y="1379"/>
                </a:lnTo>
                <a:lnTo>
                  <a:pt x="1093" y="1377"/>
                </a:lnTo>
                <a:lnTo>
                  <a:pt x="1078" y="1372"/>
                </a:lnTo>
                <a:lnTo>
                  <a:pt x="1074" y="1370"/>
                </a:lnTo>
                <a:lnTo>
                  <a:pt x="1067" y="1370"/>
                </a:lnTo>
                <a:lnTo>
                  <a:pt x="1064" y="1368"/>
                </a:lnTo>
                <a:lnTo>
                  <a:pt x="1064" y="1370"/>
                </a:lnTo>
                <a:lnTo>
                  <a:pt x="1062" y="1372"/>
                </a:lnTo>
                <a:lnTo>
                  <a:pt x="1060" y="1375"/>
                </a:lnTo>
                <a:lnTo>
                  <a:pt x="1057" y="1375"/>
                </a:lnTo>
                <a:lnTo>
                  <a:pt x="1055" y="1375"/>
                </a:lnTo>
                <a:lnTo>
                  <a:pt x="1050" y="1370"/>
                </a:lnTo>
                <a:lnTo>
                  <a:pt x="1038" y="1363"/>
                </a:lnTo>
                <a:lnTo>
                  <a:pt x="1033" y="1358"/>
                </a:lnTo>
                <a:lnTo>
                  <a:pt x="1029" y="1361"/>
                </a:lnTo>
                <a:lnTo>
                  <a:pt x="1019" y="1353"/>
                </a:lnTo>
                <a:lnTo>
                  <a:pt x="1012" y="1353"/>
                </a:lnTo>
                <a:lnTo>
                  <a:pt x="1015" y="1358"/>
                </a:lnTo>
                <a:lnTo>
                  <a:pt x="1015" y="1358"/>
                </a:lnTo>
                <a:lnTo>
                  <a:pt x="1012" y="1361"/>
                </a:lnTo>
                <a:lnTo>
                  <a:pt x="1012" y="1361"/>
                </a:lnTo>
                <a:lnTo>
                  <a:pt x="1015" y="1363"/>
                </a:lnTo>
                <a:lnTo>
                  <a:pt x="1017" y="1365"/>
                </a:lnTo>
                <a:lnTo>
                  <a:pt x="1019" y="1368"/>
                </a:lnTo>
                <a:lnTo>
                  <a:pt x="1022" y="1368"/>
                </a:lnTo>
                <a:lnTo>
                  <a:pt x="1022" y="1370"/>
                </a:lnTo>
                <a:lnTo>
                  <a:pt x="1019" y="1372"/>
                </a:lnTo>
                <a:lnTo>
                  <a:pt x="1019" y="1375"/>
                </a:lnTo>
                <a:lnTo>
                  <a:pt x="1017" y="1377"/>
                </a:lnTo>
                <a:lnTo>
                  <a:pt x="1022" y="1379"/>
                </a:lnTo>
                <a:lnTo>
                  <a:pt x="1022" y="1382"/>
                </a:lnTo>
                <a:lnTo>
                  <a:pt x="1019" y="1382"/>
                </a:lnTo>
                <a:lnTo>
                  <a:pt x="1017" y="1377"/>
                </a:lnTo>
                <a:lnTo>
                  <a:pt x="1015" y="1372"/>
                </a:lnTo>
                <a:lnTo>
                  <a:pt x="998" y="1368"/>
                </a:lnTo>
                <a:lnTo>
                  <a:pt x="981" y="1356"/>
                </a:lnTo>
                <a:lnTo>
                  <a:pt x="977" y="1353"/>
                </a:lnTo>
                <a:lnTo>
                  <a:pt x="967" y="1346"/>
                </a:lnTo>
                <a:lnTo>
                  <a:pt x="965" y="1346"/>
                </a:lnTo>
                <a:lnTo>
                  <a:pt x="955" y="1346"/>
                </a:lnTo>
                <a:lnTo>
                  <a:pt x="953" y="1346"/>
                </a:lnTo>
                <a:lnTo>
                  <a:pt x="948" y="1344"/>
                </a:lnTo>
                <a:lnTo>
                  <a:pt x="936" y="1332"/>
                </a:lnTo>
                <a:lnTo>
                  <a:pt x="934" y="1332"/>
                </a:lnTo>
                <a:lnTo>
                  <a:pt x="932" y="1327"/>
                </a:lnTo>
                <a:lnTo>
                  <a:pt x="927" y="1325"/>
                </a:lnTo>
                <a:lnTo>
                  <a:pt x="913" y="1320"/>
                </a:lnTo>
                <a:lnTo>
                  <a:pt x="908" y="1318"/>
                </a:lnTo>
                <a:lnTo>
                  <a:pt x="906" y="1313"/>
                </a:lnTo>
                <a:lnTo>
                  <a:pt x="903" y="1308"/>
                </a:lnTo>
                <a:lnTo>
                  <a:pt x="899" y="1311"/>
                </a:lnTo>
                <a:lnTo>
                  <a:pt x="894" y="1313"/>
                </a:lnTo>
                <a:lnTo>
                  <a:pt x="889" y="1313"/>
                </a:lnTo>
                <a:lnTo>
                  <a:pt x="887" y="1308"/>
                </a:lnTo>
                <a:lnTo>
                  <a:pt x="884" y="1306"/>
                </a:lnTo>
                <a:lnTo>
                  <a:pt x="868" y="1301"/>
                </a:lnTo>
                <a:lnTo>
                  <a:pt x="866" y="1292"/>
                </a:lnTo>
                <a:lnTo>
                  <a:pt x="832" y="1278"/>
                </a:lnTo>
                <a:lnTo>
                  <a:pt x="821" y="1271"/>
                </a:lnTo>
                <a:lnTo>
                  <a:pt x="818" y="1275"/>
                </a:lnTo>
                <a:lnTo>
                  <a:pt x="818" y="1280"/>
                </a:lnTo>
                <a:lnTo>
                  <a:pt x="816" y="1285"/>
                </a:lnTo>
                <a:lnTo>
                  <a:pt x="818" y="1292"/>
                </a:lnTo>
                <a:lnTo>
                  <a:pt x="804" y="1290"/>
                </a:lnTo>
                <a:lnTo>
                  <a:pt x="797" y="1285"/>
                </a:lnTo>
                <a:lnTo>
                  <a:pt x="797" y="1280"/>
                </a:lnTo>
                <a:lnTo>
                  <a:pt x="790" y="1271"/>
                </a:lnTo>
                <a:lnTo>
                  <a:pt x="780" y="1266"/>
                </a:lnTo>
                <a:lnTo>
                  <a:pt x="750" y="1266"/>
                </a:lnTo>
                <a:lnTo>
                  <a:pt x="735" y="1261"/>
                </a:lnTo>
                <a:lnTo>
                  <a:pt x="726" y="1256"/>
                </a:lnTo>
                <a:lnTo>
                  <a:pt x="724" y="1259"/>
                </a:lnTo>
                <a:lnTo>
                  <a:pt x="709" y="1259"/>
                </a:lnTo>
                <a:lnTo>
                  <a:pt x="702" y="1259"/>
                </a:lnTo>
                <a:lnTo>
                  <a:pt x="700" y="1256"/>
                </a:lnTo>
                <a:lnTo>
                  <a:pt x="695" y="1254"/>
                </a:lnTo>
                <a:lnTo>
                  <a:pt x="676" y="1254"/>
                </a:lnTo>
                <a:lnTo>
                  <a:pt x="669" y="1256"/>
                </a:lnTo>
                <a:lnTo>
                  <a:pt x="664" y="1259"/>
                </a:lnTo>
                <a:lnTo>
                  <a:pt x="657" y="1266"/>
                </a:lnTo>
                <a:lnTo>
                  <a:pt x="655" y="1271"/>
                </a:lnTo>
                <a:lnTo>
                  <a:pt x="653" y="1273"/>
                </a:lnTo>
                <a:lnTo>
                  <a:pt x="650" y="1273"/>
                </a:lnTo>
                <a:lnTo>
                  <a:pt x="648" y="1273"/>
                </a:lnTo>
                <a:lnTo>
                  <a:pt x="645" y="1273"/>
                </a:lnTo>
                <a:lnTo>
                  <a:pt x="629" y="1290"/>
                </a:lnTo>
                <a:lnTo>
                  <a:pt x="624" y="1290"/>
                </a:lnTo>
                <a:lnTo>
                  <a:pt x="619" y="1292"/>
                </a:lnTo>
                <a:lnTo>
                  <a:pt x="612" y="1299"/>
                </a:lnTo>
                <a:lnTo>
                  <a:pt x="593" y="1318"/>
                </a:lnTo>
                <a:lnTo>
                  <a:pt x="586" y="1327"/>
                </a:lnTo>
                <a:lnTo>
                  <a:pt x="589" y="1334"/>
                </a:lnTo>
                <a:lnTo>
                  <a:pt x="586" y="1339"/>
                </a:lnTo>
                <a:lnTo>
                  <a:pt x="586" y="1342"/>
                </a:lnTo>
                <a:lnTo>
                  <a:pt x="586" y="1346"/>
                </a:lnTo>
                <a:lnTo>
                  <a:pt x="586" y="1346"/>
                </a:lnTo>
                <a:lnTo>
                  <a:pt x="582" y="1351"/>
                </a:lnTo>
                <a:lnTo>
                  <a:pt x="579" y="1351"/>
                </a:lnTo>
                <a:lnTo>
                  <a:pt x="579" y="1358"/>
                </a:lnTo>
                <a:lnTo>
                  <a:pt x="579" y="1363"/>
                </a:lnTo>
                <a:lnTo>
                  <a:pt x="579" y="1368"/>
                </a:lnTo>
                <a:lnTo>
                  <a:pt x="577" y="1372"/>
                </a:lnTo>
                <a:lnTo>
                  <a:pt x="570" y="1377"/>
                </a:lnTo>
                <a:lnTo>
                  <a:pt x="553" y="1384"/>
                </a:lnTo>
                <a:lnTo>
                  <a:pt x="544" y="1389"/>
                </a:lnTo>
                <a:lnTo>
                  <a:pt x="541" y="1394"/>
                </a:lnTo>
                <a:lnTo>
                  <a:pt x="537" y="1398"/>
                </a:lnTo>
                <a:lnTo>
                  <a:pt x="530" y="1410"/>
                </a:lnTo>
                <a:lnTo>
                  <a:pt x="530" y="1413"/>
                </a:lnTo>
                <a:lnTo>
                  <a:pt x="532" y="1420"/>
                </a:lnTo>
                <a:lnTo>
                  <a:pt x="532" y="1424"/>
                </a:lnTo>
                <a:lnTo>
                  <a:pt x="530" y="1429"/>
                </a:lnTo>
                <a:lnTo>
                  <a:pt x="527" y="1436"/>
                </a:lnTo>
                <a:lnTo>
                  <a:pt x="515" y="1453"/>
                </a:lnTo>
                <a:lnTo>
                  <a:pt x="511" y="1465"/>
                </a:lnTo>
                <a:lnTo>
                  <a:pt x="518" y="1472"/>
                </a:lnTo>
                <a:lnTo>
                  <a:pt x="518" y="1474"/>
                </a:lnTo>
                <a:lnTo>
                  <a:pt x="511" y="1476"/>
                </a:lnTo>
                <a:lnTo>
                  <a:pt x="501" y="1488"/>
                </a:lnTo>
                <a:lnTo>
                  <a:pt x="494" y="1493"/>
                </a:lnTo>
                <a:lnTo>
                  <a:pt x="492" y="1495"/>
                </a:lnTo>
                <a:lnTo>
                  <a:pt x="492" y="1498"/>
                </a:lnTo>
                <a:lnTo>
                  <a:pt x="489" y="1500"/>
                </a:lnTo>
                <a:lnTo>
                  <a:pt x="489" y="1502"/>
                </a:lnTo>
                <a:lnTo>
                  <a:pt x="485" y="1505"/>
                </a:lnTo>
                <a:lnTo>
                  <a:pt x="478" y="1507"/>
                </a:lnTo>
                <a:lnTo>
                  <a:pt x="459" y="1526"/>
                </a:lnTo>
                <a:lnTo>
                  <a:pt x="407" y="1543"/>
                </a:lnTo>
                <a:lnTo>
                  <a:pt x="392" y="1555"/>
                </a:lnTo>
                <a:lnTo>
                  <a:pt x="381" y="1559"/>
                </a:lnTo>
                <a:lnTo>
                  <a:pt x="343" y="1562"/>
                </a:lnTo>
                <a:lnTo>
                  <a:pt x="333" y="1566"/>
                </a:lnTo>
                <a:lnTo>
                  <a:pt x="331" y="1566"/>
                </a:lnTo>
                <a:lnTo>
                  <a:pt x="326" y="1564"/>
                </a:lnTo>
                <a:lnTo>
                  <a:pt x="324" y="1564"/>
                </a:lnTo>
                <a:lnTo>
                  <a:pt x="321" y="1564"/>
                </a:lnTo>
                <a:lnTo>
                  <a:pt x="312" y="1545"/>
                </a:lnTo>
                <a:lnTo>
                  <a:pt x="310" y="1533"/>
                </a:lnTo>
                <a:lnTo>
                  <a:pt x="314" y="1524"/>
                </a:lnTo>
                <a:lnTo>
                  <a:pt x="326" y="1510"/>
                </a:lnTo>
                <a:lnTo>
                  <a:pt x="331" y="1498"/>
                </a:lnTo>
                <a:lnTo>
                  <a:pt x="345" y="1484"/>
                </a:lnTo>
                <a:lnTo>
                  <a:pt x="352" y="1474"/>
                </a:lnTo>
                <a:lnTo>
                  <a:pt x="355" y="1469"/>
                </a:lnTo>
                <a:lnTo>
                  <a:pt x="355" y="1460"/>
                </a:lnTo>
                <a:lnTo>
                  <a:pt x="357" y="1455"/>
                </a:lnTo>
                <a:lnTo>
                  <a:pt x="359" y="1450"/>
                </a:lnTo>
                <a:lnTo>
                  <a:pt x="364" y="1446"/>
                </a:lnTo>
                <a:lnTo>
                  <a:pt x="366" y="1441"/>
                </a:lnTo>
                <a:lnTo>
                  <a:pt x="366" y="1434"/>
                </a:lnTo>
                <a:lnTo>
                  <a:pt x="362" y="1424"/>
                </a:lnTo>
                <a:lnTo>
                  <a:pt x="355" y="1417"/>
                </a:lnTo>
                <a:lnTo>
                  <a:pt x="350" y="1410"/>
                </a:lnTo>
                <a:lnTo>
                  <a:pt x="352" y="1396"/>
                </a:lnTo>
                <a:lnTo>
                  <a:pt x="343" y="1396"/>
                </a:lnTo>
                <a:lnTo>
                  <a:pt x="331" y="1405"/>
                </a:lnTo>
                <a:lnTo>
                  <a:pt x="321" y="1408"/>
                </a:lnTo>
                <a:lnTo>
                  <a:pt x="272" y="1427"/>
                </a:lnTo>
                <a:lnTo>
                  <a:pt x="258" y="1427"/>
                </a:lnTo>
                <a:lnTo>
                  <a:pt x="255" y="1427"/>
                </a:lnTo>
                <a:lnTo>
                  <a:pt x="253" y="1424"/>
                </a:lnTo>
                <a:lnTo>
                  <a:pt x="250" y="1422"/>
                </a:lnTo>
                <a:lnTo>
                  <a:pt x="248" y="1420"/>
                </a:lnTo>
                <a:lnTo>
                  <a:pt x="243" y="1417"/>
                </a:lnTo>
                <a:lnTo>
                  <a:pt x="236" y="1417"/>
                </a:lnTo>
                <a:lnTo>
                  <a:pt x="229" y="1415"/>
                </a:lnTo>
                <a:lnTo>
                  <a:pt x="196" y="1398"/>
                </a:lnTo>
                <a:lnTo>
                  <a:pt x="184" y="1394"/>
                </a:lnTo>
                <a:lnTo>
                  <a:pt x="165" y="1387"/>
                </a:lnTo>
                <a:lnTo>
                  <a:pt x="161" y="1384"/>
                </a:lnTo>
                <a:lnTo>
                  <a:pt x="156" y="1387"/>
                </a:lnTo>
                <a:lnTo>
                  <a:pt x="153" y="1387"/>
                </a:lnTo>
                <a:lnTo>
                  <a:pt x="149" y="1389"/>
                </a:lnTo>
                <a:lnTo>
                  <a:pt x="146" y="1387"/>
                </a:lnTo>
                <a:lnTo>
                  <a:pt x="142" y="1384"/>
                </a:lnTo>
                <a:lnTo>
                  <a:pt x="142" y="1379"/>
                </a:lnTo>
                <a:lnTo>
                  <a:pt x="139" y="1377"/>
                </a:lnTo>
                <a:lnTo>
                  <a:pt x="137" y="1372"/>
                </a:lnTo>
                <a:lnTo>
                  <a:pt x="135" y="1370"/>
                </a:lnTo>
                <a:lnTo>
                  <a:pt x="127" y="1365"/>
                </a:lnTo>
                <a:lnTo>
                  <a:pt x="125" y="1363"/>
                </a:lnTo>
                <a:lnTo>
                  <a:pt x="123" y="1361"/>
                </a:lnTo>
                <a:lnTo>
                  <a:pt x="118" y="1351"/>
                </a:lnTo>
                <a:lnTo>
                  <a:pt x="116" y="1349"/>
                </a:lnTo>
                <a:lnTo>
                  <a:pt x="108" y="1339"/>
                </a:lnTo>
                <a:lnTo>
                  <a:pt x="106" y="1339"/>
                </a:lnTo>
                <a:lnTo>
                  <a:pt x="106" y="1334"/>
                </a:lnTo>
                <a:lnTo>
                  <a:pt x="106" y="1332"/>
                </a:lnTo>
                <a:lnTo>
                  <a:pt x="106" y="1330"/>
                </a:lnTo>
                <a:lnTo>
                  <a:pt x="106" y="1316"/>
                </a:lnTo>
                <a:lnTo>
                  <a:pt x="108" y="1313"/>
                </a:lnTo>
                <a:lnTo>
                  <a:pt x="118" y="1306"/>
                </a:lnTo>
                <a:lnTo>
                  <a:pt x="111" y="1299"/>
                </a:lnTo>
                <a:lnTo>
                  <a:pt x="99" y="1292"/>
                </a:lnTo>
                <a:lnTo>
                  <a:pt x="92" y="1280"/>
                </a:lnTo>
                <a:lnTo>
                  <a:pt x="90" y="1266"/>
                </a:lnTo>
                <a:lnTo>
                  <a:pt x="92" y="1261"/>
                </a:lnTo>
                <a:lnTo>
                  <a:pt x="108" y="1247"/>
                </a:lnTo>
                <a:lnTo>
                  <a:pt x="116" y="1228"/>
                </a:lnTo>
                <a:lnTo>
                  <a:pt x="120" y="1226"/>
                </a:lnTo>
                <a:lnTo>
                  <a:pt x="116" y="1216"/>
                </a:lnTo>
                <a:lnTo>
                  <a:pt x="118" y="1207"/>
                </a:lnTo>
                <a:lnTo>
                  <a:pt x="123" y="1200"/>
                </a:lnTo>
                <a:lnTo>
                  <a:pt x="130" y="1195"/>
                </a:lnTo>
                <a:lnTo>
                  <a:pt x="135" y="1195"/>
                </a:lnTo>
                <a:lnTo>
                  <a:pt x="146" y="1197"/>
                </a:lnTo>
                <a:lnTo>
                  <a:pt x="151" y="1197"/>
                </a:lnTo>
                <a:lnTo>
                  <a:pt x="149" y="1190"/>
                </a:lnTo>
                <a:lnTo>
                  <a:pt x="139" y="1174"/>
                </a:lnTo>
                <a:lnTo>
                  <a:pt x="137" y="1171"/>
                </a:lnTo>
                <a:lnTo>
                  <a:pt x="135" y="1162"/>
                </a:lnTo>
                <a:lnTo>
                  <a:pt x="130" y="1152"/>
                </a:lnTo>
                <a:lnTo>
                  <a:pt x="130" y="1152"/>
                </a:lnTo>
                <a:lnTo>
                  <a:pt x="132" y="1145"/>
                </a:lnTo>
                <a:lnTo>
                  <a:pt x="132" y="1145"/>
                </a:lnTo>
                <a:lnTo>
                  <a:pt x="132" y="1143"/>
                </a:lnTo>
                <a:lnTo>
                  <a:pt x="132" y="1140"/>
                </a:lnTo>
                <a:lnTo>
                  <a:pt x="132" y="1140"/>
                </a:lnTo>
                <a:lnTo>
                  <a:pt x="130" y="1138"/>
                </a:lnTo>
                <a:lnTo>
                  <a:pt x="130" y="1136"/>
                </a:lnTo>
                <a:lnTo>
                  <a:pt x="123" y="1129"/>
                </a:lnTo>
                <a:lnTo>
                  <a:pt x="108" y="1124"/>
                </a:lnTo>
                <a:lnTo>
                  <a:pt x="101" y="1124"/>
                </a:lnTo>
                <a:lnTo>
                  <a:pt x="87" y="1129"/>
                </a:lnTo>
                <a:lnTo>
                  <a:pt x="82" y="1129"/>
                </a:lnTo>
                <a:lnTo>
                  <a:pt x="61" y="1117"/>
                </a:lnTo>
                <a:lnTo>
                  <a:pt x="49" y="1110"/>
                </a:lnTo>
                <a:lnTo>
                  <a:pt x="45" y="1100"/>
                </a:lnTo>
                <a:lnTo>
                  <a:pt x="42" y="1077"/>
                </a:lnTo>
                <a:lnTo>
                  <a:pt x="40" y="1065"/>
                </a:lnTo>
                <a:lnTo>
                  <a:pt x="30" y="1060"/>
                </a:lnTo>
                <a:lnTo>
                  <a:pt x="21" y="1060"/>
                </a:lnTo>
                <a:lnTo>
                  <a:pt x="16" y="1058"/>
                </a:lnTo>
                <a:lnTo>
                  <a:pt x="14" y="1051"/>
                </a:lnTo>
                <a:lnTo>
                  <a:pt x="11" y="1048"/>
                </a:lnTo>
                <a:lnTo>
                  <a:pt x="11" y="1043"/>
                </a:lnTo>
                <a:lnTo>
                  <a:pt x="11" y="1041"/>
                </a:lnTo>
                <a:lnTo>
                  <a:pt x="7" y="1039"/>
                </a:lnTo>
                <a:lnTo>
                  <a:pt x="0" y="1029"/>
                </a:lnTo>
                <a:lnTo>
                  <a:pt x="4" y="1025"/>
                </a:lnTo>
                <a:lnTo>
                  <a:pt x="9" y="1020"/>
                </a:lnTo>
                <a:lnTo>
                  <a:pt x="19" y="1013"/>
                </a:lnTo>
                <a:lnTo>
                  <a:pt x="21" y="1013"/>
                </a:lnTo>
                <a:lnTo>
                  <a:pt x="26" y="1013"/>
                </a:lnTo>
                <a:lnTo>
                  <a:pt x="28" y="1010"/>
                </a:lnTo>
                <a:lnTo>
                  <a:pt x="30" y="1010"/>
                </a:lnTo>
                <a:lnTo>
                  <a:pt x="35" y="1006"/>
                </a:lnTo>
                <a:lnTo>
                  <a:pt x="38" y="1003"/>
                </a:lnTo>
                <a:lnTo>
                  <a:pt x="49" y="1006"/>
                </a:lnTo>
                <a:lnTo>
                  <a:pt x="61" y="1010"/>
                </a:lnTo>
                <a:lnTo>
                  <a:pt x="71" y="1013"/>
                </a:lnTo>
                <a:lnTo>
                  <a:pt x="80" y="1008"/>
                </a:lnTo>
                <a:lnTo>
                  <a:pt x="80" y="1003"/>
                </a:lnTo>
                <a:lnTo>
                  <a:pt x="80" y="1003"/>
                </a:lnTo>
                <a:lnTo>
                  <a:pt x="78" y="1001"/>
                </a:lnTo>
                <a:lnTo>
                  <a:pt x="78" y="996"/>
                </a:lnTo>
                <a:lnTo>
                  <a:pt x="80" y="996"/>
                </a:lnTo>
                <a:lnTo>
                  <a:pt x="87" y="994"/>
                </a:lnTo>
                <a:lnTo>
                  <a:pt x="92" y="994"/>
                </a:lnTo>
                <a:lnTo>
                  <a:pt x="94" y="989"/>
                </a:lnTo>
                <a:lnTo>
                  <a:pt x="99" y="980"/>
                </a:lnTo>
                <a:lnTo>
                  <a:pt x="104" y="975"/>
                </a:lnTo>
                <a:lnTo>
                  <a:pt x="113" y="970"/>
                </a:lnTo>
                <a:lnTo>
                  <a:pt x="123" y="965"/>
                </a:lnTo>
                <a:lnTo>
                  <a:pt x="125" y="968"/>
                </a:lnTo>
                <a:lnTo>
                  <a:pt x="130" y="970"/>
                </a:lnTo>
                <a:lnTo>
                  <a:pt x="132" y="973"/>
                </a:lnTo>
                <a:lnTo>
                  <a:pt x="135" y="970"/>
                </a:lnTo>
                <a:lnTo>
                  <a:pt x="139" y="958"/>
                </a:lnTo>
                <a:lnTo>
                  <a:pt x="146" y="951"/>
                </a:lnTo>
                <a:lnTo>
                  <a:pt x="144" y="944"/>
                </a:lnTo>
                <a:lnTo>
                  <a:pt x="142" y="937"/>
                </a:lnTo>
                <a:lnTo>
                  <a:pt x="139" y="923"/>
                </a:lnTo>
                <a:lnTo>
                  <a:pt x="139" y="920"/>
                </a:lnTo>
                <a:lnTo>
                  <a:pt x="149" y="909"/>
                </a:lnTo>
                <a:lnTo>
                  <a:pt x="153" y="897"/>
                </a:lnTo>
                <a:lnTo>
                  <a:pt x="156" y="890"/>
                </a:lnTo>
                <a:lnTo>
                  <a:pt x="156" y="885"/>
                </a:lnTo>
                <a:lnTo>
                  <a:pt x="153" y="883"/>
                </a:lnTo>
                <a:lnTo>
                  <a:pt x="139" y="878"/>
                </a:lnTo>
                <a:lnTo>
                  <a:pt x="135" y="875"/>
                </a:lnTo>
                <a:lnTo>
                  <a:pt x="132" y="871"/>
                </a:lnTo>
                <a:lnTo>
                  <a:pt x="130" y="866"/>
                </a:lnTo>
                <a:lnTo>
                  <a:pt x="127" y="861"/>
                </a:lnTo>
                <a:lnTo>
                  <a:pt x="113" y="854"/>
                </a:lnTo>
                <a:lnTo>
                  <a:pt x="99" y="847"/>
                </a:lnTo>
                <a:lnTo>
                  <a:pt x="97" y="840"/>
                </a:lnTo>
                <a:lnTo>
                  <a:pt x="92" y="823"/>
                </a:lnTo>
                <a:lnTo>
                  <a:pt x="92" y="821"/>
                </a:lnTo>
                <a:lnTo>
                  <a:pt x="87" y="816"/>
                </a:lnTo>
                <a:lnTo>
                  <a:pt x="87" y="812"/>
                </a:lnTo>
                <a:lnTo>
                  <a:pt x="87" y="809"/>
                </a:lnTo>
                <a:lnTo>
                  <a:pt x="90" y="800"/>
                </a:lnTo>
                <a:lnTo>
                  <a:pt x="90" y="797"/>
                </a:lnTo>
                <a:lnTo>
                  <a:pt x="87" y="793"/>
                </a:lnTo>
                <a:lnTo>
                  <a:pt x="85" y="790"/>
                </a:lnTo>
                <a:lnTo>
                  <a:pt x="75" y="788"/>
                </a:lnTo>
                <a:lnTo>
                  <a:pt x="71" y="786"/>
                </a:lnTo>
                <a:lnTo>
                  <a:pt x="64" y="778"/>
                </a:lnTo>
                <a:lnTo>
                  <a:pt x="59" y="778"/>
                </a:lnTo>
                <a:lnTo>
                  <a:pt x="52" y="778"/>
                </a:lnTo>
                <a:lnTo>
                  <a:pt x="42" y="771"/>
                </a:lnTo>
                <a:lnTo>
                  <a:pt x="35" y="764"/>
                </a:lnTo>
                <a:lnTo>
                  <a:pt x="30" y="745"/>
                </a:lnTo>
                <a:lnTo>
                  <a:pt x="30" y="738"/>
                </a:lnTo>
                <a:lnTo>
                  <a:pt x="28" y="731"/>
                </a:lnTo>
                <a:lnTo>
                  <a:pt x="30" y="724"/>
                </a:lnTo>
                <a:lnTo>
                  <a:pt x="33" y="717"/>
                </a:lnTo>
                <a:lnTo>
                  <a:pt x="38" y="715"/>
                </a:lnTo>
                <a:lnTo>
                  <a:pt x="47" y="712"/>
                </a:lnTo>
                <a:lnTo>
                  <a:pt x="47" y="712"/>
                </a:lnTo>
                <a:lnTo>
                  <a:pt x="47" y="710"/>
                </a:lnTo>
                <a:lnTo>
                  <a:pt x="47" y="708"/>
                </a:lnTo>
                <a:lnTo>
                  <a:pt x="49" y="705"/>
                </a:lnTo>
                <a:lnTo>
                  <a:pt x="49" y="705"/>
                </a:lnTo>
                <a:lnTo>
                  <a:pt x="54" y="708"/>
                </a:lnTo>
                <a:lnTo>
                  <a:pt x="54" y="708"/>
                </a:lnTo>
                <a:lnTo>
                  <a:pt x="56" y="708"/>
                </a:lnTo>
                <a:lnTo>
                  <a:pt x="64" y="708"/>
                </a:lnTo>
                <a:lnTo>
                  <a:pt x="71" y="705"/>
                </a:lnTo>
                <a:lnTo>
                  <a:pt x="75" y="700"/>
                </a:lnTo>
                <a:lnTo>
                  <a:pt x="82" y="696"/>
                </a:lnTo>
                <a:lnTo>
                  <a:pt x="85" y="689"/>
                </a:lnTo>
                <a:lnTo>
                  <a:pt x="87" y="681"/>
                </a:lnTo>
                <a:lnTo>
                  <a:pt x="87" y="677"/>
                </a:lnTo>
                <a:lnTo>
                  <a:pt x="92" y="672"/>
                </a:lnTo>
                <a:lnTo>
                  <a:pt x="94" y="670"/>
                </a:lnTo>
                <a:lnTo>
                  <a:pt x="108" y="684"/>
                </a:lnTo>
                <a:lnTo>
                  <a:pt x="118" y="686"/>
                </a:lnTo>
                <a:lnTo>
                  <a:pt x="125" y="689"/>
                </a:lnTo>
                <a:lnTo>
                  <a:pt x="135" y="686"/>
                </a:lnTo>
                <a:lnTo>
                  <a:pt x="144" y="684"/>
                </a:lnTo>
                <a:lnTo>
                  <a:pt x="163" y="674"/>
                </a:lnTo>
                <a:lnTo>
                  <a:pt x="170" y="670"/>
                </a:lnTo>
                <a:lnTo>
                  <a:pt x="172" y="667"/>
                </a:lnTo>
                <a:lnTo>
                  <a:pt x="196" y="667"/>
                </a:lnTo>
                <a:lnTo>
                  <a:pt x="205" y="665"/>
                </a:lnTo>
                <a:lnTo>
                  <a:pt x="222" y="648"/>
                </a:lnTo>
                <a:lnTo>
                  <a:pt x="229" y="644"/>
                </a:lnTo>
                <a:lnTo>
                  <a:pt x="236" y="644"/>
                </a:lnTo>
                <a:lnTo>
                  <a:pt x="239" y="639"/>
                </a:lnTo>
                <a:lnTo>
                  <a:pt x="241" y="634"/>
                </a:lnTo>
                <a:lnTo>
                  <a:pt x="246" y="632"/>
                </a:lnTo>
                <a:lnTo>
                  <a:pt x="276" y="637"/>
                </a:lnTo>
                <a:lnTo>
                  <a:pt x="281" y="637"/>
                </a:lnTo>
                <a:lnTo>
                  <a:pt x="286" y="641"/>
                </a:lnTo>
                <a:lnTo>
                  <a:pt x="293" y="648"/>
                </a:lnTo>
                <a:lnTo>
                  <a:pt x="293" y="651"/>
                </a:lnTo>
                <a:lnTo>
                  <a:pt x="298" y="651"/>
                </a:lnTo>
                <a:lnTo>
                  <a:pt x="300" y="651"/>
                </a:lnTo>
                <a:lnTo>
                  <a:pt x="300" y="648"/>
                </a:lnTo>
                <a:lnTo>
                  <a:pt x="305" y="648"/>
                </a:lnTo>
                <a:lnTo>
                  <a:pt x="319" y="653"/>
                </a:lnTo>
                <a:lnTo>
                  <a:pt x="326" y="651"/>
                </a:lnTo>
                <a:lnTo>
                  <a:pt x="333" y="653"/>
                </a:lnTo>
                <a:lnTo>
                  <a:pt x="333" y="653"/>
                </a:lnTo>
                <a:lnTo>
                  <a:pt x="338" y="651"/>
                </a:lnTo>
                <a:lnTo>
                  <a:pt x="338" y="648"/>
                </a:lnTo>
                <a:lnTo>
                  <a:pt x="338" y="646"/>
                </a:lnTo>
                <a:lnTo>
                  <a:pt x="338" y="641"/>
                </a:lnTo>
                <a:lnTo>
                  <a:pt x="343" y="627"/>
                </a:lnTo>
                <a:lnTo>
                  <a:pt x="350" y="622"/>
                </a:lnTo>
                <a:lnTo>
                  <a:pt x="371" y="615"/>
                </a:lnTo>
                <a:lnTo>
                  <a:pt x="373" y="613"/>
                </a:lnTo>
                <a:lnTo>
                  <a:pt x="376" y="611"/>
                </a:lnTo>
                <a:lnTo>
                  <a:pt x="378" y="606"/>
                </a:lnTo>
                <a:lnTo>
                  <a:pt x="378" y="606"/>
                </a:lnTo>
                <a:lnTo>
                  <a:pt x="381" y="599"/>
                </a:lnTo>
                <a:lnTo>
                  <a:pt x="383" y="599"/>
                </a:lnTo>
                <a:lnTo>
                  <a:pt x="383" y="587"/>
                </a:lnTo>
                <a:lnTo>
                  <a:pt x="381" y="582"/>
                </a:lnTo>
                <a:lnTo>
                  <a:pt x="383" y="575"/>
                </a:lnTo>
                <a:lnTo>
                  <a:pt x="383" y="573"/>
                </a:lnTo>
                <a:lnTo>
                  <a:pt x="385" y="568"/>
                </a:lnTo>
                <a:lnTo>
                  <a:pt x="392" y="568"/>
                </a:lnTo>
                <a:lnTo>
                  <a:pt x="395" y="566"/>
                </a:lnTo>
                <a:lnTo>
                  <a:pt x="407" y="554"/>
                </a:lnTo>
                <a:lnTo>
                  <a:pt x="411" y="540"/>
                </a:lnTo>
                <a:lnTo>
                  <a:pt x="409" y="523"/>
                </a:lnTo>
                <a:lnTo>
                  <a:pt x="399" y="509"/>
                </a:lnTo>
                <a:lnTo>
                  <a:pt x="392" y="502"/>
                </a:lnTo>
                <a:lnTo>
                  <a:pt x="390" y="502"/>
                </a:lnTo>
                <a:lnTo>
                  <a:pt x="392" y="497"/>
                </a:lnTo>
                <a:lnTo>
                  <a:pt x="395" y="492"/>
                </a:lnTo>
                <a:lnTo>
                  <a:pt x="399" y="487"/>
                </a:lnTo>
                <a:lnTo>
                  <a:pt x="404" y="483"/>
                </a:lnTo>
                <a:lnTo>
                  <a:pt x="418" y="478"/>
                </a:lnTo>
                <a:lnTo>
                  <a:pt x="423" y="473"/>
                </a:lnTo>
                <a:lnTo>
                  <a:pt x="435" y="454"/>
                </a:lnTo>
                <a:lnTo>
                  <a:pt x="442" y="447"/>
                </a:lnTo>
                <a:lnTo>
                  <a:pt x="447" y="445"/>
                </a:lnTo>
                <a:lnTo>
                  <a:pt x="449" y="443"/>
                </a:lnTo>
                <a:lnTo>
                  <a:pt x="449" y="438"/>
                </a:lnTo>
                <a:lnTo>
                  <a:pt x="449" y="433"/>
                </a:lnTo>
                <a:lnTo>
                  <a:pt x="447" y="433"/>
                </a:lnTo>
                <a:lnTo>
                  <a:pt x="447" y="431"/>
                </a:lnTo>
                <a:lnTo>
                  <a:pt x="449" y="424"/>
                </a:lnTo>
                <a:lnTo>
                  <a:pt x="454" y="417"/>
                </a:lnTo>
                <a:lnTo>
                  <a:pt x="461" y="412"/>
                </a:lnTo>
                <a:lnTo>
                  <a:pt x="478" y="407"/>
                </a:lnTo>
                <a:lnTo>
                  <a:pt x="485" y="407"/>
                </a:lnTo>
                <a:lnTo>
                  <a:pt x="489" y="414"/>
                </a:lnTo>
                <a:lnTo>
                  <a:pt x="492" y="424"/>
                </a:lnTo>
                <a:lnTo>
                  <a:pt x="494" y="435"/>
                </a:lnTo>
                <a:lnTo>
                  <a:pt x="494" y="447"/>
                </a:lnTo>
                <a:lnTo>
                  <a:pt x="492" y="471"/>
                </a:lnTo>
                <a:lnTo>
                  <a:pt x="492" y="480"/>
                </a:lnTo>
                <a:lnTo>
                  <a:pt x="494" y="492"/>
                </a:lnTo>
                <a:lnTo>
                  <a:pt x="499" y="497"/>
                </a:lnTo>
                <a:lnTo>
                  <a:pt x="504" y="502"/>
                </a:lnTo>
                <a:lnTo>
                  <a:pt x="511" y="504"/>
                </a:lnTo>
                <a:lnTo>
                  <a:pt x="520" y="506"/>
                </a:lnTo>
                <a:lnTo>
                  <a:pt x="530" y="516"/>
                </a:lnTo>
                <a:lnTo>
                  <a:pt x="551" y="540"/>
                </a:lnTo>
                <a:lnTo>
                  <a:pt x="553" y="542"/>
                </a:lnTo>
                <a:lnTo>
                  <a:pt x="560" y="544"/>
                </a:lnTo>
                <a:lnTo>
                  <a:pt x="575" y="549"/>
                </a:lnTo>
                <a:lnTo>
                  <a:pt x="579" y="549"/>
                </a:lnTo>
                <a:lnTo>
                  <a:pt x="582" y="549"/>
                </a:lnTo>
                <a:lnTo>
                  <a:pt x="586" y="544"/>
                </a:lnTo>
                <a:lnTo>
                  <a:pt x="586" y="542"/>
                </a:lnTo>
                <a:lnTo>
                  <a:pt x="589" y="542"/>
                </a:lnTo>
                <a:lnTo>
                  <a:pt x="593" y="547"/>
                </a:lnTo>
                <a:lnTo>
                  <a:pt x="596" y="549"/>
                </a:lnTo>
                <a:lnTo>
                  <a:pt x="601" y="549"/>
                </a:lnTo>
                <a:lnTo>
                  <a:pt x="608" y="547"/>
                </a:lnTo>
                <a:lnTo>
                  <a:pt x="612" y="549"/>
                </a:lnTo>
                <a:lnTo>
                  <a:pt x="622" y="556"/>
                </a:lnTo>
                <a:lnTo>
                  <a:pt x="619" y="568"/>
                </a:lnTo>
                <a:lnTo>
                  <a:pt x="612" y="580"/>
                </a:lnTo>
                <a:lnTo>
                  <a:pt x="608" y="592"/>
                </a:lnTo>
                <a:lnTo>
                  <a:pt x="608" y="594"/>
                </a:lnTo>
                <a:lnTo>
                  <a:pt x="605" y="594"/>
                </a:lnTo>
                <a:lnTo>
                  <a:pt x="612" y="594"/>
                </a:lnTo>
                <a:lnTo>
                  <a:pt x="615" y="596"/>
                </a:lnTo>
                <a:lnTo>
                  <a:pt x="634" y="603"/>
                </a:lnTo>
                <a:lnTo>
                  <a:pt x="636" y="603"/>
                </a:lnTo>
                <a:lnTo>
                  <a:pt x="638" y="606"/>
                </a:lnTo>
                <a:lnTo>
                  <a:pt x="641" y="613"/>
                </a:lnTo>
                <a:lnTo>
                  <a:pt x="648" y="622"/>
                </a:lnTo>
                <a:lnTo>
                  <a:pt x="650" y="627"/>
                </a:lnTo>
                <a:lnTo>
                  <a:pt x="653" y="632"/>
                </a:lnTo>
                <a:lnTo>
                  <a:pt x="655" y="639"/>
                </a:lnTo>
                <a:lnTo>
                  <a:pt x="655" y="646"/>
                </a:lnTo>
                <a:lnTo>
                  <a:pt x="653" y="651"/>
                </a:lnTo>
                <a:lnTo>
                  <a:pt x="653" y="658"/>
                </a:lnTo>
                <a:lnTo>
                  <a:pt x="664" y="653"/>
                </a:lnTo>
                <a:lnTo>
                  <a:pt x="674" y="655"/>
                </a:lnTo>
                <a:lnTo>
                  <a:pt x="683" y="655"/>
                </a:lnTo>
                <a:lnTo>
                  <a:pt x="690" y="644"/>
                </a:lnTo>
                <a:lnTo>
                  <a:pt x="698" y="627"/>
                </a:lnTo>
                <a:lnTo>
                  <a:pt x="698" y="620"/>
                </a:lnTo>
                <a:lnTo>
                  <a:pt x="693" y="615"/>
                </a:lnTo>
                <a:lnTo>
                  <a:pt x="690" y="613"/>
                </a:lnTo>
                <a:lnTo>
                  <a:pt x="683" y="613"/>
                </a:lnTo>
                <a:lnTo>
                  <a:pt x="681" y="611"/>
                </a:lnTo>
                <a:lnTo>
                  <a:pt x="676" y="608"/>
                </a:lnTo>
                <a:lnTo>
                  <a:pt x="674" y="599"/>
                </a:lnTo>
                <a:lnTo>
                  <a:pt x="669" y="596"/>
                </a:lnTo>
                <a:lnTo>
                  <a:pt x="669" y="596"/>
                </a:lnTo>
                <a:lnTo>
                  <a:pt x="669" y="594"/>
                </a:lnTo>
                <a:lnTo>
                  <a:pt x="669" y="594"/>
                </a:lnTo>
                <a:lnTo>
                  <a:pt x="669" y="592"/>
                </a:lnTo>
                <a:lnTo>
                  <a:pt x="679" y="582"/>
                </a:lnTo>
                <a:lnTo>
                  <a:pt x="672" y="568"/>
                </a:lnTo>
                <a:lnTo>
                  <a:pt x="672" y="563"/>
                </a:lnTo>
                <a:lnTo>
                  <a:pt x="679" y="556"/>
                </a:lnTo>
                <a:lnTo>
                  <a:pt x="686" y="554"/>
                </a:lnTo>
                <a:lnTo>
                  <a:pt x="688" y="551"/>
                </a:lnTo>
                <a:lnTo>
                  <a:pt x="690" y="547"/>
                </a:lnTo>
                <a:lnTo>
                  <a:pt x="690" y="542"/>
                </a:lnTo>
                <a:lnTo>
                  <a:pt x="688" y="532"/>
                </a:lnTo>
                <a:lnTo>
                  <a:pt x="688" y="528"/>
                </a:lnTo>
                <a:lnTo>
                  <a:pt x="693" y="518"/>
                </a:lnTo>
                <a:lnTo>
                  <a:pt x="712" y="502"/>
                </a:lnTo>
                <a:lnTo>
                  <a:pt x="714" y="497"/>
                </a:lnTo>
                <a:lnTo>
                  <a:pt x="716" y="492"/>
                </a:lnTo>
                <a:lnTo>
                  <a:pt x="716" y="487"/>
                </a:lnTo>
                <a:lnTo>
                  <a:pt x="719" y="485"/>
                </a:lnTo>
                <a:lnTo>
                  <a:pt x="724" y="483"/>
                </a:lnTo>
                <a:lnTo>
                  <a:pt x="726" y="478"/>
                </a:lnTo>
                <a:lnTo>
                  <a:pt x="728" y="473"/>
                </a:lnTo>
                <a:lnTo>
                  <a:pt x="731" y="459"/>
                </a:lnTo>
                <a:lnTo>
                  <a:pt x="738" y="440"/>
                </a:lnTo>
                <a:lnTo>
                  <a:pt x="738" y="431"/>
                </a:lnTo>
                <a:lnTo>
                  <a:pt x="735" y="424"/>
                </a:lnTo>
                <a:lnTo>
                  <a:pt x="731" y="409"/>
                </a:lnTo>
                <a:lnTo>
                  <a:pt x="731" y="405"/>
                </a:lnTo>
                <a:lnTo>
                  <a:pt x="731" y="398"/>
                </a:lnTo>
                <a:lnTo>
                  <a:pt x="728" y="395"/>
                </a:lnTo>
                <a:lnTo>
                  <a:pt x="726" y="393"/>
                </a:lnTo>
                <a:lnTo>
                  <a:pt x="721" y="386"/>
                </a:lnTo>
                <a:lnTo>
                  <a:pt x="724" y="376"/>
                </a:lnTo>
                <a:lnTo>
                  <a:pt x="726" y="364"/>
                </a:lnTo>
                <a:lnTo>
                  <a:pt x="731" y="360"/>
                </a:lnTo>
                <a:lnTo>
                  <a:pt x="745" y="355"/>
                </a:lnTo>
                <a:lnTo>
                  <a:pt x="752" y="357"/>
                </a:lnTo>
                <a:lnTo>
                  <a:pt x="752" y="362"/>
                </a:lnTo>
                <a:lnTo>
                  <a:pt x="761" y="369"/>
                </a:lnTo>
                <a:lnTo>
                  <a:pt x="764" y="369"/>
                </a:lnTo>
                <a:lnTo>
                  <a:pt x="766" y="367"/>
                </a:lnTo>
                <a:lnTo>
                  <a:pt x="766" y="364"/>
                </a:lnTo>
                <a:lnTo>
                  <a:pt x="769" y="362"/>
                </a:lnTo>
                <a:lnTo>
                  <a:pt x="769" y="360"/>
                </a:lnTo>
                <a:lnTo>
                  <a:pt x="773" y="355"/>
                </a:lnTo>
                <a:lnTo>
                  <a:pt x="776" y="355"/>
                </a:lnTo>
                <a:lnTo>
                  <a:pt x="778" y="357"/>
                </a:lnTo>
                <a:lnTo>
                  <a:pt x="783" y="398"/>
                </a:lnTo>
                <a:lnTo>
                  <a:pt x="783" y="405"/>
                </a:lnTo>
                <a:lnTo>
                  <a:pt x="785" y="405"/>
                </a:lnTo>
                <a:lnTo>
                  <a:pt x="787" y="407"/>
                </a:lnTo>
                <a:lnTo>
                  <a:pt x="795" y="409"/>
                </a:lnTo>
                <a:lnTo>
                  <a:pt x="797" y="412"/>
                </a:lnTo>
                <a:lnTo>
                  <a:pt x="804" y="426"/>
                </a:lnTo>
                <a:lnTo>
                  <a:pt x="809" y="431"/>
                </a:lnTo>
                <a:lnTo>
                  <a:pt x="816" y="435"/>
                </a:lnTo>
                <a:lnTo>
                  <a:pt x="823" y="438"/>
                </a:lnTo>
                <a:lnTo>
                  <a:pt x="856" y="433"/>
                </a:lnTo>
                <a:lnTo>
                  <a:pt x="861" y="431"/>
                </a:lnTo>
                <a:lnTo>
                  <a:pt x="866" y="424"/>
                </a:lnTo>
                <a:lnTo>
                  <a:pt x="866" y="421"/>
                </a:lnTo>
                <a:lnTo>
                  <a:pt x="863" y="417"/>
                </a:lnTo>
                <a:lnTo>
                  <a:pt x="863" y="409"/>
                </a:lnTo>
                <a:lnTo>
                  <a:pt x="866" y="407"/>
                </a:lnTo>
                <a:lnTo>
                  <a:pt x="870" y="407"/>
                </a:lnTo>
                <a:lnTo>
                  <a:pt x="877" y="409"/>
                </a:lnTo>
                <a:lnTo>
                  <a:pt x="880" y="409"/>
                </a:lnTo>
                <a:lnTo>
                  <a:pt x="887" y="407"/>
                </a:lnTo>
                <a:lnTo>
                  <a:pt x="903" y="395"/>
                </a:lnTo>
                <a:lnTo>
                  <a:pt x="918" y="390"/>
                </a:lnTo>
                <a:lnTo>
                  <a:pt x="922" y="390"/>
                </a:lnTo>
                <a:lnTo>
                  <a:pt x="929" y="393"/>
                </a:lnTo>
                <a:lnTo>
                  <a:pt x="936" y="395"/>
                </a:lnTo>
                <a:lnTo>
                  <a:pt x="939" y="402"/>
                </a:lnTo>
                <a:lnTo>
                  <a:pt x="941" y="412"/>
                </a:lnTo>
                <a:lnTo>
                  <a:pt x="944" y="419"/>
                </a:lnTo>
                <a:lnTo>
                  <a:pt x="948" y="426"/>
                </a:lnTo>
                <a:lnTo>
                  <a:pt x="963" y="433"/>
                </a:lnTo>
                <a:lnTo>
                  <a:pt x="965" y="440"/>
                </a:lnTo>
                <a:lnTo>
                  <a:pt x="967" y="450"/>
                </a:lnTo>
                <a:lnTo>
                  <a:pt x="977" y="450"/>
                </a:lnTo>
                <a:lnTo>
                  <a:pt x="989" y="443"/>
                </a:lnTo>
                <a:lnTo>
                  <a:pt x="996" y="438"/>
                </a:lnTo>
                <a:lnTo>
                  <a:pt x="998" y="428"/>
                </a:lnTo>
                <a:lnTo>
                  <a:pt x="993" y="421"/>
                </a:lnTo>
                <a:lnTo>
                  <a:pt x="979" y="409"/>
                </a:lnTo>
                <a:lnTo>
                  <a:pt x="977" y="407"/>
                </a:lnTo>
                <a:lnTo>
                  <a:pt x="974" y="402"/>
                </a:lnTo>
                <a:lnTo>
                  <a:pt x="974" y="398"/>
                </a:lnTo>
                <a:lnTo>
                  <a:pt x="977" y="393"/>
                </a:lnTo>
                <a:lnTo>
                  <a:pt x="977" y="388"/>
                </a:lnTo>
                <a:lnTo>
                  <a:pt x="984" y="381"/>
                </a:lnTo>
                <a:lnTo>
                  <a:pt x="984" y="379"/>
                </a:lnTo>
                <a:lnTo>
                  <a:pt x="986" y="369"/>
                </a:lnTo>
                <a:lnTo>
                  <a:pt x="984" y="364"/>
                </a:lnTo>
                <a:lnTo>
                  <a:pt x="977" y="364"/>
                </a:lnTo>
                <a:lnTo>
                  <a:pt x="965" y="362"/>
                </a:lnTo>
                <a:lnTo>
                  <a:pt x="955" y="360"/>
                </a:lnTo>
                <a:lnTo>
                  <a:pt x="951" y="355"/>
                </a:lnTo>
                <a:lnTo>
                  <a:pt x="953" y="346"/>
                </a:lnTo>
                <a:lnTo>
                  <a:pt x="951" y="346"/>
                </a:lnTo>
                <a:lnTo>
                  <a:pt x="948" y="343"/>
                </a:lnTo>
                <a:lnTo>
                  <a:pt x="948" y="338"/>
                </a:lnTo>
                <a:lnTo>
                  <a:pt x="948" y="336"/>
                </a:lnTo>
                <a:lnTo>
                  <a:pt x="948" y="331"/>
                </a:lnTo>
                <a:lnTo>
                  <a:pt x="946" y="322"/>
                </a:lnTo>
                <a:lnTo>
                  <a:pt x="946" y="317"/>
                </a:lnTo>
                <a:lnTo>
                  <a:pt x="948" y="315"/>
                </a:lnTo>
                <a:lnTo>
                  <a:pt x="955" y="308"/>
                </a:lnTo>
                <a:lnTo>
                  <a:pt x="955" y="303"/>
                </a:lnTo>
                <a:lnTo>
                  <a:pt x="958" y="289"/>
                </a:lnTo>
                <a:lnTo>
                  <a:pt x="960" y="286"/>
                </a:lnTo>
                <a:lnTo>
                  <a:pt x="963" y="284"/>
                </a:lnTo>
                <a:lnTo>
                  <a:pt x="989" y="272"/>
                </a:lnTo>
                <a:lnTo>
                  <a:pt x="996" y="272"/>
                </a:lnTo>
                <a:lnTo>
                  <a:pt x="1000" y="275"/>
                </a:lnTo>
                <a:lnTo>
                  <a:pt x="1003" y="279"/>
                </a:lnTo>
                <a:lnTo>
                  <a:pt x="1000" y="289"/>
                </a:lnTo>
                <a:lnTo>
                  <a:pt x="1003" y="293"/>
                </a:lnTo>
                <a:lnTo>
                  <a:pt x="1015" y="296"/>
                </a:lnTo>
                <a:lnTo>
                  <a:pt x="1019" y="298"/>
                </a:lnTo>
                <a:lnTo>
                  <a:pt x="1019" y="298"/>
                </a:lnTo>
                <a:lnTo>
                  <a:pt x="1022" y="301"/>
                </a:lnTo>
                <a:lnTo>
                  <a:pt x="1026" y="303"/>
                </a:lnTo>
                <a:lnTo>
                  <a:pt x="1029" y="303"/>
                </a:lnTo>
                <a:lnTo>
                  <a:pt x="1038" y="301"/>
                </a:lnTo>
                <a:lnTo>
                  <a:pt x="1060" y="303"/>
                </a:lnTo>
                <a:lnTo>
                  <a:pt x="1067" y="301"/>
                </a:lnTo>
                <a:lnTo>
                  <a:pt x="1069" y="293"/>
                </a:lnTo>
                <a:lnTo>
                  <a:pt x="1069" y="284"/>
                </a:lnTo>
                <a:lnTo>
                  <a:pt x="1069" y="272"/>
                </a:lnTo>
                <a:lnTo>
                  <a:pt x="1064" y="265"/>
                </a:lnTo>
                <a:lnTo>
                  <a:pt x="1060" y="260"/>
                </a:lnTo>
                <a:lnTo>
                  <a:pt x="1045" y="260"/>
                </a:lnTo>
                <a:lnTo>
                  <a:pt x="1041" y="256"/>
                </a:lnTo>
                <a:lnTo>
                  <a:pt x="1036" y="246"/>
                </a:lnTo>
                <a:lnTo>
                  <a:pt x="1038" y="244"/>
                </a:lnTo>
                <a:lnTo>
                  <a:pt x="1041" y="239"/>
                </a:lnTo>
                <a:lnTo>
                  <a:pt x="1043" y="234"/>
                </a:lnTo>
                <a:lnTo>
                  <a:pt x="1043" y="227"/>
                </a:lnTo>
                <a:lnTo>
                  <a:pt x="1041" y="223"/>
                </a:lnTo>
                <a:lnTo>
                  <a:pt x="1043" y="218"/>
                </a:lnTo>
                <a:lnTo>
                  <a:pt x="1045" y="215"/>
                </a:lnTo>
                <a:lnTo>
                  <a:pt x="1050" y="208"/>
                </a:lnTo>
                <a:lnTo>
                  <a:pt x="1048" y="204"/>
                </a:lnTo>
                <a:lnTo>
                  <a:pt x="1045" y="199"/>
                </a:lnTo>
                <a:lnTo>
                  <a:pt x="1043" y="192"/>
                </a:lnTo>
                <a:lnTo>
                  <a:pt x="1048" y="182"/>
                </a:lnTo>
                <a:lnTo>
                  <a:pt x="1050" y="180"/>
                </a:lnTo>
                <a:lnTo>
                  <a:pt x="1050" y="175"/>
                </a:lnTo>
                <a:lnTo>
                  <a:pt x="1050" y="163"/>
                </a:lnTo>
                <a:lnTo>
                  <a:pt x="1060" y="168"/>
                </a:lnTo>
                <a:lnTo>
                  <a:pt x="1074" y="168"/>
                </a:lnTo>
                <a:lnTo>
                  <a:pt x="1100" y="156"/>
                </a:lnTo>
                <a:lnTo>
                  <a:pt x="1107" y="156"/>
                </a:lnTo>
                <a:lnTo>
                  <a:pt x="1109" y="156"/>
                </a:lnTo>
                <a:lnTo>
                  <a:pt x="1133" y="166"/>
                </a:lnTo>
                <a:lnTo>
                  <a:pt x="1138" y="170"/>
                </a:lnTo>
                <a:lnTo>
                  <a:pt x="1138" y="173"/>
                </a:lnTo>
                <a:lnTo>
                  <a:pt x="1130" y="180"/>
                </a:lnTo>
                <a:lnTo>
                  <a:pt x="1130" y="182"/>
                </a:lnTo>
                <a:lnTo>
                  <a:pt x="1133" y="185"/>
                </a:lnTo>
                <a:lnTo>
                  <a:pt x="1135" y="185"/>
                </a:lnTo>
                <a:lnTo>
                  <a:pt x="1140" y="182"/>
                </a:lnTo>
                <a:lnTo>
                  <a:pt x="1145" y="182"/>
                </a:lnTo>
                <a:lnTo>
                  <a:pt x="1154" y="187"/>
                </a:lnTo>
                <a:lnTo>
                  <a:pt x="1157" y="187"/>
                </a:lnTo>
                <a:lnTo>
                  <a:pt x="1161" y="185"/>
                </a:lnTo>
                <a:lnTo>
                  <a:pt x="1164" y="182"/>
                </a:lnTo>
                <a:lnTo>
                  <a:pt x="1166" y="185"/>
                </a:lnTo>
                <a:lnTo>
                  <a:pt x="1173" y="187"/>
                </a:lnTo>
                <a:lnTo>
                  <a:pt x="1175" y="189"/>
                </a:lnTo>
                <a:lnTo>
                  <a:pt x="1178" y="189"/>
                </a:lnTo>
                <a:lnTo>
                  <a:pt x="1187" y="185"/>
                </a:lnTo>
                <a:lnTo>
                  <a:pt x="1192" y="182"/>
                </a:lnTo>
                <a:lnTo>
                  <a:pt x="1201" y="182"/>
                </a:lnTo>
                <a:lnTo>
                  <a:pt x="1209" y="182"/>
                </a:lnTo>
                <a:lnTo>
                  <a:pt x="1211" y="182"/>
                </a:lnTo>
                <a:lnTo>
                  <a:pt x="1216" y="178"/>
                </a:lnTo>
                <a:lnTo>
                  <a:pt x="1220" y="166"/>
                </a:lnTo>
                <a:lnTo>
                  <a:pt x="1220" y="163"/>
                </a:lnTo>
                <a:lnTo>
                  <a:pt x="1223" y="161"/>
                </a:lnTo>
                <a:lnTo>
                  <a:pt x="1225" y="161"/>
                </a:lnTo>
                <a:lnTo>
                  <a:pt x="1225" y="159"/>
                </a:lnTo>
                <a:lnTo>
                  <a:pt x="1225" y="154"/>
                </a:lnTo>
                <a:lnTo>
                  <a:pt x="1225" y="152"/>
                </a:lnTo>
                <a:lnTo>
                  <a:pt x="1227" y="137"/>
                </a:lnTo>
                <a:lnTo>
                  <a:pt x="1230" y="123"/>
                </a:lnTo>
                <a:lnTo>
                  <a:pt x="1230" y="118"/>
                </a:lnTo>
                <a:lnTo>
                  <a:pt x="1246" y="97"/>
                </a:lnTo>
                <a:lnTo>
                  <a:pt x="1251" y="92"/>
                </a:lnTo>
                <a:lnTo>
                  <a:pt x="1270" y="83"/>
                </a:lnTo>
                <a:lnTo>
                  <a:pt x="1289" y="76"/>
                </a:lnTo>
                <a:lnTo>
                  <a:pt x="1301" y="78"/>
                </a:lnTo>
                <a:lnTo>
                  <a:pt x="1310" y="81"/>
                </a:lnTo>
                <a:lnTo>
                  <a:pt x="1317" y="81"/>
                </a:lnTo>
                <a:lnTo>
                  <a:pt x="1327" y="69"/>
                </a:lnTo>
                <a:lnTo>
                  <a:pt x="1327" y="69"/>
                </a:lnTo>
                <a:lnTo>
                  <a:pt x="1329" y="66"/>
                </a:lnTo>
                <a:lnTo>
                  <a:pt x="1332" y="64"/>
                </a:lnTo>
                <a:lnTo>
                  <a:pt x="1334" y="62"/>
                </a:lnTo>
                <a:lnTo>
                  <a:pt x="1339" y="62"/>
                </a:lnTo>
                <a:lnTo>
                  <a:pt x="1341" y="64"/>
                </a:lnTo>
                <a:lnTo>
                  <a:pt x="1343" y="64"/>
                </a:lnTo>
                <a:lnTo>
                  <a:pt x="1343" y="66"/>
                </a:lnTo>
                <a:lnTo>
                  <a:pt x="1346" y="69"/>
                </a:lnTo>
                <a:lnTo>
                  <a:pt x="1351" y="69"/>
                </a:lnTo>
                <a:lnTo>
                  <a:pt x="1353" y="66"/>
                </a:lnTo>
                <a:lnTo>
                  <a:pt x="1355" y="64"/>
                </a:lnTo>
                <a:lnTo>
                  <a:pt x="1355" y="64"/>
                </a:lnTo>
                <a:lnTo>
                  <a:pt x="1355" y="64"/>
                </a:lnTo>
                <a:lnTo>
                  <a:pt x="1355" y="64"/>
                </a:lnTo>
                <a:lnTo>
                  <a:pt x="1362" y="62"/>
                </a:lnTo>
                <a:lnTo>
                  <a:pt x="1369" y="59"/>
                </a:lnTo>
                <a:lnTo>
                  <a:pt x="1384" y="62"/>
                </a:lnTo>
                <a:lnTo>
                  <a:pt x="1384" y="62"/>
                </a:lnTo>
                <a:lnTo>
                  <a:pt x="1386" y="62"/>
                </a:lnTo>
                <a:lnTo>
                  <a:pt x="1386" y="62"/>
                </a:lnTo>
                <a:lnTo>
                  <a:pt x="1388" y="59"/>
                </a:lnTo>
                <a:lnTo>
                  <a:pt x="1395" y="59"/>
                </a:lnTo>
                <a:lnTo>
                  <a:pt x="1405" y="66"/>
                </a:lnTo>
                <a:lnTo>
                  <a:pt x="1410" y="66"/>
                </a:lnTo>
                <a:lnTo>
                  <a:pt x="1414" y="66"/>
                </a:lnTo>
                <a:lnTo>
                  <a:pt x="1419" y="59"/>
                </a:lnTo>
                <a:lnTo>
                  <a:pt x="1422" y="57"/>
                </a:lnTo>
                <a:lnTo>
                  <a:pt x="1433" y="52"/>
                </a:lnTo>
                <a:lnTo>
                  <a:pt x="1443" y="45"/>
                </a:lnTo>
                <a:lnTo>
                  <a:pt x="1455" y="36"/>
                </a:lnTo>
                <a:lnTo>
                  <a:pt x="1466" y="28"/>
                </a:lnTo>
                <a:lnTo>
                  <a:pt x="1485" y="26"/>
                </a:lnTo>
                <a:lnTo>
                  <a:pt x="1511" y="5"/>
                </a:lnTo>
                <a:lnTo>
                  <a:pt x="1530" y="0"/>
                </a:lnTo>
                <a:lnTo>
                  <a:pt x="1537" y="0"/>
                </a:lnTo>
                <a:lnTo>
                  <a:pt x="1540" y="12"/>
                </a:lnTo>
                <a:lnTo>
                  <a:pt x="1535" y="21"/>
                </a:lnTo>
                <a:lnTo>
                  <a:pt x="1519" y="33"/>
                </a:lnTo>
                <a:lnTo>
                  <a:pt x="1516" y="40"/>
                </a:lnTo>
                <a:lnTo>
                  <a:pt x="1519" y="45"/>
                </a:lnTo>
                <a:lnTo>
                  <a:pt x="1521" y="50"/>
                </a:lnTo>
                <a:moveTo>
                  <a:pt x="1805" y="1330"/>
                </a:moveTo>
                <a:lnTo>
                  <a:pt x="1805" y="1330"/>
                </a:lnTo>
                <a:lnTo>
                  <a:pt x="1817" y="1334"/>
                </a:lnTo>
                <a:lnTo>
                  <a:pt x="1824" y="1330"/>
                </a:lnTo>
                <a:lnTo>
                  <a:pt x="1828" y="1320"/>
                </a:lnTo>
                <a:lnTo>
                  <a:pt x="1828" y="1320"/>
                </a:lnTo>
                <a:lnTo>
                  <a:pt x="1828" y="1318"/>
                </a:lnTo>
                <a:lnTo>
                  <a:pt x="1828" y="1318"/>
                </a:lnTo>
                <a:lnTo>
                  <a:pt x="1828" y="1316"/>
                </a:lnTo>
                <a:lnTo>
                  <a:pt x="1831" y="1311"/>
                </a:lnTo>
                <a:lnTo>
                  <a:pt x="1831" y="1304"/>
                </a:lnTo>
                <a:lnTo>
                  <a:pt x="1828" y="1297"/>
                </a:lnTo>
                <a:lnTo>
                  <a:pt x="1826" y="1292"/>
                </a:lnTo>
                <a:lnTo>
                  <a:pt x="1817" y="1297"/>
                </a:lnTo>
                <a:lnTo>
                  <a:pt x="1807" y="1301"/>
                </a:lnTo>
                <a:lnTo>
                  <a:pt x="1802" y="1311"/>
                </a:lnTo>
                <a:lnTo>
                  <a:pt x="1800" y="1323"/>
                </a:lnTo>
                <a:lnTo>
                  <a:pt x="1805" y="1330"/>
                </a:lnTo>
                <a:moveTo>
                  <a:pt x="1940" y="2177"/>
                </a:moveTo>
                <a:lnTo>
                  <a:pt x="1940" y="2177"/>
                </a:lnTo>
                <a:lnTo>
                  <a:pt x="1940" y="2177"/>
                </a:lnTo>
                <a:lnTo>
                  <a:pt x="1944" y="2177"/>
                </a:lnTo>
                <a:lnTo>
                  <a:pt x="1942" y="2174"/>
                </a:lnTo>
                <a:lnTo>
                  <a:pt x="1940" y="2174"/>
                </a:lnTo>
                <a:lnTo>
                  <a:pt x="1940" y="2177"/>
                </a:lnTo>
              </a:path>
            </a:pathLst>
          </a:custGeom>
          <a:solidFill>
            <a:schemeClr val="tx1"/>
          </a:solidFill>
          <a:ln w="63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179211" tIns="89606" rIns="179211" bIns="89606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354736" y="5503950"/>
            <a:ext cx="111757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i sensi dell’art.5 comma 2 del Decreto Legge 152/2021 “gli investimenti ferroviari autorizzati e finanziati da specifiche disposizioni di legge sono inseriti di diritto nel Contratto di Programma in corso alla data di entrata in vigore di dette disposizioni e ne costituiscono parte integrante”.</a:t>
            </a:r>
          </a:p>
          <a:p>
            <a:pPr marL="0" marR="0" lvl="0" indent="0" algn="l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 Parti provvederanno a recepire le modifiche intervenute alle Tabelle e Tavole nel primo aggiornamento utile del presente Contratto.</a:t>
            </a:r>
          </a:p>
        </p:txBody>
      </p:sp>
      <p:grpSp>
        <p:nvGrpSpPr>
          <p:cNvPr id="33" name="Gruppo 32">
            <a:extLst>
              <a:ext uri="{FF2B5EF4-FFF2-40B4-BE49-F238E27FC236}">
                <a16:creationId xmlns:a16="http://schemas.microsoft.com/office/drawing/2014/main" id="{74BC08B6-19DB-434E-B2C5-772D26C992C9}"/>
              </a:ext>
            </a:extLst>
          </p:cNvPr>
          <p:cNvGrpSpPr/>
          <p:nvPr/>
        </p:nvGrpSpPr>
        <p:grpSpPr>
          <a:xfrm>
            <a:off x="4498852" y="1667690"/>
            <a:ext cx="1552984" cy="798995"/>
            <a:chOff x="5079226" y="3739090"/>
            <a:chExt cx="1775223" cy="993236"/>
          </a:xfrm>
        </p:grpSpPr>
        <p:sp>
          <p:nvSpPr>
            <p:cNvPr id="34" name="Ovale 33">
              <a:extLst>
                <a:ext uri="{FF2B5EF4-FFF2-40B4-BE49-F238E27FC236}">
                  <a16:creationId xmlns:a16="http://schemas.microsoft.com/office/drawing/2014/main" id="{B5878925-B075-4882-B204-A0971DE123C2}"/>
                </a:ext>
              </a:extLst>
            </p:cNvPr>
            <p:cNvSpPr/>
            <p:nvPr/>
          </p:nvSpPr>
          <p:spPr>
            <a:xfrm>
              <a:off x="5554853" y="3837289"/>
              <a:ext cx="823035" cy="895037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vale 34">
              <a:extLst>
                <a:ext uri="{FF2B5EF4-FFF2-40B4-BE49-F238E27FC236}">
                  <a16:creationId xmlns:a16="http://schemas.microsoft.com/office/drawing/2014/main" id="{26636AFD-EF2C-4CFE-9B91-AF29B1607665}"/>
                </a:ext>
              </a:extLst>
            </p:cNvPr>
            <p:cNvSpPr/>
            <p:nvPr/>
          </p:nvSpPr>
          <p:spPr>
            <a:xfrm>
              <a:off x="5322984" y="4167641"/>
              <a:ext cx="1293677" cy="54088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ld euro</a:t>
              </a:r>
            </a:p>
          </p:txBody>
        </p:sp>
        <p:sp>
          <p:nvSpPr>
            <p:cNvPr id="36" name="Ovale 35">
              <a:extLst>
                <a:ext uri="{FF2B5EF4-FFF2-40B4-BE49-F238E27FC236}">
                  <a16:creationId xmlns:a16="http://schemas.microsoft.com/office/drawing/2014/main" id="{0E784EF5-B1C3-4588-B8A5-7ED66DDC671F}"/>
                </a:ext>
              </a:extLst>
            </p:cNvPr>
            <p:cNvSpPr/>
            <p:nvPr/>
          </p:nvSpPr>
          <p:spPr>
            <a:xfrm>
              <a:off x="5079226" y="3739090"/>
              <a:ext cx="1775223" cy="84850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,2</a:t>
              </a:r>
            </a:p>
          </p:txBody>
        </p:sp>
      </p:grp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F29BD49D-1285-4530-8BD7-55CF00FDEBCE}"/>
              </a:ext>
            </a:extLst>
          </p:cNvPr>
          <p:cNvGrpSpPr/>
          <p:nvPr/>
        </p:nvGrpSpPr>
        <p:grpSpPr>
          <a:xfrm>
            <a:off x="6034106" y="1602077"/>
            <a:ext cx="1552984" cy="798995"/>
            <a:chOff x="5079226" y="3739090"/>
            <a:chExt cx="1775223" cy="993236"/>
          </a:xfrm>
        </p:grpSpPr>
        <p:sp>
          <p:nvSpPr>
            <p:cNvPr id="53" name="Ovale 52">
              <a:extLst>
                <a:ext uri="{FF2B5EF4-FFF2-40B4-BE49-F238E27FC236}">
                  <a16:creationId xmlns:a16="http://schemas.microsoft.com/office/drawing/2014/main" id="{6D785BD5-89DC-4CCF-8B41-F366336C200F}"/>
                </a:ext>
              </a:extLst>
            </p:cNvPr>
            <p:cNvSpPr/>
            <p:nvPr/>
          </p:nvSpPr>
          <p:spPr>
            <a:xfrm>
              <a:off x="5554853" y="3837289"/>
              <a:ext cx="823035" cy="895037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Ovale 53">
              <a:extLst>
                <a:ext uri="{FF2B5EF4-FFF2-40B4-BE49-F238E27FC236}">
                  <a16:creationId xmlns:a16="http://schemas.microsoft.com/office/drawing/2014/main" id="{0293EC32-7293-4B5A-AD32-76660BE7745F}"/>
                </a:ext>
              </a:extLst>
            </p:cNvPr>
            <p:cNvSpPr/>
            <p:nvPr/>
          </p:nvSpPr>
          <p:spPr>
            <a:xfrm>
              <a:off x="5322984" y="4167641"/>
              <a:ext cx="1293677" cy="54088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ld euro</a:t>
              </a:r>
            </a:p>
          </p:txBody>
        </p:sp>
        <p:sp>
          <p:nvSpPr>
            <p:cNvPr id="55" name="Ovale 54">
              <a:extLst>
                <a:ext uri="{FF2B5EF4-FFF2-40B4-BE49-F238E27FC236}">
                  <a16:creationId xmlns:a16="http://schemas.microsoft.com/office/drawing/2014/main" id="{E2F3FD76-4265-4720-933A-0304B91AE908}"/>
                </a:ext>
              </a:extLst>
            </p:cNvPr>
            <p:cNvSpPr/>
            <p:nvPr/>
          </p:nvSpPr>
          <p:spPr>
            <a:xfrm>
              <a:off x="5079226" y="3739090"/>
              <a:ext cx="1775223" cy="84850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,1</a:t>
              </a:r>
            </a:p>
          </p:txBody>
        </p:sp>
      </p:grpSp>
      <p:grpSp>
        <p:nvGrpSpPr>
          <p:cNvPr id="56" name="Gruppo 55">
            <a:extLst>
              <a:ext uri="{FF2B5EF4-FFF2-40B4-BE49-F238E27FC236}">
                <a16:creationId xmlns:a16="http://schemas.microsoft.com/office/drawing/2014/main" id="{94FE4B25-5981-4480-BF7A-7F92B7AE67F4}"/>
              </a:ext>
            </a:extLst>
          </p:cNvPr>
          <p:cNvGrpSpPr/>
          <p:nvPr/>
        </p:nvGrpSpPr>
        <p:grpSpPr>
          <a:xfrm>
            <a:off x="4543016" y="3826071"/>
            <a:ext cx="1552984" cy="798995"/>
            <a:chOff x="5079226" y="3739090"/>
            <a:chExt cx="1775223" cy="993236"/>
          </a:xfrm>
        </p:grpSpPr>
        <p:sp>
          <p:nvSpPr>
            <p:cNvPr id="57" name="Ovale 56">
              <a:extLst>
                <a:ext uri="{FF2B5EF4-FFF2-40B4-BE49-F238E27FC236}">
                  <a16:creationId xmlns:a16="http://schemas.microsoft.com/office/drawing/2014/main" id="{B3D9959C-94C3-40CE-ADA3-B86FCAFFF34D}"/>
                </a:ext>
              </a:extLst>
            </p:cNvPr>
            <p:cNvSpPr/>
            <p:nvPr/>
          </p:nvSpPr>
          <p:spPr>
            <a:xfrm>
              <a:off x="5554853" y="3837289"/>
              <a:ext cx="823035" cy="895037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Ovale 60">
              <a:extLst>
                <a:ext uri="{FF2B5EF4-FFF2-40B4-BE49-F238E27FC236}">
                  <a16:creationId xmlns:a16="http://schemas.microsoft.com/office/drawing/2014/main" id="{F9AA1663-0AEA-4412-84A7-CBCF4748575F}"/>
                </a:ext>
              </a:extLst>
            </p:cNvPr>
            <p:cNvSpPr/>
            <p:nvPr/>
          </p:nvSpPr>
          <p:spPr>
            <a:xfrm>
              <a:off x="5322984" y="4167641"/>
              <a:ext cx="1293677" cy="54088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ld euro</a:t>
              </a:r>
            </a:p>
          </p:txBody>
        </p:sp>
        <p:sp>
          <p:nvSpPr>
            <p:cNvPr id="62" name="Ovale 61">
              <a:extLst>
                <a:ext uri="{FF2B5EF4-FFF2-40B4-BE49-F238E27FC236}">
                  <a16:creationId xmlns:a16="http://schemas.microsoft.com/office/drawing/2014/main" id="{E2118AE1-BF93-46A3-941A-D2539AC369EA}"/>
                </a:ext>
              </a:extLst>
            </p:cNvPr>
            <p:cNvSpPr/>
            <p:nvPr/>
          </p:nvSpPr>
          <p:spPr>
            <a:xfrm>
              <a:off x="5079226" y="3739090"/>
              <a:ext cx="1775223" cy="84850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2400" b="1">
                  <a:solidFill>
                    <a:srgbClr val="FFFFFF"/>
                  </a:solidFill>
                  <a:latin typeface="Calibri"/>
                </a:rPr>
                <a:t>1,3</a:t>
              </a:r>
              <a:endPara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4" name="Gruppo 63">
            <a:extLst>
              <a:ext uri="{FF2B5EF4-FFF2-40B4-BE49-F238E27FC236}">
                <a16:creationId xmlns:a16="http://schemas.microsoft.com/office/drawing/2014/main" id="{392EE0AB-1E62-45C9-A0DE-42CC2A607B1C}"/>
              </a:ext>
            </a:extLst>
          </p:cNvPr>
          <p:cNvGrpSpPr/>
          <p:nvPr/>
        </p:nvGrpSpPr>
        <p:grpSpPr>
          <a:xfrm>
            <a:off x="5818541" y="3854618"/>
            <a:ext cx="1552984" cy="798995"/>
            <a:chOff x="5079226" y="3739090"/>
            <a:chExt cx="1775223" cy="993236"/>
          </a:xfrm>
        </p:grpSpPr>
        <p:sp>
          <p:nvSpPr>
            <p:cNvPr id="65" name="Ovale 64">
              <a:extLst>
                <a:ext uri="{FF2B5EF4-FFF2-40B4-BE49-F238E27FC236}">
                  <a16:creationId xmlns:a16="http://schemas.microsoft.com/office/drawing/2014/main" id="{B9EC3402-0F1C-4508-AF6D-D210E0861293}"/>
                </a:ext>
              </a:extLst>
            </p:cNvPr>
            <p:cNvSpPr/>
            <p:nvPr/>
          </p:nvSpPr>
          <p:spPr>
            <a:xfrm>
              <a:off x="5554853" y="3837289"/>
              <a:ext cx="823035" cy="895037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Ovale 65">
              <a:extLst>
                <a:ext uri="{FF2B5EF4-FFF2-40B4-BE49-F238E27FC236}">
                  <a16:creationId xmlns:a16="http://schemas.microsoft.com/office/drawing/2014/main" id="{61BDAE82-8EB9-4F25-8FD2-25310F50C463}"/>
                </a:ext>
              </a:extLst>
            </p:cNvPr>
            <p:cNvSpPr/>
            <p:nvPr/>
          </p:nvSpPr>
          <p:spPr>
            <a:xfrm>
              <a:off x="5322984" y="4167641"/>
              <a:ext cx="1293677" cy="54088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ld euro</a:t>
              </a:r>
            </a:p>
          </p:txBody>
        </p:sp>
        <p:sp>
          <p:nvSpPr>
            <p:cNvPr id="67" name="Ovale 66">
              <a:extLst>
                <a:ext uri="{FF2B5EF4-FFF2-40B4-BE49-F238E27FC236}">
                  <a16:creationId xmlns:a16="http://schemas.microsoft.com/office/drawing/2014/main" id="{95DDFAE2-5E17-4DDA-9549-B10C68462193}"/>
                </a:ext>
              </a:extLst>
            </p:cNvPr>
            <p:cNvSpPr/>
            <p:nvPr/>
          </p:nvSpPr>
          <p:spPr>
            <a:xfrm>
              <a:off x="5079226" y="3739090"/>
              <a:ext cx="1775223" cy="84850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,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786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07368" y="-208020"/>
            <a:ext cx="11176620" cy="86636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/>
          <a:p>
            <a:r>
              <a:rPr lang="it-IT" dirty="0"/>
              <a:t>Nuovi avvii </a:t>
            </a:r>
            <a:r>
              <a:rPr lang="it-IT" dirty="0" err="1"/>
              <a:t>CdP</a:t>
            </a:r>
            <a:r>
              <a:rPr lang="it-IT" dirty="0"/>
              <a:t>-I 2022-2026 finanziati da risorse NON VINCOLATE </a:t>
            </a:r>
            <a:r>
              <a:rPr lang="it-IT" sz="2400" dirty="0"/>
              <a:t>(</a:t>
            </a:r>
            <a:r>
              <a:rPr lang="it-IT" sz="2400" dirty="0" err="1"/>
              <a:t>LdB</a:t>
            </a:r>
            <a:r>
              <a:rPr lang="it-IT" sz="2400" dirty="0"/>
              <a:t> 2022)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92BFECB-52BE-4AC0-A6A6-4E73F4D91390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it-IT"/>
              <a:t>Principali interventi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37D1F9F9-D958-282D-CC45-4CA363B04F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1" name="Rettangolo 90">
            <a:extLst>
              <a:ext uri="{FF2B5EF4-FFF2-40B4-BE49-F238E27FC236}">
                <a16:creationId xmlns:a16="http://schemas.microsoft.com/office/drawing/2014/main" id="{68848478-3573-4A3D-9916-13E99C540A8F}"/>
              </a:ext>
            </a:extLst>
          </p:cNvPr>
          <p:cNvSpPr/>
          <p:nvPr/>
        </p:nvSpPr>
        <p:spPr>
          <a:xfrm>
            <a:off x="354736" y="862448"/>
            <a:ext cx="3336517" cy="160307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TextBox 24">
            <a:extLst>
              <a:ext uri="{FF2B5EF4-FFF2-40B4-BE49-F238E27FC236}">
                <a16:creationId xmlns:a16="http://schemas.microsoft.com/office/drawing/2014/main" id="{8ED9670A-7963-4C50-B342-72DCBB27BA43}"/>
              </a:ext>
            </a:extLst>
          </p:cNvPr>
          <p:cNvSpPr txBox="1">
            <a:spLocks/>
          </p:cNvSpPr>
          <p:nvPr/>
        </p:nvSpPr>
        <p:spPr>
          <a:xfrm>
            <a:off x="407368" y="909443"/>
            <a:ext cx="2981457" cy="1477328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just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CUREZZA E RESILIENZA AL CLIMATE CHANGE</a:t>
            </a:r>
          </a:p>
          <a:p>
            <a:pPr marL="0" marR="0" lvl="0" indent="0" algn="just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secuzione dei programmi nazionali di investimento. </a:t>
            </a:r>
          </a:p>
          <a:p>
            <a:pPr marL="0" marR="0" lvl="0" indent="0" algn="just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 maggiori risorse sono state destinate ai programmi per la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oppressione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de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ssaggi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a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ivello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il contenimento del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ischio idrogeologico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 l’installazione d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arriere antirumore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ulle linee in esercizio.</a:t>
            </a:r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Gruppo 32">
            <a:extLst>
              <a:ext uri="{FF2B5EF4-FFF2-40B4-BE49-F238E27FC236}">
                <a16:creationId xmlns:a16="http://schemas.microsoft.com/office/drawing/2014/main" id="{10973062-CA7F-4445-8601-DE2058CC03E5}"/>
              </a:ext>
            </a:extLst>
          </p:cNvPr>
          <p:cNvGrpSpPr/>
          <p:nvPr/>
        </p:nvGrpSpPr>
        <p:grpSpPr>
          <a:xfrm>
            <a:off x="10192934" y="4597650"/>
            <a:ext cx="1187355" cy="1009934"/>
            <a:chOff x="10314665" y="215646"/>
            <a:chExt cx="1187355" cy="1009934"/>
          </a:xfrm>
          <a:solidFill>
            <a:schemeClr val="tx2"/>
          </a:solidFill>
        </p:grpSpPr>
        <p:sp>
          <p:nvSpPr>
            <p:cNvPr id="34" name="Ovale 33">
              <a:extLst>
                <a:ext uri="{FF2B5EF4-FFF2-40B4-BE49-F238E27FC236}">
                  <a16:creationId xmlns:a16="http://schemas.microsoft.com/office/drawing/2014/main" id="{E56C575B-A9AB-4FC4-BF27-ED2529031301}"/>
                </a:ext>
              </a:extLst>
            </p:cNvPr>
            <p:cNvSpPr/>
            <p:nvPr/>
          </p:nvSpPr>
          <p:spPr>
            <a:xfrm>
              <a:off x="10397305" y="215646"/>
              <a:ext cx="1037230" cy="1009934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/>
          </p:style>
          <p:txBody>
            <a:bodyPr lIns="0" tIns="45000" rIns="0" bIns="450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5" name="Rettangolo 34">
              <a:extLst>
                <a:ext uri="{FF2B5EF4-FFF2-40B4-BE49-F238E27FC236}">
                  <a16:creationId xmlns:a16="http://schemas.microsoft.com/office/drawing/2014/main" id="{75176546-7C5A-4AB6-B966-F6AFF5F1345D}"/>
                </a:ext>
              </a:extLst>
            </p:cNvPr>
            <p:cNvSpPr/>
            <p:nvPr/>
          </p:nvSpPr>
          <p:spPr>
            <a:xfrm>
              <a:off x="10314665" y="457458"/>
              <a:ext cx="1187355" cy="5263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-1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5.75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-1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Sud 34%)</a:t>
              </a:r>
            </a:p>
          </p:txBody>
        </p:sp>
      </p:grpSp>
      <p:grpSp>
        <p:nvGrpSpPr>
          <p:cNvPr id="37" name="Gruppo 36">
            <a:extLst>
              <a:ext uri="{FF2B5EF4-FFF2-40B4-BE49-F238E27FC236}">
                <a16:creationId xmlns:a16="http://schemas.microsoft.com/office/drawing/2014/main" id="{B894BF8C-06AE-4E8A-8681-5F7537159E76}"/>
              </a:ext>
            </a:extLst>
          </p:cNvPr>
          <p:cNvGrpSpPr/>
          <p:nvPr/>
        </p:nvGrpSpPr>
        <p:grpSpPr>
          <a:xfrm>
            <a:off x="3050372" y="692185"/>
            <a:ext cx="1187355" cy="546890"/>
            <a:chOff x="10314665" y="457458"/>
            <a:chExt cx="1187355" cy="546890"/>
          </a:xfrm>
          <a:solidFill>
            <a:schemeClr val="tx2"/>
          </a:solidFill>
        </p:grpSpPr>
        <p:sp>
          <p:nvSpPr>
            <p:cNvPr id="38" name="Ovale 37">
              <a:extLst>
                <a:ext uri="{FF2B5EF4-FFF2-40B4-BE49-F238E27FC236}">
                  <a16:creationId xmlns:a16="http://schemas.microsoft.com/office/drawing/2014/main" id="{24D69256-5F30-4237-A979-9F3DF60DC1B9}"/>
                </a:ext>
              </a:extLst>
            </p:cNvPr>
            <p:cNvSpPr/>
            <p:nvPr/>
          </p:nvSpPr>
          <p:spPr>
            <a:xfrm>
              <a:off x="10653118" y="464348"/>
              <a:ext cx="540000" cy="540000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/>
          </p:style>
          <p:txBody>
            <a:bodyPr lIns="0" tIns="45000" rIns="0" bIns="450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9" name="Rettangolo 38">
              <a:extLst>
                <a:ext uri="{FF2B5EF4-FFF2-40B4-BE49-F238E27FC236}">
                  <a16:creationId xmlns:a16="http://schemas.microsoft.com/office/drawing/2014/main" id="{EECD50F5-3B79-4837-BB6F-3CD10DA650C3}"/>
                </a:ext>
              </a:extLst>
            </p:cNvPr>
            <p:cNvSpPr/>
            <p:nvPr/>
          </p:nvSpPr>
          <p:spPr>
            <a:xfrm>
              <a:off x="10314665" y="457458"/>
              <a:ext cx="1187355" cy="5263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-1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477</a:t>
              </a:r>
              <a:endParaRPr kumimoji="0" lang="it-IT" sz="14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40" name="Rettangolo 39">
            <a:extLst>
              <a:ext uri="{FF2B5EF4-FFF2-40B4-BE49-F238E27FC236}">
                <a16:creationId xmlns:a16="http://schemas.microsoft.com/office/drawing/2014/main" id="{4D63D348-9A98-4993-950D-632D1BCD28D6}"/>
              </a:ext>
            </a:extLst>
          </p:cNvPr>
          <p:cNvSpPr/>
          <p:nvPr/>
        </p:nvSpPr>
        <p:spPr>
          <a:xfrm>
            <a:off x="371345" y="2591769"/>
            <a:ext cx="3336517" cy="156356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TextBox 24">
            <a:extLst>
              <a:ext uri="{FF2B5EF4-FFF2-40B4-BE49-F238E27FC236}">
                <a16:creationId xmlns:a16="http://schemas.microsoft.com/office/drawing/2014/main" id="{B74B9C39-6FEF-4882-AE6F-5E41FC7D59A9}"/>
              </a:ext>
            </a:extLst>
          </p:cNvPr>
          <p:cNvSpPr txBox="1">
            <a:spLocks/>
          </p:cNvSpPr>
          <p:nvPr/>
        </p:nvSpPr>
        <p:spPr>
          <a:xfrm>
            <a:off x="423978" y="2652731"/>
            <a:ext cx="3248188" cy="1692771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just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VILUPPO TECNOLOGICO</a:t>
            </a:r>
          </a:p>
          <a:p>
            <a:pPr marL="0" marR="0" lvl="0" indent="0" algn="just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secuzione dei programmi nazionali di investimento. </a:t>
            </a:r>
          </a:p>
          <a:p>
            <a:pPr marL="0" marR="0" lvl="0" indent="0" algn="just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 maggiori risorse sono state destinate al l’implementazione del sistema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RTMS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ulle linee della rete convenzionale,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ll’ammodernamento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del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rco mezzi d’opera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 all’attrezzaggio della rete con 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istemi di diagnostica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 d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trollo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de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tabili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</a:t>
            </a:r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901F9182-C231-4929-AD85-D9AFBE39F796}"/>
              </a:ext>
            </a:extLst>
          </p:cNvPr>
          <p:cNvGrpSpPr/>
          <p:nvPr/>
        </p:nvGrpSpPr>
        <p:grpSpPr>
          <a:xfrm>
            <a:off x="3050372" y="2496433"/>
            <a:ext cx="1187355" cy="546890"/>
            <a:chOff x="10314665" y="457458"/>
            <a:chExt cx="1187355" cy="546890"/>
          </a:xfrm>
          <a:solidFill>
            <a:schemeClr val="tx2"/>
          </a:solidFill>
        </p:grpSpPr>
        <p:sp>
          <p:nvSpPr>
            <p:cNvPr id="43" name="Ovale 42">
              <a:extLst>
                <a:ext uri="{FF2B5EF4-FFF2-40B4-BE49-F238E27FC236}">
                  <a16:creationId xmlns:a16="http://schemas.microsoft.com/office/drawing/2014/main" id="{42C79BE4-39F2-4E4B-B3FF-0347968D5C34}"/>
                </a:ext>
              </a:extLst>
            </p:cNvPr>
            <p:cNvSpPr/>
            <p:nvPr/>
          </p:nvSpPr>
          <p:spPr>
            <a:xfrm>
              <a:off x="10653118" y="464348"/>
              <a:ext cx="540000" cy="540000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/>
          </p:style>
          <p:txBody>
            <a:bodyPr lIns="0" tIns="45000" rIns="0" bIns="450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4" name="Rettangolo 43">
              <a:extLst>
                <a:ext uri="{FF2B5EF4-FFF2-40B4-BE49-F238E27FC236}">
                  <a16:creationId xmlns:a16="http://schemas.microsoft.com/office/drawing/2014/main" id="{0EA8087B-730E-4E8F-9A71-1AEEAACDDA5B}"/>
                </a:ext>
              </a:extLst>
            </p:cNvPr>
            <p:cNvSpPr/>
            <p:nvPr/>
          </p:nvSpPr>
          <p:spPr>
            <a:xfrm>
              <a:off x="10314665" y="457458"/>
              <a:ext cx="1187355" cy="5263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-1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768</a:t>
              </a:r>
              <a:endParaRPr kumimoji="0" lang="it-IT" sz="14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46" name="Rettangolo 45">
            <a:extLst>
              <a:ext uri="{FF2B5EF4-FFF2-40B4-BE49-F238E27FC236}">
                <a16:creationId xmlns:a16="http://schemas.microsoft.com/office/drawing/2014/main" id="{29237737-ADA3-4D7D-9BFC-BFCF29223768}"/>
              </a:ext>
            </a:extLst>
          </p:cNvPr>
          <p:cNvSpPr/>
          <p:nvPr/>
        </p:nvSpPr>
        <p:spPr>
          <a:xfrm>
            <a:off x="371345" y="4300413"/>
            <a:ext cx="3336517" cy="202405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TextBox 24">
            <a:extLst>
              <a:ext uri="{FF2B5EF4-FFF2-40B4-BE49-F238E27FC236}">
                <a16:creationId xmlns:a16="http://schemas.microsoft.com/office/drawing/2014/main" id="{09BDBE80-B420-46AB-BE2B-F31F654BBEC3}"/>
              </a:ext>
            </a:extLst>
          </p:cNvPr>
          <p:cNvSpPr txBox="1">
            <a:spLocks/>
          </p:cNvSpPr>
          <p:nvPr/>
        </p:nvSpPr>
        <p:spPr>
          <a:xfrm>
            <a:off x="435435" y="4335046"/>
            <a:ext cx="3236732" cy="1846659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just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ESSIBILITÀ STAZIONI</a:t>
            </a:r>
          </a:p>
          <a:p>
            <a:pPr marL="0" marR="0" lvl="0" indent="0" algn="just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secuzione dei programmi nazionali di investimento.</a:t>
            </a:r>
          </a:p>
          <a:p>
            <a:pPr marL="0" marR="0" lvl="0" indent="0" algn="just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 risorse sono state destinate al miglioramento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ll’accessibilità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e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modalità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delle stazioni di oltre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0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zioni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medio-grandi diffuse sull’intero territorio nazionale, alla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realizzazione di nuovi punti di accesso alla rete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e ad interventi di ampio respiro per il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tenziamento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e/o la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iqualificazione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funzionale d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 </a:t>
            </a:r>
            <a:r>
              <a:rPr kumimoji="0" lang="it-IT" sz="120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ub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di particolare rilevanza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</a:t>
            </a:r>
          </a:p>
        </p:txBody>
      </p: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965DBEC8-2931-4BBE-9C64-ADCB35C9B4C4}"/>
              </a:ext>
            </a:extLst>
          </p:cNvPr>
          <p:cNvGrpSpPr/>
          <p:nvPr/>
        </p:nvGrpSpPr>
        <p:grpSpPr>
          <a:xfrm>
            <a:off x="3050372" y="4236033"/>
            <a:ext cx="1187355" cy="546890"/>
            <a:chOff x="10314665" y="457458"/>
            <a:chExt cx="1187355" cy="546890"/>
          </a:xfrm>
          <a:solidFill>
            <a:schemeClr val="tx2"/>
          </a:solidFill>
        </p:grpSpPr>
        <p:sp>
          <p:nvSpPr>
            <p:cNvPr id="50" name="Ovale 49">
              <a:extLst>
                <a:ext uri="{FF2B5EF4-FFF2-40B4-BE49-F238E27FC236}">
                  <a16:creationId xmlns:a16="http://schemas.microsoft.com/office/drawing/2014/main" id="{474FC06C-8285-4144-8DCC-823B92531978}"/>
                </a:ext>
              </a:extLst>
            </p:cNvPr>
            <p:cNvSpPr/>
            <p:nvPr/>
          </p:nvSpPr>
          <p:spPr>
            <a:xfrm>
              <a:off x="10653118" y="464348"/>
              <a:ext cx="540000" cy="540000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/>
          </p:style>
          <p:txBody>
            <a:bodyPr lIns="0" tIns="45000" rIns="0" bIns="450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1" name="Rettangolo 50">
              <a:extLst>
                <a:ext uri="{FF2B5EF4-FFF2-40B4-BE49-F238E27FC236}">
                  <a16:creationId xmlns:a16="http://schemas.microsoft.com/office/drawing/2014/main" id="{344B746B-25F9-414C-A1FD-FA94CD5506AF}"/>
                </a:ext>
              </a:extLst>
            </p:cNvPr>
            <p:cNvSpPr/>
            <p:nvPr/>
          </p:nvSpPr>
          <p:spPr>
            <a:xfrm>
              <a:off x="10314665" y="457458"/>
              <a:ext cx="1187355" cy="5263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-1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404</a:t>
              </a:r>
              <a:endParaRPr kumimoji="0" lang="it-IT" sz="14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53" name="Rettangolo 52">
            <a:extLst>
              <a:ext uri="{FF2B5EF4-FFF2-40B4-BE49-F238E27FC236}">
                <a16:creationId xmlns:a16="http://schemas.microsoft.com/office/drawing/2014/main" id="{B89B71D7-FAED-4604-A21E-004A49ED3007}"/>
              </a:ext>
            </a:extLst>
          </p:cNvPr>
          <p:cNvSpPr/>
          <p:nvPr/>
        </p:nvSpPr>
        <p:spPr>
          <a:xfrm>
            <a:off x="4019332" y="2695266"/>
            <a:ext cx="3503227" cy="154419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24">
            <a:extLst>
              <a:ext uri="{FF2B5EF4-FFF2-40B4-BE49-F238E27FC236}">
                <a16:creationId xmlns:a16="http://schemas.microsoft.com/office/drawing/2014/main" id="{58FA911D-3CCA-4483-974F-2B443BC7E996}"/>
              </a:ext>
            </a:extLst>
          </p:cNvPr>
          <p:cNvSpPr txBox="1">
            <a:spLocks/>
          </p:cNvSpPr>
          <p:nvPr/>
        </p:nvSpPr>
        <p:spPr>
          <a:xfrm>
            <a:off x="4057490" y="2740586"/>
            <a:ext cx="3467303" cy="1477328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just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TTÀ METROPOLITANE</a:t>
            </a:r>
          </a:p>
          <a:p>
            <a:pPr marL="0" marR="0" lvl="0" indent="0" algn="l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mpletamento funzionale degli interventi già avviati, al fine di recepire anche eventuali ulteriori opere richieste dai territori in sede di approvazione dei progetti. </a:t>
            </a:r>
          </a:p>
          <a:p>
            <a:pPr marL="0" marR="0" lvl="0" indent="0" algn="l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 maggiori risorse sono state destinate ad interventi ne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odi di Roma, Torino e Bari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 al completamento di var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ogetti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inseriti nel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NRR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61" name="Rettangolo 60">
            <a:extLst>
              <a:ext uri="{FF2B5EF4-FFF2-40B4-BE49-F238E27FC236}">
                <a16:creationId xmlns:a16="http://schemas.microsoft.com/office/drawing/2014/main" id="{6BFB46B3-EA0D-4CE8-AABC-8AEE1F8B87DF}"/>
              </a:ext>
            </a:extLst>
          </p:cNvPr>
          <p:cNvSpPr/>
          <p:nvPr/>
        </p:nvSpPr>
        <p:spPr>
          <a:xfrm>
            <a:off x="4007336" y="851816"/>
            <a:ext cx="3503228" cy="170297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TextBox 24">
            <a:extLst>
              <a:ext uri="{FF2B5EF4-FFF2-40B4-BE49-F238E27FC236}">
                <a16:creationId xmlns:a16="http://schemas.microsoft.com/office/drawing/2014/main" id="{33E03579-D2E7-43AD-AB95-D5C73F1BC4BF}"/>
              </a:ext>
            </a:extLst>
          </p:cNvPr>
          <p:cNvSpPr txBox="1">
            <a:spLocks/>
          </p:cNvSpPr>
          <p:nvPr/>
        </p:nvSpPr>
        <p:spPr>
          <a:xfrm>
            <a:off x="4059968" y="898811"/>
            <a:ext cx="3389990" cy="1661993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just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ORIZZAZIONE DELLE RETI REGIONALI</a:t>
            </a:r>
          </a:p>
          <a:p>
            <a:pPr marL="0" marR="0" lvl="0" indent="0" algn="just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mpletamento funzionale degli interventi già avviati, al fine di recepire anche eventuali ulteriori opere richieste dai territori in sede di approvazione dei progetti, e all’avvio di nuovi interventi. </a:t>
            </a:r>
          </a:p>
          <a:p>
            <a:pPr marL="0" marR="0" lvl="0" indent="0" algn="just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 maggiori risorse sono state destinate al raddoppio della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erne-Castelfranco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alla realizzazione del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uovo ponte ferroviario a Paderno d’Adda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 al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mpletamento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di vari progetti inseriti nel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NRR</a:t>
            </a:r>
            <a:endParaRPr kumimoji="0" lang="it-IT" sz="1200" i="0" u="none" strike="noStrike" kern="1200" cap="none" spc="0" normalizeH="0" baseline="0" noProof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3" name="Gruppo 62">
            <a:extLst>
              <a:ext uri="{FF2B5EF4-FFF2-40B4-BE49-F238E27FC236}">
                <a16:creationId xmlns:a16="http://schemas.microsoft.com/office/drawing/2014/main" id="{EF3EFD6E-380F-4D17-A556-3F4E9C6DE6D1}"/>
              </a:ext>
            </a:extLst>
          </p:cNvPr>
          <p:cNvGrpSpPr/>
          <p:nvPr/>
        </p:nvGrpSpPr>
        <p:grpSpPr>
          <a:xfrm>
            <a:off x="6899753" y="681553"/>
            <a:ext cx="1187355" cy="546890"/>
            <a:chOff x="10314665" y="457458"/>
            <a:chExt cx="1187355" cy="546890"/>
          </a:xfrm>
          <a:solidFill>
            <a:schemeClr val="tx2"/>
          </a:solidFill>
        </p:grpSpPr>
        <p:sp>
          <p:nvSpPr>
            <p:cNvPr id="64" name="Ovale 63">
              <a:extLst>
                <a:ext uri="{FF2B5EF4-FFF2-40B4-BE49-F238E27FC236}">
                  <a16:creationId xmlns:a16="http://schemas.microsoft.com/office/drawing/2014/main" id="{AF52FB2B-9128-41B5-98DF-6594590796F3}"/>
                </a:ext>
              </a:extLst>
            </p:cNvPr>
            <p:cNvSpPr/>
            <p:nvPr/>
          </p:nvSpPr>
          <p:spPr>
            <a:xfrm>
              <a:off x="10653118" y="464348"/>
              <a:ext cx="540000" cy="540000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/>
          </p:style>
          <p:txBody>
            <a:bodyPr lIns="0" tIns="45000" rIns="0" bIns="450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65" name="Rettangolo 64">
              <a:extLst>
                <a:ext uri="{FF2B5EF4-FFF2-40B4-BE49-F238E27FC236}">
                  <a16:creationId xmlns:a16="http://schemas.microsoft.com/office/drawing/2014/main" id="{78DBE6EC-0B6D-4A51-A922-5CBC012EC591}"/>
                </a:ext>
              </a:extLst>
            </p:cNvPr>
            <p:cNvSpPr/>
            <p:nvPr/>
          </p:nvSpPr>
          <p:spPr>
            <a:xfrm>
              <a:off x="10314665" y="457458"/>
              <a:ext cx="1187355" cy="5263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-1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1.300</a:t>
              </a:r>
              <a:endParaRPr kumimoji="0" lang="it-IT" sz="14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66" name="Rettangolo 65">
            <a:extLst>
              <a:ext uri="{FF2B5EF4-FFF2-40B4-BE49-F238E27FC236}">
                <a16:creationId xmlns:a16="http://schemas.microsoft.com/office/drawing/2014/main" id="{5E821417-1BA4-4862-BAD3-D6B508FA6CA7}"/>
              </a:ext>
            </a:extLst>
          </p:cNvPr>
          <p:cNvSpPr/>
          <p:nvPr/>
        </p:nvSpPr>
        <p:spPr>
          <a:xfrm>
            <a:off x="4019332" y="4394319"/>
            <a:ext cx="3503228" cy="193828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TextBox 24">
            <a:extLst>
              <a:ext uri="{FF2B5EF4-FFF2-40B4-BE49-F238E27FC236}">
                <a16:creationId xmlns:a16="http://schemas.microsoft.com/office/drawing/2014/main" id="{9BF82F74-3F91-475F-8987-4E5FFE2BB9AF}"/>
              </a:ext>
            </a:extLst>
          </p:cNvPr>
          <p:cNvSpPr txBox="1">
            <a:spLocks/>
          </p:cNvSpPr>
          <p:nvPr/>
        </p:nvSpPr>
        <p:spPr>
          <a:xfrm>
            <a:off x="4070497" y="4477810"/>
            <a:ext cx="3389990" cy="1477328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just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LTIMO/PENULTIMO MIGLIO FERROVIARIO</a:t>
            </a:r>
          </a:p>
          <a:p>
            <a:pPr marL="0" marR="0" lvl="0" indent="0" algn="just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mpletamento funzionale degli interventi già avviati e all’avvio di nuovi interventi. </a:t>
            </a:r>
          </a:p>
          <a:p>
            <a:pPr marL="0" marR="0" lvl="0" indent="0" algn="just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 maggiori risorse sono state destinate al potenziamento delle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nessioni ferroviarie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n il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rto di Livorno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’interporto di Guasticce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 ad ulteriori fasi d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tenziamento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dell’impianto d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ado Ligure.</a:t>
            </a:r>
            <a:endParaRPr kumimoji="0" lang="it-IT" sz="18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68" name="Gruppo 67">
            <a:extLst>
              <a:ext uri="{FF2B5EF4-FFF2-40B4-BE49-F238E27FC236}">
                <a16:creationId xmlns:a16="http://schemas.microsoft.com/office/drawing/2014/main" id="{835C6276-0DF5-44C5-A7D8-B5DB797C37F5}"/>
              </a:ext>
            </a:extLst>
          </p:cNvPr>
          <p:cNvGrpSpPr/>
          <p:nvPr/>
        </p:nvGrpSpPr>
        <p:grpSpPr>
          <a:xfrm>
            <a:off x="6911749" y="4366011"/>
            <a:ext cx="1187355" cy="546890"/>
            <a:chOff x="10314665" y="457458"/>
            <a:chExt cx="1187355" cy="546890"/>
          </a:xfrm>
          <a:solidFill>
            <a:schemeClr val="tx2"/>
          </a:solidFill>
        </p:grpSpPr>
        <p:sp>
          <p:nvSpPr>
            <p:cNvPr id="69" name="Ovale 68">
              <a:extLst>
                <a:ext uri="{FF2B5EF4-FFF2-40B4-BE49-F238E27FC236}">
                  <a16:creationId xmlns:a16="http://schemas.microsoft.com/office/drawing/2014/main" id="{9DDEBC55-F31E-4C33-BCDB-4382F65C42FD}"/>
                </a:ext>
              </a:extLst>
            </p:cNvPr>
            <p:cNvSpPr/>
            <p:nvPr/>
          </p:nvSpPr>
          <p:spPr>
            <a:xfrm>
              <a:off x="10653118" y="464348"/>
              <a:ext cx="540000" cy="540000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/>
          </p:style>
          <p:txBody>
            <a:bodyPr lIns="0" tIns="45000" rIns="0" bIns="450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0" name="Rettangolo 69">
              <a:extLst>
                <a:ext uri="{FF2B5EF4-FFF2-40B4-BE49-F238E27FC236}">
                  <a16:creationId xmlns:a16="http://schemas.microsoft.com/office/drawing/2014/main" id="{DD0F26B3-1F56-4014-ABD1-F53EB1289358}"/>
                </a:ext>
              </a:extLst>
            </p:cNvPr>
            <p:cNvSpPr/>
            <p:nvPr/>
          </p:nvSpPr>
          <p:spPr>
            <a:xfrm>
              <a:off x="10314665" y="457458"/>
              <a:ext cx="1187355" cy="5263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-1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356</a:t>
              </a:r>
              <a:endParaRPr kumimoji="0" lang="it-IT" sz="14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71" name="Rettangolo 70">
            <a:extLst>
              <a:ext uri="{FF2B5EF4-FFF2-40B4-BE49-F238E27FC236}">
                <a16:creationId xmlns:a16="http://schemas.microsoft.com/office/drawing/2014/main" id="{DE3D8692-979F-4782-87DA-96B09A298C1E}"/>
              </a:ext>
            </a:extLst>
          </p:cNvPr>
          <p:cNvSpPr/>
          <p:nvPr/>
        </p:nvSpPr>
        <p:spPr>
          <a:xfrm>
            <a:off x="7805900" y="814569"/>
            <a:ext cx="3638143" cy="281698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114289" algn="l" defTabSz="3047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7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TextBox 24">
            <a:extLst>
              <a:ext uri="{FF2B5EF4-FFF2-40B4-BE49-F238E27FC236}">
                <a16:creationId xmlns:a16="http://schemas.microsoft.com/office/drawing/2014/main" id="{987EC56F-A028-44B0-92E7-C87156FD674A}"/>
              </a:ext>
            </a:extLst>
          </p:cNvPr>
          <p:cNvSpPr txBox="1">
            <a:spLocks/>
          </p:cNvSpPr>
          <p:nvPr/>
        </p:nvSpPr>
        <p:spPr>
          <a:xfrm>
            <a:off x="7858533" y="861564"/>
            <a:ext cx="3585510" cy="2769989"/>
          </a:xfrm>
          <a:prstGeom prst="rect">
            <a:avLst/>
          </a:prstGeom>
          <a:noFill/>
          <a:ln w="22225">
            <a:noFill/>
          </a:ln>
        </p:spPr>
        <p:txBody>
          <a:bodyPr wrap="square" lIns="0" tIns="0" rIns="0" bIns="0" anchor="t" anchorCtr="0">
            <a:spAutoFit/>
          </a:bodyPr>
          <a:lstStyle>
            <a:defPPr>
              <a:defRPr lang="en-US"/>
            </a:defPPr>
            <a:lvl1pPr marL="180975" defTabSz="1219170">
              <a:defRPr sz="2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LT" panose="02000503000000000000" pitchFamily="2" charset="0"/>
              </a:defRPr>
            </a:lvl1pPr>
            <a:lvl2pPr marL="755957" lvl="1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2pPr>
            <a:lvl3pPr marL="1259929" lvl="2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</a:defRPr>
            </a:lvl3pPr>
            <a:lvl4pPr marL="1763900" lvl="3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4pPr>
            <a:lvl5pPr marL="2267872" lvl="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5pPr>
            <a:lvl6pPr marL="2771844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6pPr>
            <a:lvl7pPr marL="3275815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7pPr>
            <a:lvl8pPr marL="3779787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8pPr>
            <a:lvl9pPr marL="4283758" indent="-251986" defTabSz="1007943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/>
            </a:lvl9pPr>
          </a:lstStyle>
          <a:p>
            <a:pPr marL="0" marR="0" lvl="0" indent="0" algn="just" defTabSz="541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TTRICI DI INTERESSE NAZIONALE</a:t>
            </a:r>
          </a:p>
          <a:p>
            <a:pPr marL="0" marR="0" lvl="0" indent="0" algn="l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mpletamento funzionale degli interventi già avviati, al fine di recepire anche eventuali ulteriori opere richieste dai territori in sede di approvazione dei progetti, e all’avvio di nuovi interventi. </a:t>
            </a:r>
          </a:p>
          <a:p>
            <a:pPr marL="0" marR="0" lvl="0" indent="0" algn="l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e maggiori risorse sono state destinate all’avvio di ulteriori lotti sulle diagonal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rte-Falconara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ma-Pescara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ad ulteriori fasi d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deguamento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estazionale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e potenziamento tecnologico dei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rridoi europei 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lla rete TEN-T, al </a:t>
            </a:r>
            <a:r>
              <a:rPr kumimoji="0" lang="it-IT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iglioramento dell’attraversamento dinamico dello stretto di Messina</a:t>
            </a: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all’adeguamento della dotazione dei fondi per gli studi di fattibilità e per il Collegio Consultivo Tecnico, nonché al completamento di vari progetti inseriti nel PNRR</a:t>
            </a:r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121917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</a:p>
        </p:txBody>
      </p:sp>
      <p:grpSp>
        <p:nvGrpSpPr>
          <p:cNvPr id="73" name="Gruppo 72">
            <a:extLst>
              <a:ext uri="{FF2B5EF4-FFF2-40B4-BE49-F238E27FC236}">
                <a16:creationId xmlns:a16="http://schemas.microsoft.com/office/drawing/2014/main" id="{3B7EC20E-498F-419B-AADE-F39CD79E25B9}"/>
              </a:ext>
            </a:extLst>
          </p:cNvPr>
          <p:cNvGrpSpPr/>
          <p:nvPr/>
        </p:nvGrpSpPr>
        <p:grpSpPr>
          <a:xfrm>
            <a:off x="10799918" y="644306"/>
            <a:ext cx="1187355" cy="546890"/>
            <a:chOff x="10314665" y="457458"/>
            <a:chExt cx="1187355" cy="546890"/>
          </a:xfrm>
          <a:solidFill>
            <a:schemeClr val="tx2"/>
          </a:solidFill>
        </p:grpSpPr>
        <p:sp>
          <p:nvSpPr>
            <p:cNvPr id="74" name="Ovale 73">
              <a:extLst>
                <a:ext uri="{FF2B5EF4-FFF2-40B4-BE49-F238E27FC236}">
                  <a16:creationId xmlns:a16="http://schemas.microsoft.com/office/drawing/2014/main" id="{E6C8F4AF-9E41-4999-8172-12A8A405E309}"/>
                </a:ext>
              </a:extLst>
            </p:cNvPr>
            <p:cNvSpPr/>
            <p:nvPr/>
          </p:nvSpPr>
          <p:spPr>
            <a:xfrm>
              <a:off x="10653118" y="464348"/>
              <a:ext cx="540000" cy="540000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/>
          </p:style>
          <p:txBody>
            <a:bodyPr lIns="0" tIns="45000" rIns="0" bIns="450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75" name="Rettangolo 74">
              <a:extLst>
                <a:ext uri="{FF2B5EF4-FFF2-40B4-BE49-F238E27FC236}">
                  <a16:creationId xmlns:a16="http://schemas.microsoft.com/office/drawing/2014/main" id="{87596E08-F2CA-4ABA-9C02-10D24D10EAB7}"/>
                </a:ext>
              </a:extLst>
            </p:cNvPr>
            <p:cNvSpPr/>
            <p:nvPr/>
          </p:nvSpPr>
          <p:spPr>
            <a:xfrm>
              <a:off x="10314665" y="457458"/>
              <a:ext cx="1187355" cy="5263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-1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1.936</a:t>
              </a:r>
              <a:endParaRPr kumimoji="0" lang="it-IT" sz="14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76" name="Freeform 59">
            <a:extLst>
              <a:ext uri="{FF2B5EF4-FFF2-40B4-BE49-F238E27FC236}">
                <a16:creationId xmlns:a16="http://schemas.microsoft.com/office/drawing/2014/main" id="{7E0200F9-E455-4924-A3BE-EA0AC3EA59C0}"/>
              </a:ext>
            </a:extLst>
          </p:cNvPr>
          <p:cNvSpPr>
            <a:spLocks noEditPoints="1"/>
          </p:cNvSpPr>
          <p:nvPr/>
        </p:nvSpPr>
        <p:spPr bwMode="auto">
          <a:xfrm>
            <a:off x="8425451" y="4236033"/>
            <a:ext cx="1441136" cy="1884629"/>
          </a:xfrm>
          <a:custGeom>
            <a:avLst/>
            <a:gdLst>
              <a:gd name="T0" fmla="*/ 2077 w 3960"/>
              <a:gd name="T1" fmla="*/ 4332 h 4860"/>
              <a:gd name="T2" fmla="*/ 3097 w 3960"/>
              <a:gd name="T3" fmla="*/ 3778 h 4860"/>
              <a:gd name="T4" fmla="*/ 3182 w 3960"/>
              <a:gd name="T5" fmla="*/ 4065 h 4860"/>
              <a:gd name="T6" fmla="*/ 2877 w 3960"/>
              <a:gd name="T7" fmla="*/ 4150 h 4860"/>
              <a:gd name="T8" fmla="*/ 2233 w 3960"/>
              <a:gd name="T9" fmla="*/ 3958 h 4860"/>
              <a:gd name="T10" fmla="*/ 2266 w 3960"/>
              <a:gd name="T11" fmla="*/ 3734 h 4860"/>
              <a:gd name="T12" fmla="*/ 2567 w 3960"/>
              <a:gd name="T13" fmla="*/ 3752 h 4860"/>
              <a:gd name="T14" fmla="*/ 3054 w 3960"/>
              <a:gd name="T15" fmla="*/ 3596 h 4860"/>
              <a:gd name="T16" fmla="*/ 2959 w 3960"/>
              <a:gd name="T17" fmla="*/ 3459 h 4860"/>
              <a:gd name="T18" fmla="*/ 3026 w 3960"/>
              <a:gd name="T19" fmla="*/ 3336 h 4860"/>
              <a:gd name="T20" fmla="*/ 752 w 3960"/>
              <a:gd name="T21" fmla="*/ 3532 h 4860"/>
              <a:gd name="T22" fmla="*/ 664 w 3960"/>
              <a:gd name="T23" fmla="*/ 2730 h 4860"/>
              <a:gd name="T24" fmla="*/ 981 w 3960"/>
              <a:gd name="T25" fmla="*/ 2603 h 4860"/>
              <a:gd name="T26" fmla="*/ 1076 w 3960"/>
              <a:gd name="T27" fmla="*/ 2629 h 4860"/>
              <a:gd name="T28" fmla="*/ 1097 w 3960"/>
              <a:gd name="T29" fmla="*/ 2719 h 4860"/>
              <a:gd name="T30" fmla="*/ 1164 w 3960"/>
              <a:gd name="T31" fmla="*/ 2941 h 4860"/>
              <a:gd name="T32" fmla="*/ 1173 w 3960"/>
              <a:gd name="T33" fmla="*/ 3253 h 4860"/>
              <a:gd name="T34" fmla="*/ 1050 w 3960"/>
              <a:gd name="T35" fmla="*/ 3445 h 4860"/>
              <a:gd name="T36" fmla="*/ 929 w 3960"/>
              <a:gd name="T37" fmla="*/ 3596 h 4860"/>
              <a:gd name="T38" fmla="*/ 776 w 3960"/>
              <a:gd name="T39" fmla="*/ 3476 h 4860"/>
              <a:gd name="T40" fmla="*/ 809 w 3960"/>
              <a:gd name="T41" fmla="*/ 3218 h 4860"/>
              <a:gd name="T42" fmla="*/ 752 w 3960"/>
              <a:gd name="T43" fmla="*/ 3005 h 4860"/>
              <a:gd name="T44" fmla="*/ 655 w 3960"/>
              <a:gd name="T45" fmla="*/ 2745 h 4860"/>
              <a:gd name="T46" fmla="*/ 967 w 3960"/>
              <a:gd name="T47" fmla="*/ 2588 h 4860"/>
              <a:gd name="T48" fmla="*/ 1164 w 3960"/>
              <a:gd name="T49" fmla="*/ 1983 h 4860"/>
              <a:gd name="T50" fmla="*/ 1213 w 3960"/>
              <a:gd name="T51" fmla="*/ 1888 h 4860"/>
              <a:gd name="T52" fmla="*/ 1563 w 3960"/>
              <a:gd name="T53" fmla="*/ 85 h 4860"/>
              <a:gd name="T54" fmla="*/ 2001 w 3960"/>
              <a:gd name="T55" fmla="*/ 196 h 4860"/>
              <a:gd name="T56" fmla="*/ 2006 w 3960"/>
              <a:gd name="T57" fmla="*/ 400 h 4860"/>
              <a:gd name="T58" fmla="*/ 1975 w 3960"/>
              <a:gd name="T59" fmla="*/ 532 h 4860"/>
              <a:gd name="T60" fmla="*/ 1713 w 3960"/>
              <a:gd name="T61" fmla="*/ 660 h 4860"/>
              <a:gd name="T62" fmla="*/ 1672 w 3960"/>
              <a:gd name="T63" fmla="*/ 667 h 4860"/>
              <a:gd name="T64" fmla="*/ 1694 w 3960"/>
              <a:gd name="T65" fmla="*/ 795 h 4860"/>
              <a:gd name="T66" fmla="*/ 1769 w 3960"/>
              <a:gd name="T67" fmla="*/ 894 h 4860"/>
              <a:gd name="T68" fmla="*/ 1748 w 3960"/>
              <a:gd name="T69" fmla="*/ 1145 h 4860"/>
              <a:gd name="T70" fmla="*/ 2261 w 3960"/>
              <a:gd name="T71" fmla="*/ 1545 h 4860"/>
              <a:gd name="T72" fmla="*/ 3092 w 3960"/>
              <a:gd name="T73" fmla="*/ 1978 h 4860"/>
              <a:gd name="T74" fmla="*/ 3726 w 3960"/>
              <a:gd name="T75" fmla="*/ 2361 h 4860"/>
              <a:gd name="T76" fmla="*/ 3910 w 3960"/>
              <a:gd name="T77" fmla="*/ 2688 h 4860"/>
              <a:gd name="T78" fmla="*/ 3530 w 3960"/>
              <a:gd name="T79" fmla="*/ 2496 h 4860"/>
              <a:gd name="T80" fmla="*/ 3470 w 3960"/>
              <a:gd name="T81" fmla="*/ 2891 h 4860"/>
              <a:gd name="T82" fmla="*/ 3482 w 3960"/>
              <a:gd name="T83" fmla="*/ 3215 h 4860"/>
              <a:gd name="T84" fmla="*/ 3210 w 3960"/>
              <a:gd name="T85" fmla="*/ 3525 h 4860"/>
              <a:gd name="T86" fmla="*/ 3132 w 3960"/>
              <a:gd name="T87" fmla="*/ 2875 h 4860"/>
              <a:gd name="T88" fmla="*/ 2827 w 3960"/>
              <a:gd name="T89" fmla="*/ 2711 h 4860"/>
              <a:gd name="T90" fmla="*/ 2586 w 3960"/>
              <a:gd name="T91" fmla="*/ 2527 h 4860"/>
              <a:gd name="T92" fmla="*/ 2164 w 3960"/>
              <a:gd name="T93" fmla="*/ 2418 h 4860"/>
              <a:gd name="T94" fmla="*/ 1708 w 3960"/>
              <a:gd name="T95" fmla="*/ 2111 h 4860"/>
              <a:gd name="T96" fmla="*/ 1450 w 3960"/>
              <a:gd name="T97" fmla="*/ 1917 h 4860"/>
              <a:gd name="T98" fmla="*/ 1097 w 3960"/>
              <a:gd name="T99" fmla="*/ 1379 h 4860"/>
              <a:gd name="T100" fmla="*/ 889 w 3960"/>
              <a:gd name="T101" fmla="*/ 1313 h 4860"/>
              <a:gd name="T102" fmla="*/ 544 w 3960"/>
              <a:gd name="T103" fmla="*/ 1389 h 4860"/>
              <a:gd name="T104" fmla="*/ 321 w 3960"/>
              <a:gd name="T105" fmla="*/ 1408 h 4860"/>
              <a:gd name="T106" fmla="*/ 139 w 3960"/>
              <a:gd name="T107" fmla="*/ 1174 h 4860"/>
              <a:gd name="T108" fmla="*/ 99 w 3960"/>
              <a:gd name="T109" fmla="*/ 980 h 4860"/>
              <a:gd name="T110" fmla="*/ 47 w 3960"/>
              <a:gd name="T111" fmla="*/ 708 h 4860"/>
              <a:gd name="T112" fmla="*/ 376 w 3960"/>
              <a:gd name="T113" fmla="*/ 611 h 4860"/>
              <a:gd name="T114" fmla="*/ 575 w 3960"/>
              <a:gd name="T115" fmla="*/ 549 h 4860"/>
              <a:gd name="T116" fmla="*/ 688 w 3960"/>
              <a:gd name="T117" fmla="*/ 551 h 4860"/>
              <a:gd name="T118" fmla="*/ 866 w 3960"/>
              <a:gd name="T119" fmla="*/ 421 h 4860"/>
              <a:gd name="T120" fmla="*/ 963 w 3960"/>
              <a:gd name="T121" fmla="*/ 284 h 4860"/>
              <a:gd name="T122" fmla="*/ 1145 w 3960"/>
              <a:gd name="T123" fmla="*/ 182 h 4860"/>
              <a:gd name="T124" fmla="*/ 1386 w 3960"/>
              <a:gd name="T125" fmla="*/ 62 h 4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60" h="4860">
                <a:moveTo>
                  <a:pt x="2368" y="4857"/>
                </a:moveTo>
                <a:lnTo>
                  <a:pt x="2368" y="4857"/>
                </a:lnTo>
                <a:lnTo>
                  <a:pt x="2366" y="4860"/>
                </a:lnTo>
                <a:lnTo>
                  <a:pt x="2363" y="4860"/>
                </a:lnTo>
                <a:lnTo>
                  <a:pt x="2361" y="4857"/>
                </a:lnTo>
                <a:lnTo>
                  <a:pt x="2358" y="4860"/>
                </a:lnTo>
                <a:lnTo>
                  <a:pt x="2344" y="4855"/>
                </a:lnTo>
                <a:lnTo>
                  <a:pt x="2337" y="4855"/>
                </a:lnTo>
                <a:lnTo>
                  <a:pt x="2335" y="4853"/>
                </a:lnTo>
                <a:lnTo>
                  <a:pt x="2337" y="4850"/>
                </a:lnTo>
                <a:lnTo>
                  <a:pt x="2344" y="4850"/>
                </a:lnTo>
                <a:lnTo>
                  <a:pt x="2349" y="4850"/>
                </a:lnTo>
                <a:lnTo>
                  <a:pt x="2363" y="4848"/>
                </a:lnTo>
                <a:lnTo>
                  <a:pt x="2368" y="4850"/>
                </a:lnTo>
                <a:lnTo>
                  <a:pt x="2368" y="4850"/>
                </a:lnTo>
                <a:lnTo>
                  <a:pt x="2368" y="4850"/>
                </a:lnTo>
                <a:lnTo>
                  <a:pt x="2368" y="4850"/>
                </a:lnTo>
                <a:lnTo>
                  <a:pt x="2368" y="4855"/>
                </a:lnTo>
                <a:lnTo>
                  <a:pt x="2368" y="4857"/>
                </a:lnTo>
                <a:moveTo>
                  <a:pt x="2434" y="4694"/>
                </a:moveTo>
                <a:lnTo>
                  <a:pt x="2434" y="4694"/>
                </a:lnTo>
                <a:lnTo>
                  <a:pt x="2429" y="4694"/>
                </a:lnTo>
                <a:lnTo>
                  <a:pt x="2427" y="4694"/>
                </a:lnTo>
                <a:lnTo>
                  <a:pt x="2425" y="4692"/>
                </a:lnTo>
                <a:lnTo>
                  <a:pt x="2425" y="4689"/>
                </a:lnTo>
                <a:lnTo>
                  <a:pt x="2427" y="4687"/>
                </a:lnTo>
                <a:lnTo>
                  <a:pt x="2427" y="4687"/>
                </a:lnTo>
                <a:lnTo>
                  <a:pt x="2432" y="4687"/>
                </a:lnTo>
                <a:lnTo>
                  <a:pt x="2434" y="4689"/>
                </a:lnTo>
                <a:lnTo>
                  <a:pt x="2434" y="4692"/>
                </a:lnTo>
                <a:lnTo>
                  <a:pt x="2434" y="4694"/>
                </a:lnTo>
                <a:moveTo>
                  <a:pt x="2082" y="4334"/>
                </a:moveTo>
                <a:lnTo>
                  <a:pt x="2082" y="4334"/>
                </a:lnTo>
                <a:lnTo>
                  <a:pt x="2084" y="4334"/>
                </a:lnTo>
                <a:lnTo>
                  <a:pt x="2084" y="4334"/>
                </a:lnTo>
                <a:lnTo>
                  <a:pt x="2086" y="4330"/>
                </a:lnTo>
                <a:lnTo>
                  <a:pt x="2101" y="4339"/>
                </a:lnTo>
                <a:lnTo>
                  <a:pt x="2108" y="4346"/>
                </a:lnTo>
                <a:lnTo>
                  <a:pt x="2108" y="4356"/>
                </a:lnTo>
                <a:lnTo>
                  <a:pt x="2103" y="4368"/>
                </a:lnTo>
                <a:lnTo>
                  <a:pt x="2091" y="4368"/>
                </a:lnTo>
                <a:lnTo>
                  <a:pt x="2077" y="4361"/>
                </a:lnTo>
                <a:lnTo>
                  <a:pt x="2067" y="4351"/>
                </a:lnTo>
                <a:lnTo>
                  <a:pt x="2067" y="4349"/>
                </a:lnTo>
                <a:lnTo>
                  <a:pt x="2063" y="4342"/>
                </a:lnTo>
                <a:lnTo>
                  <a:pt x="2060" y="4337"/>
                </a:lnTo>
                <a:lnTo>
                  <a:pt x="2065" y="4332"/>
                </a:lnTo>
                <a:lnTo>
                  <a:pt x="2067" y="4332"/>
                </a:lnTo>
                <a:lnTo>
                  <a:pt x="2070" y="4330"/>
                </a:lnTo>
                <a:lnTo>
                  <a:pt x="2070" y="4327"/>
                </a:lnTo>
                <a:lnTo>
                  <a:pt x="2072" y="4330"/>
                </a:lnTo>
                <a:lnTo>
                  <a:pt x="2077" y="4332"/>
                </a:lnTo>
                <a:lnTo>
                  <a:pt x="2077" y="4332"/>
                </a:lnTo>
                <a:lnTo>
                  <a:pt x="2082" y="4334"/>
                </a:lnTo>
                <a:moveTo>
                  <a:pt x="2134" y="3849"/>
                </a:moveTo>
                <a:lnTo>
                  <a:pt x="2134" y="3849"/>
                </a:lnTo>
                <a:lnTo>
                  <a:pt x="2138" y="3852"/>
                </a:lnTo>
                <a:lnTo>
                  <a:pt x="2145" y="3854"/>
                </a:lnTo>
                <a:lnTo>
                  <a:pt x="2150" y="3854"/>
                </a:lnTo>
                <a:lnTo>
                  <a:pt x="2145" y="3859"/>
                </a:lnTo>
                <a:lnTo>
                  <a:pt x="2141" y="3859"/>
                </a:lnTo>
                <a:lnTo>
                  <a:pt x="2136" y="3859"/>
                </a:lnTo>
                <a:lnTo>
                  <a:pt x="2131" y="3857"/>
                </a:lnTo>
                <a:lnTo>
                  <a:pt x="2127" y="3859"/>
                </a:lnTo>
                <a:lnTo>
                  <a:pt x="2124" y="3859"/>
                </a:lnTo>
                <a:lnTo>
                  <a:pt x="2119" y="3857"/>
                </a:lnTo>
                <a:lnTo>
                  <a:pt x="2117" y="3852"/>
                </a:lnTo>
                <a:lnTo>
                  <a:pt x="2122" y="3852"/>
                </a:lnTo>
                <a:lnTo>
                  <a:pt x="2124" y="3849"/>
                </a:lnTo>
                <a:lnTo>
                  <a:pt x="2127" y="3847"/>
                </a:lnTo>
                <a:lnTo>
                  <a:pt x="2131" y="3847"/>
                </a:lnTo>
                <a:lnTo>
                  <a:pt x="2134" y="3849"/>
                </a:lnTo>
                <a:moveTo>
                  <a:pt x="2051" y="3854"/>
                </a:moveTo>
                <a:lnTo>
                  <a:pt x="2051" y="3854"/>
                </a:lnTo>
                <a:lnTo>
                  <a:pt x="2053" y="3857"/>
                </a:lnTo>
                <a:lnTo>
                  <a:pt x="2048" y="3859"/>
                </a:lnTo>
                <a:lnTo>
                  <a:pt x="2041" y="3854"/>
                </a:lnTo>
                <a:lnTo>
                  <a:pt x="2037" y="3849"/>
                </a:lnTo>
                <a:lnTo>
                  <a:pt x="2034" y="3845"/>
                </a:lnTo>
                <a:lnTo>
                  <a:pt x="2037" y="3842"/>
                </a:lnTo>
                <a:lnTo>
                  <a:pt x="2041" y="3840"/>
                </a:lnTo>
                <a:lnTo>
                  <a:pt x="2046" y="3842"/>
                </a:lnTo>
                <a:lnTo>
                  <a:pt x="2048" y="3849"/>
                </a:lnTo>
                <a:lnTo>
                  <a:pt x="2051" y="3854"/>
                </a:lnTo>
                <a:moveTo>
                  <a:pt x="3196" y="3523"/>
                </a:moveTo>
                <a:lnTo>
                  <a:pt x="3196" y="3523"/>
                </a:lnTo>
                <a:lnTo>
                  <a:pt x="3194" y="3525"/>
                </a:lnTo>
                <a:lnTo>
                  <a:pt x="3191" y="3525"/>
                </a:lnTo>
                <a:lnTo>
                  <a:pt x="3179" y="3537"/>
                </a:lnTo>
                <a:lnTo>
                  <a:pt x="3175" y="3544"/>
                </a:lnTo>
                <a:lnTo>
                  <a:pt x="3175" y="3549"/>
                </a:lnTo>
                <a:lnTo>
                  <a:pt x="3175" y="3556"/>
                </a:lnTo>
                <a:lnTo>
                  <a:pt x="3179" y="3554"/>
                </a:lnTo>
                <a:lnTo>
                  <a:pt x="3168" y="3584"/>
                </a:lnTo>
                <a:lnTo>
                  <a:pt x="3163" y="3606"/>
                </a:lnTo>
                <a:lnTo>
                  <a:pt x="3134" y="3660"/>
                </a:lnTo>
                <a:lnTo>
                  <a:pt x="3113" y="3712"/>
                </a:lnTo>
                <a:lnTo>
                  <a:pt x="3111" y="3726"/>
                </a:lnTo>
                <a:lnTo>
                  <a:pt x="3106" y="3736"/>
                </a:lnTo>
                <a:lnTo>
                  <a:pt x="3099" y="3743"/>
                </a:lnTo>
                <a:lnTo>
                  <a:pt x="3092" y="3760"/>
                </a:lnTo>
                <a:lnTo>
                  <a:pt x="3089" y="3767"/>
                </a:lnTo>
                <a:lnTo>
                  <a:pt x="3092" y="3771"/>
                </a:lnTo>
                <a:lnTo>
                  <a:pt x="3097" y="3778"/>
                </a:lnTo>
                <a:lnTo>
                  <a:pt x="3099" y="3783"/>
                </a:lnTo>
                <a:lnTo>
                  <a:pt x="3097" y="3788"/>
                </a:lnTo>
                <a:lnTo>
                  <a:pt x="3094" y="3793"/>
                </a:lnTo>
                <a:lnTo>
                  <a:pt x="3094" y="3797"/>
                </a:lnTo>
                <a:lnTo>
                  <a:pt x="3094" y="3805"/>
                </a:lnTo>
                <a:lnTo>
                  <a:pt x="3092" y="3819"/>
                </a:lnTo>
                <a:lnTo>
                  <a:pt x="3092" y="3828"/>
                </a:lnTo>
                <a:lnTo>
                  <a:pt x="3089" y="3845"/>
                </a:lnTo>
                <a:lnTo>
                  <a:pt x="3075" y="3866"/>
                </a:lnTo>
                <a:lnTo>
                  <a:pt x="3073" y="3878"/>
                </a:lnTo>
                <a:lnTo>
                  <a:pt x="3071" y="3887"/>
                </a:lnTo>
                <a:lnTo>
                  <a:pt x="3073" y="3894"/>
                </a:lnTo>
                <a:lnTo>
                  <a:pt x="3080" y="3935"/>
                </a:lnTo>
                <a:lnTo>
                  <a:pt x="3082" y="3942"/>
                </a:lnTo>
                <a:lnTo>
                  <a:pt x="3085" y="3946"/>
                </a:lnTo>
                <a:lnTo>
                  <a:pt x="3087" y="3949"/>
                </a:lnTo>
                <a:lnTo>
                  <a:pt x="3113" y="3958"/>
                </a:lnTo>
                <a:lnTo>
                  <a:pt x="3125" y="3958"/>
                </a:lnTo>
                <a:lnTo>
                  <a:pt x="3132" y="3961"/>
                </a:lnTo>
                <a:lnTo>
                  <a:pt x="3139" y="3968"/>
                </a:lnTo>
                <a:lnTo>
                  <a:pt x="3144" y="3977"/>
                </a:lnTo>
                <a:lnTo>
                  <a:pt x="3137" y="3972"/>
                </a:lnTo>
                <a:lnTo>
                  <a:pt x="3134" y="3975"/>
                </a:lnTo>
                <a:lnTo>
                  <a:pt x="3132" y="3980"/>
                </a:lnTo>
                <a:lnTo>
                  <a:pt x="3132" y="3984"/>
                </a:lnTo>
                <a:lnTo>
                  <a:pt x="3130" y="3977"/>
                </a:lnTo>
                <a:lnTo>
                  <a:pt x="3127" y="3975"/>
                </a:lnTo>
                <a:lnTo>
                  <a:pt x="3125" y="3977"/>
                </a:lnTo>
                <a:lnTo>
                  <a:pt x="3120" y="3980"/>
                </a:lnTo>
                <a:lnTo>
                  <a:pt x="3123" y="3984"/>
                </a:lnTo>
                <a:lnTo>
                  <a:pt x="3120" y="3994"/>
                </a:lnTo>
                <a:lnTo>
                  <a:pt x="3125" y="4006"/>
                </a:lnTo>
                <a:lnTo>
                  <a:pt x="3134" y="4013"/>
                </a:lnTo>
                <a:lnTo>
                  <a:pt x="3139" y="4008"/>
                </a:lnTo>
                <a:lnTo>
                  <a:pt x="3144" y="4010"/>
                </a:lnTo>
                <a:lnTo>
                  <a:pt x="3144" y="4013"/>
                </a:lnTo>
                <a:lnTo>
                  <a:pt x="3139" y="4015"/>
                </a:lnTo>
                <a:lnTo>
                  <a:pt x="3142" y="4020"/>
                </a:lnTo>
                <a:lnTo>
                  <a:pt x="3146" y="4027"/>
                </a:lnTo>
                <a:lnTo>
                  <a:pt x="3153" y="4029"/>
                </a:lnTo>
                <a:lnTo>
                  <a:pt x="3160" y="4027"/>
                </a:lnTo>
                <a:lnTo>
                  <a:pt x="3168" y="4029"/>
                </a:lnTo>
                <a:lnTo>
                  <a:pt x="3170" y="4036"/>
                </a:lnTo>
                <a:lnTo>
                  <a:pt x="3170" y="4046"/>
                </a:lnTo>
                <a:lnTo>
                  <a:pt x="3163" y="4043"/>
                </a:lnTo>
                <a:lnTo>
                  <a:pt x="3163" y="4048"/>
                </a:lnTo>
                <a:lnTo>
                  <a:pt x="3163" y="4053"/>
                </a:lnTo>
                <a:lnTo>
                  <a:pt x="3168" y="4055"/>
                </a:lnTo>
                <a:lnTo>
                  <a:pt x="3172" y="4053"/>
                </a:lnTo>
                <a:lnTo>
                  <a:pt x="3177" y="4053"/>
                </a:lnTo>
                <a:lnTo>
                  <a:pt x="3179" y="4058"/>
                </a:lnTo>
                <a:lnTo>
                  <a:pt x="3182" y="4065"/>
                </a:lnTo>
                <a:lnTo>
                  <a:pt x="3179" y="4067"/>
                </a:lnTo>
                <a:lnTo>
                  <a:pt x="3177" y="4067"/>
                </a:lnTo>
                <a:lnTo>
                  <a:pt x="3175" y="4065"/>
                </a:lnTo>
                <a:lnTo>
                  <a:pt x="3172" y="4065"/>
                </a:lnTo>
                <a:lnTo>
                  <a:pt x="3160" y="4074"/>
                </a:lnTo>
                <a:lnTo>
                  <a:pt x="3165" y="4077"/>
                </a:lnTo>
                <a:lnTo>
                  <a:pt x="3163" y="4079"/>
                </a:lnTo>
                <a:lnTo>
                  <a:pt x="3160" y="4079"/>
                </a:lnTo>
                <a:lnTo>
                  <a:pt x="3163" y="4081"/>
                </a:lnTo>
                <a:lnTo>
                  <a:pt x="3163" y="4086"/>
                </a:lnTo>
                <a:lnTo>
                  <a:pt x="3156" y="4088"/>
                </a:lnTo>
                <a:lnTo>
                  <a:pt x="3151" y="4091"/>
                </a:lnTo>
                <a:lnTo>
                  <a:pt x="3146" y="4096"/>
                </a:lnTo>
                <a:lnTo>
                  <a:pt x="3142" y="4098"/>
                </a:lnTo>
                <a:lnTo>
                  <a:pt x="3134" y="4103"/>
                </a:lnTo>
                <a:lnTo>
                  <a:pt x="3130" y="4112"/>
                </a:lnTo>
                <a:lnTo>
                  <a:pt x="3120" y="4159"/>
                </a:lnTo>
                <a:lnTo>
                  <a:pt x="3120" y="4164"/>
                </a:lnTo>
                <a:lnTo>
                  <a:pt x="3118" y="4169"/>
                </a:lnTo>
                <a:lnTo>
                  <a:pt x="3120" y="4176"/>
                </a:lnTo>
                <a:lnTo>
                  <a:pt x="3130" y="4190"/>
                </a:lnTo>
                <a:lnTo>
                  <a:pt x="3139" y="4214"/>
                </a:lnTo>
                <a:lnTo>
                  <a:pt x="3139" y="4219"/>
                </a:lnTo>
                <a:lnTo>
                  <a:pt x="3134" y="4226"/>
                </a:lnTo>
                <a:lnTo>
                  <a:pt x="3127" y="4228"/>
                </a:lnTo>
                <a:lnTo>
                  <a:pt x="3120" y="4228"/>
                </a:lnTo>
                <a:lnTo>
                  <a:pt x="3113" y="4226"/>
                </a:lnTo>
                <a:lnTo>
                  <a:pt x="3108" y="4219"/>
                </a:lnTo>
                <a:lnTo>
                  <a:pt x="3104" y="4216"/>
                </a:lnTo>
                <a:lnTo>
                  <a:pt x="3101" y="4216"/>
                </a:lnTo>
                <a:lnTo>
                  <a:pt x="3097" y="4214"/>
                </a:lnTo>
                <a:lnTo>
                  <a:pt x="3092" y="4216"/>
                </a:lnTo>
                <a:lnTo>
                  <a:pt x="3092" y="4219"/>
                </a:lnTo>
                <a:lnTo>
                  <a:pt x="3087" y="4221"/>
                </a:lnTo>
                <a:lnTo>
                  <a:pt x="3080" y="4219"/>
                </a:lnTo>
                <a:lnTo>
                  <a:pt x="3066" y="4214"/>
                </a:lnTo>
                <a:lnTo>
                  <a:pt x="3052" y="4211"/>
                </a:lnTo>
                <a:lnTo>
                  <a:pt x="3040" y="4214"/>
                </a:lnTo>
                <a:lnTo>
                  <a:pt x="3021" y="4230"/>
                </a:lnTo>
                <a:lnTo>
                  <a:pt x="3018" y="4226"/>
                </a:lnTo>
                <a:lnTo>
                  <a:pt x="3018" y="4226"/>
                </a:lnTo>
                <a:lnTo>
                  <a:pt x="3014" y="4228"/>
                </a:lnTo>
                <a:lnTo>
                  <a:pt x="3007" y="4223"/>
                </a:lnTo>
                <a:lnTo>
                  <a:pt x="2988" y="4226"/>
                </a:lnTo>
                <a:lnTo>
                  <a:pt x="2981" y="4219"/>
                </a:lnTo>
                <a:lnTo>
                  <a:pt x="2976" y="4214"/>
                </a:lnTo>
                <a:lnTo>
                  <a:pt x="2957" y="4211"/>
                </a:lnTo>
                <a:lnTo>
                  <a:pt x="2950" y="4209"/>
                </a:lnTo>
                <a:lnTo>
                  <a:pt x="2945" y="4209"/>
                </a:lnTo>
                <a:lnTo>
                  <a:pt x="2917" y="4209"/>
                </a:lnTo>
                <a:lnTo>
                  <a:pt x="2912" y="4204"/>
                </a:lnTo>
                <a:lnTo>
                  <a:pt x="2877" y="4150"/>
                </a:lnTo>
                <a:lnTo>
                  <a:pt x="2867" y="4140"/>
                </a:lnTo>
                <a:lnTo>
                  <a:pt x="2832" y="4117"/>
                </a:lnTo>
                <a:lnTo>
                  <a:pt x="2808" y="4105"/>
                </a:lnTo>
                <a:lnTo>
                  <a:pt x="2777" y="4098"/>
                </a:lnTo>
                <a:lnTo>
                  <a:pt x="2765" y="4098"/>
                </a:lnTo>
                <a:lnTo>
                  <a:pt x="2727" y="4107"/>
                </a:lnTo>
                <a:lnTo>
                  <a:pt x="2725" y="4107"/>
                </a:lnTo>
                <a:lnTo>
                  <a:pt x="2720" y="4112"/>
                </a:lnTo>
                <a:lnTo>
                  <a:pt x="2716" y="4114"/>
                </a:lnTo>
                <a:lnTo>
                  <a:pt x="2701" y="4114"/>
                </a:lnTo>
                <a:lnTo>
                  <a:pt x="2680" y="4103"/>
                </a:lnTo>
                <a:lnTo>
                  <a:pt x="2666" y="4100"/>
                </a:lnTo>
                <a:lnTo>
                  <a:pt x="2652" y="4100"/>
                </a:lnTo>
                <a:lnTo>
                  <a:pt x="2638" y="4096"/>
                </a:lnTo>
                <a:lnTo>
                  <a:pt x="2626" y="4091"/>
                </a:lnTo>
                <a:lnTo>
                  <a:pt x="2595" y="4067"/>
                </a:lnTo>
                <a:lnTo>
                  <a:pt x="2583" y="4062"/>
                </a:lnTo>
                <a:lnTo>
                  <a:pt x="2571" y="4060"/>
                </a:lnTo>
                <a:lnTo>
                  <a:pt x="2557" y="4060"/>
                </a:lnTo>
                <a:lnTo>
                  <a:pt x="2543" y="4058"/>
                </a:lnTo>
                <a:lnTo>
                  <a:pt x="2533" y="4053"/>
                </a:lnTo>
                <a:lnTo>
                  <a:pt x="2515" y="4043"/>
                </a:lnTo>
                <a:lnTo>
                  <a:pt x="2498" y="4036"/>
                </a:lnTo>
                <a:lnTo>
                  <a:pt x="2491" y="4032"/>
                </a:lnTo>
                <a:lnTo>
                  <a:pt x="2489" y="4029"/>
                </a:lnTo>
                <a:lnTo>
                  <a:pt x="2484" y="4029"/>
                </a:lnTo>
                <a:lnTo>
                  <a:pt x="2481" y="4027"/>
                </a:lnTo>
                <a:lnTo>
                  <a:pt x="2470" y="4013"/>
                </a:lnTo>
                <a:lnTo>
                  <a:pt x="2467" y="4013"/>
                </a:lnTo>
                <a:lnTo>
                  <a:pt x="2460" y="4008"/>
                </a:lnTo>
                <a:lnTo>
                  <a:pt x="2455" y="4003"/>
                </a:lnTo>
                <a:lnTo>
                  <a:pt x="2453" y="4003"/>
                </a:lnTo>
                <a:lnTo>
                  <a:pt x="2448" y="4001"/>
                </a:lnTo>
                <a:lnTo>
                  <a:pt x="2446" y="4001"/>
                </a:lnTo>
                <a:lnTo>
                  <a:pt x="2441" y="3996"/>
                </a:lnTo>
                <a:lnTo>
                  <a:pt x="2441" y="3994"/>
                </a:lnTo>
                <a:lnTo>
                  <a:pt x="2399" y="3996"/>
                </a:lnTo>
                <a:lnTo>
                  <a:pt x="2394" y="3999"/>
                </a:lnTo>
                <a:lnTo>
                  <a:pt x="2392" y="4001"/>
                </a:lnTo>
                <a:lnTo>
                  <a:pt x="2387" y="3999"/>
                </a:lnTo>
                <a:lnTo>
                  <a:pt x="2384" y="3996"/>
                </a:lnTo>
                <a:lnTo>
                  <a:pt x="2382" y="3987"/>
                </a:lnTo>
                <a:lnTo>
                  <a:pt x="2380" y="3984"/>
                </a:lnTo>
                <a:lnTo>
                  <a:pt x="2370" y="3975"/>
                </a:lnTo>
                <a:lnTo>
                  <a:pt x="2358" y="3972"/>
                </a:lnTo>
                <a:lnTo>
                  <a:pt x="2332" y="3975"/>
                </a:lnTo>
                <a:lnTo>
                  <a:pt x="2306" y="3980"/>
                </a:lnTo>
                <a:lnTo>
                  <a:pt x="2278" y="3989"/>
                </a:lnTo>
                <a:lnTo>
                  <a:pt x="2266" y="3989"/>
                </a:lnTo>
                <a:lnTo>
                  <a:pt x="2257" y="3984"/>
                </a:lnTo>
                <a:lnTo>
                  <a:pt x="2240" y="3963"/>
                </a:lnTo>
                <a:lnTo>
                  <a:pt x="2233" y="3958"/>
                </a:lnTo>
                <a:lnTo>
                  <a:pt x="2228" y="3956"/>
                </a:lnTo>
                <a:lnTo>
                  <a:pt x="2216" y="3958"/>
                </a:lnTo>
                <a:lnTo>
                  <a:pt x="2209" y="3956"/>
                </a:lnTo>
                <a:lnTo>
                  <a:pt x="2202" y="3949"/>
                </a:lnTo>
                <a:lnTo>
                  <a:pt x="2198" y="3942"/>
                </a:lnTo>
                <a:lnTo>
                  <a:pt x="2193" y="3935"/>
                </a:lnTo>
                <a:lnTo>
                  <a:pt x="2190" y="3928"/>
                </a:lnTo>
                <a:lnTo>
                  <a:pt x="2190" y="3923"/>
                </a:lnTo>
                <a:lnTo>
                  <a:pt x="2188" y="3918"/>
                </a:lnTo>
                <a:lnTo>
                  <a:pt x="2183" y="3913"/>
                </a:lnTo>
                <a:lnTo>
                  <a:pt x="2181" y="3909"/>
                </a:lnTo>
                <a:lnTo>
                  <a:pt x="2176" y="3904"/>
                </a:lnTo>
                <a:lnTo>
                  <a:pt x="2176" y="3899"/>
                </a:lnTo>
                <a:lnTo>
                  <a:pt x="2181" y="3894"/>
                </a:lnTo>
                <a:lnTo>
                  <a:pt x="2181" y="3897"/>
                </a:lnTo>
                <a:lnTo>
                  <a:pt x="2186" y="3892"/>
                </a:lnTo>
                <a:lnTo>
                  <a:pt x="2188" y="3892"/>
                </a:lnTo>
                <a:lnTo>
                  <a:pt x="2186" y="3890"/>
                </a:lnTo>
                <a:lnTo>
                  <a:pt x="2188" y="3878"/>
                </a:lnTo>
                <a:lnTo>
                  <a:pt x="2188" y="3878"/>
                </a:lnTo>
                <a:lnTo>
                  <a:pt x="2188" y="3871"/>
                </a:lnTo>
                <a:lnTo>
                  <a:pt x="2188" y="3866"/>
                </a:lnTo>
                <a:lnTo>
                  <a:pt x="2188" y="3864"/>
                </a:lnTo>
                <a:lnTo>
                  <a:pt x="2183" y="3859"/>
                </a:lnTo>
                <a:lnTo>
                  <a:pt x="2183" y="3857"/>
                </a:lnTo>
                <a:lnTo>
                  <a:pt x="2181" y="3854"/>
                </a:lnTo>
                <a:lnTo>
                  <a:pt x="2181" y="3854"/>
                </a:lnTo>
                <a:lnTo>
                  <a:pt x="2183" y="3852"/>
                </a:lnTo>
                <a:lnTo>
                  <a:pt x="2188" y="3835"/>
                </a:lnTo>
                <a:lnTo>
                  <a:pt x="2188" y="3823"/>
                </a:lnTo>
                <a:lnTo>
                  <a:pt x="2190" y="3816"/>
                </a:lnTo>
                <a:lnTo>
                  <a:pt x="2190" y="3809"/>
                </a:lnTo>
                <a:lnTo>
                  <a:pt x="2186" y="3807"/>
                </a:lnTo>
                <a:lnTo>
                  <a:pt x="2195" y="3800"/>
                </a:lnTo>
                <a:lnTo>
                  <a:pt x="2202" y="3790"/>
                </a:lnTo>
                <a:lnTo>
                  <a:pt x="2209" y="3781"/>
                </a:lnTo>
                <a:lnTo>
                  <a:pt x="2221" y="3783"/>
                </a:lnTo>
                <a:lnTo>
                  <a:pt x="2231" y="3774"/>
                </a:lnTo>
                <a:lnTo>
                  <a:pt x="2233" y="3769"/>
                </a:lnTo>
                <a:lnTo>
                  <a:pt x="2233" y="3762"/>
                </a:lnTo>
                <a:lnTo>
                  <a:pt x="2235" y="3757"/>
                </a:lnTo>
                <a:lnTo>
                  <a:pt x="2240" y="3757"/>
                </a:lnTo>
                <a:lnTo>
                  <a:pt x="2245" y="3757"/>
                </a:lnTo>
                <a:lnTo>
                  <a:pt x="2250" y="3757"/>
                </a:lnTo>
                <a:lnTo>
                  <a:pt x="2254" y="3750"/>
                </a:lnTo>
                <a:lnTo>
                  <a:pt x="2254" y="3741"/>
                </a:lnTo>
                <a:lnTo>
                  <a:pt x="2250" y="3731"/>
                </a:lnTo>
                <a:lnTo>
                  <a:pt x="2254" y="3722"/>
                </a:lnTo>
                <a:lnTo>
                  <a:pt x="2257" y="3726"/>
                </a:lnTo>
                <a:lnTo>
                  <a:pt x="2259" y="3726"/>
                </a:lnTo>
                <a:lnTo>
                  <a:pt x="2264" y="3726"/>
                </a:lnTo>
                <a:lnTo>
                  <a:pt x="2266" y="3734"/>
                </a:lnTo>
                <a:lnTo>
                  <a:pt x="2278" y="3750"/>
                </a:lnTo>
                <a:lnTo>
                  <a:pt x="2287" y="3767"/>
                </a:lnTo>
                <a:lnTo>
                  <a:pt x="2292" y="3769"/>
                </a:lnTo>
                <a:lnTo>
                  <a:pt x="2302" y="3771"/>
                </a:lnTo>
                <a:lnTo>
                  <a:pt x="2306" y="3774"/>
                </a:lnTo>
                <a:lnTo>
                  <a:pt x="2306" y="3778"/>
                </a:lnTo>
                <a:lnTo>
                  <a:pt x="2318" y="3783"/>
                </a:lnTo>
                <a:lnTo>
                  <a:pt x="2332" y="3778"/>
                </a:lnTo>
                <a:lnTo>
                  <a:pt x="2358" y="3762"/>
                </a:lnTo>
                <a:lnTo>
                  <a:pt x="2368" y="3750"/>
                </a:lnTo>
                <a:lnTo>
                  <a:pt x="2370" y="3748"/>
                </a:lnTo>
                <a:lnTo>
                  <a:pt x="2370" y="3745"/>
                </a:lnTo>
                <a:lnTo>
                  <a:pt x="2370" y="3743"/>
                </a:lnTo>
                <a:lnTo>
                  <a:pt x="2368" y="3738"/>
                </a:lnTo>
                <a:lnTo>
                  <a:pt x="2368" y="3734"/>
                </a:lnTo>
                <a:lnTo>
                  <a:pt x="2363" y="3731"/>
                </a:lnTo>
                <a:lnTo>
                  <a:pt x="2363" y="3726"/>
                </a:lnTo>
                <a:lnTo>
                  <a:pt x="2373" y="3715"/>
                </a:lnTo>
                <a:lnTo>
                  <a:pt x="2370" y="3712"/>
                </a:lnTo>
                <a:lnTo>
                  <a:pt x="2370" y="3708"/>
                </a:lnTo>
                <a:lnTo>
                  <a:pt x="2375" y="3703"/>
                </a:lnTo>
                <a:lnTo>
                  <a:pt x="2377" y="3703"/>
                </a:lnTo>
                <a:lnTo>
                  <a:pt x="2382" y="3703"/>
                </a:lnTo>
                <a:lnTo>
                  <a:pt x="2394" y="3705"/>
                </a:lnTo>
                <a:lnTo>
                  <a:pt x="2401" y="3705"/>
                </a:lnTo>
                <a:lnTo>
                  <a:pt x="2410" y="3703"/>
                </a:lnTo>
                <a:lnTo>
                  <a:pt x="2418" y="3698"/>
                </a:lnTo>
                <a:lnTo>
                  <a:pt x="2418" y="3689"/>
                </a:lnTo>
                <a:lnTo>
                  <a:pt x="2425" y="3691"/>
                </a:lnTo>
                <a:lnTo>
                  <a:pt x="2427" y="3689"/>
                </a:lnTo>
                <a:lnTo>
                  <a:pt x="2432" y="3686"/>
                </a:lnTo>
                <a:lnTo>
                  <a:pt x="2436" y="3684"/>
                </a:lnTo>
                <a:lnTo>
                  <a:pt x="2441" y="3679"/>
                </a:lnTo>
                <a:lnTo>
                  <a:pt x="2444" y="3679"/>
                </a:lnTo>
                <a:lnTo>
                  <a:pt x="2446" y="3679"/>
                </a:lnTo>
                <a:lnTo>
                  <a:pt x="2446" y="3681"/>
                </a:lnTo>
                <a:lnTo>
                  <a:pt x="2448" y="3686"/>
                </a:lnTo>
                <a:lnTo>
                  <a:pt x="2448" y="3686"/>
                </a:lnTo>
                <a:lnTo>
                  <a:pt x="2463" y="3693"/>
                </a:lnTo>
                <a:lnTo>
                  <a:pt x="2465" y="3696"/>
                </a:lnTo>
                <a:lnTo>
                  <a:pt x="2467" y="3710"/>
                </a:lnTo>
                <a:lnTo>
                  <a:pt x="2467" y="3712"/>
                </a:lnTo>
                <a:lnTo>
                  <a:pt x="2474" y="3724"/>
                </a:lnTo>
                <a:lnTo>
                  <a:pt x="2515" y="3715"/>
                </a:lnTo>
                <a:lnTo>
                  <a:pt x="2524" y="3719"/>
                </a:lnTo>
                <a:lnTo>
                  <a:pt x="2524" y="3726"/>
                </a:lnTo>
                <a:lnTo>
                  <a:pt x="2526" y="3731"/>
                </a:lnTo>
                <a:lnTo>
                  <a:pt x="2529" y="3736"/>
                </a:lnTo>
                <a:lnTo>
                  <a:pt x="2533" y="3738"/>
                </a:lnTo>
                <a:lnTo>
                  <a:pt x="2543" y="3741"/>
                </a:lnTo>
                <a:lnTo>
                  <a:pt x="2555" y="3748"/>
                </a:lnTo>
                <a:lnTo>
                  <a:pt x="2567" y="3752"/>
                </a:lnTo>
                <a:lnTo>
                  <a:pt x="2581" y="3752"/>
                </a:lnTo>
                <a:lnTo>
                  <a:pt x="2586" y="3755"/>
                </a:lnTo>
                <a:lnTo>
                  <a:pt x="2586" y="3757"/>
                </a:lnTo>
                <a:lnTo>
                  <a:pt x="2586" y="3757"/>
                </a:lnTo>
                <a:lnTo>
                  <a:pt x="2586" y="3757"/>
                </a:lnTo>
                <a:lnTo>
                  <a:pt x="2593" y="3757"/>
                </a:lnTo>
                <a:lnTo>
                  <a:pt x="2614" y="3757"/>
                </a:lnTo>
                <a:lnTo>
                  <a:pt x="2621" y="3752"/>
                </a:lnTo>
                <a:lnTo>
                  <a:pt x="2633" y="3743"/>
                </a:lnTo>
                <a:lnTo>
                  <a:pt x="2647" y="3738"/>
                </a:lnTo>
                <a:lnTo>
                  <a:pt x="2652" y="3734"/>
                </a:lnTo>
                <a:lnTo>
                  <a:pt x="2654" y="3729"/>
                </a:lnTo>
                <a:lnTo>
                  <a:pt x="2659" y="3724"/>
                </a:lnTo>
                <a:lnTo>
                  <a:pt x="2680" y="3717"/>
                </a:lnTo>
                <a:lnTo>
                  <a:pt x="2683" y="3712"/>
                </a:lnTo>
                <a:lnTo>
                  <a:pt x="2699" y="3717"/>
                </a:lnTo>
                <a:lnTo>
                  <a:pt x="2706" y="3719"/>
                </a:lnTo>
                <a:lnTo>
                  <a:pt x="2713" y="3719"/>
                </a:lnTo>
                <a:lnTo>
                  <a:pt x="2718" y="3717"/>
                </a:lnTo>
                <a:lnTo>
                  <a:pt x="2727" y="3712"/>
                </a:lnTo>
                <a:lnTo>
                  <a:pt x="2768" y="3712"/>
                </a:lnTo>
                <a:lnTo>
                  <a:pt x="2787" y="3708"/>
                </a:lnTo>
                <a:lnTo>
                  <a:pt x="2803" y="3698"/>
                </a:lnTo>
                <a:lnTo>
                  <a:pt x="2817" y="3689"/>
                </a:lnTo>
                <a:lnTo>
                  <a:pt x="2829" y="3691"/>
                </a:lnTo>
                <a:lnTo>
                  <a:pt x="2843" y="3684"/>
                </a:lnTo>
                <a:lnTo>
                  <a:pt x="2881" y="3663"/>
                </a:lnTo>
                <a:lnTo>
                  <a:pt x="2891" y="3653"/>
                </a:lnTo>
                <a:lnTo>
                  <a:pt x="2900" y="3641"/>
                </a:lnTo>
                <a:lnTo>
                  <a:pt x="2910" y="3625"/>
                </a:lnTo>
                <a:lnTo>
                  <a:pt x="2912" y="3622"/>
                </a:lnTo>
                <a:lnTo>
                  <a:pt x="2924" y="3620"/>
                </a:lnTo>
                <a:lnTo>
                  <a:pt x="2929" y="3620"/>
                </a:lnTo>
                <a:lnTo>
                  <a:pt x="2952" y="3608"/>
                </a:lnTo>
                <a:lnTo>
                  <a:pt x="2957" y="3603"/>
                </a:lnTo>
                <a:lnTo>
                  <a:pt x="2959" y="3603"/>
                </a:lnTo>
                <a:lnTo>
                  <a:pt x="2964" y="3601"/>
                </a:lnTo>
                <a:lnTo>
                  <a:pt x="2974" y="3601"/>
                </a:lnTo>
                <a:lnTo>
                  <a:pt x="2976" y="3601"/>
                </a:lnTo>
                <a:lnTo>
                  <a:pt x="2983" y="3608"/>
                </a:lnTo>
                <a:lnTo>
                  <a:pt x="2985" y="3608"/>
                </a:lnTo>
                <a:lnTo>
                  <a:pt x="2990" y="3608"/>
                </a:lnTo>
                <a:lnTo>
                  <a:pt x="2997" y="3611"/>
                </a:lnTo>
                <a:lnTo>
                  <a:pt x="3009" y="3608"/>
                </a:lnTo>
                <a:lnTo>
                  <a:pt x="3011" y="3608"/>
                </a:lnTo>
                <a:lnTo>
                  <a:pt x="3014" y="3608"/>
                </a:lnTo>
                <a:lnTo>
                  <a:pt x="3016" y="3613"/>
                </a:lnTo>
                <a:lnTo>
                  <a:pt x="3018" y="3615"/>
                </a:lnTo>
                <a:lnTo>
                  <a:pt x="3026" y="3615"/>
                </a:lnTo>
                <a:lnTo>
                  <a:pt x="3030" y="3611"/>
                </a:lnTo>
                <a:lnTo>
                  <a:pt x="3035" y="3608"/>
                </a:lnTo>
                <a:lnTo>
                  <a:pt x="3054" y="3596"/>
                </a:lnTo>
                <a:lnTo>
                  <a:pt x="3059" y="3584"/>
                </a:lnTo>
                <a:lnTo>
                  <a:pt x="3068" y="3558"/>
                </a:lnTo>
                <a:lnTo>
                  <a:pt x="3066" y="3556"/>
                </a:lnTo>
                <a:lnTo>
                  <a:pt x="3066" y="3554"/>
                </a:lnTo>
                <a:lnTo>
                  <a:pt x="3066" y="3554"/>
                </a:lnTo>
                <a:lnTo>
                  <a:pt x="3066" y="3549"/>
                </a:lnTo>
                <a:lnTo>
                  <a:pt x="3066" y="3549"/>
                </a:lnTo>
                <a:lnTo>
                  <a:pt x="3066" y="3549"/>
                </a:lnTo>
                <a:lnTo>
                  <a:pt x="3068" y="3551"/>
                </a:lnTo>
                <a:lnTo>
                  <a:pt x="3068" y="3563"/>
                </a:lnTo>
                <a:lnTo>
                  <a:pt x="3071" y="3568"/>
                </a:lnTo>
                <a:lnTo>
                  <a:pt x="3075" y="3570"/>
                </a:lnTo>
                <a:lnTo>
                  <a:pt x="3080" y="3570"/>
                </a:lnTo>
                <a:lnTo>
                  <a:pt x="3087" y="3570"/>
                </a:lnTo>
                <a:lnTo>
                  <a:pt x="3097" y="3566"/>
                </a:lnTo>
                <a:lnTo>
                  <a:pt x="3120" y="3551"/>
                </a:lnTo>
                <a:lnTo>
                  <a:pt x="3125" y="3544"/>
                </a:lnTo>
                <a:lnTo>
                  <a:pt x="3130" y="3542"/>
                </a:lnTo>
                <a:lnTo>
                  <a:pt x="3142" y="3532"/>
                </a:lnTo>
                <a:lnTo>
                  <a:pt x="3151" y="3518"/>
                </a:lnTo>
                <a:lnTo>
                  <a:pt x="3156" y="3514"/>
                </a:lnTo>
                <a:lnTo>
                  <a:pt x="3168" y="3514"/>
                </a:lnTo>
                <a:lnTo>
                  <a:pt x="3186" y="3518"/>
                </a:lnTo>
                <a:lnTo>
                  <a:pt x="3198" y="3518"/>
                </a:lnTo>
                <a:lnTo>
                  <a:pt x="3198" y="3521"/>
                </a:lnTo>
                <a:lnTo>
                  <a:pt x="3196" y="3523"/>
                </a:lnTo>
                <a:moveTo>
                  <a:pt x="2981" y="3518"/>
                </a:moveTo>
                <a:lnTo>
                  <a:pt x="2981" y="3518"/>
                </a:lnTo>
                <a:lnTo>
                  <a:pt x="2976" y="3523"/>
                </a:lnTo>
                <a:lnTo>
                  <a:pt x="2969" y="3516"/>
                </a:lnTo>
                <a:lnTo>
                  <a:pt x="2962" y="3511"/>
                </a:lnTo>
                <a:lnTo>
                  <a:pt x="2959" y="3504"/>
                </a:lnTo>
                <a:lnTo>
                  <a:pt x="2964" y="3495"/>
                </a:lnTo>
                <a:lnTo>
                  <a:pt x="2966" y="3495"/>
                </a:lnTo>
                <a:lnTo>
                  <a:pt x="2966" y="3502"/>
                </a:lnTo>
                <a:lnTo>
                  <a:pt x="2971" y="3502"/>
                </a:lnTo>
                <a:lnTo>
                  <a:pt x="2976" y="3506"/>
                </a:lnTo>
                <a:lnTo>
                  <a:pt x="2981" y="3511"/>
                </a:lnTo>
                <a:lnTo>
                  <a:pt x="2983" y="3516"/>
                </a:lnTo>
                <a:lnTo>
                  <a:pt x="2981" y="3518"/>
                </a:lnTo>
                <a:moveTo>
                  <a:pt x="2964" y="3487"/>
                </a:moveTo>
                <a:lnTo>
                  <a:pt x="2964" y="3487"/>
                </a:lnTo>
                <a:lnTo>
                  <a:pt x="2959" y="3487"/>
                </a:lnTo>
                <a:lnTo>
                  <a:pt x="2955" y="3485"/>
                </a:lnTo>
                <a:lnTo>
                  <a:pt x="2948" y="3483"/>
                </a:lnTo>
                <a:lnTo>
                  <a:pt x="2943" y="3480"/>
                </a:lnTo>
                <a:lnTo>
                  <a:pt x="2940" y="3478"/>
                </a:lnTo>
                <a:lnTo>
                  <a:pt x="2940" y="3471"/>
                </a:lnTo>
                <a:lnTo>
                  <a:pt x="2940" y="3464"/>
                </a:lnTo>
                <a:lnTo>
                  <a:pt x="2945" y="3459"/>
                </a:lnTo>
                <a:lnTo>
                  <a:pt x="2957" y="3459"/>
                </a:lnTo>
                <a:lnTo>
                  <a:pt x="2959" y="3459"/>
                </a:lnTo>
                <a:lnTo>
                  <a:pt x="2959" y="3466"/>
                </a:lnTo>
                <a:lnTo>
                  <a:pt x="2962" y="3469"/>
                </a:lnTo>
                <a:lnTo>
                  <a:pt x="2964" y="3471"/>
                </a:lnTo>
                <a:lnTo>
                  <a:pt x="2966" y="3471"/>
                </a:lnTo>
                <a:lnTo>
                  <a:pt x="2966" y="3473"/>
                </a:lnTo>
                <a:lnTo>
                  <a:pt x="2957" y="3476"/>
                </a:lnTo>
                <a:lnTo>
                  <a:pt x="2959" y="3480"/>
                </a:lnTo>
                <a:lnTo>
                  <a:pt x="2962" y="3483"/>
                </a:lnTo>
                <a:lnTo>
                  <a:pt x="2964" y="3483"/>
                </a:lnTo>
                <a:lnTo>
                  <a:pt x="2964" y="3487"/>
                </a:lnTo>
                <a:moveTo>
                  <a:pt x="2763" y="3487"/>
                </a:moveTo>
                <a:lnTo>
                  <a:pt x="2763" y="3487"/>
                </a:lnTo>
                <a:lnTo>
                  <a:pt x="2758" y="3490"/>
                </a:lnTo>
                <a:lnTo>
                  <a:pt x="2756" y="3485"/>
                </a:lnTo>
                <a:lnTo>
                  <a:pt x="2761" y="3483"/>
                </a:lnTo>
                <a:lnTo>
                  <a:pt x="2763" y="3487"/>
                </a:lnTo>
                <a:moveTo>
                  <a:pt x="2924" y="3452"/>
                </a:moveTo>
                <a:lnTo>
                  <a:pt x="2924" y="3452"/>
                </a:lnTo>
                <a:lnTo>
                  <a:pt x="2924" y="3457"/>
                </a:lnTo>
                <a:lnTo>
                  <a:pt x="2912" y="3454"/>
                </a:lnTo>
                <a:lnTo>
                  <a:pt x="2900" y="3447"/>
                </a:lnTo>
                <a:lnTo>
                  <a:pt x="2907" y="3440"/>
                </a:lnTo>
                <a:lnTo>
                  <a:pt x="2919" y="3438"/>
                </a:lnTo>
                <a:lnTo>
                  <a:pt x="2924" y="3438"/>
                </a:lnTo>
                <a:lnTo>
                  <a:pt x="2926" y="3443"/>
                </a:lnTo>
                <a:lnTo>
                  <a:pt x="2926" y="3445"/>
                </a:lnTo>
                <a:lnTo>
                  <a:pt x="2926" y="3447"/>
                </a:lnTo>
                <a:lnTo>
                  <a:pt x="2924" y="3452"/>
                </a:lnTo>
                <a:moveTo>
                  <a:pt x="2834" y="3466"/>
                </a:moveTo>
                <a:lnTo>
                  <a:pt x="2834" y="3466"/>
                </a:lnTo>
                <a:lnTo>
                  <a:pt x="2829" y="3466"/>
                </a:lnTo>
                <a:lnTo>
                  <a:pt x="2822" y="3466"/>
                </a:lnTo>
                <a:lnTo>
                  <a:pt x="2820" y="3461"/>
                </a:lnTo>
                <a:lnTo>
                  <a:pt x="2817" y="3457"/>
                </a:lnTo>
                <a:lnTo>
                  <a:pt x="2820" y="3454"/>
                </a:lnTo>
                <a:lnTo>
                  <a:pt x="2824" y="3457"/>
                </a:lnTo>
                <a:lnTo>
                  <a:pt x="2829" y="3459"/>
                </a:lnTo>
                <a:lnTo>
                  <a:pt x="2832" y="3461"/>
                </a:lnTo>
                <a:lnTo>
                  <a:pt x="2834" y="3464"/>
                </a:lnTo>
                <a:lnTo>
                  <a:pt x="2834" y="3466"/>
                </a:lnTo>
                <a:moveTo>
                  <a:pt x="2368" y="3487"/>
                </a:moveTo>
                <a:lnTo>
                  <a:pt x="2368" y="3487"/>
                </a:lnTo>
                <a:lnTo>
                  <a:pt x="2366" y="3490"/>
                </a:lnTo>
                <a:lnTo>
                  <a:pt x="2361" y="3490"/>
                </a:lnTo>
                <a:lnTo>
                  <a:pt x="2361" y="3485"/>
                </a:lnTo>
                <a:lnTo>
                  <a:pt x="2361" y="3483"/>
                </a:lnTo>
                <a:lnTo>
                  <a:pt x="2366" y="3478"/>
                </a:lnTo>
                <a:lnTo>
                  <a:pt x="2370" y="3478"/>
                </a:lnTo>
                <a:lnTo>
                  <a:pt x="2373" y="3480"/>
                </a:lnTo>
                <a:lnTo>
                  <a:pt x="2375" y="3480"/>
                </a:lnTo>
                <a:lnTo>
                  <a:pt x="2368" y="3487"/>
                </a:lnTo>
                <a:moveTo>
                  <a:pt x="3026" y="3336"/>
                </a:moveTo>
                <a:lnTo>
                  <a:pt x="3026" y="3336"/>
                </a:lnTo>
                <a:lnTo>
                  <a:pt x="3023" y="3336"/>
                </a:lnTo>
                <a:lnTo>
                  <a:pt x="3018" y="3336"/>
                </a:lnTo>
                <a:lnTo>
                  <a:pt x="3011" y="3331"/>
                </a:lnTo>
                <a:lnTo>
                  <a:pt x="3011" y="3331"/>
                </a:lnTo>
                <a:lnTo>
                  <a:pt x="3014" y="3329"/>
                </a:lnTo>
                <a:lnTo>
                  <a:pt x="3016" y="3327"/>
                </a:lnTo>
                <a:lnTo>
                  <a:pt x="3018" y="3324"/>
                </a:lnTo>
                <a:lnTo>
                  <a:pt x="3018" y="3322"/>
                </a:lnTo>
                <a:lnTo>
                  <a:pt x="3021" y="3322"/>
                </a:lnTo>
                <a:lnTo>
                  <a:pt x="3023" y="3322"/>
                </a:lnTo>
                <a:lnTo>
                  <a:pt x="3026" y="3322"/>
                </a:lnTo>
                <a:lnTo>
                  <a:pt x="3028" y="3322"/>
                </a:lnTo>
                <a:lnTo>
                  <a:pt x="3028" y="3327"/>
                </a:lnTo>
                <a:lnTo>
                  <a:pt x="3026" y="3329"/>
                </a:lnTo>
                <a:lnTo>
                  <a:pt x="3026" y="3331"/>
                </a:lnTo>
                <a:lnTo>
                  <a:pt x="3026" y="3336"/>
                </a:lnTo>
                <a:moveTo>
                  <a:pt x="776" y="3521"/>
                </a:moveTo>
                <a:lnTo>
                  <a:pt x="776" y="3521"/>
                </a:lnTo>
                <a:lnTo>
                  <a:pt x="783" y="3525"/>
                </a:lnTo>
                <a:lnTo>
                  <a:pt x="795" y="3523"/>
                </a:lnTo>
                <a:lnTo>
                  <a:pt x="804" y="3525"/>
                </a:lnTo>
                <a:lnTo>
                  <a:pt x="809" y="3537"/>
                </a:lnTo>
                <a:lnTo>
                  <a:pt x="809" y="3540"/>
                </a:lnTo>
                <a:lnTo>
                  <a:pt x="811" y="3540"/>
                </a:lnTo>
                <a:lnTo>
                  <a:pt x="813" y="3540"/>
                </a:lnTo>
                <a:lnTo>
                  <a:pt x="816" y="3537"/>
                </a:lnTo>
                <a:lnTo>
                  <a:pt x="816" y="3537"/>
                </a:lnTo>
                <a:lnTo>
                  <a:pt x="816" y="3537"/>
                </a:lnTo>
                <a:lnTo>
                  <a:pt x="818" y="3537"/>
                </a:lnTo>
                <a:lnTo>
                  <a:pt x="811" y="3544"/>
                </a:lnTo>
                <a:lnTo>
                  <a:pt x="811" y="3547"/>
                </a:lnTo>
                <a:lnTo>
                  <a:pt x="811" y="3549"/>
                </a:lnTo>
                <a:lnTo>
                  <a:pt x="809" y="3556"/>
                </a:lnTo>
                <a:lnTo>
                  <a:pt x="809" y="3570"/>
                </a:lnTo>
                <a:lnTo>
                  <a:pt x="806" y="3582"/>
                </a:lnTo>
                <a:lnTo>
                  <a:pt x="804" y="3584"/>
                </a:lnTo>
                <a:lnTo>
                  <a:pt x="802" y="3584"/>
                </a:lnTo>
                <a:lnTo>
                  <a:pt x="797" y="3584"/>
                </a:lnTo>
                <a:lnTo>
                  <a:pt x="797" y="3584"/>
                </a:lnTo>
                <a:lnTo>
                  <a:pt x="795" y="3580"/>
                </a:lnTo>
                <a:lnTo>
                  <a:pt x="795" y="3577"/>
                </a:lnTo>
                <a:lnTo>
                  <a:pt x="780" y="3558"/>
                </a:lnTo>
                <a:lnTo>
                  <a:pt x="773" y="3544"/>
                </a:lnTo>
                <a:lnTo>
                  <a:pt x="773" y="3537"/>
                </a:lnTo>
                <a:lnTo>
                  <a:pt x="773" y="3532"/>
                </a:lnTo>
                <a:lnTo>
                  <a:pt x="771" y="3532"/>
                </a:lnTo>
                <a:lnTo>
                  <a:pt x="771" y="3530"/>
                </a:lnTo>
                <a:lnTo>
                  <a:pt x="776" y="3521"/>
                </a:lnTo>
                <a:moveTo>
                  <a:pt x="757" y="3528"/>
                </a:moveTo>
                <a:lnTo>
                  <a:pt x="757" y="3528"/>
                </a:lnTo>
                <a:lnTo>
                  <a:pt x="752" y="3532"/>
                </a:lnTo>
                <a:lnTo>
                  <a:pt x="745" y="3532"/>
                </a:lnTo>
                <a:lnTo>
                  <a:pt x="740" y="3530"/>
                </a:lnTo>
                <a:lnTo>
                  <a:pt x="740" y="3525"/>
                </a:lnTo>
                <a:lnTo>
                  <a:pt x="740" y="3523"/>
                </a:lnTo>
                <a:lnTo>
                  <a:pt x="733" y="3514"/>
                </a:lnTo>
                <a:lnTo>
                  <a:pt x="728" y="3509"/>
                </a:lnTo>
                <a:lnTo>
                  <a:pt x="731" y="3502"/>
                </a:lnTo>
                <a:lnTo>
                  <a:pt x="735" y="3499"/>
                </a:lnTo>
                <a:lnTo>
                  <a:pt x="750" y="3495"/>
                </a:lnTo>
                <a:lnTo>
                  <a:pt x="754" y="3492"/>
                </a:lnTo>
                <a:lnTo>
                  <a:pt x="757" y="3504"/>
                </a:lnTo>
                <a:lnTo>
                  <a:pt x="759" y="3523"/>
                </a:lnTo>
                <a:lnTo>
                  <a:pt x="757" y="3528"/>
                </a:lnTo>
                <a:moveTo>
                  <a:pt x="2489" y="2598"/>
                </a:moveTo>
                <a:lnTo>
                  <a:pt x="2489" y="2598"/>
                </a:lnTo>
                <a:lnTo>
                  <a:pt x="2486" y="2603"/>
                </a:lnTo>
                <a:lnTo>
                  <a:pt x="2481" y="2603"/>
                </a:lnTo>
                <a:lnTo>
                  <a:pt x="2477" y="2603"/>
                </a:lnTo>
                <a:lnTo>
                  <a:pt x="2472" y="2605"/>
                </a:lnTo>
                <a:lnTo>
                  <a:pt x="2470" y="2610"/>
                </a:lnTo>
                <a:lnTo>
                  <a:pt x="2467" y="2607"/>
                </a:lnTo>
                <a:lnTo>
                  <a:pt x="2458" y="2605"/>
                </a:lnTo>
                <a:lnTo>
                  <a:pt x="2455" y="2603"/>
                </a:lnTo>
                <a:lnTo>
                  <a:pt x="2455" y="2593"/>
                </a:lnTo>
                <a:lnTo>
                  <a:pt x="2458" y="2591"/>
                </a:lnTo>
                <a:lnTo>
                  <a:pt x="2460" y="2588"/>
                </a:lnTo>
                <a:lnTo>
                  <a:pt x="2458" y="2586"/>
                </a:lnTo>
                <a:lnTo>
                  <a:pt x="2455" y="2581"/>
                </a:lnTo>
                <a:lnTo>
                  <a:pt x="2463" y="2581"/>
                </a:lnTo>
                <a:lnTo>
                  <a:pt x="2484" y="2584"/>
                </a:lnTo>
                <a:lnTo>
                  <a:pt x="2491" y="2588"/>
                </a:lnTo>
                <a:lnTo>
                  <a:pt x="2489" y="2591"/>
                </a:lnTo>
                <a:lnTo>
                  <a:pt x="2491" y="2593"/>
                </a:lnTo>
                <a:lnTo>
                  <a:pt x="2491" y="2596"/>
                </a:lnTo>
                <a:lnTo>
                  <a:pt x="2489" y="2598"/>
                </a:lnTo>
                <a:moveTo>
                  <a:pt x="2316" y="2593"/>
                </a:moveTo>
                <a:lnTo>
                  <a:pt x="2316" y="2593"/>
                </a:lnTo>
                <a:lnTo>
                  <a:pt x="2313" y="2596"/>
                </a:lnTo>
                <a:lnTo>
                  <a:pt x="2313" y="2593"/>
                </a:lnTo>
                <a:lnTo>
                  <a:pt x="2316" y="2591"/>
                </a:lnTo>
                <a:lnTo>
                  <a:pt x="2318" y="2588"/>
                </a:lnTo>
                <a:lnTo>
                  <a:pt x="2316" y="2593"/>
                </a:lnTo>
                <a:moveTo>
                  <a:pt x="686" y="2681"/>
                </a:moveTo>
                <a:lnTo>
                  <a:pt x="686" y="2681"/>
                </a:lnTo>
                <a:lnTo>
                  <a:pt x="690" y="2683"/>
                </a:lnTo>
                <a:lnTo>
                  <a:pt x="690" y="2688"/>
                </a:lnTo>
                <a:lnTo>
                  <a:pt x="690" y="2693"/>
                </a:lnTo>
                <a:lnTo>
                  <a:pt x="688" y="2697"/>
                </a:lnTo>
                <a:lnTo>
                  <a:pt x="669" y="2702"/>
                </a:lnTo>
                <a:lnTo>
                  <a:pt x="662" y="2709"/>
                </a:lnTo>
                <a:lnTo>
                  <a:pt x="664" y="2721"/>
                </a:lnTo>
                <a:lnTo>
                  <a:pt x="664" y="2730"/>
                </a:lnTo>
                <a:lnTo>
                  <a:pt x="653" y="2730"/>
                </a:lnTo>
                <a:lnTo>
                  <a:pt x="655" y="2726"/>
                </a:lnTo>
                <a:lnTo>
                  <a:pt x="655" y="2723"/>
                </a:lnTo>
                <a:lnTo>
                  <a:pt x="655" y="2719"/>
                </a:lnTo>
                <a:lnTo>
                  <a:pt x="655" y="2714"/>
                </a:lnTo>
                <a:lnTo>
                  <a:pt x="655" y="2711"/>
                </a:lnTo>
                <a:lnTo>
                  <a:pt x="660" y="2707"/>
                </a:lnTo>
                <a:lnTo>
                  <a:pt x="664" y="2700"/>
                </a:lnTo>
                <a:lnTo>
                  <a:pt x="669" y="2697"/>
                </a:lnTo>
                <a:lnTo>
                  <a:pt x="669" y="2693"/>
                </a:lnTo>
                <a:lnTo>
                  <a:pt x="669" y="2685"/>
                </a:lnTo>
                <a:lnTo>
                  <a:pt x="669" y="2683"/>
                </a:lnTo>
                <a:lnTo>
                  <a:pt x="672" y="2681"/>
                </a:lnTo>
                <a:lnTo>
                  <a:pt x="676" y="2681"/>
                </a:lnTo>
                <a:lnTo>
                  <a:pt x="679" y="2681"/>
                </a:lnTo>
                <a:lnTo>
                  <a:pt x="679" y="2678"/>
                </a:lnTo>
                <a:lnTo>
                  <a:pt x="681" y="2676"/>
                </a:lnTo>
                <a:lnTo>
                  <a:pt x="683" y="2671"/>
                </a:lnTo>
                <a:lnTo>
                  <a:pt x="683" y="2676"/>
                </a:lnTo>
                <a:lnTo>
                  <a:pt x="686" y="2678"/>
                </a:lnTo>
                <a:lnTo>
                  <a:pt x="686" y="2681"/>
                </a:lnTo>
                <a:moveTo>
                  <a:pt x="1045" y="2605"/>
                </a:moveTo>
                <a:lnTo>
                  <a:pt x="1045" y="2605"/>
                </a:lnTo>
                <a:lnTo>
                  <a:pt x="1045" y="2607"/>
                </a:lnTo>
                <a:lnTo>
                  <a:pt x="1045" y="2610"/>
                </a:lnTo>
                <a:lnTo>
                  <a:pt x="1045" y="2612"/>
                </a:lnTo>
                <a:lnTo>
                  <a:pt x="1043" y="2612"/>
                </a:lnTo>
                <a:lnTo>
                  <a:pt x="1041" y="2610"/>
                </a:lnTo>
                <a:lnTo>
                  <a:pt x="1038" y="2607"/>
                </a:lnTo>
                <a:lnTo>
                  <a:pt x="1036" y="2607"/>
                </a:lnTo>
                <a:lnTo>
                  <a:pt x="1033" y="2607"/>
                </a:lnTo>
                <a:lnTo>
                  <a:pt x="1036" y="2598"/>
                </a:lnTo>
                <a:lnTo>
                  <a:pt x="1036" y="2596"/>
                </a:lnTo>
                <a:lnTo>
                  <a:pt x="1036" y="2593"/>
                </a:lnTo>
                <a:lnTo>
                  <a:pt x="1038" y="2586"/>
                </a:lnTo>
                <a:lnTo>
                  <a:pt x="1038" y="2581"/>
                </a:lnTo>
                <a:lnTo>
                  <a:pt x="1041" y="2584"/>
                </a:lnTo>
                <a:lnTo>
                  <a:pt x="1043" y="2584"/>
                </a:lnTo>
                <a:lnTo>
                  <a:pt x="1045" y="2588"/>
                </a:lnTo>
                <a:lnTo>
                  <a:pt x="1045" y="2588"/>
                </a:lnTo>
                <a:lnTo>
                  <a:pt x="1045" y="2593"/>
                </a:lnTo>
                <a:lnTo>
                  <a:pt x="1045" y="2605"/>
                </a:lnTo>
                <a:moveTo>
                  <a:pt x="967" y="2588"/>
                </a:moveTo>
                <a:lnTo>
                  <a:pt x="967" y="2588"/>
                </a:lnTo>
                <a:lnTo>
                  <a:pt x="972" y="2588"/>
                </a:lnTo>
                <a:lnTo>
                  <a:pt x="974" y="2586"/>
                </a:lnTo>
                <a:lnTo>
                  <a:pt x="979" y="2593"/>
                </a:lnTo>
                <a:lnTo>
                  <a:pt x="979" y="2607"/>
                </a:lnTo>
                <a:lnTo>
                  <a:pt x="984" y="2610"/>
                </a:lnTo>
                <a:lnTo>
                  <a:pt x="981" y="2607"/>
                </a:lnTo>
                <a:lnTo>
                  <a:pt x="981" y="2605"/>
                </a:lnTo>
                <a:lnTo>
                  <a:pt x="981" y="2603"/>
                </a:lnTo>
                <a:lnTo>
                  <a:pt x="981" y="2598"/>
                </a:lnTo>
                <a:lnTo>
                  <a:pt x="984" y="2598"/>
                </a:lnTo>
                <a:lnTo>
                  <a:pt x="986" y="2603"/>
                </a:lnTo>
                <a:lnTo>
                  <a:pt x="986" y="2605"/>
                </a:lnTo>
                <a:lnTo>
                  <a:pt x="986" y="2607"/>
                </a:lnTo>
                <a:lnTo>
                  <a:pt x="986" y="2610"/>
                </a:lnTo>
                <a:lnTo>
                  <a:pt x="991" y="2607"/>
                </a:lnTo>
                <a:lnTo>
                  <a:pt x="991" y="2607"/>
                </a:lnTo>
                <a:lnTo>
                  <a:pt x="993" y="2605"/>
                </a:lnTo>
                <a:lnTo>
                  <a:pt x="996" y="2607"/>
                </a:lnTo>
                <a:lnTo>
                  <a:pt x="1000" y="2610"/>
                </a:lnTo>
                <a:lnTo>
                  <a:pt x="1000" y="2600"/>
                </a:lnTo>
                <a:lnTo>
                  <a:pt x="1005" y="2600"/>
                </a:lnTo>
                <a:lnTo>
                  <a:pt x="1019" y="2612"/>
                </a:lnTo>
                <a:lnTo>
                  <a:pt x="1019" y="2607"/>
                </a:lnTo>
                <a:lnTo>
                  <a:pt x="1022" y="2610"/>
                </a:lnTo>
                <a:lnTo>
                  <a:pt x="1024" y="2610"/>
                </a:lnTo>
                <a:lnTo>
                  <a:pt x="1026" y="2610"/>
                </a:lnTo>
                <a:lnTo>
                  <a:pt x="1029" y="2610"/>
                </a:lnTo>
                <a:lnTo>
                  <a:pt x="1031" y="2612"/>
                </a:lnTo>
                <a:lnTo>
                  <a:pt x="1029" y="2614"/>
                </a:lnTo>
                <a:lnTo>
                  <a:pt x="1029" y="2614"/>
                </a:lnTo>
                <a:lnTo>
                  <a:pt x="1026" y="2617"/>
                </a:lnTo>
                <a:lnTo>
                  <a:pt x="1026" y="2619"/>
                </a:lnTo>
                <a:lnTo>
                  <a:pt x="1031" y="2622"/>
                </a:lnTo>
                <a:lnTo>
                  <a:pt x="1033" y="2624"/>
                </a:lnTo>
                <a:lnTo>
                  <a:pt x="1036" y="2626"/>
                </a:lnTo>
                <a:lnTo>
                  <a:pt x="1038" y="2629"/>
                </a:lnTo>
                <a:lnTo>
                  <a:pt x="1036" y="2633"/>
                </a:lnTo>
                <a:lnTo>
                  <a:pt x="1038" y="2638"/>
                </a:lnTo>
                <a:lnTo>
                  <a:pt x="1041" y="2648"/>
                </a:lnTo>
                <a:lnTo>
                  <a:pt x="1043" y="2638"/>
                </a:lnTo>
                <a:lnTo>
                  <a:pt x="1045" y="2633"/>
                </a:lnTo>
                <a:lnTo>
                  <a:pt x="1048" y="2631"/>
                </a:lnTo>
                <a:lnTo>
                  <a:pt x="1045" y="2629"/>
                </a:lnTo>
                <a:lnTo>
                  <a:pt x="1045" y="2629"/>
                </a:lnTo>
                <a:lnTo>
                  <a:pt x="1045" y="2626"/>
                </a:lnTo>
                <a:lnTo>
                  <a:pt x="1043" y="2626"/>
                </a:lnTo>
                <a:lnTo>
                  <a:pt x="1045" y="2624"/>
                </a:lnTo>
                <a:lnTo>
                  <a:pt x="1050" y="2622"/>
                </a:lnTo>
                <a:lnTo>
                  <a:pt x="1055" y="2624"/>
                </a:lnTo>
                <a:lnTo>
                  <a:pt x="1060" y="2624"/>
                </a:lnTo>
                <a:lnTo>
                  <a:pt x="1060" y="2622"/>
                </a:lnTo>
                <a:lnTo>
                  <a:pt x="1062" y="2619"/>
                </a:lnTo>
                <a:lnTo>
                  <a:pt x="1064" y="2619"/>
                </a:lnTo>
                <a:lnTo>
                  <a:pt x="1067" y="2624"/>
                </a:lnTo>
                <a:lnTo>
                  <a:pt x="1064" y="2626"/>
                </a:lnTo>
                <a:lnTo>
                  <a:pt x="1067" y="2629"/>
                </a:lnTo>
                <a:lnTo>
                  <a:pt x="1069" y="2631"/>
                </a:lnTo>
                <a:lnTo>
                  <a:pt x="1071" y="2631"/>
                </a:lnTo>
                <a:lnTo>
                  <a:pt x="1074" y="2629"/>
                </a:lnTo>
                <a:lnTo>
                  <a:pt x="1076" y="2629"/>
                </a:lnTo>
                <a:lnTo>
                  <a:pt x="1076" y="2629"/>
                </a:lnTo>
                <a:lnTo>
                  <a:pt x="1076" y="2631"/>
                </a:lnTo>
                <a:lnTo>
                  <a:pt x="1076" y="2631"/>
                </a:lnTo>
                <a:lnTo>
                  <a:pt x="1078" y="2631"/>
                </a:lnTo>
                <a:lnTo>
                  <a:pt x="1078" y="2636"/>
                </a:lnTo>
                <a:lnTo>
                  <a:pt x="1078" y="2640"/>
                </a:lnTo>
                <a:lnTo>
                  <a:pt x="1076" y="2645"/>
                </a:lnTo>
                <a:lnTo>
                  <a:pt x="1074" y="2650"/>
                </a:lnTo>
                <a:lnTo>
                  <a:pt x="1074" y="2648"/>
                </a:lnTo>
                <a:lnTo>
                  <a:pt x="1071" y="2645"/>
                </a:lnTo>
                <a:lnTo>
                  <a:pt x="1071" y="2643"/>
                </a:lnTo>
                <a:lnTo>
                  <a:pt x="1069" y="2669"/>
                </a:lnTo>
                <a:lnTo>
                  <a:pt x="1067" y="2676"/>
                </a:lnTo>
                <a:lnTo>
                  <a:pt x="1071" y="2676"/>
                </a:lnTo>
                <a:lnTo>
                  <a:pt x="1069" y="2669"/>
                </a:lnTo>
                <a:lnTo>
                  <a:pt x="1074" y="2667"/>
                </a:lnTo>
                <a:lnTo>
                  <a:pt x="1078" y="2667"/>
                </a:lnTo>
                <a:lnTo>
                  <a:pt x="1081" y="2671"/>
                </a:lnTo>
                <a:lnTo>
                  <a:pt x="1078" y="2678"/>
                </a:lnTo>
                <a:lnTo>
                  <a:pt x="1081" y="2678"/>
                </a:lnTo>
                <a:lnTo>
                  <a:pt x="1081" y="2676"/>
                </a:lnTo>
                <a:lnTo>
                  <a:pt x="1081" y="2676"/>
                </a:lnTo>
                <a:lnTo>
                  <a:pt x="1081" y="2674"/>
                </a:lnTo>
                <a:lnTo>
                  <a:pt x="1083" y="2676"/>
                </a:lnTo>
                <a:lnTo>
                  <a:pt x="1083" y="2676"/>
                </a:lnTo>
                <a:lnTo>
                  <a:pt x="1086" y="2676"/>
                </a:lnTo>
                <a:lnTo>
                  <a:pt x="1090" y="2671"/>
                </a:lnTo>
                <a:lnTo>
                  <a:pt x="1100" y="2671"/>
                </a:lnTo>
                <a:lnTo>
                  <a:pt x="1107" y="2674"/>
                </a:lnTo>
                <a:lnTo>
                  <a:pt x="1114" y="2676"/>
                </a:lnTo>
                <a:lnTo>
                  <a:pt x="1112" y="2681"/>
                </a:lnTo>
                <a:lnTo>
                  <a:pt x="1107" y="2681"/>
                </a:lnTo>
                <a:lnTo>
                  <a:pt x="1100" y="2681"/>
                </a:lnTo>
                <a:lnTo>
                  <a:pt x="1095" y="2678"/>
                </a:lnTo>
                <a:lnTo>
                  <a:pt x="1090" y="2683"/>
                </a:lnTo>
                <a:lnTo>
                  <a:pt x="1090" y="2690"/>
                </a:lnTo>
                <a:lnTo>
                  <a:pt x="1090" y="2697"/>
                </a:lnTo>
                <a:lnTo>
                  <a:pt x="1086" y="2702"/>
                </a:lnTo>
                <a:lnTo>
                  <a:pt x="1088" y="2709"/>
                </a:lnTo>
                <a:lnTo>
                  <a:pt x="1083" y="2711"/>
                </a:lnTo>
                <a:lnTo>
                  <a:pt x="1069" y="2711"/>
                </a:lnTo>
                <a:lnTo>
                  <a:pt x="1069" y="2714"/>
                </a:lnTo>
                <a:lnTo>
                  <a:pt x="1069" y="2714"/>
                </a:lnTo>
                <a:lnTo>
                  <a:pt x="1067" y="2714"/>
                </a:lnTo>
                <a:lnTo>
                  <a:pt x="1071" y="2719"/>
                </a:lnTo>
                <a:lnTo>
                  <a:pt x="1074" y="2719"/>
                </a:lnTo>
                <a:lnTo>
                  <a:pt x="1076" y="2716"/>
                </a:lnTo>
                <a:lnTo>
                  <a:pt x="1078" y="2716"/>
                </a:lnTo>
                <a:lnTo>
                  <a:pt x="1083" y="2716"/>
                </a:lnTo>
                <a:lnTo>
                  <a:pt x="1088" y="2721"/>
                </a:lnTo>
                <a:lnTo>
                  <a:pt x="1090" y="2721"/>
                </a:lnTo>
                <a:lnTo>
                  <a:pt x="1097" y="2719"/>
                </a:lnTo>
                <a:lnTo>
                  <a:pt x="1100" y="2714"/>
                </a:lnTo>
                <a:lnTo>
                  <a:pt x="1104" y="2711"/>
                </a:lnTo>
                <a:lnTo>
                  <a:pt x="1112" y="2711"/>
                </a:lnTo>
                <a:lnTo>
                  <a:pt x="1112" y="2716"/>
                </a:lnTo>
                <a:lnTo>
                  <a:pt x="1109" y="2719"/>
                </a:lnTo>
                <a:lnTo>
                  <a:pt x="1107" y="2721"/>
                </a:lnTo>
                <a:lnTo>
                  <a:pt x="1104" y="2721"/>
                </a:lnTo>
                <a:lnTo>
                  <a:pt x="1104" y="2726"/>
                </a:lnTo>
                <a:lnTo>
                  <a:pt x="1116" y="2728"/>
                </a:lnTo>
                <a:lnTo>
                  <a:pt x="1119" y="2730"/>
                </a:lnTo>
                <a:lnTo>
                  <a:pt x="1119" y="2735"/>
                </a:lnTo>
                <a:lnTo>
                  <a:pt x="1121" y="2737"/>
                </a:lnTo>
                <a:lnTo>
                  <a:pt x="1123" y="2737"/>
                </a:lnTo>
                <a:lnTo>
                  <a:pt x="1128" y="2733"/>
                </a:lnTo>
                <a:lnTo>
                  <a:pt x="1130" y="2737"/>
                </a:lnTo>
                <a:lnTo>
                  <a:pt x="1133" y="2740"/>
                </a:lnTo>
                <a:lnTo>
                  <a:pt x="1138" y="2740"/>
                </a:lnTo>
                <a:lnTo>
                  <a:pt x="1142" y="2740"/>
                </a:lnTo>
                <a:lnTo>
                  <a:pt x="1130" y="2745"/>
                </a:lnTo>
                <a:lnTo>
                  <a:pt x="1128" y="2749"/>
                </a:lnTo>
                <a:lnTo>
                  <a:pt x="1133" y="2754"/>
                </a:lnTo>
                <a:lnTo>
                  <a:pt x="1133" y="2756"/>
                </a:lnTo>
                <a:lnTo>
                  <a:pt x="1128" y="2756"/>
                </a:lnTo>
                <a:lnTo>
                  <a:pt x="1123" y="2759"/>
                </a:lnTo>
                <a:lnTo>
                  <a:pt x="1123" y="2764"/>
                </a:lnTo>
                <a:lnTo>
                  <a:pt x="1126" y="2766"/>
                </a:lnTo>
                <a:lnTo>
                  <a:pt x="1126" y="2761"/>
                </a:lnTo>
                <a:lnTo>
                  <a:pt x="1128" y="2766"/>
                </a:lnTo>
                <a:lnTo>
                  <a:pt x="1140" y="2778"/>
                </a:lnTo>
                <a:lnTo>
                  <a:pt x="1142" y="2782"/>
                </a:lnTo>
                <a:lnTo>
                  <a:pt x="1145" y="2792"/>
                </a:lnTo>
                <a:lnTo>
                  <a:pt x="1157" y="2808"/>
                </a:lnTo>
                <a:lnTo>
                  <a:pt x="1157" y="2816"/>
                </a:lnTo>
                <a:lnTo>
                  <a:pt x="1161" y="2842"/>
                </a:lnTo>
                <a:lnTo>
                  <a:pt x="1164" y="2846"/>
                </a:lnTo>
                <a:lnTo>
                  <a:pt x="1166" y="2849"/>
                </a:lnTo>
                <a:lnTo>
                  <a:pt x="1168" y="2849"/>
                </a:lnTo>
                <a:lnTo>
                  <a:pt x="1173" y="2849"/>
                </a:lnTo>
                <a:lnTo>
                  <a:pt x="1173" y="2853"/>
                </a:lnTo>
                <a:lnTo>
                  <a:pt x="1175" y="2856"/>
                </a:lnTo>
                <a:lnTo>
                  <a:pt x="1178" y="2861"/>
                </a:lnTo>
                <a:lnTo>
                  <a:pt x="1187" y="2868"/>
                </a:lnTo>
                <a:lnTo>
                  <a:pt x="1190" y="2870"/>
                </a:lnTo>
                <a:lnTo>
                  <a:pt x="1190" y="2875"/>
                </a:lnTo>
                <a:lnTo>
                  <a:pt x="1187" y="2882"/>
                </a:lnTo>
                <a:lnTo>
                  <a:pt x="1185" y="2887"/>
                </a:lnTo>
                <a:lnTo>
                  <a:pt x="1185" y="2896"/>
                </a:lnTo>
                <a:lnTo>
                  <a:pt x="1185" y="2903"/>
                </a:lnTo>
                <a:lnTo>
                  <a:pt x="1178" y="2915"/>
                </a:lnTo>
                <a:lnTo>
                  <a:pt x="1175" y="2931"/>
                </a:lnTo>
                <a:lnTo>
                  <a:pt x="1171" y="2939"/>
                </a:lnTo>
                <a:lnTo>
                  <a:pt x="1164" y="2941"/>
                </a:lnTo>
                <a:lnTo>
                  <a:pt x="1159" y="2943"/>
                </a:lnTo>
                <a:lnTo>
                  <a:pt x="1157" y="2950"/>
                </a:lnTo>
                <a:lnTo>
                  <a:pt x="1152" y="2962"/>
                </a:lnTo>
                <a:lnTo>
                  <a:pt x="1149" y="2967"/>
                </a:lnTo>
                <a:lnTo>
                  <a:pt x="1142" y="2976"/>
                </a:lnTo>
                <a:lnTo>
                  <a:pt x="1140" y="2981"/>
                </a:lnTo>
                <a:lnTo>
                  <a:pt x="1138" y="2991"/>
                </a:lnTo>
                <a:lnTo>
                  <a:pt x="1138" y="2998"/>
                </a:lnTo>
                <a:lnTo>
                  <a:pt x="1140" y="3014"/>
                </a:lnTo>
                <a:lnTo>
                  <a:pt x="1142" y="3019"/>
                </a:lnTo>
                <a:lnTo>
                  <a:pt x="1152" y="3040"/>
                </a:lnTo>
                <a:lnTo>
                  <a:pt x="1157" y="3045"/>
                </a:lnTo>
                <a:lnTo>
                  <a:pt x="1161" y="3047"/>
                </a:lnTo>
                <a:lnTo>
                  <a:pt x="1164" y="3050"/>
                </a:lnTo>
                <a:lnTo>
                  <a:pt x="1171" y="3059"/>
                </a:lnTo>
                <a:lnTo>
                  <a:pt x="1180" y="3062"/>
                </a:lnTo>
                <a:lnTo>
                  <a:pt x="1180" y="3069"/>
                </a:lnTo>
                <a:lnTo>
                  <a:pt x="1171" y="3102"/>
                </a:lnTo>
                <a:lnTo>
                  <a:pt x="1171" y="3116"/>
                </a:lnTo>
                <a:lnTo>
                  <a:pt x="1175" y="3128"/>
                </a:lnTo>
                <a:lnTo>
                  <a:pt x="1178" y="3125"/>
                </a:lnTo>
                <a:lnTo>
                  <a:pt x="1178" y="3123"/>
                </a:lnTo>
                <a:lnTo>
                  <a:pt x="1180" y="3123"/>
                </a:lnTo>
                <a:lnTo>
                  <a:pt x="1183" y="3125"/>
                </a:lnTo>
                <a:lnTo>
                  <a:pt x="1180" y="3130"/>
                </a:lnTo>
                <a:lnTo>
                  <a:pt x="1180" y="3133"/>
                </a:lnTo>
                <a:lnTo>
                  <a:pt x="1178" y="3133"/>
                </a:lnTo>
                <a:lnTo>
                  <a:pt x="1175" y="3133"/>
                </a:lnTo>
                <a:lnTo>
                  <a:pt x="1173" y="3140"/>
                </a:lnTo>
                <a:lnTo>
                  <a:pt x="1173" y="3144"/>
                </a:lnTo>
                <a:lnTo>
                  <a:pt x="1173" y="3149"/>
                </a:lnTo>
                <a:lnTo>
                  <a:pt x="1175" y="3154"/>
                </a:lnTo>
                <a:lnTo>
                  <a:pt x="1173" y="3154"/>
                </a:lnTo>
                <a:lnTo>
                  <a:pt x="1173" y="3156"/>
                </a:lnTo>
                <a:lnTo>
                  <a:pt x="1175" y="3156"/>
                </a:lnTo>
                <a:lnTo>
                  <a:pt x="1178" y="3159"/>
                </a:lnTo>
                <a:lnTo>
                  <a:pt x="1178" y="3159"/>
                </a:lnTo>
                <a:lnTo>
                  <a:pt x="1178" y="3161"/>
                </a:lnTo>
                <a:lnTo>
                  <a:pt x="1175" y="3168"/>
                </a:lnTo>
                <a:lnTo>
                  <a:pt x="1173" y="3178"/>
                </a:lnTo>
                <a:lnTo>
                  <a:pt x="1173" y="3187"/>
                </a:lnTo>
                <a:lnTo>
                  <a:pt x="1173" y="3199"/>
                </a:lnTo>
                <a:lnTo>
                  <a:pt x="1175" y="3204"/>
                </a:lnTo>
                <a:lnTo>
                  <a:pt x="1178" y="3213"/>
                </a:lnTo>
                <a:lnTo>
                  <a:pt x="1178" y="3220"/>
                </a:lnTo>
                <a:lnTo>
                  <a:pt x="1178" y="3222"/>
                </a:lnTo>
                <a:lnTo>
                  <a:pt x="1175" y="3232"/>
                </a:lnTo>
                <a:lnTo>
                  <a:pt x="1175" y="3237"/>
                </a:lnTo>
                <a:lnTo>
                  <a:pt x="1175" y="3239"/>
                </a:lnTo>
                <a:lnTo>
                  <a:pt x="1173" y="3244"/>
                </a:lnTo>
                <a:lnTo>
                  <a:pt x="1173" y="3249"/>
                </a:lnTo>
                <a:lnTo>
                  <a:pt x="1173" y="3253"/>
                </a:lnTo>
                <a:lnTo>
                  <a:pt x="1178" y="3272"/>
                </a:lnTo>
                <a:lnTo>
                  <a:pt x="1178" y="3284"/>
                </a:lnTo>
                <a:lnTo>
                  <a:pt x="1173" y="3312"/>
                </a:lnTo>
                <a:lnTo>
                  <a:pt x="1178" y="3319"/>
                </a:lnTo>
                <a:lnTo>
                  <a:pt x="1178" y="3334"/>
                </a:lnTo>
                <a:lnTo>
                  <a:pt x="1173" y="3357"/>
                </a:lnTo>
                <a:lnTo>
                  <a:pt x="1171" y="3376"/>
                </a:lnTo>
                <a:lnTo>
                  <a:pt x="1171" y="3381"/>
                </a:lnTo>
                <a:lnTo>
                  <a:pt x="1173" y="3388"/>
                </a:lnTo>
                <a:lnTo>
                  <a:pt x="1175" y="3390"/>
                </a:lnTo>
                <a:lnTo>
                  <a:pt x="1183" y="3395"/>
                </a:lnTo>
                <a:lnTo>
                  <a:pt x="1185" y="3400"/>
                </a:lnTo>
                <a:lnTo>
                  <a:pt x="1175" y="3402"/>
                </a:lnTo>
                <a:lnTo>
                  <a:pt x="1168" y="3414"/>
                </a:lnTo>
                <a:lnTo>
                  <a:pt x="1166" y="3426"/>
                </a:lnTo>
                <a:lnTo>
                  <a:pt x="1168" y="3435"/>
                </a:lnTo>
                <a:lnTo>
                  <a:pt x="1166" y="3440"/>
                </a:lnTo>
                <a:lnTo>
                  <a:pt x="1166" y="3443"/>
                </a:lnTo>
                <a:lnTo>
                  <a:pt x="1171" y="3445"/>
                </a:lnTo>
                <a:lnTo>
                  <a:pt x="1171" y="3447"/>
                </a:lnTo>
                <a:lnTo>
                  <a:pt x="1171" y="3450"/>
                </a:lnTo>
                <a:lnTo>
                  <a:pt x="1168" y="3459"/>
                </a:lnTo>
                <a:lnTo>
                  <a:pt x="1168" y="3464"/>
                </a:lnTo>
                <a:lnTo>
                  <a:pt x="1166" y="3469"/>
                </a:lnTo>
                <a:lnTo>
                  <a:pt x="1161" y="3471"/>
                </a:lnTo>
                <a:lnTo>
                  <a:pt x="1154" y="3476"/>
                </a:lnTo>
                <a:lnTo>
                  <a:pt x="1154" y="3485"/>
                </a:lnTo>
                <a:lnTo>
                  <a:pt x="1152" y="3483"/>
                </a:lnTo>
                <a:lnTo>
                  <a:pt x="1152" y="3483"/>
                </a:lnTo>
                <a:lnTo>
                  <a:pt x="1152" y="3480"/>
                </a:lnTo>
                <a:lnTo>
                  <a:pt x="1152" y="3476"/>
                </a:lnTo>
                <a:lnTo>
                  <a:pt x="1147" y="3473"/>
                </a:lnTo>
                <a:lnTo>
                  <a:pt x="1140" y="3473"/>
                </a:lnTo>
                <a:lnTo>
                  <a:pt x="1135" y="3476"/>
                </a:lnTo>
                <a:lnTo>
                  <a:pt x="1130" y="3478"/>
                </a:lnTo>
                <a:lnTo>
                  <a:pt x="1128" y="3480"/>
                </a:lnTo>
                <a:lnTo>
                  <a:pt x="1128" y="3476"/>
                </a:lnTo>
                <a:lnTo>
                  <a:pt x="1123" y="3473"/>
                </a:lnTo>
                <a:lnTo>
                  <a:pt x="1116" y="3471"/>
                </a:lnTo>
                <a:lnTo>
                  <a:pt x="1107" y="3461"/>
                </a:lnTo>
                <a:lnTo>
                  <a:pt x="1107" y="3461"/>
                </a:lnTo>
                <a:lnTo>
                  <a:pt x="1102" y="3459"/>
                </a:lnTo>
                <a:lnTo>
                  <a:pt x="1095" y="3452"/>
                </a:lnTo>
                <a:lnTo>
                  <a:pt x="1090" y="3452"/>
                </a:lnTo>
                <a:lnTo>
                  <a:pt x="1088" y="3450"/>
                </a:lnTo>
                <a:lnTo>
                  <a:pt x="1083" y="3450"/>
                </a:lnTo>
                <a:lnTo>
                  <a:pt x="1078" y="3447"/>
                </a:lnTo>
                <a:lnTo>
                  <a:pt x="1076" y="3445"/>
                </a:lnTo>
                <a:lnTo>
                  <a:pt x="1074" y="3447"/>
                </a:lnTo>
                <a:lnTo>
                  <a:pt x="1069" y="3445"/>
                </a:lnTo>
                <a:lnTo>
                  <a:pt x="1062" y="3445"/>
                </a:lnTo>
                <a:lnTo>
                  <a:pt x="1050" y="3445"/>
                </a:lnTo>
                <a:lnTo>
                  <a:pt x="1045" y="3447"/>
                </a:lnTo>
                <a:lnTo>
                  <a:pt x="1041" y="3454"/>
                </a:lnTo>
                <a:lnTo>
                  <a:pt x="1036" y="3461"/>
                </a:lnTo>
                <a:lnTo>
                  <a:pt x="1036" y="3464"/>
                </a:lnTo>
                <a:lnTo>
                  <a:pt x="1026" y="3461"/>
                </a:lnTo>
                <a:lnTo>
                  <a:pt x="1017" y="3454"/>
                </a:lnTo>
                <a:lnTo>
                  <a:pt x="1003" y="3440"/>
                </a:lnTo>
                <a:lnTo>
                  <a:pt x="1000" y="3443"/>
                </a:lnTo>
                <a:lnTo>
                  <a:pt x="998" y="3443"/>
                </a:lnTo>
                <a:lnTo>
                  <a:pt x="993" y="3438"/>
                </a:lnTo>
                <a:lnTo>
                  <a:pt x="991" y="3435"/>
                </a:lnTo>
                <a:lnTo>
                  <a:pt x="986" y="3435"/>
                </a:lnTo>
                <a:lnTo>
                  <a:pt x="984" y="3435"/>
                </a:lnTo>
                <a:lnTo>
                  <a:pt x="981" y="3438"/>
                </a:lnTo>
                <a:lnTo>
                  <a:pt x="986" y="3440"/>
                </a:lnTo>
                <a:lnTo>
                  <a:pt x="989" y="3443"/>
                </a:lnTo>
                <a:lnTo>
                  <a:pt x="986" y="3445"/>
                </a:lnTo>
                <a:lnTo>
                  <a:pt x="989" y="3447"/>
                </a:lnTo>
                <a:lnTo>
                  <a:pt x="991" y="3450"/>
                </a:lnTo>
                <a:lnTo>
                  <a:pt x="993" y="3452"/>
                </a:lnTo>
                <a:lnTo>
                  <a:pt x="993" y="3450"/>
                </a:lnTo>
                <a:lnTo>
                  <a:pt x="996" y="3452"/>
                </a:lnTo>
                <a:lnTo>
                  <a:pt x="1005" y="3450"/>
                </a:lnTo>
                <a:lnTo>
                  <a:pt x="1005" y="3450"/>
                </a:lnTo>
                <a:lnTo>
                  <a:pt x="1007" y="3454"/>
                </a:lnTo>
                <a:lnTo>
                  <a:pt x="1007" y="3457"/>
                </a:lnTo>
                <a:lnTo>
                  <a:pt x="996" y="3471"/>
                </a:lnTo>
                <a:lnTo>
                  <a:pt x="991" y="3478"/>
                </a:lnTo>
                <a:lnTo>
                  <a:pt x="989" y="3485"/>
                </a:lnTo>
                <a:lnTo>
                  <a:pt x="989" y="3495"/>
                </a:lnTo>
                <a:lnTo>
                  <a:pt x="991" y="3504"/>
                </a:lnTo>
                <a:lnTo>
                  <a:pt x="993" y="3511"/>
                </a:lnTo>
                <a:lnTo>
                  <a:pt x="998" y="3518"/>
                </a:lnTo>
                <a:lnTo>
                  <a:pt x="998" y="3521"/>
                </a:lnTo>
                <a:lnTo>
                  <a:pt x="1000" y="3523"/>
                </a:lnTo>
                <a:lnTo>
                  <a:pt x="1003" y="3525"/>
                </a:lnTo>
                <a:lnTo>
                  <a:pt x="998" y="3535"/>
                </a:lnTo>
                <a:lnTo>
                  <a:pt x="996" y="3549"/>
                </a:lnTo>
                <a:lnTo>
                  <a:pt x="998" y="3549"/>
                </a:lnTo>
                <a:lnTo>
                  <a:pt x="996" y="3551"/>
                </a:lnTo>
                <a:lnTo>
                  <a:pt x="993" y="3551"/>
                </a:lnTo>
                <a:lnTo>
                  <a:pt x="991" y="3551"/>
                </a:lnTo>
                <a:lnTo>
                  <a:pt x="989" y="3556"/>
                </a:lnTo>
                <a:lnTo>
                  <a:pt x="960" y="3594"/>
                </a:lnTo>
                <a:lnTo>
                  <a:pt x="958" y="3594"/>
                </a:lnTo>
                <a:lnTo>
                  <a:pt x="953" y="3596"/>
                </a:lnTo>
                <a:lnTo>
                  <a:pt x="953" y="3596"/>
                </a:lnTo>
                <a:lnTo>
                  <a:pt x="948" y="3603"/>
                </a:lnTo>
                <a:lnTo>
                  <a:pt x="946" y="3606"/>
                </a:lnTo>
                <a:lnTo>
                  <a:pt x="941" y="3606"/>
                </a:lnTo>
                <a:lnTo>
                  <a:pt x="936" y="3601"/>
                </a:lnTo>
                <a:lnTo>
                  <a:pt x="929" y="3596"/>
                </a:lnTo>
                <a:lnTo>
                  <a:pt x="929" y="3603"/>
                </a:lnTo>
                <a:lnTo>
                  <a:pt x="925" y="3596"/>
                </a:lnTo>
                <a:lnTo>
                  <a:pt x="915" y="3592"/>
                </a:lnTo>
                <a:lnTo>
                  <a:pt x="906" y="3587"/>
                </a:lnTo>
                <a:lnTo>
                  <a:pt x="899" y="3587"/>
                </a:lnTo>
                <a:lnTo>
                  <a:pt x="892" y="3592"/>
                </a:lnTo>
                <a:lnTo>
                  <a:pt x="884" y="3599"/>
                </a:lnTo>
                <a:lnTo>
                  <a:pt x="880" y="3606"/>
                </a:lnTo>
                <a:lnTo>
                  <a:pt x="882" y="3615"/>
                </a:lnTo>
                <a:lnTo>
                  <a:pt x="877" y="3618"/>
                </a:lnTo>
                <a:lnTo>
                  <a:pt x="875" y="3615"/>
                </a:lnTo>
                <a:lnTo>
                  <a:pt x="877" y="3608"/>
                </a:lnTo>
                <a:lnTo>
                  <a:pt x="873" y="3606"/>
                </a:lnTo>
                <a:lnTo>
                  <a:pt x="868" y="3606"/>
                </a:lnTo>
                <a:lnTo>
                  <a:pt x="863" y="3606"/>
                </a:lnTo>
                <a:lnTo>
                  <a:pt x="863" y="3603"/>
                </a:lnTo>
                <a:lnTo>
                  <a:pt x="866" y="3594"/>
                </a:lnTo>
                <a:lnTo>
                  <a:pt x="866" y="3584"/>
                </a:lnTo>
                <a:lnTo>
                  <a:pt x="861" y="3577"/>
                </a:lnTo>
                <a:lnTo>
                  <a:pt x="854" y="3580"/>
                </a:lnTo>
                <a:lnTo>
                  <a:pt x="849" y="3558"/>
                </a:lnTo>
                <a:lnTo>
                  <a:pt x="842" y="3540"/>
                </a:lnTo>
                <a:lnTo>
                  <a:pt x="839" y="3540"/>
                </a:lnTo>
                <a:lnTo>
                  <a:pt x="837" y="3542"/>
                </a:lnTo>
                <a:lnTo>
                  <a:pt x="830" y="3540"/>
                </a:lnTo>
                <a:lnTo>
                  <a:pt x="825" y="3540"/>
                </a:lnTo>
                <a:lnTo>
                  <a:pt x="825" y="3537"/>
                </a:lnTo>
                <a:lnTo>
                  <a:pt x="828" y="3530"/>
                </a:lnTo>
                <a:lnTo>
                  <a:pt x="823" y="3528"/>
                </a:lnTo>
                <a:lnTo>
                  <a:pt x="816" y="3532"/>
                </a:lnTo>
                <a:lnTo>
                  <a:pt x="816" y="3532"/>
                </a:lnTo>
                <a:lnTo>
                  <a:pt x="813" y="3528"/>
                </a:lnTo>
                <a:lnTo>
                  <a:pt x="813" y="3523"/>
                </a:lnTo>
                <a:lnTo>
                  <a:pt x="809" y="3516"/>
                </a:lnTo>
                <a:lnTo>
                  <a:pt x="806" y="3516"/>
                </a:lnTo>
                <a:lnTo>
                  <a:pt x="802" y="3518"/>
                </a:lnTo>
                <a:lnTo>
                  <a:pt x="799" y="3514"/>
                </a:lnTo>
                <a:lnTo>
                  <a:pt x="799" y="3504"/>
                </a:lnTo>
                <a:lnTo>
                  <a:pt x="797" y="3499"/>
                </a:lnTo>
                <a:lnTo>
                  <a:pt x="795" y="3495"/>
                </a:lnTo>
                <a:lnTo>
                  <a:pt x="792" y="3495"/>
                </a:lnTo>
                <a:lnTo>
                  <a:pt x="790" y="3495"/>
                </a:lnTo>
                <a:lnTo>
                  <a:pt x="792" y="3499"/>
                </a:lnTo>
                <a:lnTo>
                  <a:pt x="790" y="3497"/>
                </a:lnTo>
                <a:lnTo>
                  <a:pt x="787" y="3497"/>
                </a:lnTo>
                <a:lnTo>
                  <a:pt x="785" y="3492"/>
                </a:lnTo>
                <a:lnTo>
                  <a:pt x="785" y="3490"/>
                </a:lnTo>
                <a:lnTo>
                  <a:pt x="785" y="3485"/>
                </a:lnTo>
                <a:lnTo>
                  <a:pt x="783" y="3483"/>
                </a:lnTo>
                <a:lnTo>
                  <a:pt x="780" y="3483"/>
                </a:lnTo>
                <a:lnTo>
                  <a:pt x="778" y="3483"/>
                </a:lnTo>
                <a:lnTo>
                  <a:pt x="776" y="3476"/>
                </a:lnTo>
                <a:lnTo>
                  <a:pt x="773" y="3473"/>
                </a:lnTo>
                <a:lnTo>
                  <a:pt x="776" y="3471"/>
                </a:lnTo>
                <a:lnTo>
                  <a:pt x="790" y="3450"/>
                </a:lnTo>
                <a:lnTo>
                  <a:pt x="792" y="3440"/>
                </a:lnTo>
                <a:lnTo>
                  <a:pt x="785" y="3433"/>
                </a:lnTo>
                <a:lnTo>
                  <a:pt x="785" y="3426"/>
                </a:lnTo>
                <a:lnTo>
                  <a:pt x="773" y="3419"/>
                </a:lnTo>
                <a:lnTo>
                  <a:pt x="769" y="3409"/>
                </a:lnTo>
                <a:lnTo>
                  <a:pt x="771" y="3407"/>
                </a:lnTo>
                <a:lnTo>
                  <a:pt x="776" y="3400"/>
                </a:lnTo>
                <a:lnTo>
                  <a:pt x="776" y="3395"/>
                </a:lnTo>
                <a:lnTo>
                  <a:pt x="778" y="3388"/>
                </a:lnTo>
                <a:lnTo>
                  <a:pt x="776" y="3386"/>
                </a:lnTo>
                <a:lnTo>
                  <a:pt x="771" y="3374"/>
                </a:lnTo>
                <a:lnTo>
                  <a:pt x="769" y="3374"/>
                </a:lnTo>
                <a:lnTo>
                  <a:pt x="769" y="3372"/>
                </a:lnTo>
                <a:lnTo>
                  <a:pt x="771" y="3367"/>
                </a:lnTo>
                <a:lnTo>
                  <a:pt x="780" y="3355"/>
                </a:lnTo>
                <a:lnTo>
                  <a:pt x="783" y="3346"/>
                </a:lnTo>
                <a:lnTo>
                  <a:pt x="787" y="3331"/>
                </a:lnTo>
                <a:lnTo>
                  <a:pt x="790" y="3324"/>
                </a:lnTo>
                <a:lnTo>
                  <a:pt x="787" y="3319"/>
                </a:lnTo>
                <a:lnTo>
                  <a:pt x="790" y="3315"/>
                </a:lnTo>
                <a:lnTo>
                  <a:pt x="787" y="3308"/>
                </a:lnTo>
                <a:lnTo>
                  <a:pt x="783" y="3289"/>
                </a:lnTo>
                <a:lnTo>
                  <a:pt x="780" y="3270"/>
                </a:lnTo>
                <a:lnTo>
                  <a:pt x="778" y="3265"/>
                </a:lnTo>
                <a:lnTo>
                  <a:pt x="778" y="3263"/>
                </a:lnTo>
                <a:lnTo>
                  <a:pt x="778" y="3258"/>
                </a:lnTo>
                <a:lnTo>
                  <a:pt x="778" y="3249"/>
                </a:lnTo>
                <a:lnTo>
                  <a:pt x="778" y="3246"/>
                </a:lnTo>
                <a:lnTo>
                  <a:pt x="783" y="3246"/>
                </a:lnTo>
                <a:lnTo>
                  <a:pt x="785" y="3249"/>
                </a:lnTo>
                <a:lnTo>
                  <a:pt x="797" y="3263"/>
                </a:lnTo>
                <a:lnTo>
                  <a:pt x="804" y="3270"/>
                </a:lnTo>
                <a:lnTo>
                  <a:pt x="811" y="3270"/>
                </a:lnTo>
                <a:lnTo>
                  <a:pt x="818" y="3267"/>
                </a:lnTo>
                <a:lnTo>
                  <a:pt x="802" y="3263"/>
                </a:lnTo>
                <a:lnTo>
                  <a:pt x="797" y="3260"/>
                </a:lnTo>
                <a:lnTo>
                  <a:pt x="797" y="3253"/>
                </a:lnTo>
                <a:lnTo>
                  <a:pt x="802" y="3246"/>
                </a:lnTo>
                <a:lnTo>
                  <a:pt x="806" y="3239"/>
                </a:lnTo>
                <a:lnTo>
                  <a:pt x="809" y="3234"/>
                </a:lnTo>
                <a:lnTo>
                  <a:pt x="806" y="3234"/>
                </a:lnTo>
                <a:lnTo>
                  <a:pt x="806" y="3237"/>
                </a:lnTo>
                <a:lnTo>
                  <a:pt x="804" y="3239"/>
                </a:lnTo>
                <a:lnTo>
                  <a:pt x="802" y="3241"/>
                </a:lnTo>
                <a:lnTo>
                  <a:pt x="802" y="3244"/>
                </a:lnTo>
                <a:lnTo>
                  <a:pt x="804" y="3239"/>
                </a:lnTo>
                <a:lnTo>
                  <a:pt x="806" y="3232"/>
                </a:lnTo>
                <a:lnTo>
                  <a:pt x="809" y="3222"/>
                </a:lnTo>
                <a:lnTo>
                  <a:pt x="809" y="3218"/>
                </a:lnTo>
                <a:lnTo>
                  <a:pt x="809" y="3204"/>
                </a:lnTo>
                <a:lnTo>
                  <a:pt x="809" y="3199"/>
                </a:lnTo>
                <a:lnTo>
                  <a:pt x="804" y="3194"/>
                </a:lnTo>
                <a:lnTo>
                  <a:pt x="797" y="3185"/>
                </a:lnTo>
                <a:lnTo>
                  <a:pt x="787" y="3180"/>
                </a:lnTo>
                <a:lnTo>
                  <a:pt x="776" y="3180"/>
                </a:lnTo>
                <a:lnTo>
                  <a:pt x="769" y="3187"/>
                </a:lnTo>
                <a:lnTo>
                  <a:pt x="771" y="3189"/>
                </a:lnTo>
                <a:lnTo>
                  <a:pt x="771" y="3187"/>
                </a:lnTo>
                <a:lnTo>
                  <a:pt x="773" y="3187"/>
                </a:lnTo>
                <a:lnTo>
                  <a:pt x="776" y="3187"/>
                </a:lnTo>
                <a:lnTo>
                  <a:pt x="778" y="3187"/>
                </a:lnTo>
                <a:lnTo>
                  <a:pt x="773" y="3189"/>
                </a:lnTo>
                <a:lnTo>
                  <a:pt x="771" y="3194"/>
                </a:lnTo>
                <a:lnTo>
                  <a:pt x="771" y="3206"/>
                </a:lnTo>
                <a:lnTo>
                  <a:pt x="769" y="3204"/>
                </a:lnTo>
                <a:lnTo>
                  <a:pt x="771" y="3196"/>
                </a:lnTo>
                <a:lnTo>
                  <a:pt x="769" y="3194"/>
                </a:lnTo>
                <a:lnTo>
                  <a:pt x="764" y="3192"/>
                </a:lnTo>
                <a:lnTo>
                  <a:pt x="759" y="3187"/>
                </a:lnTo>
                <a:lnTo>
                  <a:pt x="757" y="3187"/>
                </a:lnTo>
                <a:lnTo>
                  <a:pt x="757" y="3187"/>
                </a:lnTo>
                <a:lnTo>
                  <a:pt x="754" y="3185"/>
                </a:lnTo>
                <a:lnTo>
                  <a:pt x="754" y="3180"/>
                </a:lnTo>
                <a:lnTo>
                  <a:pt x="754" y="3178"/>
                </a:lnTo>
                <a:lnTo>
                  <a:pt x="757" y="3175"/>
                </a:lnTo>
                <a:lnTo>
                  <a:pt x="757" y="3173"/>
                </a:lnTo>
                <a:lnTo>
                  <a:pt x="752" y="3156"/>
                </a:lnTo>
                <a:lnTo>
                  <a:pt x="752" y="3152"/>
                </a:lnTo>
                <a:lnTo>
                  <a:pt x="754" y="3142"/>
                </a:lnTo>
                <a:lnTo>
                  <a:pt x="754" y="3137"/>
                </a:lnTo>
                <a:lnTo>
                  <a:pt x="750" y="3130"/>
                </a:lnTo>
                <a:lnTo>
                  <a:pt x="745" y="3135"/>
                </a:lnTo>
                <a:lnTo>
                  <a:pt x="745" y="3133"/>
                </a:lnTo>
                <a:lnTo>
                  <a:pt x="747" y="3130"/>
                </a:lnTo>
                <a:lnTo>
                  <a:pt x="752" y="3125"/>
                </a:lnTo>
                <a:lnTo>
                  <a:pt x="752" y="3125"/>
                </a:lnTo>
                <a:lnTo>
                  <a:pt x="761" y="3123"/>
                </a:lnTo>
                <a:lnTo>
                  <a:pt x="769" y="3121"/>
                </a:lnTo>
                <a:lnTo>
                  <a:pt x="771" y="3121"/>
                </a:lnTo>
                <a:lnTo>
                  <a:pt x="773" y="3118"/>
                </a:lnTo>
                <a:lnTo>
                  <a:pt x="776" y="3111"/>
                </a:lnTo>
                <a:lnTo>
                  <a:pt x="778" y="3107"/>
                </a:lnTo>
                <a:lnTo>
                  <a:pt x="778" y="3099"/>
                </a:lnTo>
                <a:lnTo>
                  <a:pt x="776" y="3095"/>
                </a:lnTo>
                <a:lnTo>
                  <a:pt x="769" y="3083"/>
                </a:lnTo>
                <a:lnTo>
                  <a:pt x="766" y="3076"/>
                </a:lnTo>
                <a:lnTo>
                  <a:pt x="764" y="3052"/>
                </a:lnTo>
                <a:lnTo>
                  <a:pt x="766" y="3033"/>
                </a:lnTo>
                <a:lnTo>
                  <a:pt x="766" y="3019"/>
                </a:lnTo>
                <a:lnTo>
                  <a:pt x="761" y="3012"/>
                </a:lnTo>
                <a:lnTo>
                  <a:pt x="752" y="3005"/>
                </a:lnTo>
                <a:lnTo>
                  <a:pt x="745" y="3000"/>
                </a:lnTo>
                <a:lnTo>
                  <a:pt x="742" y="3002"/>
                </a:lnTo>
                <a:lnTo>
                  <a:pt x="733" y="2998"/>
                </a:lnTo>
                <a:lnTo>
                  <a:pt x="733" y="2991"/>
                </a:lnTo>
                <a:lnTo>
                  <a:pt x="733" y="2967"/>
                </a:lnTo>
                <a:lnTo>
                  <a:pt x="733" y="2960"/>
                </a:lnTo>
                <a:lnTo>
                  <a:pt x="728" y="2948"/>
                </a:lnTo>
                <a:lnTo>
                  <a:pt x="721" y="2939"/>
                </a:lnTo>
                <a:lnTo>
                  <a:pt x="716" y="2936"/>
                </a:lnTo>
                <a:lnTo>
                  <a:pt x="709" y="2931"/>
                </a:lnTo>
                <a:lnTo>
                  <a:pt x="707" y="2924"/>
                </a:lnTo>
                <a:lnTo>
                  <a:pt x="705" y="2915"/>
                </a:lnTo>
                <a:lnTo>
                  <a:pt x="702" y="2905"/>
                </a:lnTo>
                <a:lnTo>
                  <a:pt x="695" y="2898"/>
                </a:lnTo>
                <a:lnTo>
                  <a:pt x="686" y="2898"/>
                </a:lnTo>
                <a:lnTo>
                  <a:pt x="672" y="2910"/>
                </a:lnTo>
                <a:lnTo>
                  <a:pt x="664" y="2908"/>
                </a:lnTo>
                <a:lnTo>
                  <a:pt x="667" y="2901"/>
                </a:lnTo>
                <a:lnTo>
                  <a:pt x="669" y="2894"/>
                </a:lnTo>
                <a:lnTo>
                  <a:pt x="662" y="2891"/>
                </a:lnTo>
                <a:lnTo>
                  <a:pt x="657" y="2896"/>
                </a:lnTo>
                <a:lnTo>
                  <a:pt x="655" y="2905"/>
                </a:lnTo>
                <a:lnTo>
                  <a:pt x="653" y="2915"/>
                </a:lnTo>
                <a:lnTo>
                  <a:pt x="650" y="2910"/>
                </a:lnTo>
                <a:lnTo>
                  <a:pt x="648" y="2903"/>
                </a:lnTo>
                <a:lnTo>
                  <a:pt x="645" y="2894"/>
                </a:lnTo>
                <a:lnTo>
                  <a:pt x="645" y="2891"/>
                </a:lnTo>
                <a:lnTo>
                  <a:pt x="650" y="2887"/>
                </a:lnTo>
                <a:lnTo>
                  <a:pt x="655" y="2882"/>
                </a:lnTo>
                <a:lnTo>
                  <a:pt x="657" y="2875"/>
                </a:lnTo>
                <a:lnTo>
                  <a:pt x="657" y="2865"/>
                </a:lnTo>
                <a:lnTo>
                  <a:pt x="657" y="2865"/>
                </a:lnTo>
                <a:lnTo>
                  <a:pt x="660" y="2863"/>
                </a:lnTo>
                <a:lnTo>
                  <a:pt x="660" y="2861"/>
                </a:lnTo>
                <a:lnTo>
                  <a:pt x="657" y="2858"/>
                </a:lnTo>
                <a:lnTo>
                  <a:pt x="655" y="2861"/>
                </a:lnTo>
                <a:lnTo>
                  <a:pt x="653" y="2858"/>
                </a:lnTo>
                <a:lnTo>
                  <a:pt x="650" y="2856"/>
                </a:lnTo>
                <a:lnTo>
                  <a:pt x="645" y="2849"/>
                </a:lnTo>
                <a:lnTo>
                  <a:pt x="643" y="2846"/>
                </a:lnTo>
                <a:lnTo>
                  <a:pt x="638" y="2846"/>
                </a:lnTo>
                <a:lnTo>
                  <a:pt x="657" y="2787"/>
                </a:lnTo>
                <a:lnTo>
                  <a:pt x="657" y="2780"/>
                </a:lnTo>
                <a:lnTo>
                  <a:pt x="657" y="2771"/>
                </a:lnTo>
                <a:lnTo>
                  <a:pt x="655" y="2766"/>
                </a:lnTo>
                <a:lnTo>
                  <a:pt x="650" y="2764"/>
                </a:lnTo>
                <a:lnTo>
                  <a:pt x="645" y="2761"/>
                </a:lnTo>
                <a:lnTo>
                  <a:pt x="645" y="2754"/>
                </a:lnTo>
                <a:lnTo>
                  <a:pt x="648" y="2745"/>
                </a:lnTo>
                <a:lnTo>
                  <a:pt x="650" y="2740"/>
                </a:lnTo>
                <a:lnTo>
                  <a:pt x="653" y="2740"/>
                </a:lnTo>
                <a:lnTo>
                  <a:pt x="655" y="2745"/>
                </a:lnTo>
                <a:lnTo>
                  <a:pt x="657" y="2745"/>
                </a:lnTo>
                <a:lnTo>
                  <a:pt x="660" y="2745"/>
                </a:lnTo>
                <a:lnTo>
                  <a:pt x="662" y="2747"/>
                </a:lnTo>
                <a:lnTo>
                  <a:pt x="662" y="2752"/>
                </a:lnTo>
                <a:lnTo>
                  <a:pt x="662" y="2756"/>
                </a:lnTo>
                <a:lnTo>
                  <a:pt x="662" y="2761"/>
                </a:lnTo>
                <a:lnTo>
                  <a:pt x="662" y="2766"/>
                </a:lnTo>
                <a:lnTo>
                  <a:pt x="679" y="2785"/>
                </a:lnTo>
                <a:lnTo>
                  <a:pt x="690" y="2790"/>
                </a:lnTo>
                <a:lnTo>
                  <a:pt x="726" y="2790"/>
                </a:lnTo>
                <a:lnTo>
                  <a:pt x="745" y="2794"/>
                </a:lnTo>
                <a:lnTo>
                  <a:pt x="752" y="2794"/>
                </a:lnTo>
                <a:lnTo>
                  <a:pt x="759" y="2792"/>
                </a:lnTo>
                <a:lnTo>
                  <a:pt x="783" y="2778"/>
                </a:lnTo>
                <a:lnTo>
                  <a:pt x="787" y="2773"/>
                </a:lnTo>
                <a:lnTo>
                  <a:pt x="792" y="2766"/>
                </a:lnTo>
                <a:lnTo>
                  <a:pt x="795" y="2759"/>
                </a:lnTo>
                <a:lnTo>
                  <a:pt x="813" y="2747"/>
                </a:lnTo>
                <a:lnTo>
                  <a:pt x="823" y="2745"/>
                </a:lnTo>
                <a:lnTo>
                  <a:pt x="828" y="2745"/>
                </a:lnTo>
                <a:lnTo>
                  <a:pt x="832" y="2747"/>
                </a:lnTo>
                <a:lnTo>
                  <a:pt x="849" y="2730"/>
                </a:lnTo>
                <a:lnTo>
                  <a:pt x="854" y="2723"/>
                </a:lnTo>
                <a:lnTo>
                  <a:pt x="863" y="2702"/>
                </a:lnTo>
                <a:lnTo>
                  <a:pt x="868" y="2700"/>
                </a:lnTo>
                <a:lnTo>
                  <a:pt x="866" y="2697"/>
                </a:lnTo>
                <a:lnTo>
                  <a:pt x="866" y="2697"/>
                </a:lnTo>
                <a:lnTo>
                  <a:pt x="866" y="2697"/>
                </a:lnTo>
                <a:lnTo>
                  <a:pt x="866" y="2697"/>
                </a:lnTo>
                <a:lnTo>
                  <a:pt x="875" y="2690"/>
                </a:lnTo>
                <a:lnTo>
                  <a:pt x="877" y="2690"/>
                </a:lnTo>
                <a:lnTo>
                  <a:pt x="880" y="2685"/>
                </a:lnTo>
                <a:lnTo>
                  <a:pt x="882" y="2678"/>
                </a:lnTo>
                <a:lnTo>
                  <a:pt x="884" y="2676"/>
                </a:lnTo>
                <a:lnTo>
                  <a:pt x="887" y="2674"/>
                </a:lnTo>
                <a:lnTo>
                  <a:pt x="892" y="2669"/>
                </a:lnTo>
                <a:lnTo>
                  <a:pt x="896" y="2662"/>
                </a:lnTo>
                <a:lnTo>
                  <a:pt x="901" y="2650"/>
                </a:lnTo>
                <a:lnTo>
                  <a:pt x="906" y="2648"/>
                </a:lnTo>
                <a:lnTo>
                  <a:pt x="927" y="2640"/>
                </a:lnTo>
                <a:lnTo>
                  <a:pt x="932" y="2638"/>
                </a:lnTo>
                <a:lnTo>
                  <a:pt x="939" y="2629"/>
                </a:lnTo>
                <a:lnTo>
                  <a:pt x="941" y="2631"/>
                </a:lnTo>
                <a:lnTo>
                  <a:pt x="946" y="2624"/>
                </a:lnTo>
                <a:lnTo>
                  <a:pt x="948" y="2619"/>
                </a:lnTo>
                <a:lnTo>
                  <a:pt x="946" y="2600"/>
                </a:lnTo>
                <a:lnTo>
                  <a:pt x="946" y="2593"/>
                </a:lnTo>
                <a:lnTo>
                  <a:pt x="953" y="2588"/>
                </a:lnTo>
                <a:lnTo>
                  <a:pt x="960" y="2586"/>
                </a:lnTo>
                <a:lnTo>
                  <a:pt x="965" y="2581"/>
                </a:lnTo>
                <a:lnTo>
                  <a:pt x="967" y="2586"/>
                </a:lnTo>
                <a:lnTo>
                  <a:pt x="967" y="2588"/>
                </a:lnTo>
                <a:moveTo>
                  <a:pt x="1031" y="2593"/>
                </a:moveTo>
                <a:lnTo>
                  <a:pt x="1031" y="2593"/>
                </a:lnTo>
                <a:lnTo>
                  <a:pt x="1019" y="2598"/>
                </a:lnTo>
                <a:lnTo>
                  <a:pt x="1015" y="2598"/>
                </a:lnTo>
                <a:lnTo>
                  <a:pt x="1012" y="2596"/>
                </a:lnTo>
                <a:lnTo>
                  <a:pt x="1012" y="2591"/>
                </a:lnTo>
                <a:lnTo>
                  <a:pt x="1012" y="2588"/>
                </a:lnTo>
                <a:lnTo>
                  <a:pt x="1015" y="2588"/>
                </a:lnTo>
                <a:lnTo>
                  <a:pt x="1017" y="2586"/>
                </a:lnTo>
                <a:lnTo>
                  <a:pt x="1019" y="2584"/>
                </a:lnTo>
                <a:lnTo>
                  <a:pt x="1019" y="2579"/>
                </a:lnTo>
                <a:lnTo>
                  <a:pt x="1019" y="2579"/>
                </a:lnTo>
                <a:lnTo>
                  <a:pt x="1022" y="2577"/>
                </a:lnTo>
                <a:lnTo>
                  <a:pt x="1024" y="2577"/>
                </a:lnTo>
                <a:lnTo>
                  <a:pt x="1026" y="2577"/>
                </a:lnTo>
                <a:lnTo>
                  <a:pt x="1029" y="2579"/>
                </a:lnTo>
                <a:lnTo>
                  <a:pt x="1029" y="2581"/>
                </a:lnTo>
                <a:lnTo>
                  <a:pt x="1029" y="2586"/>
                </a:lnTo>
                <a:lnTo>
                  <a:pt x="1029" y="2588"/>
                </a:lnTo>
                <a:lnTo>
                  <a:pt x="1031" y="2591"/>
                </a:lnTo>
                <a:lnTo>
                  <a:pt x="1031" y="2593"/>
                </a:lnTo>
                <a:lnTo>
                  <a:pt x="1031" y="2593"/>
                </a:lnTo>
                <a:moveTo>
                  <a:pt x="1254" y="2084"/>
                </a:moveTo>
                <a:lnTo>
                  <a:pt x="1254" y="2084"/>
                </a:lnTo>
                <a:lnTo>
                  <a:pt x="1254" y="2092"/>
                </a:lnTo>
                <a:lnTo>
                  <a:pt x="1246" y="2089"/>
                </a:lnTo>
                <a:lnTo>
                  <a:pt x="1246" y="2082"/>
                </a:lnTo>
                <a:lnTo>
                  <a:pt x="1249" y="2080"/>
                </a:lnTo>
                <a:lnTo>
                  <a:pt x="1254" y="2084"/>
                </a:lnTo>
                <a:moveTo>
                  <a:pt x="1443" y="2063"/>
                </a:moveTo>
                <a:lnTo>
                  <a:pt x="1443" y="2063"/>
                </a:lnTo>
                <a:lnTo>
                  <a:pt x="1438" y="2066"/>
                </a:lnTo>
                <a:lnTo>
                  <a:pt x="1426" y="2054"/>
                </a:lnTo>
                <a:lnTo>
                  <a:pt x="1422" y="2051"/>
                </a:lnTo>
                <a:lnTo>
                  <a:pt x="1424" y="2047"/>
                </a:lnTo>
                <a:lnTo>
                  <a:pt x="1424" y="2042"/>
                </a:lnTo>
                <a:lnTo>
                  <a:pt x="1426" y="2040"/>
                </a:lnTo>
                <a:lnTo>
                  <a:pt x="1431" y="2042"/>
                </a:lnTo>
                <a:lnTo>
                  <a:pt x="1436" y="2044"/>
                </a:lnTo>
                <a:lnTo>
                  <a:pt x="1440" y="2054"/>
                </a:lnTo>
                <a:lnTo>
                  <a:pt x="1445" y="2056"/>
                </a:lnTo>
                <a:lnTo>
                  <a:pt x="1443" y="2058"/>
                </a:lnTo>
                <a:lnTo>
                  <a:pt x="1443" y="2063"/>
                </a:lnTo>
                <a:moveTo>
                  <a:pt x="1173" y="1992"/>
                </a:moveTo>
                <a:lnTo>
                  <a:pt x="1173" y="1992"/>
                </a:lnTo>
                <a:lnTo>
                  <a:pt x="1171" y="1995"/>
                </a:lnTo>
                <a:lnTo>
                  <a:pt x="1166" y="1995"/>
                </a:lnTo>
                <a:lnTo>
                  <a:pt x="1161" y="1995"/>
                </a:lnTo>
                <a:lnTo>
                  <a:pt x="1159" y="1992"/>
                </a:lnTo>
                <a:lnTo>
                  <a:pt x="1159" y="1990"/>
                </a:lnTo>
                <a:lnTo>
                  <a:pt x="1161" y="1987"/>
                </a:lnTo>
                <a:lnTo>
                  <a:pt x="1164" y="1983"/>
                </a:lnTo>
                <a:lnTo>
                  <a:pt x="1166" y="1978"/>
                </a:lnTo>
                <a:lnTo>
                  <a:pt x="1168" y="1978"/>
                </a:lnTo>
                <a:lnTo>
                  <a:pt x="1168" y="1983"/>
                </a:lnTo>
                <a:lnTo>
                  <a:pt x="1171" y="1985"/>
                </a:lnTo>
                <a:lnTo>
                  <a:pt x="1173" y="1987"/>
                </a:lnTo>
                <a:lnTo>
                  <a:pt x="1173" y="1987"/>
                </a:lnTo>
                <a:lnTo>
                  <a:pt x="1173" y="1990"/>
                </a:lnTo>
                <a:lnTo>
                  <a:pt x="1173" y="1992"/>
                </a:lnTo>
                <a:moveTo>
                  <a:pt x="1265" y="1879"/>
                </a:moveTo>
                <a:lnTo>
                  <a:pt x="1265" y="1879"/>
                </a:lnTo>
                <a:lnTo>
                  <a:pt x="1268" y="1883"/>
                </a:lnTo>
                <a:lnTo>
                  <a:pt x="1265" y="1890"/>
                </a:lnTo>
                <a:lnTo>
                  <a:pt x="1263" y="1895"/>
                </a:lnTo>
                <a:lnTo>
                  <a:pt x="1261" y="1900"/>
                </a:lnTo>
                <a:lnTo>
                  <a:pt x="1254" y="1902"/>
                </a:lnTo>
                <a:lnTo>
                  <a:pt x="1261" y="1905"/>
                </a:lnTo>
                <a:lnTo>
                  <a:pt x="1268" y="1909"/>
                </a:lnTo>
                <a:lnTo>
                  <a:pt x="1270" y="1919"/>
                </a:lnTo>
                <a:lnTo>
                  <a:pt x="1265" y="1924"/>
                </a:lnTo>
                <a:lnTo>
                  <a:pt x="1263" y="1921"/>
                </a:lnTo>
                <a:lnTo>
                  <a:pt x="1261" y="1921"/>
                </a:lnTo>
                <a:lnTo>
                  <a:pt x="1258" y="1921"/>
                </a:lnTo>
                <a:lnTo>
                  <a:pt x="1254" y="1919"/>
                </a:lnTo>
                <a:lnTo>
                  <a:pt x="1254" y="1919"/>
                </a:lnTo>
                <a:lnTo>
                  <a:pt x="1249" y="1909"/>
                </a:lnTo>
                <a:lnTo>
                  <a:pt x="1246" y="1909"/>
                </a:lnTo>
                <a:lnTo>
                  <a:pt x="1244" y="1907"/>
                </a:lnTo>
                <a:lnTo>
                  <a:pt x="1239" y="1905"/>
                </a:lnTo>
                <a:lnTo>
                  <a:pt x="1235" y="1905"/>
                </a:lnTo>
                <a:lnTo>
                  <a:pt x="1232" y="1914"/>
                </a:lnTo>
                <a:lnTo>
                  <a:pt x="1227" y="1907"/>
                </a:lnTo>
                <a:lnTo>
                  <a:pt x="1218" y="1914"/>
                </a:lnTo>
                <a:lnTo>
                  <a:pt x="1211" y="1909"/>
                </a:lnTo>
                <a:lnTo>
                  <a:pt x="1209" y="1917"/>
                </a:lnTo>
                <a:lnTo>
                  <a:pt x="1209" y="1919"/>
                </a:lnTo>
                <a:lnTo>
                  <a:pt x="1206" y="1921"/>
                </a:lnTo>
                <a:lnTo>
                  <a:pt x="1180" y="1924"/>
                </a:lnTo>
                <a:lnTo>
                  <a:pt x="1173" y="1921"/>
                </a:lnTo>
                <a:lnTo>
                  <a:pt x="1168" y="1917"/>
                </a:lnTo>
                <a:lnTo>
                  <a:pt x="1164" y="1905"/>
                </a:lnTo>
                <a:lnTo>
                  <a:pt x="1166" y="1898"/>
                </a:lnTo>
                <a:lnTo>
                  <a:pt x="1173" y="1893"/>
                </a:lnTo>
                <a:lnTo>
                  <a:pt x="1180" y="1888"/>
                </a:lnTo>
                <a:lnTo>
                  <a:pt x="1187" y="1888"/>
                </a:lnTo>
                <a:lnTo>
                  <a:pt x="1190" y="1888"/>
                </a:lnTo>
                <a:lnTo>
                  <a:pt x="1197" y="1890"/>
                </a:lnTo>
                <a:lnTo>
                  <a:pt x="1201" y="1890"/>
                </a:lnTo>
                <a:lnTo>
                  <a:pt x="1206" y="1890"/>
                </a:lnTo>
                <a:lnTo>
                  <a:pt x="1213" y="1890"/>
                </a:lnTo>
                <a:lnTo>
                  <a:pt x="1213" y="1888"/>
                </a:lnTo>
                <a:lnTo>
                  <a:pt x="1213" y="1888"/>
                </a:lnTo>
                <a:lnTo>
                  <a:pt x="1213" y="1888"/>
                </a:lnTo>
                <a:lnTo>
                  <a:pt x="1211" y="1886"/>
                </a:lnTo>
                <a:lnTo>
                  <a:pt x="1216" y="1883"/>
                </a:lnTo>
                <a:lnTo>
                  <a:pt x="1216" y="1881"/>
                </a:lnTo>
                <a:lnTo>
                  <a:pt x="1216" y="1881"/>
                </a:lnTo>
                <a:lnTo>
                  <a:pt x="1220" y="1881"/>
                </a:lnTo>
                <a:lnTo>
                  <a:pt x="1232" y="1879"/>
                </a:lnTo>
                <a:lnTo>
                  <a:pt x="1232" y="1883"/>
                </a:lnTo>
                <a:lnTo>
                  <a:pt x="1235" y="1886"/>
                </a:lnTo>
                <a:lnTo>
                  <a:pt x="1239" y="1886"/>
                </a:lnTo>
                <a:lnTo>
                  <a:pt x="1242" y="1886"/>
                </a:lnTo>
                <a:lnTo>
                  <a:pt x="1242" y="1881"/>
                </a:lnTo>
                <a:lnTo>
                  <a:pt x="1244" y="1879"/>
                </a:lnTo>
                <a:lnTo>
                  <a:pt x="1246" y="1876"/>
                </a:lnTo>
                <a:lnTo>
                  <a:pt x="1249" y="1874"/>
                </a:lnTo>
                <a:lnTo>
                  <a:pt x="1251" y="1862"/>
                </a:lnTo>
                <a:lnTo>
                  <a:pt x="1251" y="1857"/>
                </a:lnTo>
                <a:lnTo>
                  <a:pt x="1256" y="1855"/>
                </a:lnTo>
                <a:lnTo>
                  <a:pt x="1258" y="1855"/>
                </a:lnTo>
                <a:lnTo>
                  <a:pt x="1263" y="1857"/>
                </a:lnTo>
                <a:lnTo>
                  <a:pt x="1265" y="1862"/>
                </a:lnTo>
                <a:lnTo>
                  <a:pt x="1268" y="1864"/>
                </a:lnTo>
                <a:lnTo>
                  <a:pt x="1265" y="1869"/>
                </a:lnTo>
                <a:lnTo>
                  <a:pt x="1263" y="1874"/>
                </a:lnTo>
                <a:lnTo>
                  <a:pt x="1265" y="1879"/>
                </a:lnTo>
                <a:moveTo>
                  <a:pt x="1071" y="1798"/>
                </a:moveTo>
                <a:lnTo>
                  <a:pt x="1071" y="1798"/>
                </a:lnTo>
                <a:lnTo>
                  <a:pt x="1071" y="1798"/>
                </a:lnTo>
                <a:lnTo>
                  <a:pt x="1074" y="1798"/>
                </a:lnTo>
                <a:lnTo>
                  <a:pt x="1071" y="1808"/>
                </a:lnTo>
                <a:lnTo>
                  <a:pt x="1069" y="1815"/>
                </a:lnTo>
                <a:lnTo>
                  <a:pt x="1062" y="1817"/>
                </a:lnTo>
                <a:lnTo>
                  <a:pt x="1057" y="1810"/>
                </a:lnTo>
                <a:lnTo>
                  <a:pt x="1062" y="1793"/>
                </a:lnTo>
                <a:lnTo>
                  <a:pt x="1064" y="1789"/>
                </a:lnTo>
                <a:lnTo>
                  <a:pt x="1069" y="1796"/>
                </a:lnTo>
                <a:lnTo>
                  <a:pt x="1071" y="1796"/>
                </a:lnTo>
                <a:lnTo>
                  <a:pt x="1071" y="1798"/>
                </a:lnTo>
                <a:moveTo>
                  <a:pt x="1521" y="50"/>
                </a:moveTo>
                <a:lnTo>
                  <a:pt x="1521" y="50"/>
                </a:lnTo>
                <a:lnTo>
                  <a:pt x="1523" y="59"/>
                </a:lnTo>
                <a:lnTo>
                  <a:pt x="1528" y="64"/>
                </a:lnTo>
                <a:lnTo>
                  <a:pt x="1530" y="66"/>
                </a:lnTo>
                <a:lnTo>
                  <a:pt x="1530" y="71"/>
                </a:lnTo>
                <a:lnTo>
                  <a:pt x="1526" y="76"/>
                </a:lnTo>
                <a:lnTo>
                  <a:pt x="1530" y="76"/>
                </a:lnTo>
                <a:lnTo>
                  <a:pt x="1537" y="76"/>
                </a:lnTo>
                <a:lnTo>
                  <a:pt x="1540" y="78"/>
                </a:lnTo>
                <a:lnTo>
                  <a:pt x="1545" y="81"/>
                </a:lnTo>
                <a:lnTo>
                  <a:pt x="1547" y="83"/>
                </a:lnTo>
                <a:lnTo>
                  <a:pt x="1547" y="85"/>
                </a:lnTo>
                <a:lnTo>
                  <a:pt x="1552" y="85"/>
                </a:lnTo>
                <a:lnTo>
                  <a:pt x="1563" y="85"/>
                </a:lnTo>
                <a:lnTo>
                  <a:pt x="1568" y="88"/>
                </a:lnTo>
                <a:lnTo>
                  <a:pt x="1573" y="95"/>
                </a:lnTo>
                <a:lnTo>
                  <a:pt x="1573" y="102"/>
                </a:lnTo>
                <a:lnTo>
                  <a:pt x="1573" y="104"/>
                </a:lnTo>
                <a:lnTo>
                  <a:pt x="1573" y="107"/>
                </a:lnTo>
                <a:lnTo>
                  <a:pt x="1573" y="111"/>
                </a:lnTo>
                <a:lnTo>
                  <a:pt x="1573" y="118"/>
                </a:lnTo>
                <a:lnTo>
                  <a:pt x="1575" y="121"/>
                </a:lnTo>
                <a:lnTo>
                  <a:pt x="1578" y="121"/>
                </a:lnTo>
                <a:lnTo>
                  <a:pt x="1580" y="123"/>
                </a:lnTo>
                <a:lnTo>
                  <a:pt x="1587" y="126"/>
                </a:lnTo>
                <a:lnTo>
                  <a:pt x="1592" y="126"/>
                </a:lnTo>
                <a:lnTo>
                  <a:pt x="1597" y="128"/>
                </a:lnTo>
                <a:lnTo>
                  <a:pt x="1601" y="135"/>
                </a:lnTo>
                <a:lnTo>
                  <a:pt x="1608" y="149"/>
                </a:lnTo>
                <a:lnTo>
                  <a:pt x="1620" y="156"/>
                </a:lnTo>
                <a:lnTo>
                  <a:pt x="1632" y="159"/>
                </a:lnTo>
                <a:lnTo>
                  <a:pt x="1649" y="159"/>
                </a:lnTo>
                <a:lnTo>
                  <a:pt x="1658" y="163"/>
                </a:lnTo>
                <a:lnTo>
                  <a:pt x="1663" y="166"/>
                </a:lnTo>
                <a:lnTo>
                  <a:pt x="1668" y="166"/>
                </a:lnTo>
                <a:lnTo>
                  <a:pt x="1684" y="161"/>
                </a:lnTo>
                <a:lnTo>
                  <a:pt x="1698" y="159"/>
                </a:lnTo>
                <a:lnTo>
                  <a:pt x="1701" y="161"/>
                </a:lnTo>
                <a:lnTo>
                  <a:pt x="1708" y="163"/>
                </a:lnTo>
                <a:lnTo>
                  <a:pt x="1710" y="163"/>
                </a:lnTo>
                <a:lnTo>
                  <a:pt x="1713" y="163"/>
                </a:lnTo>
                <a:lnTo>
                  <a:pt x="1717" y="161"/>
                </a:lnTo>
                <a:lnTo>
                  <a:pt x="1720" y="161"/>
                </a:lnTo>
                <a:lnTo>
                  <a:pt x="1729" y="163"/>
                </a:lnTo>
                <a:lnTo>
                  <a:pt x="1748" y="170"/>
                </a:lnTo>
                <a:lnTo>
                  <a:pt x="1814" y="166"/>
                </a:lnTo>
                <a:lnTo>
                  <a:pt x="1840" y="166"/>
                </a:lnTo>
                <a:lnTo>
                  <a:pt x="1859" y="175"/>
                </a:lnTo>
                <a:lnTo>
                  <a:pt x="1866" y="175"/>
                </a:lnTo>
                <a:lnTo>
                  <a:pt x="1878" y="175"/>
                </a:lnTo>
                <a:lnTo>
                  <a:pt x="1907" y="163"/>
                </a:lnTo>
                <a:lnTo>
                  <a:pt x="1918" y="163"/>
                </a:lnTo>
                <a:lnTo>
                  <a:pt x="1935" y="159"/>
                </a:lnTo>
                <a:lnTo>
                  <a:pt x="1937" y="161"/>
                </a:lnTo>
                <a:lnTo>
                  <a:pt x="1942" y="163"/>
                </a:lnTo>
                <a:lnTo>
                  <a:pt x="1944" y="166"/>
                </a:lnTo>
                <a:lnTo>
                  <a:pt x="1959" y="163"/>
                </a:lnTo>
                <a:lnTo>
                  <a:pt x="1994" y="168"/>
                </a:lnTo>
                <a:lnTo>
                  <a:pt x="1999" y="168"/>
                </a:lnTo>
                <a:lnTo>
                  <a:pt x="2004" y="168"/>
                </a:lnTo>
                <a:lnTo>
                  <a:pt x="2004" y="170"/>
                </a:lnTo>
                <a:lnTo>
                  <a:pt x="2004" y="173"/>
                </a:lnTo>
                <a:lnTo>
                  <a:pt x="2004" y="175"/>
                </a:lnTo>
                <a:lnTo>
                  <a:pt x="2001" y="180"/>
                </a:lnTo>
                <a:lnTo>
                  <a:pt x="2004" y="189"/>
                </a:lnTo>
                <a:lnTo>
                  <a:pt x="2001" y="196"/>
                </a:lnTo>
                <a:lnTo>
                  <a:pt x="1996" y="201"/>
                </a:lnTo>
                <a:lnTo>
                  <a:pt x="1989" y="201"/>
                </a:lnTo>
                <a:lnTo>
                  <a:pt x="1980" y="204"/>
                </a:lnTo>
                <a:lnTo>
                  <a:pt x="1973" y="213"/>
                </a:lnTo>
                <a:lnTo>
                  <a:pt x="1970" y="223"/>
                </a:lnTo>
                <a:lnTo>
                  <a:pt x="1963" y="230"/>
                </a:lnTo>
                <a:lnTo>
                  <a:pt x="1951" y="241"/>
                </a:lnTo>
                <a:lnTo>
                  <a:pt x="1947" y="246"/>
                </a:lnTo>
                <a:lnTo>
                  <a:pt x="1942" y="249"/>
                </a:lnTo>
                <a:lnTo>
                  <a:pt x="1940" y="251"/>
                </a:lnTo>
                <a:lnTo>
                  <a:pt x="1937" y="253"/>
                </a:lnTo>
                <a:lnTo>
                  <a:pt x="1935" y="263"/>
                </a:lnTo>
                <a:lnTo>
                  <a:pt x="1930" y="275"/>
                </a:lnTo>
                <a:lnTo>
                  <a:pt x="1923" y="279"/>
                </a:lnTo>
                <a:lnTo>
                  <a:pt x="1925" y="284"/>
                </a:lnTo>
                <a:lnTo>
                  <a:pt x="1928" y="289"/>
                </a:lnTo>
                <a:lnTo>
                  <a:pt x="1933" y="298"/>
                </a:lnTo>
                <a:lnTo>
                  <a:pt x="1933" y="298"/>
                </a:lnTo>
                <a:lnTo>
                  <a:pt x="1933" y="298"/>
                </a:lnTo>
                <a:lnTo>
                  <a:pt x="1937" y="303"/>
                </a:lnTo>
                <a:lnTo>
                  <a:pt x="1940" y="310"/>
                </a:lnTo>
                <a:lnTo>
                  <a:pt x="1942" y="312"/>
                </a:lnTo>
                <a:lnTo>
                  <a:pt x="1949" y="310"/>
                </a:lnTo>
                <a:lnTo>
                  <a:pt x="1944" y="303"/>
                </a:lnTo>
                <a:lnTo>
                  <a:pt x="1949" y="303"/>
                </a:lnTo>
                <a:lnTo>
                  <a:pt x="1959" y="303"/>
                </a:lnTo>
                <a:lnTo>
                  <a:pt x="1963" y="305"/>
                </a:lnTo>
                <a:lnTo>
                  <a:pt x="1970" y="305"/>
                </a:lnTo>
                <a:lnTo>
                  <a:pt x="1977" y="308"/>
                </a:lnTo>
                <a:lnTo>
                  <a:pt x="1987" y="315"/>
                </a:lnTo>
                <a:lnTo>
                  <a:pt x="1994" y="315"/>
                </a:lnTo>
                <a:lnTo>
                  <a:pt x="2004" y="312"/>
                </a:lnTo>
                <a:lnTo>
                  <a:pt x="2011" y="312"/>
                </a:lnTo>
                <a:lnTo>
                  <a:pt x="2013" y="320"/>
                </a:lnTo>
                <a:lnTo>
                  <a:pt x="2008" y="338"/>
                </a:lnTo>
                <a:lnTo>
                  <a:pt x="1980" y="367"/>
                </a:lnTo>
                <a:lnTo>
                  <a:pt x="1975" y="379"/>
                </a:lnTo>
                <a:lnTo>
                  <a:pt x="1977" y="379"/>
                </a:lnTo>
                <a:lnTo>
                  <a:pt x="1977" y="383"/>
                </a:lnTo>
                <a:lnTo>
                  <a:pt x="1977" y="386"/>
                </a:lnTo>
                <a:lnTo>
                  <a:pt x="1977" y="388"/>
                </a:lnTo>
                <a:lnTo>
                  <a:pt x="1975" y="390"/>
                </a:lnTo>
                <a:lnTo>
                  <a:pt x="1970" y="395"/>
                </a:lnTo>
                <a:lnTo>
                  <a:pt x="1975" y="400"/>
                </a:lnTo>
                <a:lnTo>
                  <a:pt x="1977" y="400"/>
                </a:lnTo>
                <a:lnTo>
                  <a:pt x="1977" y="400"/>
                </a:lnTo>
                <a:lnTo>
                  <a:pt x="1977" y="400"/>
                </a:lnTo>
                <a:lnTo>
                  <a:pt x="1977" y="400"/>
                </a:lnTo>
                <a:lnTo>
                  <a:pt x="1977" y="402"/>
                </a:lnTo>
                <a:lnTo>
                  <a:pt x="1987" y="409"/>
                </a:lnTo>
                <a:lnTo>
                  <a:pt x="1996" y="407"/>
                </a:lnTo>
                <a:lnTo>
                  <a:pt x="2006" y="400"/>
                </a:lnTo>
                <a:lnTo>
                  <a:pt x="2015" y="398"/>
                </a:lnTo>
                <a:lnTo>
                  <a:pt x="2020" y="405"/>
                </a:lnTo>
                <a:lnTo>
                  <a:pt x="2020" y="421"/>
                </a:lnTo>
                <a:lnTo>
                  <a:pt x="2013" y="450"/>
                </a:lnTo>
                <a:lnTo>
                  <a:pt x="2015" y="464"/>
                </a:lnTo>
                <a:lnTo>
                  <a:pt x="2020" y="471"/>
                </a:lnTo>
                <a:lnTo>
                  <a:pt x="2030" y="476"/>
                </a:lnTo>
                <a:lnTo>
                  <a:pt x="2039" y="476"/>
                </a:lnTo>
                <a:lnTo>
                  <a:pt x="2044" y="476"/>
                </a:lnTo>
                <a:lnTo>
                  <a:pt x="2060" y="485"/>
                </a:lnTo>
                <a:lnTo>
                  <a:pt x="2082" y="490"/>
                </a:lnTo>
                <a:lnTo>
                  <a:pt x="2112" y="525"/>
                </a:lnTo>
                <a:lnTo>
                  <a:pt x="2115" y="528"/>
                </a:lnTo>
                <a:lnTo>
                  <a:pt x="2119" y="530"/>
                </a:lnTo>
                <a:lnTo>
                  <a:pt x="2124" y="530"/>
                </a:lnTo>
                <a:lnTo>
                  <a:pt x="2124" y="530"/>
                </a:lnTo>
                <a:lnTo>
                  <a:pt x="2122" y="537"/>
                </a:lnTo>
                <a:lnTo>
                  <a:pt x="2115" y="554"/>
                </a:lnTo>
                <a:lnTo>
                  <a:pt x="2101" y="556"/>
                </a:lnTo>
                <a:lnTo>
                  <a:pt x="2089" y="554"/>
                </a:lnTo>
                <a:lnTo>
                  <a:pt x="2074" y="556"/>
                </a:lnTo>
                <a:lnTo>
                  <a:pt x="2074" y="554"/>
                </a:lnTo>
                <a:lnTo>
                  <a:pt x="2077" y="547"/>
                </a:lnTo>
                <a:lnTo>
                  <a:pt x="2086" y="547"/>
                </a:lnTo>
                <a:lnTo>
                  <a:pt x="2093" y="544"/>
                </a:lnTo>
                <a:lnTo>
                  <a:pt x="2101" y="542"/>
                </a:lnTo>
                <a:lnTo>
                  <a:pt x="2096" y="542"/>
                </a:lnTo>
                <a:lnTo>
                  <a:pt x="2093" y="540"/>
                </a:lnTo>
                <a:lnTo>
                  <a:pt x="2089" y="535"/>
                </a:lnTo>
                <a:lnTo>
                  <a:pt x="2077" y="532"/>
                </a:lnTo>
                <a:lnTo>
                  <a:pt x="2082" y="528"/>
                </a:lnTo>
                <a:lnTo>
                  <a:pt x="2079" y="521"/>
                </a:lnTo>
                <a:lnTo>
                  <a:pt x="2074" y="514"/>
                </a:lnTo>
                <a:lnTo>
                  <a:pt x="2070" y="509"/>
                </a:lnTo>
                <a:lnTo>
                  <a:pt x="2044" y="490"/>
                </a:lnTo>
                <a:lnTo>
                  <a:pt x="2037" y="485"/>
                </a:lnTo>
                <a:lnTo>
                  <a:pt x="2020" y="480"/>
                </a:lnTo>
                <a:lnTo>
                  <a:pt x="2013" y="480"/>
                </a:lnTo>
                <a:lnTo>
                  <a:pt x="2008" y="485"/>
                </a:lnTo>
                <a:lnTo>
                  <a:pt x="2008" y="495"/>
                </a:lnTo>
                <a:lnTo>
                  <a:pt x="2011" y="504"/>
                </a:lnTo>
                <a:lnTo>
                  <a:pt x="2018" y="504"/>
                </a:lnTo>
                <a:lnTo>
                  <a:pt x="2008" y="511"/>
                </a:lnTo>
                <a:lnTo>
                  <a:pt x="2006" y="514"/>
                </a:lnTo>
                <a:lnTo>
                  <a:pt x="2006" y="516"/>
                </a:lnTo>
                <a:lnTo>
                  <a:pt x="1999" y="518"/>
                </a:lnTo>
                <a:lnTo>
                  <a:pt x="1994" y="521"/>
                </a:lnTo>
                <a:lnTo>
                  <a:pt x="1992" y="528"/>
                </a:lnTo>
                <a:lnTo>
                  <a:pt x="1985" y="535"/>
                </a:lnTo>
                <a:lnTo>
                  <a:pt x="1977" y="537"/>
                </a:lnTo>
                <a:lnTo>
                  <a:pt x="1970" y="535"/>
                </a:lnTo>
                <a:lnTo>
                  <a:pt x="1975" y="532"/>
                </a:lnTo>
                <a:lnTo>
                  <a:pt x="1980" y="530"/>
                </a:lnTo>
                <a:lnTo>
                  <a:pt x="1982" y="525"/>
                </a:lnTo>
                <a:lnTo>
                  <a:pt x="1985" y="523"/>
                </a:lnTo>
                <a:lnTo>
                  <a:pt x="1980" y="516"/>
                </a:lnTo>
                <a:lnTo>
                  <a:pt x="1968" y="516"/>
                </a:lnTo>
                <a:lnTo>
                  <a:pt x="1963" y="509"/>
                </a:lnTo>
                <a:lnTo>
                  <a:pt x="1959" y="514"/>
                </a:lnTo>
                <a:lnTo>
                  <a:pt x="1930" y="511"/>
                </a:lnTo>
                <a:lnTo>
                  <a:pt x="1928" y="509"/>
                </a:lnTo>
                <a:lnTo>
                  <a:pt x="1918" y="504"/>
                </a:lnTo>
                <a:lnTo>
                  <a:pt x="1916" y="502"/>
                </a:lnTo>
                <a:lnTo>
                  <a:pt x="1914" y="504"/>
                </a:lnTo>
                <a:lnTo>
                  <a:pt x="1904" y="509"/>
                </a:lnTo>
                <a:lnTo>
                  <a:pt x="1902" y="516"/>
                </a:lnTo>
                <a:lnTo>
                  <a:pt x="1899" y="518"/>
                </a:lnTo>
                <a:lnTo>
                  <a:pt x="1897" y="516"/>
                </a:lnTo>
                <a:lnTo>
                  <a:pt x="1892" y="511"/>
                </a:lnTo>
                <a:lnTo>
                  <a:pt x="1890" y="511"/>
                </a:lnTo>
                <a:lnTo>
                  <a:pt x="1888" y="514"/>
                </a:lnTo>
                <a:lnTo>
                  <a:pt x="1888" y="516"/>
                </a:lnTo>
                <a:lnTo>
                  <a:pt x="1888" y="521"/>
                </a:lnTo>
                <a:lnTo>
                  <a:pt x="1892" y="521"/>
                </a:lnTo>
                <a:lnTo>
                  <a:pt x="1892" y="525"/>
                </a:lnTo>
                <a:lnTo>
                  <a:pt x="1885" y="525"/>
                </a:lnTo>
                <a:lnTo>
                  <a:pt x="1880" y="530"/>
                </a:lnTo>
                <a:lnTo>
                  <a:pt x="1878" y="537"/>
                </a:lnTo>
                <a:lnTo>
                  <a:pt x="1880" y="544"/>
                </a:lnTo>
                <a:lnTo>
                  <a:pt x="1888" y="547"/>
                </a:lnTo>
                <a:lnTo>
                  <a:pt x="1892" y="544"/>
                </a:lnTo>
                <a:lnTo>
                  <a:pt x="1902" y="537"/>
                </a:lnTo>
                <a:lnTo>
                  <a:pt x="1899" y="544"/>
                </a:lnTo>
                <a:lnTo>
                  <a:pt x="1892" y="554"/>
                </a:lnTo>
                <a:lnTo>
                  <a:pt x="1890" y="561"/>
                </a:lnTo>
                <a:lnTo>
                  <a:pt x="1888" y="568"/>
                </a:lnTo>
                <a:lnTo>
                  <a:pt x="1880" y="570"/>
                </a:lnTo>
                <a:lnTo>
                  <a:pt x="1859" y="575"/>
                </a:lnTo>
                <a:lnTo>
                  <a:pt x="1847" y="580"/>
                </a:lnTo>
                <a:lnTo>
                  <a:pt x="1805" y="618"/>
                </a:lnTo>
                <a:lnTo>
                  <a:pt x="1760" y="651"/>
                </a:lnTo>
                <a:lnTo>
                  <a:pt x="1734" y="665"/>
                </a:lnTo>
                <a:lnTo>
                  <a:pt x="1729" y="672"/>
                </a:lnTo>
                <a:lnTo>
                  <a:pt x="1727" y="672"/>
                </a:lnTo>
                <a:lnTo>
                  <a:pt x="1717" y="677"/>
                </a:lnTo>
                <a:lnTo>
                  <a:pt x="1708" y="684"/>
                </a:lnTo>
                <a:lnTo>
                  <a:pt x="1705" y="686"/>
                </a:lnTo>
                <a:lnTo>
                  <a:pt x="1705" y="679"/>
                </a:lnTo>
                <a:lnTo>
                  <a:pt x="1708" y="672"/>
                </a:lnTo>
                <a:lnTo>
                  <a:pt x="1710" y="667"/>
                </a:lnTo>
                <a:lnTo>
                  <a:pt x="1708" y="665"/>
                </a:lnTo>
                <a:lnTo>
                  <a:pt x="1710" y="665"/>
                </a:lnTo>
                <a:lnTo>
                  <a:pt x="1713" y="663"/>
                </a:lnTo>
                <a:lnTo>
                  <a:pt x="1713" y="660"/>
                </a:lnTo>
                <a:lnTo>
                  <a:pt x="1713" y="658"/>
                </a:lnTo>
                <a:lnTo>
                  <a:pt x="1715" y="658"/>
                </a:lnTo>
                <a:lnTo>
                  <a:pt x="1717" y="660"/>
                </a:lnTo>
                <a:lnTo>
                  <a:pt x="1717" y="663"/>
                </a:lnTo>
                <a:lnTo>
                  <a:pt x="1720" y="660"/>
                </a:lnTo>
                <a:lnTo>
                  <a:pt x="1722" y="658"/>
                </a:lnTo>
                <a:lnTo>
                  <a:pt x="1717" y="653"/>
                </a:lnTo>
                <a:lnTo>
                  <a:pt x="1720" y="653"/>
                </a:lnTo>
                <a:lnTo>
                  <a:pt x="1722" y="653"/>
                </a:lnTo>
                <a:lnTo>
                  <a:pt x="1727" y="651"/>
                </a:lnTo>
                <a:lnTo>
                  <a:pt x="1727" y="653"/>
                </a:lnTo>
                <a:lnTo>
                  <a:pt x="1727" y="651"/>
                </a:lnTo>
                <a:lnTo>
                  <a:pt x="1727" y="653"/>
                </a:lnTo>
                <a:lnTo>
                  <a:pt x="1729" y="653"/>
                </a:lnTo>
                <a:lnTo>
                  <a:pt x="1729" y="655"/>
                </a:lnTo>
                <a:lnTo>
                  <a:pt x="1729" y="655"/>
                </a:lnTo>
                <a:lnTo>
                  <a:pt x="1724" y="655"/>
                </a:lnTo>
                <a:lnTo>
                  <a:pt x="1727" y="658"/>
                </a:lnTo>
                <a:lnTo>
                  <a:pt x="1731" y="655"/>
                </a:lnTo>
                <a:lnTo>
                  <a:pt x="1734" y="651"/>
                </a:lnTo>
                <a:lnTo>
                  <a:pt x="1731" y="646"/>
                </a:lnTo>
                <a:lnTo>
                  <a:pt x="1734" y="641"/>
                </a:lnTo>
                <a:lnTo>
                  <a:pt x="1739" y="641"/>
                </a:lnTo>
                <a:lnTo>
                  <a:pt x="1743" y="639"/>
                </a:lnTo>
                <a:lnTo>
                  <a:pt x="1746" y="634"/>
                </a:lnTo>
                <a:lnTo>
                  <a:pt x="1748" y="627"/>
                </a:lnTo>
                <a:lnTo>
                  <a:pt x="1743" y="629"/>
                </a:lnTo>
                <a:lnTo>
                  <a:pt x="1739" y="637"/>
                </a:lnTo>
                <a:lnTo>
                  <a:pt x="1736" y="637"/>
                </a:lnTo>
                <a:lnTo>
                  <a:pt x="1729" y="632"/>
                </a:lnTo>
                <a:lnTo>
                  <a:pt x="1727" y="629"/>
                </a:lnTo>
                <a:lnTo>
                  <a:pt x="1724" y="622"/>
                </a:lnTo>
                <a:lnTo>
                  <a:pt x="1720" y="627"/>
                </a:lnTo>
                <a:lnTo>
                  <a:pt x="1713" y="637"/>
                </a:lnTo>
                <a:lnTo>
                  <a:pt x="1708" y="644"/>
                </a:lnTo>
                <a:lnTo>
                  <a:pt x="1713" y="648"/>
                </a:lnTo>
                <a:lnTo>
                  <a:pt x="1713" y="651"/>
                </a:lnTo>
                <a:lnTo>
                  <a:pt x="1708" y="651"/>
                </a:lnTo>
                <a:lnTo>
                  <a:pt x="1701" y="648"/>
                </a:lnTo>
                <a:lnTo>
                  <a:pt x="1701" y="651"/>
                </a:lnTo>
                <a:lnTo>
                  <a:pt x="1698" y="651"/>
                </a:lnTo>
                <a:lnTo>
                  <a:pt x="1694" y="641"/>
                </a:lnTo>
                <a:lnTo>
                  <a:pt x="1691" y="651"/>
                </a:lnTo>
                <a:lnTo>
                  <a:pt x="1694" y="653"/>
                </a:lnTo>
                <a:lnTo>
                  <a:pt x="1705" y="655"/>
                </a:lnTo>
                <a:lnTo>
                  <a:pt x="1705" y="658"/>
                </a:lnTo>
                <a:lnTo>
                  <a:pt x="1701" y="660"/>
                </a:lnTo>
                <a:lnTo>
                  <a:pt x="1696" y="663"/>
                </a:lnTo>
                <a:lnTo>
                  <a:pt x="1694" y="663"/>
                </a:lnTo>
                <a:lnTo>
                  <a:pt x="1694" y="658"/>
                </a:lnTo>
                <a:lnTo>
                  <a:pt x="1684" y="658"/>
                </a:lnTo>
                <a:lnTo>
                  <a:pt x="1672" y="667"/>
                </a:lnTo>
                <a:lnTo>
                  <a:pt x="1663" y="679"/>
                </a:lnTo>
                <a:lnTo>
                  <a:pt x="1658" y="693"/>
                </a:lnTo>
                <a:lnTo>
                  <a:pt x="1660" y="696"/>
                </a:lnTo>
                <a:lnTo>
                  <a:pt x="1660" y="696"/>
                </a:lnTo>
                <a:lnTo>
                  <a:pt x="1658" y="698"/>
                </a:lnTo>
                <a:lnTo>
                  <a:pt x="1658" y="703"/>
                </a:lnTo>
                <a:lnTo>
                  <a:pt x="1660" y="708"/>
                </a:lnTo>
                <a:lnTo>
                  <a:pt x="1663" y="710"/>
                </a:lnTo>
                <a:lnTo>
                  <a:pt x="1660" y="715"/>
                </a:lnTo>
                <a:lnTo>
                  <a:pt x="1660" y="717"/>
                </a:lnTo>
                <a:lnTo>
                  <a:pt x="1663" y="719"/>
                </a:lnTo>
                <a:lnTo>
                  <a:pt x="1660" y="724"/>
                </a:lnTo>
                <a:lnTo>
                  <a:pt x="1660" y="726"/>
                </a:lnTo>
                <a:lnTo>
                  <a:pt x="1656" y="726"/>
                </a:lnTo>
                <a:lnTo>
                  <a:pt x="1656" y="729"/>
                </a:lnTo>
                <a:lnTo>
                  <a:pt x="1658" y="734"/>
                </a:lnTo>
                <a:lnTo>
                  <a:pt x="1656" y="741"/>
                </a:lnTo>
                <a:lnTo>
                  <a:pt x="1656" y="745"/>
                </a:lnTo>
                <a:lnTo>
                  <a:pt x="1653" y="748"/>
                </a:lnTo>
                <a:lnTo>
                  <a:pt x="1649" y="750"/>
                </a:lnTo>
                <a:lnTo>
                  <a:pt x="1644" y="748"/>
                </a:lnTo>
                <a:lnTo>
                  <a:pt x="1639" y="748"/>
                </a:lnTo>
                <a:lnTo>
                  <a:pt x="1637" y="748"/>
                </a:lnTo>
                <a:lnTo>
                  <a:pt x="1637" y="757"/>
                </a:lnTo>
                <a:lnTo>
                  <a:pt x="1642" y="762"/>
                </a:lnTo>
                <a:lnTo>
                  <a:pt x="1646" y="769"/>
                </a:lnTo>
                <a:lnTo>
                  <a:pt x="1649" y="771"/>
                </a:lnTo>
                <a:lnTo>
                  <a:pt x="1651" y="769"/>
                </a:lnTo>
                <a:lnTo>
                  <a:pt x="1653" y="762"/>
                </a:lnTo>
                <a:lnTo>
                  <a:pt x="1653" y="757"/>
                </a:lnTo>
                <a:lnTo>
                  <a:pt x="1651" y="752"/>
                </a:lnTo>
                <a:lnTo>
                  <a:pt x="1658" y="755"/>
                </a:lnTo>
                <a:lnTo>
                  <a:pt x="1660" y="757"/>
                </a:lnTo>
                <a:lnTo>
                  <a:pt x="1660" y="764"/>
                </a:lnTo>
                <a:lnTo>
                  <a:pt x="1663" y="771"/>
                </a:lnTo>
                <a:lnTo>
                  <a:pt x="1660" y="774"/>
                </a:lnTo>
                <a:lnTo>
                  <a:pt x="1658" y="776"/>
                </a:lnTo>
                <a:lnTo>
                  <a:pt x="1660" y="778"/>
                </a:lnTo>
                <a:lnTo>
                  <a:pt x="1663" y="781"/>
                </a:lnTo>
                <a:lnTo>
                  <a:pt x="1663" y="786"/>
                </a:lnTo>
                <a:lnTo>
                  <a:pt x="1668" y="790"/>
                </a:lnTo>
                <a:lnTo>
                  <a:pt x="1672" y="793"/>
                </a:lnTo>
                <a:lnTo>
                  <a:pt x="1679" y="793"/>
                </a:lnTo>
                <a:lnTo>
                  <a:pt x="1677" y="790"/>
                </a:lnTo>
                <a:lnTo>
                  <a:pt x="1677" y="790"/>
                </a:lnTo>
                <a:lnTo>
                  <a:pt x="1675" y="790"/>
                </a:lnTo>
                <a:lnTo>
                  <a:pt x="1679" y="786"/>
                </a:lnTo>
                <a:lnTo>
                  <a:pt x="1684" y="778"/>
                </a:lnTo>
                <a:lnTo>
                  <a:pt x="1689" y="776"/>
                </a:lnTo>
                <a:lnTo>
                  <a:pt x="1686" y="783"/>
                </a:lnTo>
                <a:lnTo>
                  <a:pt x="1689" y="790"/>
                </a:lnTo>
                <a:lnTo>
                  <a:pt x="1694" y="795"/>
                </a:lnTo>
                <a:lnTo>
                  <a:pt x="1696" y="800"/>
                </a:lnTo>
                <a:lnTo>
                  <a:pt x="1698" y="814"/>
                </a:lnTo>
                <a:lnTo>
                  <a:pt x="1703" y="831"/>
                </a:lnTo>
                <a:lnTo>
                  <a:pt x="1701" y="831"/>
                </a:lnTo>
                <a:lnTo>
                  <a:pt x="1696" y="828"/>
                </a:lnTo>
                <a:lnTo>
                  <a:pt x="1696" y="826"/>
                </a:lnTo>
                <a:lnTo>
                  <a:pt x="1696" y="821"/>
                </a:lnTo>
                <a:lnTo>
                  <a:pt x="1696" y="819"/>
                </a:lnTo>
                <a:lnTo>
                  <a:pt x="1694" y="831"/>
                </a:lnTo>
                <a:lnTo>
                  <a:pt x="1694" y="838"/>
                </a:lnTo>
                <a:lnTo>
                  <a:pt x="1698" y="840"/>
                </a:lnTo>
                <a:lnTo>
                  <a:pt x="1703" y="840"/>
                </a:lnTo>
                <a:lnTo>
                  <a:pt x="1703" y="838"/>
                </a:lnTo>
                <a:lnTo>
                  <a:pt x="1703" y="838"/>
                </a:lnTo>
                <a:lnTo>
                  <a:pt x="1701" y="833"/>
                </a:lnTo>
                <a:lnTo>
                  <a:pt x="1708" y="838"/>
                </a:lnTo>
                <a:lnTo>
                  <a:pt x="1713" y="845"/>
                </a:lnTo>
                <a:lnTo>
                  <a:pt x="1717" y="849"/>
                </a:lnTo>
                <a:lnTo>
                  <a:pt x="1722" y="854"/>
                </a:lnTo>
                <a:lnTo>
                  <a:pt x="1722" y="857"/>
                </a:lnTo>
                <a:lnTo>
                  <a:pt x="1720" y="859"/>
                </a:lnTo>
                <a:lnTo>
                  <a:pt x="1717" y="859"/>
                </a:lnTo>
                <a:lnTo>
                  <a:pt x="1717" y="859"/>
                </a:lnTo>
                <a:lnTo>
                  <a:pt x="1715" y="861"/>
                </a:lnTo>
                <a:lnTo>
                  <a:pt x="1720" y="866"/>
                </a:lnTo>
                <a:lnTo>
                  <a:pt x="1724" y="859"/>
                </a:lnTo>
                <a:lnTo>
                  <a:pt x="1724" y="854"/>
                </a:lnTo>
                <a:lnTo>
                  <a:pt x="1722" y="849"/>
                </a:lnTo>
                <a:lnTo>
                  <a:pt x="1717" y="842"/>
                </a:lnTo>
                <a:lnTo>
                  <a:pt x="1722" y="847"/>
                </a:lnTo>
                <a:lnTo>
                  <a:pt x="1727" y="849"/>
                </a:lnTo>
                <a:lnTo>
                  <a:pt x="1731" y="852"/>
                </a:lnTo>
                <a:lnTo>
                  <a:pt x="1731" y="857"/>
                </a:lnTo>
                <a:lnTo>
                  <a:pt x="1736" y="861"/>
                </a:lnTo>
                <a:lnTo>
                  <a:pt x="1739" y="861"/>
                </a:lnTo>
                <a:lnTo>
                  <a:pt x="1743" y="864"/>
                </a:lnTo>
                <a:lnTo>
                  <a:pt x="1750" y="871"/>
                </a:lnTo>
                <a:lnTo>
                  <a:pt x="1757" y="875"/>
                </a:lnTo>
                <a:lnTo>
                  <a:pt x="1760" y="873"/>
                </a:lnTo>
                <a:lnTo>
                  <a:pt x="1760" y="873"/>
                </a:lnTo>
                <a:lnTo>
                  <a:pt x="1757" y="873"/>
                </a:lnTo>
                <a:lnTo>
                  <a:pt x="1757" y="873"/>
                </a:lnTo>
                <a:lnTo>
                  <a:pt x="1757" y="868"/>
                </a:lnTo>
                <a:lnTo>
                  <a:pt x="1762" y="868"/>
                </a:lnTo>
                <a:lnTo>
                  <a:pt x="1765" y="871"/>
                </a:lnTo>
                <a:lnTo>
                  <a:pt x="1769" y="873"/>
                </a:lnTo>
                <a:lnTo>
                  <a:pt x="1772" y="875"/>
                </a:lnTo>
                <a:lnTo>
                  <a:pt x="1772" y="880"/>
                </a:lnTo>
                <a:lnTo>
                  <a:pt x="1769" y="885"/>
                </a:lnTo>
                <a:lnTo>
                  <a:pt x="1772" y="887"/>
                </a:lnTo>
                <a:lnTo>
                  <a:pt x="1769" y="892"/>
                </a:lnTo>
                <a:lnTo>
                  <a:pt x="1769" y="894"/>
                </a:lnTo>
                <a:lnTo>
                  <a:pt x="1769" y="897"/>
                </a:lnTo>
                <a:lnTo>
                  <a:pt x="1767" y="897"/>
                </a:lnTo>
                <a:lnTo>
                  <a:pt x="1765" y="899"/>
                </a:lnTo>
                <a:lnTo>
                  <a:pt x="1765" y="904"/>
                </a:lnTo>
                <a:lnTo>
                  <a:pt x="1767" y="918"/>
                </a:lnTo>
                <a:lnTo>
                  <a:pt x="1765" y="923"/>
                </a:lnTo>
                <a:lnTo>
                  <a:pt x="1762" y="932"/>
                </a:lnTo>
                <a:lnTo>
                  <a:pt x="1755" y="944"/>
                </a:lnTo>
                <a:lnTo>
                  <a:pt x="1755" y="942"/>
                </a:lnTo>
                <a:lnTo>
                  <a:pt x="1753" y="937"/>
                </a:lnTo>
                <a:lnTo>
                  <a:pt x="1750" y="932"/>
                </a:lnTo>
                <a:lnTo>
                  <a:pt x="1748" y="930"/>
                </a:lnTo>
                <a:lnTo>
                  <a:pt x="1750" y="920"/>
                </a:lnTo>
                <a:lnTo>
                  <a:pt x="1750" y="913"/>
                </a:lnTo>
                <a:lnTo>
                  <a:pt x="1748" y="909"/>
                </a:lnTo>
                <a:lnTo>
                  <a:pt x="1746" y="909"/>
                </a:lnTo>
                <a:lnTo>
                  <a:pt x="1741" y="911"/>
                </a:lnTo>
                <a:lnTo>
                  <a:pt x="1739" y="916"/>
                </a:lnTo>
                <a:lnTo>
                  <a:pt x="1739" y="918"/>
                </a:lnTo>
                <a:lnTo>
                  <a:pt x="1736" y="925"/>
                </a:lnTo>
                <a:lnTo>
                  <a:pt x="1736" y="930"/>
                </a:lnTo>
                <a:lnTo>
                  <a:pt x="1746" y="932"/>
                </a:lnTo>
                <a:lnTo>
                  <a:pt x="1746" y="935"/>
                </a:lnTo>
                <a:lnTo>
                  <a:pt x="1743" y="939"/>
                </a:lnTo>
                <a:lnTo>
                  <a:pt x="1741" y="939"/>
                </a:lnTo>
                <a:lnTo>
                  <a:pt x="1741" y="944"/>
                </a:lnTo>
                <a:lnTo>
                  <a:pt x="1743" y="944"/>
                </a:lnTo>
                <a:lnTo>
                  <a:pt x="1746" y="944"/>
                </a:lnTo>
                <a:lnTo>
                  <a:pt x="1748" y="944"/>
                </a:lnTo>
                <a:lnTo>
                  <a:pt x="1748" y="951"/>
                </a:lnTo>
                <a:lnTo>
                  <a:pt x="1743" y="956"/>
                </a:lnTo>
                <a:lnTo>
                  <a:pt x="1736" y="958"/>
                </a:lnTo>
                <a:lnTo>
                  <a:pt x="1731" y="954"/>
                </a:lnTo>
                <a:lnTo>
                  <a:pt x="1727" y="951"/>
                </a:lnTo>
                <a:lnTo>
                  <a:pt x="1717" y="944"/>
                </a:lnTo>
                <a:lnTo>
                  <a:pt x="1713" y="939"/>
                </a:lnTo>
                <a:lnTo>
                  <a:pt x="1708" y="942"/>
                </a:lnTo>
                <a:lnTo>
                  <a:pt x="1703" y="949"/>
                </a:lnTo>
                <a:lnTo>
                  <a:pt x="1703" y="951"/>
                </a:lnTo>
                <a:lnTo>
                  <a:pt x="1705" y="951"/>
                </a:lnTo>
                <a:lnTo>
                  <a:pt x="1703" y="982"/>
                </a:lnTo>
                <a:lnTo>
                  <a:pt x="1703" y="999"/>
                </a:lnTo>
                <a:lnTo>
                  <a:pt x="1708" y="1017"/>
                </a:lnTo>
                <a:lnTo>
                  <a:pt x="1715" y="1029"/>
                </a:lnTo>
                <a:lnTo>
                  <a:pt x="1717" y="1036"/>
                </a:lnTo>
                <a:lnTo>
                  <a:pt x="1720" y="1039"/>
                </a:lnTo>
                <a:lnTo>
                  <a:pt x="1722" y="1043"/>
                </a:lnTo>
                <a:lnTo>
                  <a:pt x="1724" y="1072"/>
                </a:lnTo>
                <a:lnTo>
                  <a:pt x="1729" y="1091"/>
                </a:lnTo>
                <a:lnTo>
                  <a:pt x="1743" y="1133"/>
                </a:lnTo>
                <a:lnTo>
                  <a:pt x="1748" y="1143"/>
                </a:lnTo>
                <a:lnTo>
                  <a:pt x="1748" y="1145"/>
                </a:lnTo>
                <a:lnTo>
                  <a:pt x="1750" y="1148"/>
                </a:lnTo>
                <a:lnTo>
                  <a:pt x="1755" y="1155"/>
                </a:lnTo>
                <a:lnTo>
                  <a:pt x="1757" y="1155"/>
                </a:lnTo>
                <a:lnTo>
                  <a:pt x="1757" y="1164"/>
                </a:lnTo>
                <a:lnTo>
                  <a:pt x="1762" y="1174"/>
                </a:lnTo>
                <a:lnTo>
                  <a:pt x="1769" y="1188"/>
                </a:lnTo>
                <a:lnTo>
                  <a:pt x="1776" y="1200"/>
                </a:lnTo>
                <a:lnTo>
                  <a:pt x="1788" y="1209"/>
                </a:lnTo>
                <a:lnTo>
                  <a:pt x="1802" y="1219"/>
                </a:lnTo>
                <a:lnTo>
                  <a:pt x="1810" y="1230"/>
                </a:lnTo>
                <a:lnTo>
                  <a:pt x="1821" y="1237"/>
                </a:lnTo>
                <a:lnTo>
                  <a:pt x="1833" y="1245"/>
                </a:lnTo>
                <a:lnTo>
                  <a:pt x="1843" y="1247"/>
                </a:lnTo>
                <a:lnTo>
                  <a:pt x="1862" y="1268"/>
                </a:lnTo>
                <a:lnTo>
                  <a:pt x="1873" y="1275"/>
                </a:lnTo>
                <a:lnTo>
                  <a:pt x="1883" y="1282"/>
                </a:lnTo>
                <a:lnTo>
                  <a:pt x="1890" y="1285"/>
                </a:lnTo>
                <a:lnTo>
                  <a:pt x="1904" y="1287"/>
                </a:lnTo>
                <a:lnTo>
                  <a:pt x="1918" y="1287"/>
                </a:lnTo>
                <a:lnTo>
                  <a:pt x="1925" y="1290"/>
                </a:lnTo>
                <a:lnTo>
                  <a:pt x="1937" y="1297"/>
                </a:lnTo>
                <a:lnTo>
                  <a:pt x="1959" y="1301"/>
                </a:lnTo>
                <a:lnTo>
                  <a:pt x="1963" y="1306"/>
                </a:lnTo>
                <a:lnTo>
                  <a:pt x="1966" y="1308"/>
                </a:lnTo>
                <a:lnTo>
                  <a:pt x="2070" y="1377"/>
                </a:lnTo>
                <a:lnTo>
                  <a:pt x="2110" y="1391"/>
                </a:lnTo>
                <a:lnTo>
                  <a:pt x="2115" y="1394"/>
                </a:lnTo>
                <a:lnTo>
                  <a:pt x="2119" y="1396"/>
                </a:lnTo>
                <a:lnTo>
                  <a:pt x="2134" y="1401"/>
                </a:lnTo>
                <a:lnTo>
                  <a:pt x="2143" y="1403"/>
                </a:lnTo>
                <a:lnTo>
                  <a:pt x="2145" y="1401"/>
                </a:lnTo>
                <a:lnTo>
                  <a:pt x="2148" y="1398"/>
                </a:lnTo>
                <a:lnTo>
                  <a:pt x="2148" y="1396"/>
                </a:lnTo>
                <a:lnTo>
                  <a:pt x="2150" y="1396"/>
                </a:lnTo>
                <a:lnTo>
                  <a:pt x="2150" y="1394"/>
                </a:lnTo>
                <a:lnTo>
                  <a:pt x="2150" y="1394"/>
                </a:lnTo>
                <a:lnTo>
                  <a:pt x="2153" y="1391"/>
                </a:lnTo>
                <a:lnTo>
                  <a:pt x="2155" y="1394"/>
                </a:lnTo>
                <a:lnTo>
                  <a:pt x="2155" y="1394"/>
                </a:lnTo>
                <a:lnTo>
                  <a:pt x="2157" y="1396"/>
                </a:lnTo>
                <a:lnTo>
                  <a:pt x="2157" y="1396"/>
                </a:lnTo>
                <a:lnTo>
                  <a:pt x="2164" y="1398"/>
                </a:lnTo>
                <a:lnTo>
                  <a:pt x="2169" y="1405"/>
                </a:lnTo>
                <a:lnTo>
                  <a:pt x="2174" y="1413"/>
                </a:lnTo>
                <a:lnTo>
                  <a:pt x="2176" y="1415"/>
                </a:lnTo>
                <a:lnTo>
                  <a:pt x="2183" y="1415"/>
                </a:lnTo>
                <a:lnTo>
                  <a:pt x="2190" y="1417"/>
                </a:lnTo>
                <a:lnTo>
                  <a:pt x="2193" y="1422"/>
                </a:lnTo>
                <a:lnTo>
                  <a:pt x="2193" y="1429"/>
                </a:lnTo>
                <a:lnTo>
                  <a:pt x="2254" y="1536"/>
                </a:lnTo>
                <a:lnTo>
                  <a:pt x="2259" y="1543"/>
                </a:lnTo>
                <a:lnTo>
                  <a:pt x="2261" y="1545"/>
                </a:lnTo>
                <a:lnTo>
                  <a:pt x="2266" y="1559"/>
                </a:lnTo>
                <a:lnTo>
                  <a:pt x="2269" y="1564"/>
                </a:lnTo>
                <a:lnTo>
                  <a:pt x="2273" y="1569"/>
                </a:lnTo>
                <a:lnTo>
                  <a:pt x="2285" y="1588"/>
                </a:lnTo>
                <a:lnTo>
                  <a:pt x="2292" y="1602"/>
                </a:lnTo>
                <a:lnTo>
                  <a:pt x="2304" y="1637"/>
                </a:lnTo>
                <a:lnTo>
                  <a:pt x="2342" y="1722"/>
                </a:lnTo>
                <a:lnTo>
                  <a:pt x="2358" y="1749"/>
                </a:lnTo>
                <a:lnTo>
                  <a:pt x="2366" y="1760"/>
                </a:lnTo>
                <a:lnTo>
                  <a:pt x="2389" y="1789"/>
                </a:lnTo>
                <a:lnTo>
                  <a:pt x="2394" y="1793"/>
                </a:lnTo>
                <a:lnTo>
                  <a:pt x="2396" y="1798"/>
                </a:lnTo>
                <a:lnTo>
                  <a:pt x="2448" y="1846"/>
                </a:lnTo>
                <a:lnTo>
                  <a:pt x="2472" y="1860"/>
                </a:lnTo>
                <a:lnTo>
                  <a:pt x="2496" y="1869"/>
                </a:lnTo>
                <a:lnTo>
                  <a:pt x="2507" y="1876"/>
                </a:lnTo>
                <a:lnTo>
                  <a:pt x="2524" y="1895"/>
                </a:lnTo>
                <a:lnTo>
                  <a:pt x="2571" y="1928"/>
                </a:lnTo>
                <a:lnTo>
                  <a:pt x="2583" y="1933"/>
                </a:lnTo>
                <a:lnTo>
                  <a:pt x="2602" y="1938"/>
                </a:lnTo>
                <a:lnTo>
                  <a:pt x="2614" y="1938"/>
                </a:lnTo>
                <a:lnTo>
                  <a:pt x="2619" y="1940"/>
                </a:lnTo>
                <a:lnTo>
                  <a:pt x="2623" y="1947"/>
                </a:lnTo>
                <a:lnTo>
                  <a:pt x="2628" y="1964"/>
                </a:lnTo>
                <a:lnTo>
                  <a:pt x="2630" y="1971"/>
                </a:lnTo>
                <a:lnTo>
                  <a:pt x="2635" y="1978"/>
                </a:lnTo>
                <a:lnTo>
                  <a:pt x="2642" y="1978"/>
                </a:lnTo>
                <a:lnTo>
                  <a:pt x="2649" y="1978"/>
                </a:lnTo>
                <a:lnTo>
                  <a:pt x="2657" y="1983"/>
                </a:lnTo>
                <a:lnTo>
                  <a:pt x="2668" y="1990"/>
                </a:lnTo>
                <a:lnTo>
                  <a:pt x="2680" y="1992"/>
                </a:lnTo>
                <a:lnTo>
                  <a:pt x="2706" y="1992"/>
                </a:lnTo>
                <a:lnTo>
                  <a:pt x="2718" y="1995"/>
                </a:lnTo>
                <a:lnTo>
                  <a:pt x="2725" y="1997"/>
                </a:lnTo>
                <a:lnTo>
                  <a:pt x="2735" y="2006"/>
                </a:lnTo>
                <a:lnTo>
                  <a:pt x="2737" y="2009"/>
                </a:lnTo>
                <a:lnTo>
                  <a:pt x="2744" y="2009"/>
                </a:lnTo>
                <a:lnTo>
                  <a:pt x="2758" y="2016"/>
                </a:lnTo>
                <a:lnTo>
                  <a:pt x="2765" y="2018"/>
                </a:lnTo>
                <a:lnTo>
                  <a:pt x="2777" y="2018"/>
                </a:lnTo>
                <a:lnTo>
                  <a:pt x="2813" y="2011"/>
                </a:lnTo>
                <a:lnTo>
                  <a:pt x="2851" y="2014"/>
                </a:lnTo>
                <a:lnTo>
                  <a:pt x="2865" y="2011"/>
                </a:lnTo>
                <a:lnTo>
                  <a:pt x="2914" y="1992"/>
                </a:lnTo>
                <a:lnTo>
                  <a:pt x="2964" y="1985"/>
                </a:lnTo>
                <a:lnTo>
                  <a:pt x="3040" y="1959"/>
                </a:lnTo>
                <a:lnTo>
                  <a:pt x="3068" y="1961"/>
                </a:lnTo>
                <a:lnTo>
                  <a:pt x="3068" y="1961"/>
                </a:lnTo>
                <a:lnTo>
                  <a:pt x="3078" y="1964"/>
                </a:lnTo>
                <a:lnTo>
                  <a:pt x="3085" y="1973"/>
                </a:lnTo>
                <a:lnTo>
                  <a:pt x="3092" y="1971"/>
                </a:lnTo>
                <a:lnTo>
                  <a:pt x="3092" y="1978"/>
                </a:lnTo>
                <a:lnTo>
                  <a:pt x="3094" y="1985"/>
                </a:lnTo>
                <a:lnTo>
                  <a:pt x="3101" y="2002"/>
                </a:lnTo>
                <a:lnTo>
                  <a:pt x="3101" y="2006"/>
                </a:lnTo>
                <a:lnTo>
                  <a:pt x="3104" y="2014"/>
                </a:lnTo>
                <a:lnTo>
                  <a:pt x="3101" y="2018"/>
                </a:lnTo>
                <a:lnTo>
                  <a:pt x="3097" y="2028"/>
                </a:lnTo>
                <a:lnTo>
                  <a:pt x="3092" y="2035"/>
                </a:lnTo>
                <a:lnTo>
                  <a:pt x="3087" y="2037"/>
                </a:lnTo>
                <a:lnTo>
                  <a:pt x="3080" y="2042"/>
                </a:lnTo>
                <a:lnTo>
                  <a:pt x="3078" y="2047"/>
                </a:lnTo>
                <a:lnTo>
                  <a:pt x="3071" y="2058"/>
                </a:lnTo>
                <a:lnTo>
                  <a:pt x="3061" y="2070"/>
                </a:lnTo>
                <a:lnTo>
                  <a:pt x="3033" y="2094"/>
                </a:lnTo>
                <a:lnTo>
                  <a:pt x="3028" y="2106"/>
                </a:lnTo>
                <a:lnTo>
                  <a:pt x="3028" y="2122"/>
                </a:lnTo>
                <a:lnTo>
                  <a:pt x="3033" y="2139"/>
                </a:lnTo>
                <a:lnTo>
                  <a:pt x="3040" y="2151"/>
                </a:lnTo>
                <a:lnTo>
                  <a:pt x="3049" y="2160"/>
                </a:lnTo>
                <a:lnTo>
                  <a:pt x="3059" y="2167"/>
                </a:lnTo>
                <a:lnTo>
                  <a:pt x="3080" y="2177"/>
                </a:lnTo>
                <a:lnTo>
                  <a:pt x="3099" y="2179"/>
                </a:lnTo>
                <a:lnTo>
                  <a:pt x="3106" y="2181"/>
                </a:lnTo>
                <a:lnTo>
                  <a:pt x="3111" y="2186"/>
                </a:lnTo>
                <a:lnTo>
                  <a:pt x="3172" y="2200"/>
                </a:lnTo>
                <a:lnTo>
                  <a:pt x="3227" y="2217"/>
                </a:lnTo>
                <a:lnTo>
                  <a:pt x="3248" y="2219"/>
                </a:lnTo>
                <a:lnTo>
                  <a:pt x="3253" y="2222"/>
                </a:lnTo>
                <a:lnTo>
                  <a:pt x="3260" y="2226"/>
                </a:lnTo>
                <a:lnTo>
                  <a:pt x="3274" y="2231"/>
                </a:lnTo>
                <a:lnTo>
                  <a:pt x="3350" y="2243"/>
                </a:lnTo>
                <a:lnTo>
                  <a:pt x="3359" y="2245"/>
                </a:lnTo>
                <a:lnTo>
                  <a:pt x="3359" y="2245"/>
                </a:lnTo>
                <a:lnTo>
                  <a:pt x="3359" y="2243"/>
                </a:lnTo>
                <a:lnTo>
                  <a:pt x="3362" y="2243"/>
                </a:lnTo>
                <a:lnTo>
                  <a:pt x="3369" y="2248"/>
                </a:lnTo>
                <a:lnTo>
                  <a:pt x="3425" y="2255"/>
                </a:lnTo>
                <a:lnTo>
                  <a:pt x="3475" y="2269"/>
                </a:lnTo>
                <a:lnTo>
                  <a:pt x="3501" y="2281"/>
                </a:lnTo>
                <a:lnTo>
                  <a:pt x="3515" y="2290"/>
                </a:lnTo>
                <a:lnTo>
                  <a:pt x="3530" y="2305"/>
                </a:lnTo>
                <a:lnTo>
                  <a:pt x="3534" y="2307"/>
                </a:lnTo>
                <a:lnTo>
                  <a:pt x="3539" y="2307"/>
                </a:lnTo>
                <a:lnTo>
                  <a:pt x="3553" y="2314"/>
                </a:lnTo>
                <a:lnTo>
                  <a:pt x="3577" y="2331"/>
                </a:lnTo>
                <a:lnTo>
                  <a:pt x="3582" y="2333"/>
                </a:lnTo>
                <a:lnTo>
                  <a:pt x="3589" y="2333"/>
                </a:lnTo>
                <a:lnTo>
                  <a:pt x="3601" y="2338"/>
                </a:lnTo>
                <a:lnTo>
                  <a:pt x="3629" y="2338"/>
                </a:lnTo>
                <a:lnTo>
                  <a:pt x="3631" y="2340"/>
                </a:lnTo>
                <a:lnTo>
                  <a:pt x="3667" y="2347"/>
                </a:lnTo>
                <a:lnTo>
                  <a:pt x="3700" y="2361"/>
                </a:lnTo>
                <a:lnTo>
                  <a:pt x="3726" y="2361"/>
                </a:lnTo>
                <a:lnTo>
                  <a:pt x="3738" y="2364"/>
                </a:lnTo>
                <a:lnTo>
                  <a:pt x="3740" y="2373"/>
                </a:lnTo>
                <a:lnTo>
                  <a:pt x="3742" y="2373"/>
                </a:lnTo>
                <a:lnTo>
                  <a:pt x="3750" y="2368"/>
                </a:lnTo>
                <a:lnTo>
                  <a:pt x="3754" y="2368"/>
                </a:lnTo>
                <a:lnTo>
                  <a:pt x="3757" y="2371"/>
                </a:lnTo>
                <a:lnTo>
                  <a:pt x="3757" y="2375"/>
                </a:lnTo>
                <a:lnTo>
                  <a:pt x="3759" y="2378"/>
                </a:lnTo>
                <a:lnTo>
                  <a:pt x="3768" y="2385"/>
                </a:lnTo>
                <a:lnTo>
                  <a:pt x="3771" y="2387"/>
                </a:lnTo>
                <a:lnTo>
                  <a:pt x="3773" y="2406"/>
                </a:lnTo>
                <a:lnTo>
                  <a:pt x="3802" y="2420"/>
                </a:lnTo>
                <a:lnTo>
                  <a:pt x="3835" y="2432"/>
                </a:lnTo>
                <a:lnTo>
                  <a:pt x="3839" y="2432"/>
                </a:lnTo>
                <a:lnTo>
                  <a:pt x="3842" y="2432"/>
                </a:lnTo>
                <a:lnTo>
                  <a:pt x="3851" y="2442"/>
                </a:lnTo>
                <a:lnTo>
                  <a:pt x="3856" y="2444"/>
                </a:lnTo>
                <a:lnTo>
                  <a:pt x="3868" y="2451"/>
                </a:lnTo>
                <a:lnTo>
                  <a:pt x="3880" y="2463"/>
                </a:lnTo>
                <a:lnTo>
                  <a:pt x="3884" y="2468"/>
                </a:lnTo>
                <a:lnTo>
                  <a:pt x="3892" y="2470"/>
                </a:lnTo>
                <a:lnTo>
                  <a:pt x="3894" y="2472"/>
                </a:lnTo>
                <a:lnTo>
                  <a:pt x="3920" y="2496"/>
                </a:lnTo>
                <a:lnTo>
                  <a:pt x="3951" y="2541"/>
                </a:lnTo>
                <a:lnTo>
                  <a:pt x="3953" y="2543"/>
                </a:lnTo>
                <a:lnTo>
                  <a:pt x="3953" y="2543"/>
                </a:lnTo>
                <a:lnTo>
                  <a:pt x="3955" y="2543"/>
                </a:lnTo>
                <a:lnTo>
                  <a:pt x="3955" y="2551"/>
                </a:lnTo>
                <a:lnTo>
                  <a:pt x="3958" y="2553"/>
                </a:lnTo>
                <a:lnTo>
                  <a:pt x="3960" y="2555"/>
                </a:lnTo>
                <a:lnTo>
                  <a:pt x="3960" y="2560"/>
                </a:lnTo>
                <a:lnTo>
                  <a:pt x="3958" y="2565"/>
                </a:lnTo>
                <a:lnTo>
                  <a:pt x="3953" y="2570"/>
                </a:lnTo>
                <a:lnTo>
                  <a:pt x="3953" y="2581"/>
                </a:lnTo>
                <a:lnTo>
                  <a:pt x="3951" y="2588"/>
                </a:lnTo>
                <a:lnTo>
                  <a:pt x="3941" y="2598"/>
                </a:lnTo>
                <a:lnTo>
                  <a:pt x="3939" y="2619"/>
                </a:lnTo>
                <a:lnTo>
                  <a:pt x="3939" y="2624"/>
                </a:lnTo>
                <a:lnTo>
                  <a:pt x="3939" y="2633"/>
                </a:lnTo>
                <a:lnTo>
                  <a:pt x="3936" y="2643"/>
                </a:lnTo>
                <a:lnTo>
                  <a:pt x="3936" y="2645"/>
                </a:lnTo>
                <a:lnTo>
                  <a:pt x="3941" y="2657"/>
                </a:lnTo>
                <a:lnTo>
                  <a:pt x="3944" y="2662"/>
                </a:lnTo>
                <a:lnTo>
                  <a:pt x="3944" y="2685"/>
                </a:lnTo>
                <a:lnTo>
                  <a:pt x="3946" y="2688"/>
                </a:lnTo>
                <a:lnTo>
                  <a:pt x="3944" y="2690"/>
                </a:lnTo>
                <a:lnTo>
                  <a:pt x="3941" y="2695"/>
                </a:lnTo>
                <a:lnTo>
                  <a:pt x="3941" y="2697"/>
                </a:lnTo>
                <a:lnTo>
                  <a:pt x="3934" y="2700"/>
                </a:lnTo>
                <a:lnTo>
                  <a:pt x="3932" y="2700"/>
                </a:lnTo>
                <a:lnTo>
                  <a:pt x="3927" y="2697"/>
                </a:lnTo>
                <a:lnTo>
                  <a:pt x="3910" y="2688"/>
                </a:lnTo>
                <a:lnTo>
                  <a:pt x="3906" y="2688"/>
                </a:lnTo>
                <a:lnTo>
                  <a:pt x="3892" y="2690"/>
                </a:lnTo>
                <a:lnTo>
                  <a:pt x="3887" y="2693"/>
                </a:lnTo>
                <a:lnTo>
                  <a:pt x="3880" y="2688"/>
                </a:lnTo>
                <a:lnTo>
                  <a:pt x="3870" y="2685"/>
                </a:lnTo>
                <a:lnTo>
                  <a:pt x="3858" y="2678"/>
                </a:lnTo>
                <a:lnTo>
                  <a:pt x="3847" y="2674"/>
                </a:lnTo>
                <a:lnTo>
                  <a:pt x="3842" y="2674"/>
                </a:lnTo>
                <a:lnTo>
                  <a:pt x="3837" y="2671"/>
                </a:lnTo>
                <a:lnTo>
                  <a:pt x="3811" y="2645"/>
                </a:lnTo>
                <a:lnTo>
                  <a:pt x="3806" y="2643"/>
                </a:lnTo>
                <a:lnTo>
                  <a:pt x="3806" y="2638"/>
                </a:lnTo>
                <a:lnTo>
                  <a:pt x="3811" y="2638"/>
                </a:lnTo>
                <a:lnTo>
                  <a:pt x="3813" y="2633"/>
                </a:lnTo>
                <a:lnTo>
                  <a:pt x="3813" y="2629"/>
                </a:lnTo>
                <a:lnTo>
                  <a:pt x="3811" y="2624"/>
                </a:lnTo>
                <a:lnTo>
                  <a:pt x="3806" y="2622"/>
                </a:lnTo>
                <a:lnTo>
                  <a:pt x="3797" y="2619"/>
                </a:lnTo>
                <a:lnTo>
                  <a:pt x="3792" y="2619"/>
                </a:lnTo>
                <a:lnTo>
                  <a:pt x="3802" y="2610"/>
                </a:lnTo>
                <a:lnTo>
                  <a:pt x="3804" y="2598"/>
                </a:lnTo>
                <a:lnTo>
                  <a:pt x="3797" y="2591"/>
                </a:lnTo>
                <a:lnTo>
                  <a:pt x="3785" y="2581"/>
                </a:lnTo>
                <a:lnTo>
                  <a:pt x="3776" y="2577"/>
                </a:lnTo>
                <a:lnTo>
                  <a:pt x="3771" y="2572"/>
                </a:lnTo>
                <a:lnTo>
                  <a:pt x="3766" y="2567"/>
                </a:lnTo>
                <a:lnTo>
                  <a:pt x="3766" y="2558"/>
                </a:lnTo>
                <a:lnTo>
                  <a:pt x="3764" y="2551"/>
                </a:lnTo>
                <a:lnTo>
                  <a:pt x="3759" y="2546"/>
                </a:lnTo>
                <a:lnTo>
                  <a:pt x="3757" y="2543"/>
                </a:lnTo>
                <a:lnTo>
                  <a:pt x="3759" y="2543"/>
                </a:lnTo>
                <a:lnTo>
                  <a:pt x="3759" y="2539"/>
                </a:lnTo>
                <a:lnTo>
                  <a:pt x="3742" y="2532"/>
                </a:lnTo>
                <a:lnTo>
                  <a:pt x="3735" y="2529"/>
                </a:lnTo>
                <a:lnTo>
                  <a:pt x="3631" y="2548"/>
                </a:lnTo>
                <a:lnTo>
                  <a:pt x="3624" y="2548"/>
                </a:lnTo>
                <a:lnTo>
                  <a:pt x="3605" y="2541"/>
                </a:lnTo>
                <a:lnTo>
                  <a:pt x="3603" y="2541"/>
                </a:lnTo>
                <a:lnTo>
                  <a:pt x="3596" y="2543"/>
                </a:lnTo>
                <a:lnTo>
                  <a:pt x="3593" y="2543"/>
                </a:lnTo>
                <a:lnTo>
                  <a:pt x="3591" y="2543"/>
                </a:lnTo>
                <a:lnTo>
                  <a:pt x="3584" y="2539"/>
                </a:lnTo>
                <a:lnTo>
                  <a:pt x="3582" y="2539"/>
                </a:lnTo>
                <a:lnTo>
                  <a:pt x="3577" y="2536"/>
                </a:lnTo>
                <a:lnTo>
                  <a:pt x="3558" y="2532"/>
                </a:lnTo>
                <a:lnTo>
                  <a:pt x="3539" y="2529"/>
                </a:lnTo>
                <a:lnTo>
                  <a:pt x="3530" y="2525"/>
                </a:lnTo>
                <a:lnTo>
                  <a:pt x="3525" y="2520"/>
                </a:lnTo>
                <a:lnTo>
                  <a:pt x="3532" y="2515"/>
                </a:lnTo>
                <a:lnTo>
                  <a:pt x="3537" y="2508"/>
                </a:lnTo>
                <a:lnTo>
                  <a:pt x="3537" y="2501"/>
                </a:lnTo>
                <a:lnTo>
                  <a:pt x="3530" y="2496"/>
                </a:lnTo>
                <a:lnTo>
                  <a:pt x="3534" y="2491"/>
                </a:lnTo>
                <a:lnTo>
                  <a:pt x="3551" y="2491"/>
                </a:lnTo>
                <a:lnTo>
                  <a:pt x="3556" y="2487"/>
                </a:lnTo>
                <a:lnTo>
                  <a:pt x="3556" y="2480"/>
                </a:lnTo>
                <a:lnTo>
                  <a:pt x="3551" y="2480"/>
                </a:lnTo>
                <a:lnTo>
                  <a:pt x="3539" y="2487"/>
                </a:lnTo>
                <a:lnTo>
                  <a:pt x="3539" y="2487"/>
                </a:lnTo>
                <a:lnTo>
                  <a:pt x="3539" y="2484"/>
                </a:lnTo>
                <a:lnTo>
                  <a:pt x="3532" y="2482"/>
                </a:lnTo>
                <a:lnTo>
                  <a:pt x="3527" y="2487"/>
                </a:lnTo>
                <a:lnTo>
                  <a:pt x="3522" y="2491"/>
                </a:lnTo>
                <a:lnTo>
                  <a:pt x="3515" y="2496"/>
                </a:lnTo>
                <a:lnTo>
                  <a:pt x="3513" y="2494"/>
                </a:lnTo>
                <a:lnTo>
                  <a:pt x="3511" y="2491"/>
                </a:lnTo>
                <a:lnTo>
                  <a:pt x="3508" y="2489"/>
                </a:lnTo>
                <a:lnTo>
                  <a:pt x="3506" y="2487"/>
                </a:lnTo>
                <a:lnTo>
                  <a:pt x="3504" y="2484"/>
                </a:lnTo>
                <a:lnTo>
                  <a:pt x="3496" y="2487"/>
                </a:lnTo>
                <a:lnTo>
                  <a:pt x="3494" y="2487"/>
                </a:lnTo>
                <a:lnTo>
                  <a:pt x="3470" y="2489"/>
                </a:lnTo>
                <a:lnTo>
                  <a:pt x="3449" y="2506"/>
                </a:lnTo>
                <a:lnTo>
                  <a:pt x="3433" y="2529"/>
                </a:lnTo>
                <a:lnTo>
                  <a:pt x="3404" y="2598"/>
                </a:lnTo>
                <a:lnTo>
                  <a:pt x="3399" y="2612"/>
                </a:lnTo>
                <a:lnTo>
                  <a:pt x="3397" y="2638"/>
                </a:lnTo>
                <a:lnTo>
                  <a:pt x="3395" y="2643"/>
                </a:lnTo>
                <a:lnTo>
                  <a:pt x="3392" y="2648"/>
                </a:lnTo>
                <a:lnTo>
                  <a:pt x="3385" y="2669"/>
                </a:lnTo>
                <a:lnTo>
                  <a:pt x="3371" y="2690"/>
                </a:lnTo>
                <a:lnTo>
                  <a:pt x="3366" y="2700"/>
                </a:lnTo>
                <a:lnTo>
                  <a:pt x="3366" y="2716"/>
                </a:lnTo>
                <a:lnTo>
                  <a:pt x="3369" y="2721"/>
                </a:lnTo>
                <a:lnTo>
                  <a:pt x="3376" y="2737"/>
                </a:lnTo>
                <a:lnTo>
                  <a:pt x="3383" y="2749"/>
                </a:lnTo>
                <a:lnTo>
                  <a:pt x="3380" y="2754"/>
                </a:lnTo>
                <a:lnTo>
                  <a:pt x="3376" y="2759"/>
                </a:lnTo>
                <a:lnTo>
                  <a:pt x="3373" y="2771"/>
                </a:lnTo>
                <a:lnTo>
                  <a:pt x="3362" y="2787"/>
                </a:lnTo>
                <a:lnTo>
                  <a:pt x="3354" y="2811"/>
                </a:lnTo>
                <a:lnTo>
                  <a:pt x="3352" y="2825"/>
                </a:lnTo>
                <a:lnTo>
                  <a:pt x="3354" y="2837"/>
                </a:lnTo>
                <a:lnTo>
                  <a:pt x="3359" y="2849"/>
                </a:lnTo>
                <a:lnTo>
                  <a:pt x="3371" y="2858"/>
                </a:lnTo>
                <a:lnTo>
                  <a:pt x="3371" y="2861"/>
                </a:lnTo>
                <a:lnTo>
                  <a:pt x="3369" y="2872"/>
                </a:lnTo>
                <a:lnTo>
                  <a:pt x="3380" y="2882"/>
                </a:lnTo>
                <a:lnTo>
                  <a:pt x="3397" y="2889"/>
                </a:lnTo>
                <a:lnTo>
                  <a:pt x="3409" y="2891"/>
                </a:lnTo>
                <a:lnTo>
                  <a:pt x="3447" y="2884"/>
                </a:lnTo>
                <a:lnTo>
                  <a:pt x="3459" y="2887"/>
                </a:lnTo>
                <a:lnTo>
                  <a:pt x="3463" y="2889"/>
                </a:lnTo>
                <a:lnTo>
                  <a:pt x="3470" y="2891"/>
                </a:lnTo>
                <a:lnTo>
                  <a:pt x="3477" y="2898"/>
                </a:lnTo>
                <a:lnTo>
                  <a:pt x="3480" y="2903"/>
                </a:lnTo>
                <a:lnTo>
                  <a:pt x="3482" y="2905"/>
                </a:lnTo>
                <a:lnTo>
                  <a:pt x="3504" y="2913"/>
                </a:lnTo>
                <a:lnTo>
                  <a:pt x="3520" y="2922"/>
                </a:lnTo>
                <a:lnTo>
                  <a:pt x="3527" y="2922"/>
                </a:lnTo>
                <a:lnTo>
                  <a:pt x="3534" y="2922"/>
                </a:lnTo>
                <a:lnTo>
                  <a:pt x="3541" y="2922"/>
                </a:lnTo>
                <a:lnTo>
                  <a:pt x="3546" y="2927"/>
                </a:lnTo>
                <a:lnTo>
                  <a:pt x="3551" y="2931"/>
                </a:lnTo>
                <a:lnTo>
                  <a:pt x="3558" y="2939"/>
                </a:lnTo>
                <a:lnTo>
                  <a:pt x="3570" y="2943"/>
                </a:lnTo>
                <a:lnTo>
                  <a:pt x="3582" y="2948"/>
                </a:lnTo>
                <a:lnTo>
                  <a:pt x="3593" y="2946"/>
                </a:lnTo>
                <a:lnTo>
                  <a:pt x="3586" y="2976"/>
                </a:lnTo>
                <a:lnTo>
                  <a:pt x="3589" y="3000"/>
                </a:lnTo>
                <a:lnTo>
                  <a:pt x="3591" y="3007"/>
                </a:lnTo>
                <a:lnTo>
                  <a:pt x="3593" y="3012"/>
                </a:lnTo>
                <a:lnTo>
                  <a:pt x="3596" y="3017"/>
                </a:lnTo>
                <a:lnTo>
                  <a:pt x="3603" y="3024"/>
                </a:lnTo>
                <a:lnTo>
                  <a:pt x="3605" y="3028"/>
                </a:lnTo>
                <a:lnTo>
                  <a:pt x="3605" y="3043"/>
                </a:lnTo>
                <a:lnTo>
                  <a:pt x="3605" y="3066"/>
                </a:lnTo>
                <a:lnTo>
                  <a:pt x="3608" y="3081"/>
                </a:lnTo>
                <a:lnTo>
                  <a:pt x="3617" y="3092"/>
                </a:lnTo>
                <a:lnTo>
                  <a:pt x="3619" y="3097"/>
                </a:lnTo>
                <a:lnTo>
                  <a:pt x="3622" y="3099"/>
                </a:lnTo>
                <a:lnTo>
                  <a:pt x="3634" y="3099"/>
                </a:lnTo>
                <a:lnTo>
                  <a:pt x="3638" y="3099"/>
                </a:lnTo>
                <a:lnTo>
                  <a:pt x="3634" y="3107"/>
                </a:lnTo>
                <a:lnTo>
                  <a:pt x="3631" y="3109"/>
                </a:lnTo>
                <a:lnTo>
                  <a:pt x="3629" y="3111"/>
                </a:lnTo>
                <a:lnTo>
                  <a:pt x="3634" y="3128"/>
                </a:lnTo>
                <a:lnTo>
                  <a:pt x="3634" y="3130"/>
                </a:lnTo>
                <a:lnTo>
                  <a:pt x="3624" y="3142"/>
                </a:lnTo>
                <a:lnTo>
                  <a:pt x="3624" y="3144"/>
                </a:lnTo>
                <a:lnTo>
                  <a:pt x="3622" y="3147"/>
                </a:lnTo>
                <a:lnTo>
                  <a:pt x="3619" y="3152"/>
                </a:lnTo>
                <a:lnTo>
                  <a:pt x="3617" y="3161"/>
                </a:lnTo>
                <a:lnTo>
                  <a:pt x="3612" y="3154"/>
                </a:lnTo>
                <a:lnTo>
                  <a:pt x="3603" y="3154"/>
                </a:lnTo>
                <a:lnTo>
                  <a:pt x="3596" y="3159"/>
                </a:lnTo>
                <a:lnTo>
                  <a:pt x="3591" y="3163"/>
                </a:lnTo>
                <a:lnTo>
                  <a:pt x="3579" y="3156"/>
                </a:lnTo>
                <a:lnTo>
                  <a:pt x="3574" y="3154"/>
                </a:lnTo>
                <a:lnTo>
                  <a:pt x="3567" y="3154"/>
                </a:lnTo>
                <a:lnTo>
                  <a:pt x="3560" y="3156"/>
                </a:lnTo>
                <a:lnTo>
                  <a:pt x="3530" y="3170"/>
                </a:lnTo>
                <a:lnTo>
                  <a:pt x="3499" y="3194"/>
                </a:lnTo>
                <a:lnTo>
                  <a:pt x="3487" y="3208"/>
                </a:lnTo>
                <a:lnTo>
                  <a:pt x="3485" y="3211"/>
                </a:lnTo>
                <a:lnTo>
                  <a:pt x="3482" y="3215"/>
                </a:lnTo>
                <a:lnTo>
                  <a:pt x="3466" y="3230"/>
                </a:lnTo>
                <a:lnTo>
                  <a:pt x="3459" y="3239"/>
                </a:lnTo>
                <a:lnTo>
                  <a:pt x="3456" y="3244"/>
                </a:lnTo>
                <a:lnTo>
                  <a:pt x="3456" y="3258"/>
                </a:lnTo>
                <a:lnTo>
                  <a:pt x="3451" y="3265"/>
                </a:lnTo>
                <a:lnTo>
                  <a:pt x="3449" y="3272"/>
                </a:lnTo>
                <a:lnTo>
                  <a:pt x="3451" y="3284"/>
                </a:lnTo>
                <a:lnTo>
                  <a:pt x="3454" y="3284"/>
                </a:lnTo>
                <a:lnTo>
                  <a:pt x="3456" y="3286"/>
                </a:lnTo>
                <a:lnTo>
                  <a:pt x="3456" y="3293"/>
                </a:lnTo>
                <a:lnTo>
                  <a:pt x="3466" y="3324"/>
                </a:lnTo>
                <a:lnTo>
                  <a:pt x="3477" y="3353"/>
                </a:lnTo>
                <a:lnTo>
                  <a:pt x="3480" y="3362"/>
                </a:lnTo>
                <a:lnTo>
                  <a:pt x="3482" y="3393"/>
                </a:lnTo>
                <a:lnTo>
                  <a:pt x="3480" y="3400"/>
                </a:lnTo>
                <a:lnTo>
                  <a:pt x="3470" y="3414"/>
                </a:lnTo>
                <a:lnTo>
                  <a:pt x="3466" y="3421"/>
                </a:lnTo>
                <a:lnTo>
                  <a:pt x="3463" y="3424"/>
                </a:lnTo>
                <a:lnTo>
                  <a:pt x="3456" y="3433"/>
                </a:lnTo>
                <a:lnTo>
                  <a:pt x="3447" y="3440"/>
                </a:lnTo>
                <a:lnTo>
                  <a:pt x="3418" y="3461"/>
                </a:lnTo>
                <a:lnTo>
                  <a:pt x="3409" y="3473"/>
                </a:lnTo>
                <a:lnTo>
                  <a:pt x="3376" y="3540"/>
                </a:lnTo>
                <a:lnTo>
                  <a:pt x="3371" y="3554"/>
                </a:lnTo>
                <a:lnTo>
                  <a:pt x="3371" y="3599"/>
                </a:lnTo>
                <a:lnTo>
                  <a:pt x="3369" y="3613"/>
                </a:lnTo>
                <a:lnTo>
                  <a:pt x="3366" y="3620"/>
                </a:lnTo>
                <a:lnTo>
                  <a:pt x="3364" y="3625"/>
                </a:lnTo>
                <a:lnTo>
                  <a:pt x="3359" y="3629"/>
                </a:lnTo>
                <a:lnTo>
                  <a:pt x="3357" y="3634"/>
                </a:lnTo>
                <a:lnTo>
                  <a:pt x="3340" y="3641"/>
                </a:lnTo>
                <a:lnTo>
                  <a:pt x="3336" y="3644"/>
                </a:lnTo>
                <a:lnTo>
                  <a:pt x="3317" y="3641"/>
                </a:lnTo>
                <a:lnTo>
                  <a:pt x="3257" y="3658"/>
                </a:lnTo>
                <a:lnTo>
                  <a:pt x="3250" y="3655"/>
                </a:lnTo>
                <a:lnTo>
                  <a:pt x="3241" y="3653"/>
                </a:lnTo>
                <a:lnTo>
                  <a:pt x="3231" y="3651"/>
                </a:lnTo>
                <a:lnTo>
                  <a:pt x="3224" y="3646"/>
                </a:lnTo>
                <a:lnTo>
                  <a:pt x="3217" y="3639"/>
                </a:lnTo>
                <a:lnTo>
                  <a:pt x="3213" y="3629"/>
                </a:lnTo>
                <a:lnTo>
                  <a:pt x="3213" y="3622"/>
                </a:lnTo>
                <a:lnTo>
                  <a:pt x="3217" y="3615"/>
                </a:lnTo>
                <a:lnTo>
                  <a:pt x="3205" y="3603"/>
                </a:lnTo>
                <a:lnTo>
                  <a:pt x="3203" y="3596"/>
                </a:lnTo>
                <a:lnTo>
                  <a:pt x="3203" y="3589"/>
                </a:lnTo>
                <a:lnTo>
                  <a:pt x="3205" y="3580"/>
                </a:lnTo>
                <a:lnTo>
                  <a:pt x="3205" y="3573"/>
                </a:lnTo>
                <a:lnTo>
                  <a:pt x="3205" y="3566"/>
                </a:lnTo>
                <a:lnTo>
                  <a:pt x="3201" y="3556"/>
                </a:lnTo>
                <a:lnTo>
                  <a:pt x="3196" y="3542"/>
                </a:lnTo>
                <a:lnTo>
                  <a:pt x="3201" y="3532"/>
                </a:lnTo>
                <a:lnTo>
                  <a:pt x="3210" y="3525"/>
                </a:lnTo>
                <a:lnTo>
                  <a:pt x="3241" y="3509"/>
                </a:lnTo>
                <a:lnTo>
                  <a:pt x="3243" y="3504"/>
                </a:lnTo>
                <a:lnTo>
                  <a:pt x="3243" y="3502"/>
                </a:lnTo>
                <a:lnTo>
                  <a:pt x="3248" y="3497"/>
                </a:lnTo>
                <a:lnTo>
                  <a:pt x="3248" y="3495"/>
                </a:lnTo>
                <a:lnTo>
                  <a:pt x="3250" y="3476"/>
                </a:lnTo>
                <a:lnTo>
                  <a:pt x="3265" y="3419"/>
                </a:lnTo>
                <a:lnTo>
                  <a:pt x="3267" y="3400"/>
                </a:lnTo>
                <a:lnTo>
                  <a:pt x="3262" y="3386"/>
                </a:lnTo>
                <a:lnTo>
                  <a:pt x="3255" y="3376"/>
                </a:lnTo>
                <a:lnTo>
                  <a:pt x="3246" y="3367"/>
                </a:lnTo>
                <a:lnTo>
                  <a:pt x="3243" y="3364"/>
                </a:lnTo>
                <a:lnTo>
                  <a:pt x="3239" y="3364"/>
                </a:lnTo>
                <a:lnTo>
                  <a:pt x="3236" y="3362"/>
                </a:lnTo>
                <a:lnTo>
                  <a:pt x="3231" y="3360"/>
                </a:lnTo>
                <a:lnTo>
                  <a:pt x="3231" y="3357"/>
                </a:lnTo>
                <a:lnTo>
                  <a:pt x="3231" y="3355"/>
                </a:lnTo>
                <a:lnTo>
                  <a:pt x="3231" y="3350"/>
                </a:lnTo>
                <a:lnTo>
                  <a:pt x="3231" y="3346"/>
                </a:lnTo>
                <a:lnTo>
                  <a:pt x="3239" y="3341"/>
                </a:lnTo>
                <a:lnTo>
                  <a:pt x="3250" y="3334"/>
                </a:lnTo>
                <a:lnTo>
                  <a:pt x="3269" y="3315"/>
                </a:lnTo>
                <a:lnTo>
                  <a:pt x="3279" y="3308"/>
                </a:lnTo>
                <a:lnTo>
                  <a:pt x="3293" y="3303"/>
                </a:lnTo>
                <a:lnTo>
                  <a:pt x="3317" y="3301"/>
                </a:lnTo>
                <a:lnTo>
                  <a:pt x="3321" y="3298"/>
                </a:lnTo>
                <a:lnTo>
                  <a:pt x="3326" y="3296"/>
                </a:lnTo>
                <a:lnTo>
                  <a:pt x="3333" y="3286"/>
                </a:lnTo>
                <a:lnTo>
                  <a:pt x="3338" y="3272"/>
                </a:lnTo>
                <a:lnTo>
                  <a:pt x="3340" y="3256"/>
                </a:lnTo>
                <a:lnTo>
                  <a:pt x="3338" y="3239"/>
                </a:lnTo>
                <a:lnTo>
                  <a:pt x="3336" y="3220"/>
                </a:lnTo>
                <a:lnTo>
                  <a:pt x="3331" y="3213"/>
                </a:lnTo>
                <a:lnTo>
                  <a:pt x="3328" y="3206"/>
                </a:lnTo>
                <a:lnTo>
                  <a:pt x="3321" y="3204"/>
                </a:lnTo>
                <a:lnTo>
                  <a:pt x="3314" y="3204"/>
                </a:lnTo>
                <a:lnTo>
                  <a:pt x="3310" y="3201"/>
                </a:lnTo>
                <a:lnTo>
                  <a:pt x="3305" y="3194"/>
                </a:lnTo>
                <a:lnTo>
                  <a:pt x="3279" y="3156"/>
                </a:lnTo>
                <a:lnTo>
                  <a:pt x="3248" y="3062"/>
                </a:lnTo>
                <a:lnTo>
                  <a:pt x="3241" y="3047"/>
                </a:lnTo>
                <a:lnTo>
                  <a:pt x="3205" y="2991"/>
                </a:lnTo>
                <a:lnTo>
                  <a:pt x="3198" y="2984"/>
                </a:lnTo>
                <a:lnTo>
                  <a:pt x="3186" y="2974"/>
                </a:lnTo>
                <a:lnTo>
                  <a:pt x="3177" y="2969"/>
                </a:lnTo>
                <a:lnTo>
                  <a:pt x="3172" y="2967"/>
                </a:lnTo>
                <a:lnTo>
                  <a:pt x="3170" y="2955"/>
                </a:lnTo>
                <a:lnTo>
                  <a:pt x="3163" y="2946"/>
                </a:lnTo>
                <a:lnTo>
                  <a:pt x="3156" y="2931"/>
                </a:lnTo>
                <a:lnTo>
                  <a:pt x="3149" y="2922"/>
                </a:lnTo>
                <a:lnTo>
                  <a:pt x="3144" y="2915"/>
                </a:lnTo>
                <a:lnTo>
                  <a:pt x="3132" y="2875"/>
                </a:lnTo>
                <a:lnTo>
                  <a:pt x="3132" y="2877"/>
                </a:lnTo>
                <a:lnTo>
                  <a:pt x="3127" y="2868"/>
                </a:lnTo>
                <a:lnTo>
                  <a:pt x="3125" y="2865"/>
                </a:lnTo>
                <a:lnTo>
                  <a:pt x="3123" y="2863"/>
                </a:lnTo>
                <a:lnTo>
                  <a:pt x="3123" y="2861"/>
                </a:lnTo>
                <a:lnTo>
                  <a:pt x="3123" y="2844"/>
                </a:lnTo>
                <a:lnTo>
                  <a:pt x="3120" y="2834"/>
                </a:lnTo>
                <a:lnTo>
                  <a:pt x="3106" y="2820"/>
                </a:lnTo>
                <a:lnTo>
                  <a:pt x="3104" y="2816"/>
                </a:lnTo>
                <a:lnTo>
                  <a:pt x="3099" y="2806"/>
                </a:lnTo>
                <a:lnTo>
                  <a:pt x="3094" y="2801"/>
                </a:lnTo>
                <a:lnTo>
                  <a:pt x="3080" y="2792"/>
                </a:lnTo>
                <a:lnTo>
                  <a:pt x="3068" y="2778"/>
                </a:lnTo>
                <a:lnTo>
                  <a:pt x="3061" y="2775"/>
                </a:lnTo>
                <a:lnTo>
                  <a:pt x="3059" y="2771"/>
                </a:lnTo>
                <a:lnTo>
                  <a:pt x="3059" y="2766"/>
                </a:lnTo>
                <a:lnTo>
                  <a:pt x="3054" y="2768"/>
                </a:lnTo>
                <a:lnTo>
                  <a:pt x="3030" y="2771"/>
                </a:lnTo>
                <a:lnTo>
                  <a:pt x="3023" y="2775"/>
                </a:lnTo>
                <a:lnTo>
                  <a:pt x="3018" y="2782"/>
                </a:lnTo>
                <a:lnTo>
                  <a:pt x="3009" y="2797"/>
                </a:lnTo>
                <a:lnTo>
                  <a:pt x="3000" y="2808"/>
                </a:lnTo>
                <a:lnTo>
                  <a:pt x="2995" y="2813"/>
                </a:lnTo>
                <a:lnTo>
                  <a:pt x="2985" y="2813"/>
                </a:lnTo>
                <a:lnTo>
                  <a:pt x="2978" y="2811"/>
                </a:lnTo>
                <a:lnTo>
                  <a:pt x="2964" y="2804"/>
                </a:lnTo>
                <a:lnTo>
                  <a:pt x="2959" y="2804"/>
                </a:lnTo>
                <a:lnTo>
                  <a:pt x="2957" y="2806"/>
                </a:lnTo>
                <a:lnTo>
                  <a:pt x="2955" y="2808"/>
                </a:lnTo>
                <a:lnTo>
                  <a:pt x="2950" y="2808"/>
                </a:lnTo>
                <a:lnTo>
                  <a:pt x="2948" y="2808"/>
                </a:lnTo>
                <a:lnTo>
                  <a:pt x="2948" y="2806"/>
                </a:lnTo>
                <a:lnTo>
                  <a:pt x="2952" y="2799"/>
                </a:lnTo>
                <a:lnTo>
                  <a:pt x="2945" y="2790"/>
                </a:lnTo>
                <a:lnTo>
                  <a:pt x="2933" y="2780"/>
                </a:lnTo>
                <a:lnTo>
                  <a:pt x="2926" y="2778"/>
                </a:lnTo>
                <a:lnTo>
                  <a:pt x="2919" y="2775"/>
                </a:lnTo>
                <a:lnTo>
                  <a:pt x="2895" y="2759"/>
                </a:lnTo>
                <a:lnTo>
                  <a:pt x="2891" y="2756"/>
                </a:lnTo>
                <a:lnTo>
                  <a:pt x="2884" y="2759"/>
                </a:lnTo>
                <a:lnTo>
                  <a:pt x="2877" y="2764"/>
                </a:lnTo>
                <a:lnTo>
                  <a:pt x="2869" y="2764"/>
                </a:lnTo>
                <a:lnTo>
                  <a:pt x="2865" y="2761"/>
                </a:lnTo>
                <a:lnTo>
                  <a:pt x="2858" y="2754"/>
                </a:lnTo>
                <a:lnTo>
                  <a:pt x="2843" y="2745"/>
                </a:lnTo>
                <a:lnTo>
                  <a:pt x="2841" y="2745"/>
                </a:lnTo>
                <a:lnTo>
                  <a:pt x="2836" y="2742"/>
                </a:lnTo>
                <a:lnTo>
                  <a:pt x="2824" y="2742"/>
                </a:lnTo>
                <a:lnTo>
                  <a:pt x="2822" y="2740"/>
                </a:lnTo>
                <a:lnTo>
                  <a:pt x="2820" y="2735"/>
                </a:lnTo>
                <a:lnTo>
                  <a:pt x="2824" y="2721"/>
                </a:lnTo>
                <a:lnTo>
                  <a:pt x="2827" y="2711"/>
                </a:lnTo>
                <a:lnTo>
                  <a:pt x="2822" y="2704"/>
                </a:lnTo>
                <a:lnTo>
                  <a:pt x="2822" y="2702"/>
                </a:lnTo>
                <a:lnTo>
                  <a:pt x="2824" y="2700"/>
                </a:lnTo>
                <a:lnTo>
                  <a:pt x="2829" y="2697"/>
                </a:lnTo>
                <a:lnTo>
                  <a:pt x="2832" y="2695"/>
                </a:lnTo>
                <a:lnTo>
                  <a:pt x="2834" y="2690"/>
                </a:lnTo>
                <a:lnTo>
                  <a:pt x="2834" y="2688"/>
                </a:lnTo>
                <a:lnTo>
                  <a:pt x="2836" y="2671"/>
                </a:lnTo>
                <a:lnTo>
                  <a:pt x="2829" y="2657"/>
                </a:lnTo>
                <a:lnTo>
                  <a:pt x="2791" y="2603"/>
                </a:lnTo>
                <a:lnTo>
                  <a:pt x="2780" y="2591"/>
                </a:lnTo>
                <a:lnTo>
                  <a:pt x="2770" y="2581"/>
                </a:lnTo>
                <a:lnTo>
                  <a:pt x="2761" y="2574"/>
                </a:lnTo>
                <a:lnTo>
                  <a:pt x="2751" y="2570"/>
                </a:lnTo>
                <a:lnTo>
                  <a:pt x="2742" y="2567"/>
                </a:lnTo>
                <a:lnTo>
                  <a:pt x="2732" y="2574"/>
                </a:lnTo>
                <a:lnTo>
                  <a:pt x="2723" y="2584"/>
                </a:lnTo>
                <a:lnTo>
                  <a:pt x="2720" y="2584"/>
                </a:lnTo>
                <a:lnTo>
                  <a:pt x="2704" y="2586"/>
                </a:lnTo>
                <a:lnTo>
                  <a:pt x="2699" y="2588"/>
                </a:lnTo>
                <a:lnTo>
                  <a:pt x="2687" y="2603"/>
                </a:lnTo>
                <a:lnTo>
                  <a:pt x="2680" y="2607"/>
                </a:lnTo>
                <a:lnTo>
                  <a:pt x="2671" y="2605"/>
                </a:lnTo>
                <a:lnTo>
                  <a:pt x="2661" y="2603"/>
                </a:lnTo>
                <a:lnTo>
                  <a:pt x="2657" y="2605"/>
                </a:lnTo>
                <a:lnTo>
                  <a:pt x="2642" y="2612"/>
                </a:lnTo>
                <a:lnTo>
                  <a:pt x="2635" y="2619"/>
                </a:lnTo>
                <a:lnTo>
                  <a:pt x="2623" y="2629"/>
                </a:lnTo>
                <a:lnTo>
                  <a:pt x="2619" y="2636"/>
                </a:lnTo>
                <a:lnTo>
                  <a:pt x="2614" y="2631"/>
                </a:lnTo>
                <a:lnTo>
                  <a:pt x="2614" y="2622"/>
                </a:lnTo>
                <a:lnTo>
                  <a:pt x="2614" y="2614"/>
                </a:lnTo>
                <a:lnTo>
                  <a:pt x="2621" y="2610"/>
                </a:lnTo>
                <a:lnTo>
                  <a:pt x="2628" y="2607"/>
                </a:lnTo>
                <a:lnTo>
                  <a:pt x="2628" y="2605"/>
                </a:lnTo>
                <a:lnTo>
                  <a:pt x="2630" y="2600"/>
                </a:lnTo>
                <a:lnTo>
                  <a:pt x="2633" y="2596"/>
                </a:lnTo>
                <a:lnTo>
                  <a:pt x="2652" y="2574"/>
                </a:lnTo>
                <a:lnTo>
                  <a:pt x="2654" y="2570"/>
                </a:lnTo>
                <a:lnTo>
                  <a:pt x="2649" y="2562"/>
                </a:lnTo>
                <a:lnTo>
                  <a:pt x="2645" y="2555"/>
                </a:lnTo>
                <a:lnTo>
                  <a:pt x="2638" y="2553"/>
                </a:lnTo>
                <a:lnTo>
                  <a:pt x="2633" y="2551"/>
                </a:lnTo>
                <a:lnTo>
                  <a:pt x="2628" y="2551"/>
                </a:lnTo>
                <a:lnTo>
                  <a:pt x="2623" y="2551"/>
                </a:lnTo>
                <a:lnTo>
                  <a:pt x="2621" y="2551"/>
                </a:lnTo>
                <a:lnTo>
                  <a:pt x="2619" y="2548"/>
                </a:lnTo>
                <a:lnTo>
                  <a:pt x="2614" y="2543"/>
                </a:lnTo>
                <a:lnTo>
                  <a:pt x="2612" y="2543"/>
                </a:lnTo>
                <a:lnTo>
                  <a:pt x="2607" y="2541"/>
                </a:lnTo>
                <a:lnTo>
                  <a:pt x="2593" y="2529"/>
                </a:lnTo>
                <a:lnTo>
                  <a:pt x="2586" y="2527"/>
                </a:lnTo>
                <a:lnTo>
                  <a:pt x="2581" y="2527"/>
                </a:lnTo>
                <a:lnTo>
                  <a:pt x="2571" y="2529"/>
                </a:lnTo>
                <a:lnTo>
                  <a:pt x="2564" y="2534"/>
                </a:lnTo>
                <a:lnTo>
                  <a:pt x="2562" y="2539"/>
                </a:lnTo>
                <a:lnTo>
                  <a:pt x="2560" y="2546"/>
                </a:lnTo>
                <a:lnTo>
                  <a:pt x="2552" y="2548"/>
                </a:lnTo>
                <a:lnTo>
                  <a:pt x="2529" y="2541"/>
                </a:lnTo>
                <a:lnTo>
                  <a:pt x="2524" y="2539"/>
                </a:lnTo>
                <a:lnTo>
                  <a:pt x="2519" y="2541"/>
                </a:lnTo>
                <a:lnTo>
                  <a:pt x="2519" y="2546"/>
                </a:lnTo>
                <a:lnTo>
                  <a:pt x="2519" y="2551"/>
                </a:lnTo>
                <a:lnTo>
                  <a:pt x="2522" y="2555"/>
                </a:lnTo>
                <a:lnTo>
                  <a:pt x="2524" y="2560"/>
                </a:lnTo>
                <a:lnTo>
                  <a:pt x="2522" y="2560"/>
                </a:lnTo>
                <a:lnTo>
                  <a:pt x="2510" y="2558"/>
                </a:lnTo>
                <a:lnTo>
                  <a:pt x="2510" y="2541"/>
                </a:lnTo>
                <a:lnTo>
                  <a:pt x="2505" y="2525"/>
                </a:lnTo>
                <a:lnTo>
                  <a:pt x="2472" y="2477"/>
                </a:lnTo>
                <a:lnTo>
                  <a:pt x="2460" y="2472"/>
                </a:lnTo>
                <a:lnTo>
                  <a:pt x="2455" y="2470"/>
                </a:lnTo>
                <a:lnTo>
                  <a:pt x="2453" y="2465"/>
                </a:lnTo>
                <a:lnTo>
                  <a:pt x="2453" y="2456"/>
                </a:lnTo>
                <a:lnTo>
                  <a:pt x="2451" y="2454"/>
                </a:lnTo>
                <a:lnTo>
                  <a:pt x="2439" y="2437"/>
                </a:lnTo>
                <a:lnTo>
                  <a:pt x="2401" y="2402"/>
                </a:lnTo>
                <a:lnTo>
                  <a:pt x="2380" y="2385"/>
                </a:lnTo>
                <a:lnTo>
                  <a:pt x="2375" y="2383"/>
                </a:lnTo>
                <a:lnTo>
                  <a:pt x="2366" y="2387"/>
                </a:lnTo>
                <a:lnTo>
                  <a:pt x="2361" y="2387"/>
                </a:lnTo>
                <a:lnTo>
                  <a:pt x="2358" y="2385"/>
                </a:lnTo>
                <a:lnTo>
                  <a:pt x="2339" y="2390"/>
                </a:lnTo>
                <a:lnTo>
                  <a:pt x="2330" y="2399"/>
                </a:lnTo>
                <a:lnTo>
                  <a:pt x="2337" y="2411"/>
                </a:lnTo>
                <a:lnTo>
                  <a:pt x="2328" y="2413"/>
                </a:lnTo>
                <a:lnTo>
                  <a:pt x="2323" y="2413"/>
                </a:lnTo>
                <a:lnTo>
                  <a:pt x="2321" y="2411"/>
                </a:lnTo>
                <a:lnTo>
                  <a:pt x="2318" y="2406"/>
                </a:lnTo>
                <a:lnTo>
                  <a:pt x="2316" y="2404"/>
                </a:lnTo>
                <a:lnTo>
                  <a:pt x="2313" y="2409"/>
                </a:lnTo>
                <a:lnTo>
                  <a:pt x="2311" y="2409"/>
                </a:lnTo>
                <a:lnTo>
                  <a:pt x="2304" y="2402"/>
                </a:lnTo>
                <a:lnTo>
                  <a:pt x="2252" y="2387"/>
                </a:lnTo>
                <a:lnTo>
                  <a:pt x="2240" y="2390"/>
                </a:lnTo>
                <a:lnTo>
                  <a:pt x="2216" y="2397"/>
                </a:lnTo>
                <a:lnTo>
                  <a:pt x="2209" y="2402"/>
                </a:lnTo>
                <a:lnTo>
                  <a:pt x="2200" y="2411"/>
                </a:lnTo>
                <a:lnTo>
                  <a:pt x="2190" y="2416"/>
                </a:lnTo>
                <a:lnTo>
                  <a:pt x="2183" y="2428"/>
                </a:lnTo>
                <a:lnTo>
                  <a:pt x="2176" y="2432"/>
                </a:lnTo>
                <a:lnTo>
                  <a:pt x="2169" y="2430"/>
                </a:lnTo>
                <a:lnTo>
                  <a:pt x="2167" y="2425"/>
                </a:lnTo>
                <a:lnTo>
                  <a:pt x="2164" y="2418"/>
                </a:lnTo>
                <a:lnTo>
                  <a:pt x="2160" y="2411"/>
                </a:lnTo>
                <a:lnTo>
                  <a:pt x="2155" y="2406"/>
                </a:lnTo>
                <a:lnTo>
                  <a:pt x="2148" y="2394"/>
                </a:lnTo>
                <a:lnTo>
                  <a:pt x="2143" y="2390"/>
                </a:lnTo>
                <a:lnTo>
                  <a:pt x="2122" y="2373"/>
                </a:lnTo>
                <a:lnTo>
                  <a:pt x="2110" y="2366"/>
                </a:lnTo>
                <a:lnTo>
                  <a:pt x="2101" y="2361"/>
                </a:lnTo>
                <a:lnTo>
                  <a:pt x="2093" y="2359"/>
                </a:lnTo>
                <a:lnTo>
                  <a:pt x="2070" y="2364"/>
                </a:lnTo>
                <a:lnTo>
                  <a:pt x="2065" y="2361"/>
                </a:lnTo>
                <a:lnTo>
                  <a:pt x="2039" y="2352"/>
                </a:lnTo>
                <a:lnTo>
                  <a:pt x="2032" y="2349"/>
                </a:lnTo>
                <a:lnTo>
                  <a:pt x="2030" y="2352"/>
                </a:lnTo>
                <a:lnTo>
                  <a:pt x="2027" y="2359"/>
                </a:lnTo>
                <a:lnTo>
                  <a:pt x="2022" y="2354"/>
                </a:lnTo>
                <a:lnTo>
                  <a:pt x="1994" y="2321"/>
                </a:lnTo>
                <a:lnTo>
                  <a:pt x="1959" y="2290"/>
                </a:lnTo>
                <a:lnTo>
                  <a:pt x="1921" y="2264"/>
                </a:lnTo>
                <a:lnTo>
                  <a:pt x="1916" y="2262"/>
                </a:lnTo>
                <a:lnTo>
                  <a:pt x="1907" y="2260"/>
                </a:lnTo>
                <a:lnTo>
                  <a:pt x="1902" y="2257"/>
                </a:lnTo>
                <a:lnTo>
                  <a:pt x="1897" y="2257"/>
                </a:lnTo>
                <a:lnTo>
                  <a:pt x="1888" y="2257"/>
                </a:lnTo>
                <a:lnTo>
                  <a:pt x="1885" y="2255"/>
                </a:lnTo>
                <a:lnTo>
                  <a:pt x="1880" y="2250"/>
                </a:lnTo>
                <a:lnTo>
                  <a:pt x="1876" y="2243"/>
                </a:lnTo>
                <a:lnTo>
                  <a:pt x="1873" y="2236"/>
                </a:lnTo>
                <a:lnTo>
                  <a:pt x="1873" y="2226"/>
                </a:lnTo>
                <a:lnTo>
                  <a:pt x="1871" y="2219"/>
                </a:lnTo>
                <a:lnTo>
                  <a:pt x="1866" y="2210"/>
                </a:lnTo>
                <a:lnTo>
                  <a:pt x="1857" y="2198"/>
                </a:lnTo>
                <a:lnTo>
                  <a:pt x="1847" y="2189"/>
                </a:lnTo>
                <a:lnTo>
                  <a:pt x="1814" y="2170"/>
                </a:lnTo>
                <a:lnTo>
                  <a:pt x="1810" y="2167"/>
                </a:lnTo>
                <a:lnTo>
                  <a:pt x="1807" y="2165"/>
                </a:lnTo>
                <a:lnTo>
                  <a:pt x="1805" y="2160"/>
                </a:lnTo>
                <a:lnTo>
                  <a:pt x="1802" y="2158"/>
                </a:lnTo>
                <a:lnTo>
                  <a:pt x="1793" y="2158"/>
                </a:lnTo>
                <a:lnTo>
                  <a:pt x="1791" y="2155"/>
                </a:lnTo>
                <a:lnTo>
                  <a:pt x="1786" y="2153"/>
                </a:lnTo>
                <a:lnTo>
                  <a:pt x="1779" y="2148"/>
                </a:lnTo>
                <a:lnTo>
                  <a:pt x="1774" y="2146"/>
                </a:lnTo>
                <a:lnTo>
                  <a:pt x="1767" y="2144"/>
                </a:lnTo>
                <a:lnTo>
                  <a:pt x="1743" y="2148"/>
                </a:lnTo>
                <a:lnTo>
                  <a:pt x="1741" y="2148"/>
                </a:lnTo>
                <a:lnTo>
                  <a:pt x="1739" y="2144"/>
                </a:lnTo>
                <a:lnTo>
                  <a:pt x="1734" y="2137"/>
                </a:lnTo>
                <a:lnTo>
                  <a:pt x="1727" y="2129"/>
                </a:lnTo>
                <a:lnTo>
                  <a:pt x="1722" y="2127"/>
                </a:lnTo>
                <a:lnTo>
                  <a:pt x="1720" y="2120"/>
                </a:lnTo>
                <a:lnTo>
                  <a:pt x="1710" y="2113"/>
                </a:lnTo>
                <a:lnTo>
                  <a:pt x="1708" y="2111"/>
                </a:lnTo>
                <a:lnTo>
                  <a:pt x="1708" y="2103"/>
                </a:lnTo>
                <a:lnTo>
                  <a:pt x="1703" y="2096"/>
                </a:lnTo>
                <a:lnTo>
                  <a:pt x="1682" y="2063"/>
                </a:lnTo>
                <a:lnTo>
                  <a:pt x="1672" y="2054"/>
                </a:lnTo>
                <a:lnTo>
                  <a:pt x="1632" y="2030"/>
                </a:lnTo>
                <a:lnTo>
                  <a:pt x="1616" y="2028"/>
                </a:lnTo>
                <a:lnTo>
                  <a:pt x="1594" y="2018"/>
                </a:lnTo>
                <a:lnTo>
                  <a:pt x="1585" y="2016"/>
                </a:lnTo>
                <a:lnTo>
                  <a:pt x="1585" y="2014"/>
                </a:lnTo>
                <a:lnTo>
                  <a:pt x="1582" y="2014"/>
                </a:lnTo>
                <a:lnTo>
                  <a:pt x="1580" y="2011"/>
                </a:lnTo>
                <a:lnTo>
                  <a:pt x="1575" y="2011"/>
                </a:lnTo>
                <a:lnTo>
                  <a:pt x="1573" y="2014"/>
                </a:lnTo>
                <a:lnTo>
                  <a:pt x="1575" y="2016"/>
                </a:lnTo>
                <a:lnTo>
                  <a:pt x="1566" y="2016"/>
                </a:lnTo>
                <a:lnTo>
                  <a:pt x="1542" y="2011"/>
                </a:lnTo>
                <a:lnTo>
                  <a:pt x="1537" y="2011"/>
                </a:lnTo>
                <a:lnTo>
                  <a:pt x="1533" y="2011"/>
                </a:lnTo>
                <a:lnTo>
                  <a:pt x="1528" y="2014"/>
                </a:lnTo>
                <a:lnTo>
                  <a:pt x="1526" y="2018"/>
                </a:lnTo>
                <a:lnTo>
                  <a:pt x="1526" y="2025"/>
                </a:lnTo>
                <a:lnTo>
                  <a:pt x="1521" y="2032"/>
                </a:lnTo>
                <a:lnTo>
                  <a:pt x="1521" y="2037"/>
                </a:lnTo>
                <a:lnTo>
                  <a:pt x="1519" y="2037"/>
                </a:lnTo>
                <a:lnTo>
                  <a:pt x="1516" y="2037"/>
                </a:lnTo>
                <a:lnTo>
                  <a:pt x="1514" y="2037"/>
                </a:lnTo>
                <a:lnTo>
                  <a:pt x="1514" y="2040"/>
                </a:lnTo>
                <a:lnTo>
                  <a:pt x="1509" y="2037"/>
                </a:lnTo>
                <a:lnTo>
                  <a:pt x="1504" y="2032"/>
                </a:lnTo>
                <a:lnTo>
                  <a:pt x="1497" y="2030"/>
                </a:lnTo>
                <a:lnTo>
                  <a:pt x="1492" y="2025"/>
                </a:lnTo>
                <a:lnTo>
                  <a:pt x="1488" y="2018"/>
                </a:lnTo>
                <a:lnTo>
                  <a:pt x="1485" y="2014"/>
                </a:lnTo>
                <a:lnTo>
                  <a:pt x="1490" y="2009"/>
                </a:lnTo>
                <a:lnTo>
                  <a:pt x="1497" y="2006"/>
                </a:lnTo>
                <a:lnTo>
                  <a:pt x="1511" y="2004"/>
                </a:lnTo>
                <a:lnTo>
                  <a:pt x="1514" y="1999"/>
                </a:lnTo>
                <a:lnTo>
                  <a:pt x="1516" y="1990"/>
                </a:lnTo>
                <a:lnTo>
                  <a:pt x="1516" y="1978"/>
                </a:lnTo>
                <a:lnTo>
                  <a:pt x="1514" y="1971"/>
                </a:lnTo>
                <a:lnTo>
                  <a:pt x="1507" y="1961"/>
                </a:lnTo>
                <a:lnTo>
                  <a:pt x="1502" y="1954"/>
                </a:lnTo>
                <a:lnTo>
                  <a:pt x="1500" y="1954"/>
                </a:lnTo>
                <a:lnTo>
                  <a:pt x="1497" y="1957"/>
                </a:lnTo>
                <a:lnTo>
                  <a:pt x="1495" y="1959"/>
                </a:lnTo>
                <a:lnTo>
                  <a:pt x="1490" y="1952"/>
                </a:lnTo>
                <a:lnTo>
                  <a:pt x="1485" y="1945"/>
                </a:lnTo>
                <a:lnTo>
                  <a:pt x="1481" y="1940"/>
                </a:lnTo>
                <a:lnTo>
                  <a:pt x="1476" y="1938"/>
                </a:lnTo>
                <a:lnTo>
                  <a:pt x="1474" y="1928"/>
                </a:lnTo>
                <a:lnTo>
                  <a:pt x="1466" y="1924"/>
                </a:lnTo>
                <a:lnTo>
                  <a:pt x="1450" y="1917"/>
                </a:lnTo>
                <a:lnTo>
                  <a:pt x="1448" y="1912"/>
                </a:lnTo>
                <a:lnTo>
                  <a:pt x="1445" y="1905"/>
                </a:lnTo>
                <a:lnTo>
                  <a:pt x="1443" y="1900"/>
                </a:lnTo>
                <a:lnTo>
                  <a:pt x="1440" y="1898"/>
                </a:lnTo>
                <a:lnTo>
                  <a:pt x="1436" y="1898"/>
                </a:lnTo>
                <a:lnTo>
                  <a:pt x="1426" y="1888"/>
                </a:lnTo>
                <a:lnTo>
                  <a:pt x="1410" y="1881"/>
                </a:lnTo>
                <a:lnTo>
                  <a:pt x="1358" y="1872"/>
                </a:lnTo>
                <a:lnTo>
                  <a:pt x="1365" y="1864"/>
                </a:lnTo>
                <a:lnTo>
                  <a:pt x="1367" y="1857"/>
                </a:lnTo>
                <a:lnTo>
                  <a:pt x="1365" y="1848"/>
                </a:lnTo>
                <a:lnTo>
                  <a:pt x="1365" y="1838"/>
                </a:lnTo>
                <a:lnTo>
                  <a:pt x="1365" y="1836"/>
                </a:lnTo>
                <a:lnTo>
                  <a:pt x="1367" y="1834"/>
                </a:lnTo>
                <a:lnTo>
                  <a:pt x="1367" y="1831"/>
                </a:lnTo>
                <a:lnTo>
                  <a:pt x="1365" y="1824"/>
                </a:lnTo>
                <a:lnTo>
                  <a:pt x="1362" y="1822"/>
                </a:lnTo>
                <a:lnTo>
                  <a:pt x="1358" y="1820"/>
                </a:lnTo>
                <a:lnTo>
                  <a:pt x="1334" y="1812"/>
                </a:lnTo>
                <a:lnTo>
                  <a:pt x="1320" y="1810"/>
                </a:lnTo>
                <a:lnTo>
                  <a:pt x="1303" y="1812"/>
                </a:lnTo>
                <a:lnTo>
                  <a:pt x="1291" y="1817"/>
                </a:lnTo>
                <a:lnTo>
                  <a:pt x="1294" y="1822"/>
                </a:lnTo>
                <a:lnTo>
                  <a:pt x="1294" y="1824"/>
                </a:lnTo>
                <a:lnTo>
                  <a:pt x="1287" y="1829"/>
                </a:lnTo>
                <a:lnTo>
                  <a:pt x="1280" y="1822"/>
                </a:lnTo>
                <a:lnTo>
                  <a:pt x="1270" y="1803"/>
                </a:lnTo>
                <a:lnTo>
                  <a:pt x="1277" y="1796"/>
                </a:lnTo>
                <a:lnTo>
                  <a:pt x="1280" y="1786"/>
                </a:lnTo>
                <a:lnTo>
                  <a:pt x="1284" y="1763"/>
                </a:lnTo>
                <a:lnTo>
                  <a:pt x="1282" y="1758"/>
                </a:lnTo>
                <a:lnTo>
                  <a:pt x="1282" y="1749"/>
                </a:lnTo>
                <a:lnTo>
                  <a:pt x="1282" y="1739"/>
                </a:lnTo>
                <a:lnTo>
                  <a:pt x="1282" y="1734"/>
                </a:lnTo>
                <a:lnTo>
                  <a:pt x="1280" y="1727"/>
                </a:lnTo>
                <a:lnTo>
                  <a:pt x="1277" y="1718"/>
                </a:lnTo>
                <a:lnTo>
                  <a:pt x="1275" y="1701"/>
                </a:lnTo>
                <a:lnTo>
                  <a:pt x="1272" y="1692"/>
                </a:lnTo>
                <a:lnTo>
                  <a:pt x="1268" y="1685"/>
                </a:lnTo>
                <a:lnTo>
                  <a:pt x="1237" y="1635"/>
                </a:lnTo>
                <a:lnTo>
                  <a:pt x="1213" y="1611"/>
                </a:lnTo>
                <a:lnTo>
                  <a:pt x="1209" y="1607"/>
                </a:lnTo>
                <a:lnTo>
                  <a:pt x="1197" y="1602"/>
                </a:lnTo>
                <a:lnTo>
                  <a:pt x="1194" y="1597"/>
                </a:lnTo>
                <a:lnTo>
                  <a:pt x="1183" y="1564"/>
                </a:lnTo>
                <a:lnTo>
                  <a:pt x="1161" y="1465"/>
                </a:lnTo>
                <a:lnTo>
                  <a:pt x="1157" y="1448"/>
                </a:lnTo>
                <a:lnTo>
                  <a:pt x="1140" y="1420"/>
                </a:lnTo>
                <a:lnTo>
                  <a:pt x="1128" y="1405"/>
                </a:lnTo>
                <a:lnTo>
                  <a:pt x="1114" y="1398"/>
                </a:lnTo>
                <a:lnTo>
                  <a:pt x="1102" y="1382"/>
                </a:lnTo>
                <a:lnTo>
                  <a:pt x="1097" y="1379"/>
                </a:lnTo>
                <a:lnTo>
                  <a:pt x="1093" y="1377"/>
                </a:lnTo>
                <a:lnTo>
                  <a:pt x="1078" y="1372"/>
                </a:lnTo>
                <a:lnTo>
                  <a:pt x="1074" y="1370"/>
                </a:lnTo>
                <a:lnTo>
                  <a:pt x="1067" y="1370"/>
                </a:lnTo>
                <a:lnTo>
                  <a:pt x="1064" y="1368"/>
                </a:lnTo>
                <a:lnTo>
                  <a:pt x="1064" y="1370"/>
                </a:lnTo>
                <a:lnTo>
                  <a:pt x="1062" y="1372"/>
                </a:lnTo>
                <a:lnTo>
                  <a:pt x="1060" y="1375"/>
                </a:lnTo>
                <a:lnTo>
                  <a:pt x="1057" y="1375"/>
                </a:lnTo>
                <a:lnTo>
                  <a:pt x="1055" y="1375"/>
                </a:lnTo>
                <a:lnTo>
                  <a:pt x="1050" y="1370"/>
                </a:lnTo>
                <a:lnTo>
                  <a:pt x="1038" y="1363"/>
                </a:lnTo>
                <a:lnTo>
                  <a:pt x="1033" y="1358"/>
                </a:lnTo>
                <a:lnTo>
                  <a:pt x="1029" y="1361"/>
                </a:lnTo>
                <a:lnTo>
                  <a:pt x="1019" y="1353"/>
                </a:lnTo>
                <a:lnTo>
                  <a:pt x="1012" y="1353"/>
                </a:lnTo>
                <a:lnTo>
                  <a:pt x="1015" y="1358"/>
                </a:lnTo>
                <a:lnTo>
                  <a:pt x="1015" y="1358"/>
                </a:lnTo>
                <a:lnTo>
                  <a:pt x="1012" y="1361"/>
                </a:lnTo>
                <a:lnTo>
                  <a:pt x="1012" y="1361"/>
                </a:lnTo>
                <a:lnTo>
                  <a:pt x="1015" y="1363"/>
                </a:lnTo>
                <a:lnTo>
                  <a:pt x="1017" y="1365"/>
                </a:lnTo>
                <a:lnTo>
                  <a:pt x="1019" y="1368"/>
                </a:lnTo>
                <a:lnTo>
                  <a:pt x="1022" y="1368"/>
                </a:lnTo>
                <a:lnTo>
                  <a:pt x="1022" y="1370"/>
                </a:lnTo>
                <a:lnTo>
                  <a:pt x="1019" y="1372"/>
                </a:lnTo>
                <a:lnTo>
                  <a:pt x="1019" y="1375"/>
                </a:lnTo>
                <a:lnTo>
                  <a:pt x="1017" y="1377"/>
                </a:lnTo>
                <a:lnTo>
                  <a:pt x="1022" y="1379"/>
                </a:lnTo>
                <a:lnTo>
                  <a:pt x="1022" y="1382"/>
                </a:lnTo>
                <a:lnTo>
                  <a:pt x="1019" y="1382"/>
                </a:lnTo>
                <a:lnTo>
                  <a:pt x="1017" y="1377"/>
                </a:lnTo>
                <a:lnTo>
                  <a:pt x="1015" y="1372"/>
                </a:lnTo>
                <a:lnTo>
                  <a:pt x="998" y="1368"/>
                </a:lnTo>
                <a:lnTo>
                  <a:pt x="981" y="1356"/>
                </a:lnTo>
                <a:lnTo>
                  <a:pt x="977" y="1353"/>
                </a:lnTo>
                <a:lnTo>
                  <a:pt x="967" y="1346"/>
                </a:lnTo>
                <a:lnTo>
                  <a:pt x="965" y="1346"/>
                </a:lnTo>
                <a:lnTo>
                  <a:pt x="955" y="1346"/>
                </a:lnTo>
                <a:lnTo>
                  <a:pt x="953" y="1346"/>
                </a:lnTo>
                <a:lnTo>
                  <a:pt x="948" y="1344"/>
                </a:lnTo>
                <a:lnTo>
                  <a:pt x="936" y="1332"/>
                </a:lnTo>
                <a:lnTo>
                  <a:pt x="934" y="1332"/>
                </a:lnTo>
                <a:lnTo>
                  <a:pt x="932" y="1327"/>
                </a:lnTo>
                <a:lnTo>
                  <a:pt x="927" y="1325"/>
                </a:lnTo>
                <a:lnTo>
                  <a:pt x="913" y="1320"/>
                </a:lnTo>
                <a:lnTo>
                  <a:pt x="908" y="1318"/>
                </a:lnTo>
                <a:lnTo>
                  <a:pt x="906" y="1313"/>
                </a:lnTo>
                <a:lnTo>
                  <a:pt x="903" y="1308"/>
                </a:lnTo>
                <a:lnTo>
                  <a:pt x="899" y="1311"/>
                </a:lnTo>
                <a:lnTo>
                  <a:pt x="894" y="1313"/>
                </a:lnTo>
                <a:lnTo>
                  <a:pt x="889" y="1313"/>
                </a:lnTo>
                <a:lnTo>
                  <a:pt x="887" y="1308"/>
                </a:lnTo>
                <a:lnTo>
                  <a:pt x="884" y="1306"/>
                </a:lnTo>
                <a:lnTo>
                  <a:pt x="868" y="1301"/>
                </a:lnTo>
                <a:lnTo>
                  <a:pt x="866" y="1292"/>
                </a:lnTo>
                <a:lnTo>
                  <a:pt x="832" y="1278"/>
                </a:lnTo>
                <a:lnTo>
                  <a:pt x="821" y="1271"/>
                </a:lnTo>
                <a:lnTo>
                  <a:pt x="818" y="1275"/>
                </a:lnTo>
                <a:lnTo>
                  <a:pt x="818" y="1280"/>
                </a:lnTo>
                <a:lnTo>
                  <a:pt x="816" y="1285"/>
                </a:lnTo>
                <a:lnTo>
                  <a:pt x="818" y="1292"/>
                </a:lnTo>
                <a:lnTo>
                  <a:pt x="804" y="1290"/>
                </a:lnTo>
                <a:lnTo>
                  <a:pt x="797" y="1285"/>
                </a:lnTo>
                <a:lnTo>
                  <a:pt x="797" y="1280"/>
                </a:lnTo>
                <a:lnTo>
                  <a:pt x="790" y="1271"/>
                </a:lnTo>
                <a:lnTo>
                  <a:pt x="780" y="1266"/>
                </a:lnTo>
                <a:lnTo>
                  <a:pt x="750" y="1266"/>
                </a:lnTo>
                <a:lnTo>
                  <a:pt x="735" y="1261"/>
                </a:lnTo>
                <a:lnTo>
                  <a:pt x="726" y="1256"/>
                </a:lnTo>
                <a:lnTo>
                  <a:pt x="724" y="1259"/>
                </a:lnTo>
                <a:lnTo>
                  <a:pt x="709" y="1259"/>
                </a:lnTo>
                <a:lnTo>
                  <a:pt x="702" y="1259"/>
                </a:lnTo>
                <a:lnTo>
                  <a:pt x="700" y="1256"/>
                </a:lnTo>
                <a:lnTo>
                  <a:pt x="695" y="1254"/>
                </a:lnTo>
                <a:lnTo>
                  <a:pt x="676" y="1254"/>
                </a:lnTo>
                <a:lnTo>
                  <a:pt x="669" y="1256"/>
                </a:lnTo>
                <a:lnTo>
                  <a:pt x="664" y="1259"/>
                </a:lnTo>
                <a:lnTo>
                  <a:pt x="657" y="1266"/>
                </a:lnTo>
                <a:lnTo>
                  <a:pt x="655" y="1271"/>
                </a:lnTo>
                <a:lnTo>
                  <a:pt x="653" y="1273"/>
                </a:lnTo>
                <a:lnTo>
                  <a:pt x="650" y="1273"/>
                </a:lnTo>
                <a:lnTo>
                  <a:pt x="648" y="1273"/>
                </a:lnTo>
                <a:lnTo>
                  <a:pt x="645" y="1273"/>
                </a:lnTo>
                <a:lnTo>
                  <a:pt x="629" y="1290"/>
                </a:lnTo>
                <a:lnTo>
                  <a:pt x="624" y="1290"/>
                </a:lnTo>
                <a:lnTo>
                  <a:pt x="619" y="1292"/>
                </a:lnTo>
                <a:lnTo>
                  <a:pt x="612" y="1299"/>
                </a:lnTo>
                <a:lnTo>
                  <a:pt x="593" y="1318"/>
                </a:lnTo>
                <a:lnTo>
                  <a:pt x="586" y="1327"/>
                </a:lnTo>
                <a:lnTo>
                  <a:pt x="589" y="1334"/>
                </a:lnTo>
                <a:lnTo>
                  <a:pt x="586" y="1339"/>
                </a:lnTo>
                <a:lnTo>
                  <a:pt x="586" y="1342"/>
                </a:lnTo>
                <a:lnTo>
                  <a:pt x="586" y="1346"/>
                </a:lnTo>
                <a:lnTo>
                  <a:pt x="586" y="1346"/>
                </a:lnTo>
                <a:lnTo>
                  <a:pt x="582" y="1351"/>
                </a:lnTo>
                <a:lnTo>
                  <a:pt x="579" y="1351"/>
                </a:lnTo>
                <a:lnTo>
                  <a:pt x="579" y="1358"/>
                </a:lnTo>
                <a:lnTo>
                  <a:pt x="579" y="1363"/>
                </a:lnTo>
                <a:lnTo>
                  <a:pt x="579" y="1368"/>
                </a:lnTo>
                <a:lnTo>
                  <a:pt x="577" y="1372"/>
                </a:lnTo>
                <a:lnTo>
                  <a:pt x="570" y="1377"/>
                </a:lnTo>
                <a:lnTo>
                  <a:pt x="553" y="1384"/>
                </a:lnTo>
                <a:lnTo>
                  <a:pt x="544" y="1389"/>
                </a:lnTo>
                <a:lnTo>
                  <a:pt x="541" y="1394"/>
                </a:lnTo>
                <a:lnTo>
                  <a:pt x="537" y="1398"/>
                </a:lnTo>
                <a:lnTo>
                  <a:pt x="530" y="1410"/>
                </a:lnTo>
                <a:lnTo>
                  <a:pt x="530" y="1413"/>
                </a:lnTo>
                <a:lnTo>
                  <a:pt x="532" y="1420"/>
                </a:lnTo>
                <a:lnTo>
                  <a:pt x="532" y="1424"/>
                </a:lnTo>
                <a:lnTo>
                  <a:pt x="530" y="1429"/>
                </a:lnTo>
                <a:lnTo>
                  <a:pt x="527" y="1436"/>
                </a:lnTo>
                <a:lnTo>
                  <a:pt x="515" y="1453"/>
                </a:lnTo>
                <a:lnTo>
                  <a:pt x="511" y="1465"/>
                </a:lnTo>
                <a:lnTo>
                  <a:pt x="518" y="1472"/>
                </a:lnTo>
                <a:lnTo>
                  <a:pt x="518" y="1474"/>
                </a:lnTo>
                <a:lnTo>
                  <a:pt x="511" y="1476"/>
                </a:lnTo>
                <a:lnTo>
                  <a:pt x="501" y="1488"/>
                </a:lnTo>
                <a:lnTo>
                  <a:pt x="494" y="1493"/>
                </a:lnTo>
                <a:lnTo>
                  <a:pt x="492" y="1495"/>
                </a:lnTo>
                <a:lnTo>
                  <a:pt x="492" y="1498"/>
                </a:lnTo>
                <a:lnTo>
                  <a:pt x="489" y="1500"/>
                </a:lnTo>
                <a:lnTo>
                  <a:pt x="489" y="1502"/>
                </a:lnTo>
                <a:lnTo>
                  <a:pt x="485" y="1505"/>
                </a:lnTo>
                <a:lnTo>
                  <a:pt x="478" y="1507"/>
                </a:lnTo>
                <a:lnTo>
                  <a:pt x="459" y="1526"/>
                </a:lnTo>
                <a:lnTo>
                  <a:pt x="407" y="1543"/>
                </a:lnTo>
                <a:lnTo>
                  <a:pt x="392" y="1555"/>
                </a:lnTo>
                <a:lnTo>
                  <a:pt x="381" y="1559"/>
                </a:lnTo>
                <a:lnTo>
                  <a:pt x="343" y="1562"/>
                </a:lnTo>
                <a:lnTo>
                  <a:pt x="333" y="1566"/>
                </a:lnTo>
                <a:lnTo>
                  <a:pt x="331" y="1566"/>
                </a:lnTo>
                <a:lnTo>
                  <a:pt x="326" y="1564"/>
                </a:lnTo>
                <a:lnTo>
                  <a:pt x="324" y="1564"/>
                </a:lnTo>
                <a:lnTo>
                  <a:pt x="321" y="1564"/>
                </a:lnTo>
                <a:lnTo>
                  <a:pt x="312" y="1545"/>
                </a:lnTo>
                <a:lnTo>
                  <a:pt x="310" y="1533"/>
                </a:lnTo>
                <a:lnTo>
                  <a:pt x="314" y="1524"/>
                </a:lnTo>
                <a:lnTo>
                  <a:pt x="326" y="1510"/>
                </a:lnTo>
                <a:lnTo>
                  <a:pt x="331" y="1498"/>
                </a:lnTo>
                <a:lnTo>
                  <a:pt x="345" y="1484"/>
                </a:lnTo>
                <a:lnTo>
                  <a:pt x="352" y="1474"/>
                </a:lnTo>
                <a:lnTo>
                  <a:pt x="355" y="1469"/>
                </a:lnTo>
                <a:lnTo>
                  <a:pt x="355" y="1460"/>
                </a:lnTo>
                <a:lnTo>
                  <a:pt x="357" y="1455"/>
                </a:lnTo>
                <a:lnTo>
                  <a:pt x="359" y="1450"/>
                </a:lnTo>
                <a:lnTo>
                  <a:pt x="364" y="1446"/>
                </a:lnTo>
                <a:lnTo>
                  <a:pt x="366" y="1441"/>
                </a:lnTo>
                <a:lnTo>
                  <a:pt x="366" y="1434"/>
                </a:lnTo>
                <a:lnTo>
                  <a:pt x="362" y="1424"/>
                </a:lnTo>
                <a:lnTo>
                  <a:pt x="355" y="1417"/>
                </a:lnTo>
                <a:lnTo>
                  <a:pt x="350" y="1410"/>
                </a:lnTo>
                <a:lnTo>
                  <a:pt x="352" y="1396"/>
                </a:lnTo>
                <a:lnTo>
                  <a:pt x="343" y="1396"/>
                </a:lnTo>
                <a:lnTo>
                  <a:pt x="331" y="1405"/>
                </a:lnTo>
                <a:lnTo>
                  <a:pt x="321" y="1408"/>
                </a:lnTo>
                <a:lnTo>
                  <a:pt x="272" y="1427"/>
                </a:lnTo>
                <a:lnTo>
                  <a:pt x="258" y="1427"/>
                </a:lnTo>
                <a:lnTo>
                  <a:pt x="255" y="1427"/>
                </a:lnTo>
                <a:lnTo>
                  <a:pt x="253" y="1424"/>
                </a:lnTo>
                <a:lnTo>
                  <a:pt x="250" y="1422"/>
                </a:lnTo>
                <a:lnTo>
                  <a:pt x="248" y="1420"/>
                </a:lnTo>
                <a:lnTo>
                  <a:pt x="243" y="1417"/>
                </a:lnTo>
                <a:lnTo>
                  <a:pt x="236" y="1417"/>
                </a:lnTo>
                <a:lnTo>
                  <a:pt x="229" y="1415"/>
                </a:lnTo>
                <a:lnTo>
                  <a:pt x="196" y="1398"/>
                </a:lnTo>
                <a:lnTo>
                  <a:pt x="184" y="1394"/>
                </a:lnTo>
                <a:lnTo>
                  <a:pt x="165" y="1387"/>
                </a:lnTo>
                <a:lnTo>
                  <a:pt x="161" y="1384"/>
                </a:lnTo>
                <a:lnTo>
                  <a:pt x="156" y="1387"/>
                </a:lnTo>
                <a:lnTo>
                  <a:pt x="153" y="1387"/>
                </a:lnTo>
                <a:lnTo>
                  <a:pt x="149" y="1389"/>
                </a:lnTo>
                <a:lnTo>
                  <a:pt x="146" y="1387"/>
                </a:lnTo>
                <a:lnTo>
                  <a:pt x="142" y="1384"/>
                </a:lnTo>
                <a:lnTo>
                  <a:pt x="142" y="1379"/>
                </a:lnTo>
                <a:lnTo>
                  <a:pt x="139" y="1377"/>
                </a:lnTo>
                <a:lnTo>
                  <a:pt x="137" y="1372"/>
                </a:lnTo>
                <a:lnTo>
                  <a:pt x="135" y="1370"/>
                </a:lnTo>
                <a:lnTo>
                  <a:pt x="127" y="1365"/>
                </a:lnTo>
                <a:lnTo>
                  <a:pt x="125" y="1363"/>
                </a:lnTo>
                <a:lnTo>
                  <a:pt x="123" y="1361"/>
                </a:lnTo>
                <a:lnTo>
                  <a:pt x="118" y="1351"/>
                </a:lnTo>
                <a:lnTo>
                  <a:pt x="116" y="1349"/>
                </a:lnTo>
                <a:lnTo>
                  <a:pt x="108" y="1339"/>
                </a:lnTo>
                <a:lnTo>
                  <a:pt x="106" y="1339"/>
                </a:lnTo>
                <a:lnTo>
                  <a:pt x="106" y="1334"/>
                </a:lnTo>
                <a:lnTo>
                  <a:pt x="106" y="1332"/>
                </a:lnTo>
                <a:lnTo>
                  <a:pt x="106" y="1330"/>
                </a:lnTo>
                <a:lnTo>
                  <a:pt x="106" y="1316"/>
                </a:lnTo>
                <a:lnTo>
                  <a:pt x="108" y="1313"/>
                </a:lnTo>
                <a:lnTo>
                  <a:pt x="118" y="1306"/>
                </a:lnTo>
                <a:lnTo>
                  <a:pt x="111" y="1299"/>
                </a:lnTo>
                <a:lnTo>
                  <a:pt x="99" y="1292"/>
                </a:lnTo>
                <a:lnTo>
                  <a:pt x="92" y="1280"/>
                </a:lnTo>
                <a:lnTo>
                  <a:pt x="90" y="1266"/>
                </a:lnTo>
                <a:lnTo>
                  <a:pt x="92" y="1261"/>
                </a:lnTo>
                <a:lnTo>
                  <a:pt x="108" y="1247"/>
                </a:lnTo>
                <a:lnTo>
                  <a:pt x="116" y="1228"/>
                </a:lnTo>
                <a:lnTo>
                  <a:pt x="120" y="1226"/>
                </a:lnTo>
                <a:lnTo>
                  <a:pt x="116" y="1216"/>
                </a:lnTo>
                <a:lnTo>
                  <a:pt x="118" y="1207"/>
                </a:lnTo>
                <a:lnTo>
                  <a:pt x="123" y="1200"/>
                </a:lnTo>
                <a:lnTo>
                  <a:pt x="130" y="1195"/>
                </a:lnTo>
                <a:lnTo>
                  <a:pt x="135" y="1195"/>
                </a:lnTo>
                <a:lnTo>
                  <a:pt x="146" y="1197"/>
                </a:lnTo>
                <a:lnTo>
                  <a:pt x="151" y="1197"/>
                </a:lnTo>
                <a:lnTo>
                  <a:pt x="149" y="1190"/>
                </a:lnTo>
                <a:lnTo>
                  <a:pt x="139" y="1174"/>
                </a:lnTo>
                <a:lnTo>
                  <a:pt x="137" y="1171"/>
                </a:lnTo>
                <a:lnTo>
                  <a:pt x="135" y="1162"/>
                </a:lnTo>
                <a:lnTo>
                  <a:pt x="130" y="1152"/>
                </a:lnTo>
                <a:lnTo>
                  <a:pt x="130" y="1152"/>
                </a:lnTo>
                <a:lnTo>
                  <a:pt x="132" y="1145"/>
                </a:lnTo>
                <a:lnTo>
                  <a:pt x="132" y="1145"/>
                </a:lnTo>
                <a:lnTo>
                  <a:pt x="132" y="1143"/>
                </a:lnTo>
                <a:lnTo>
                  <a:pt x="132" y="1140"/>
                </a:lnTo>
                <a:lnTo>
                  <a:pt x="132" y="1140"/>
                </a:lnTo>
                <a:lnTo>
                  <a:pt x="130" y="1138"/>
                </a:lnTo>
                <a:lnTo>
                  <a:pt x="130" y="1136"/>
                </a:lnTo>
                <a:lnTo>
                  <a:pt x="123" y="1129"/>
                </a:lnTo>
                <a:lnTo>
                  <a:pt x="108" y="1124"/>
                </a:lnTo>
                <a:lnTo>
                  <a:pt x="101" y="1124"/>
                </a:lnTo>
                <a:lnTo>
                  <a:pt x="87" y="1129"/>
                </a:lnTo>
                <a:lnTo>
                  <a:pt x="82" y="1129"/>
                </a:lnTo>
                <a:lnTo>
                  <a:pt x="61" y="1117"/>
                </a:lnTo>
                <a:lnTo>
                  <a:pt x="49" y="1110"/>
                </a:lnTo>
                <a:lnTo>
                  <a:pt x="45" y="1100"/>
                </a:lnTo>
                <a:lnTo>
                  <a:pt x="42" y="1077"/>
                </a:lnTo>
                <a:lnTo>
                  <a:pt x="40" y="1065"/>
                </a:lnTo>
                <a:lnTo>
                  <a:pt x="30" y="1060"/>
                </a:lnTo>
                <a:lnTo>
                  <a:pt x="21" y="1060"/>
                </a:lnTo>
                <a:lnTo>
                  <a:pt x="16" y="1058"/>
                </a:lnTo>
                <a:lnTo>
                  <a:pt x="14" y="1051"/>
                </a:lnTo>
                <a:lnTo>
                  <a:pt x="11" y="1048"/>
                </a:lnTo>
                <a:lnTo>
                  <a:pt x="11" y="1043"/>
                </a:lnTo>
                <a:lnTo>
                  <a:pt x="11" y="1041"/>
                </a:lnTo>
                <a:lnTo>
                  <a:pt x="7" y="1039"/>
                </a:lnTo>
                <a:lnTo>
                  <a:pt x="0" y="1029"/>
                </a:lnTo>
                <a:lnTo>
                  <a:pt x="4" y="1025"/>
                </a:lnTo>
                <a:lnTo>
                  <a:pt x="9" y="1020"/>
                </a:lnTo>
                <a:lnTo>
                  <a:pt x="19" y="1013"/>
                </a:lnTo>
                <a:lnTo>
                  <a:pt x="21" y="1013"/>
                </a:lnTo>
                <a:lnTo>
                  <a:pt x="26" y="1013"/>
                </a:lnTo>
                <a:lnTo>
                  <a:pt x="28" y="1010"/>
                </a:lnTo>
                <a:lnTo>
                  <a:pt x="30" y="1010"/>
                </a:lnTo>
                <a:lnTo>
                  <a:pt x="35" y="1006"/>
                </a:lnTo>
                <a:lnTo>
                  <a:pt x="38" y="1003"/>
                </a:lnTo>
                <a:lnTo>
                  <a:pt x="49" y="1006"/>
                </a:lnTo>
                <a:lnTo>
                  <a:pt x="61" y="1010"/>
                </a:lnTo>
                <a:lnTo>
                  <a:pt x="71" y="1013"/>
                </a:lnTo>
                <a:lnTo>
                  <a:pt x="80" y="1008"/>
                </a:lnTo>
                <a:lnTo>
                  <a:pt x="80" y="1003"/>
                </a:lnTo>
                <a:lnTo>
                  <a:pt x="80" y="1003"/>
                </a:lnTo>
                <a:lnTo>
                  <a:pt x="78" y="1001"/>
                </a:lnTo>
                <a:lnTo>
                  <a:pt x="78" y="996"/>
                </a:lnTo>
                <a:lnTo>
                  <a:pt x="80" y="996"/>
                </a:lnTo>
                <a:lnTo>
                  <a:pt x="87" y="994"/>
                </a:lnTo>
                <a:lnTo>
                  <a:pt x="92" y="994"/>
                </a:lnTo>
                <a:lnTo>
                  <a:pt x="94" y="989"/>
                </a:lnTo>
                <a:lnTo>
                  <a:pt x="99" y="980"/>
                </a:lnTo>
                <a:lnTo>
                  <a:pt x="104" y="975"/>
                </a:lnTo>
                <a:lnTo>
                  <a:pt x="113" y="970"/>
                </a:lnTo>
                <a:lnTo>
                  <a:pt x="123" y="965"/>
                </a:lnTo>
                <a:lnTo>
                  <a:pt x="125" y="968"/>
                </a:lnTo>
                <a:lnTo>
                  <a:pt x="130" y="970"/>
                </a:lnTo>
                <a:lnTo>
                  <a:pt x="132" y="973"/>
                </a:lnTo>
                <a:lnTo>
                  <a:pt x="135" y="970"/>
                </a:lnTo>
                <a:lnTo>
                  <a:pt x="139" y="958"/>
                </a:lnTo>
                <a:lnTo>
                  <a:pt x="146" y="951"/>
                </a:lnTo>
                <a:lnTo>
                  <a:pt x="144" y="944"/>
                </a:lnTo>
                <a:lnTo>
                  <a:pt x="142" y="937"/>
                </a:lnTo>
                <a:lnTo>
                  <a:pt x="139" y="923"/>
                </a:lnTo>
                <a:lnTo>
                  <a:pt x="139" y="920"/>
                </a:lnTo>
                <a:lnTo>
                  <a:pt x="149" y="909"/>
                </a:lnTo>
                <a:lnTo>
                  <a:pt x="153" y="897"/>
                </a:lnTo>
                <a:lnTo>
                  <a:pt x="156" y="890"/>
                </a:lnTo>
                <a:lnTo>
                  <a:pt x="156" y="885"/>
                </a:lnTo>
                <a:lnTo>
                  <a:pt x="153" y="883"/>
                </a:lnTo>
                <a:lnTo>
                  <a:pt x="139" y="878"/>
                </a:lnTo>
                <a:lnTo>
                  <a:pt x="135" y="875"/>
                </a:lnTo>
                <a:lnTo>
                  <a:pt x="132" y="871"/>
                </a:lnTo>
                <a:lnTo>
                  <a:pt x="130" y="866"/>
                </a:lnTo>
                <a:lnTo>
                  <a:pt x="127" y="861"/>
                </a:lnTo>
                <a:lnTo>
                  <a:pt x="113" y="854"/>
                </a:lnTo>
                <a:lnTo>
                  <a:pt x="99" y="847"/>
                </a:lnTo>
                <a:lnTo>
                  <a:pt x="97" y="840"/>
                </a:lnTo>
                <a:lnTo>
                  <a:pt x="92" y="823"/>
                </a:lnTo>
                <a:lnTo>
                  <a:pt x="92" y="821"/>
                </a:lnTo>
                <a:lnTo>
                  <a:pt x="87" y="816"/>
                </a:lnTo>
                <a:lnTo>
                  <a:pt x="87" y="812"/>
                </a:lnTo>
                <a:lnTo>
                  <a:pt x="87" y="809"/>
                </a:lnTo>
                <a:lnTo>
                  <a:pt x="90" y="800"/>
                </a:lnTo>
                <a:lnTo>
                  <a:pt x="90" y="797"/>
                </a:lnTo>
                <a:lnTo>
                  <a:pt x="87" y="793"/>
                </a:lnTo>
                <a:lnTo>
                  <a:pt x="85" y="790"/>
                </a:lnTo>
                <a:lnTo>
                  <a:pt x="75" y="788"/>
                </a:lnTo>
                <a:lnTo>
                  <a:pt x="71" y="786"/>
                </a:lnTo>
                <a:lnTo>
                  <a:pt x="64" y="778"/>
                </a:lnTo>
                <a:lnTo>
                  <a:pt x="59" y="778"/>
                </a:lnTo>
                <a:lnTo>
                  <a:pt x="52" y="778"/>
                </a:lnTo>
                <a:lnTo>
                  <a:pt x="42" y="771"/>
                </a:lnTo>
                <a:lnTo>
                  <a:pt x="35" y="764"/>
                </a:lnTo>
                <a:lnTo>
                  <a:pt x="30" y="745"/>
                </a:lnTo>
                <a:lnTo>
                  <a:pt x="30" y="738"/>
                </a:lnTo>
                <a:lnTo>
                  <a:pt x="28" y="731"/>
                </a:lnTo>
                <a:lnTo>
                  <a:pt x="30" y="724"/>
                </a:lnTo>
                <a:lnTo>
                  <a:pt x="33" y="717"/>
                </a:lnTo>
                <a:lnTo>
                  <a:pt x="38" y="715"/>
                </a:lnTo>
                <a:lnTo>
                  <a:pt x="47" y="712"/>
                </a:lnTo>
                <a:lnTo>
                  <a:pt x="47" y="712"/>
                </a:lnTo>
                <a:lnTo>
                  <a:pt x="47" y="710"/>
                </a:lnTo>
                <a:lnTo>
                  <a:pt x="47" y="708"/>
                </a:lnTo>
                <a:lnTo>
                  <a:pt x="49" y="705"/>
                </a:lnTo>
                <a:lnTo>
                  <a:pt x="49" y="705"/>
                </a:lnTo>
                <a:lnTo>
                  <a:pt x="54" y="708"/>
                </a:lnTo>
                <a:lnTo>
                  <a:pt x="54" y="708"/>
                </a:lnTo>
                <a:lnTo>
                  <a:pt x="56" y="708"/>
                </a:lnTo>
                <a:lnTo>
                  <a:pt x="64" y="708"/>
                </a:lnTo>
                <a:lnTo>
                  <a:pt x="71" y="705"/>
                </a:lnTo>
                <a:lnTo>
                  <a:pt x="75" y="700"/>
                </a:lnTo>
                <a:lnTo>
                  <a:pt x="82" y="696"/>
                </a:lnTo>
                <a:lnTo>
                  <a:pt x="85" y="689"/>
                </a:lnTo>
                <a:lnTo>
                  <a:pt x="87" y="681"/>
                </a:lnTo>
                <a:lnTo>
                  <a:pt x="87" y="677"/>
                </a:lnTo>
                <a:lnTo>
                  <a:pt x="92" y="672"/>
                </a:lnTo>
                <a:lnTo>
                  <a:pt x="94" y="670"/>
                </a:lnTo>
                <a:lnTo>
                  <a:pt x="108" y="684"/>
                </a:lnTo>
                <a:lnTo>
                  <a:pt x="118" y="686"/>
                </a:lnTo>
                <a:lnTo>
                  <a:pt x="125" y="689"/>
                </a:lnTo>
                <a:lnTo>
                  <a:pt x="135" y="686"/>
                </a:lnTo>
                <a:lnTo>
                  <a:pt x="144" y="684"/>
                </a:lnTo>
                <a:lnTo>
                  <a:pt x="163" y="674"/>
                </a:lnTo>
                <a:lnTo>
                  <a:pt x="170" y="670"/>
                </a:lnTo>
                <a:lnTo>
                  <a:pt x="172" y="667"/>
                </a:lnTo>
                <a:lnTo>
                  <a:pt x="196" y="667"/>
                </a:lnTo>
                <a:lnTo>
                  <a:pt x="205" y="665"/>
                </a:lnTo>
                <a:lnTo>
                  <a:pt x="222" y="648"/>
                </a:lnTo>
                <a:lnTo>
                  <a:pt x="229" y="644"/>
                </a:lnTo>
                <a:lnTo>
                  <a:pt x="236" y="644"/>
                </a:lnTo>
                <a:lnTo>
                  <a:pt x="239" y="639"/>
                </a:lnTo>
                <a:lnTo>
                  <a:pt x="241" y="634"/>
                </a:lnTo>
                <a:lnTo>
                  <a:pt x="246" y="632"/>
                </a:lnTo>
                <a:lnTo>
                  <a:pt x="276" y="637"/>
                </a:lnTo>
                <a:lnTo>
                  <a:pt x="281" y="637"/>
                </a:lnTo>
                <a:lnTo>
                  <a:pt x="286" y="641"/>
                </a:lnTo>
                <a:lnTo>
                  <a:pt x="293" y="648"/>
                </a:lnTo>
                <a:lnTo>
                  <a:pt x="293" y="651"/>
                </a:lnTo>
                <a:lnTo>
                  <a:pt x="298" y="651"/>
                </a:lnTo>
                <a:lnTo>
                  <a:pt x="300" y="651"/>
                </a:lnTo>
                <a:lnTo>
                  <a:pt x="300" y="648"/>
                </a:lnTo>
                <a:lnTo>
                  <a:pt x="305" y="648"/>
                </a:lnTo>
                <a:lnTo>
                  <a:pt x="319" y="653"/>
                </a:lnTo>
                <a:lnTo>
                  <a:pt x="326" y="651"/>
                </a:lnTo>
                <a:lnTo>
                  <a:pt x="333" y="653"/>
                </a:lnTo>
                <a:lnTo>
                  <a:pt x="333" y="653"/>
                </a:lnTo>
                <a:lnTo>
                  <a:pt x="338" y="651"/>
                </a:lnTo>
                <a:lnTo>
                  <a:pt x="338" y="648"/>
                </a:lnTo>
                <a:lnTo>
                  <a:pt x="338" y="646"/>
                </a:lnTo>
                <a:lnTo>
                  <a:pt x="338" y="641"/>
                </a:lnTo>
                <a:lnTo>
                  <a:pt x="343" y="627"/>
                </a:lnTo>
                <a:lnTo>
                  <a:pt x="350" y="622"/>
                </a:lnTo>
                <a:lnTo>
                  <a:pt x="371" y="615"/>
                </a:lnTo>
                <a:lnTo>
                  <a:pt x="373" y="613"/>
                </a:lnTo>
                <a:lnTo>
                  <a:pt x="376" y="611"/>
                </a:lnTo>
                <a:lnTo>
                  <a:pt x="378" y="606"/>
                </a:lnTo>
                <a:lnTo>
                  <a:pt x="378" y="606"/>
                </a:lnTo>
                <a:lnTo>
                  <a:pt x="381" y="599"/>
                </a:lnTo>
                <a:lnTo>
                  <a:pt x="383" y="599"/>
                </a:lnTo>
                <a:lnTo>
                  <a:pt x="383" y="587"/>
                </a:lnTo>
                <a:lnTo>
                  <a:pt x="381" y="582"/>
                </a:lnTo>
                <a:lnTo>
                  <a:pt x="383" y="575"/>
                </a:lnTo>
                <a:lnTo>
                  <a:pt x="383" y="573"/>
                </a:lnTo>
                <a:lnTo>
                  <a:pt x="385" y="568"/>
                </a:lnTo>
                <a:lnTo>
                  <a:pt x="392" y="568"/>
                </a:lnTo>
                <a:lnTo>
                  <a:pt x="395" y="566"/>
                </a:lnTo>
                <a:lnTo>
                  <a:pt x="407" y="554"/>
                </a:lnTo>
                <a:lnTo>
                  <a:pt x="411" y="540"/>
                </a:lnTo>
                <a:lnTo>
                  <a:pt x="409" y="523"/>
                </a:lnTo>
                <a:lnTo>
                  <a:pt x="399" y="509"/>
                </a:lnTo>
                <a:lnTo>
                  <a:pt x="392" y="502"/>
                </a:lnTo>
                <a:lnTo>
                  <a:pt x="390" y="502"/>
                </a:lnTo>
                <a:lnTo>
                  <a:pt x="392" y="497"/>
                </a:lnTo>
                <a:lnTo>
                  <a:pt x="395" y="492"/>
                </a:lnTo>
                <a:lnTo>
                  <a:pt x="399" y="487"/>
                </a:lnTo>
                <a:lnTo>
                  <a:pt x="404" y="483"/>
                </a:lnTo>
                <a:lnTo>
                  <a:pt x="418" y="478"/>
                </a:lnTo>
                <a:lnTo>
                  <a:pt x="423" y="473"/>
                </a:lnTo>
                <a:lnTo>
                  <a:pt x="435" y="454"/>
                </a:lnTo>
                <a:lnTo>
                  <a:pt x="442" y="447"/>
                </a:lnTo>
                <a:lnTo>
                  <a:pt x="447" y="445"/>
                </a:lnTo>
                <a:lnTo>
                  <a:pt x="449" y="443"/>
                </a:lnTo>
                <a:lnTo>
                  <a:pt x="449" y="438"/>
                </a:lnTo>
                <a:lnTo>
                  <a:pt x="449" y="433"/>
                </a:lnTo>
                <a:lnTo>
                  <a:pt x="447" y="433"/>
                </a:lnTo>
                <a:lnTo>
                  <a:pt x="447" y="431"/>
                </a:lnTo>
                <a:lnTo>
                  <a:pt x="449" y="424"/>
                </a:lnTo>
                <a:lnTo>
                  <a:pt x="454" y="417"/>
                </a:lnTo>
                <a:lnTo>
                  <a:pt x="461" y="412"/>
                </a:lnTo>
                <a:lnTo>
                  <a:pt x="478" y="407"/>
                </a:lnTo>
                <a:lnTo>
                  <a:pt x="485" y="407"/>
                </a:lnTo>
                <a:lnTo>
                  <a:pt x="489" y="414"/>
                </a:lnTo>
                <a:lnTo>
                  <a:pt x="492" y="424"/>
                </a:lnTo>
                <a:lnTo>
                  <a:pt x="494" y="435"/>
                </a:lnTo>
                <a:lnTo>
                  <a:pt x="494" y="447"/>
                </a:lnTo>
                <a:lnTo>
                  <a:pt x="492" y="471"/>
                </a:lnTo>
                <a:lnTo>
                  <a:pt x="492" y="480"/>
                </a:lnTo>
                <a:lnTo>
                  <a:pt x="494" y="492"/>
                </a:lnTo>
                <a:lnTo>
                  <a:pt x="499" y="497"/>
                </a:lnTo>
                <a:lnTo>
                  <a:pt x="504" y="502"/>
                </a:lnTo>
                <a:lnTo>
                  <a:pt x="511" y="504"/>
                </a:lnTo>
                <a:lnTo>
                  <a:pt x="520" y="506"/>
                </a:lnTo>
                <a:lnTo>
                  <a:pt x="530" y="516"/>
                </a:lnTo>
                <a:lnTo>
                  <a:pt x="551" y="540"/>
                </a:lnTo>
                <a:lnTo>
                  <a:pt x="553" y="542"/>
                </a:lnTo>
                <a:lnTo>
                  <a:pt x="560" y="544"/>
                </a:lnTo>
                <a:lnTo>
                  <a:pt x="575" y="549"/>
                </a:lnTo>
                <a:lnTo>
                  <a:pt x="579" y="549"/>
                </a:lnTo>
                <a:lnTo>
                  <a:pt x="582" y="549"/>
                </a:lnTo>
                <a:lnTo>
                  <a:pt x="586" y="544"/>
                </a:lnTo>
                <a:lnTo>
                  <a:pt x="586" y="542"/>
                </a:lnTo>
                <a:lnTo>
                  <a:pt x="589" y="542"/>
                </a:lnTo>
                <a:lnTo>
                  <a:pt x="593" y="547"/>
                </a:lnTo>
                <a:lnTo>
                  <a:pt x="596" y="549"/>
                </a:lnTo>
                <a:lnTo>
                  <a:pt x="601" y="549"/>
                </a:lnTo>
                <a:lnTo>
                  <a:pt x="608" y="547"/>
                </a:lnTo>
                <a:lnTo>
                  <a:pt x="612" y="549"/>
                </a:lnTo>
                <a:lnTo>
                  <a:pt x="622" y="556"/>
                </a:lnTo>
                <a:lnTo>
                  <a:pt x="619" y="568"/>
                </a:lnTo>
                <a:lnTo>
                  <a:pt x="612" y="580"/>
                </a:lnTo>
                <a:lnTo>
                  <a:pt x="608" y="592"/>
                </a:lnTo>
                <a:lnTo>
                  <a:pt x="608" y="594"/>
                </a:lnTo>
                <a:lnTo>
                  <a:pt x="605" y="594"/>
                </a:lnTo>
                <a:lnTo>
                  <a:pt x="612" y="594"/>
                </a:lnTo>
                <a:lnTo>
                  <a:pt x="615" y="596"/>
                </a:lnTo>
                <a:lnTo>
                  <a:pt x="634" y="603"/>
                </a:lnTo>
                <a:lnTo>
                  <a:pt x="636" y="603"/>
                </a:lnTo>
                <a:lnTo>
                  <a:pt x="638" y="606"/>
                </a:lnTo>
                <a:lnTo>
                  <a:pt x="641" y="613"/>
                </a:lnTo>
                <a:lnTo>
                  <a:pt x="648" y="622"/>
                </a:lnTo>
                <a:lnTo>
                  <a:pt x="650" y="627"/>
                </a:lnTo>
                <a:lnTo>
                  <a:pt x="653" y="632"/>
                </a:lnTo>
                <a:lnTo>
                  <a:pt x="655" y="639"/>
                </a:lnTo>
                <a:lnTo>
                  <a:pt x="655" y="646"/>
                </a:lnTo>
                <a:lnTo>
                  <a:pt x="653" y="651"/>
                </a:lnTo>
                <a:lnTo>
                  <a:pt x="653" y="658"/>
                </a:lnTo>
                <a:lnTo>
                  <a:pt x="664" y="653"/>
                </a:lnTo>
                <a:lnTo>
                  <a:pt x="674" y="655"/>
                </a:lnTo>
                <a:lnTo>
                  <a:pt x="683" y="655"/>
                </a:lnTo>
                <a:lnTo>
                  <a:pt x="690" y="644"/>
                </a:lnTo>
                <a:lnTo>
                  <a:pt x="698" y="627"/>
                </a:lnTo>
                <a:lnTo>
                  <a:pt x="698" y="620"/>
                </a:lnTo>
                <a:lnTo>
                  <a:pt x="693" y="615"/>
                </a:lnTo>
                <a:lnTo>
                  <a:pt x="690" y="613"/>
                </a:lnTo>
                <a:lnTo>
                  <a:pt x="683" y="613"/>
                </a:lnTo>
                <a:lnTo>
                  <a:pt x="681" y="611"/>
                </a:lnTo>
                <a:lnTo>
                  <a:pt x="676" y="608"/>
                </a:lnTo>
                <a:lnTo>
                  <a:pt x="674" y="599"/>
                </a:lnTo>
                <a:lnTo>
                  <a:pt x="669" y="596"/>
                </a:lnTo>
                <a:lnTo>
                  <a:pt x="669" y="596"/>
                </a:lnTo>
                <a:lnTo>
                  <a:pt x="669" y="594"/>
                </a:lnTo>
                <a:lnTo>
                  <a:pt x="669" y="594"/>
                </a:lnTo>
                <a:lnTo>
                  <a:pt x="669" y="592"/>
                </a:lnTo>
                <a:lnTo>
                  <a:pt x="679" y="582"/>
                </a:lnTo>
                <a:lnTo>
                  <a:pt x="672" y="568"/>
                </a:lnTo>
                <a:lnTo>
                  <a:pt x="672" y="563"/>
                </a:lnTo>
                <a:lnTo>
                  <a:pt x="679" y="556"/>
                </a:lnTo>
                <a:lnTo>
                  <a:pt x="686" y="554"/>
                </a:lnTo>
                <a:lnTo>
                  <a:pt x="688" y="551"/>
                </a:lnTo>
                <a:lnTo>
                  <a:pt x="690" y="547"/>
                </a:lnTo>
                <a:lnTo>
                  <a:pt x="690" y="542"/>
                </a:lnTo>
                <a:lnTo>
                  <a:pt x="688" y="532"/>
                </a:lnTo>
                <a:lnTo>
                  <a:pt x="688" y="528"/>
                </a:lnTo>
                <a:lnTo>
                  <a:pt x="693" y="518"/>
                </a:lnTo>
                <a:lnTo>
                  <a:pt x="712" y="502"/>
                </a:lnTo>
                <a:lnTo>
                  <a:pt x="714" y="497"/>
                </a:lnTo>
                <a:lnTo>
                  <a:pt x="716" y="492"/>
                </a:lnTo>
                <a:lnTo>
                  <a:pt x="716" y="487"/>
                </a:lnTo>
                <a:lnTo>
                  <a:pt x="719" y="485"/>
                </a:lnTo>
                <a:lnTo>
                  <a:pt x="724" y="483"/>
                </a:lnTo>
                <a:lnTo>
                  <a:pt x="726" y="478"/>
                </a:lnTo>
                <a:lnTo>
                  <a:pt x="728" y="473"/>
                </a:lnTo>
                <a:lnTo>
                  <a:pt x="731" y="459"/>
                </a:lnTo>
                <a:lnTo>
                  <a:pt x="738" y="440"/>
                </a:lnTo>
                <a:lnTo>
                  <a:pt x="738" y="431"/>
                </a:lnTo>
                <a:lnTo>
                  <a:pt x="735" y="424"/>
                </a:lnTo>
                <a:lnTo>
                  <a:pt x="731" y="409"/>
                </a:lnTo>
                <a:lnTo>
                  <a:pt x="731" y="405"/>
                </a:lnTo>
                <a:lnTo>
                  <a:pt x="731" y="398"/>
                </a:lnTo>
                <a:lnTo>
                  <a:pt x="728" y="395"/>
                </a:lnTo>
                <a:lnTo>
                  <a:pt x="726" y="393"/>
                </a:lnTo>
                <a:lnTo>
                  <a:pt x="721" y="386"/>
                </a:lnTo>
                <a:lnTo>
                  <a:pt x="724" y="376"/>
                </a:lnTo>
                <a:lnTo>
                  <a:pt x="726" y="364"/>
                </a:lnTo>
                <a:lnTo>
                  <a:pt x="731" y="360"/>
                </a:lnTo>
                <a:lnTo>
                  <a:pt x="745" y="355"/>
                </a:lnTo>
                <a:lnTo>
                  <a:pt x="752" y="357"/>
                </a:lnTo>
                <a:lnTo>
                  <a:pt x="752" y="362"/>
                </a:lnTo>
                <a:lnTo>
                  <a:pt x="761" y="369"/>
                </a:lnTo>
                <a:lnTo>
                  <a:pt x="764" y="369"/>
                </a:lnTo>
                <a:lnTo>
                  <a:pt x="766" y="367"/>
                </a:lnTo>
                <a:lnTo>
                  <a:pt x="766" y="364"/>
                </a:lnTo>
                <a:lnTo>
                  <a:pt x="769" y="362"/>
                </a:lnTo>
                <a:lnTo>
                  <a:pt x="769" y="360"/>
                </a:lnTo>
                <a:lnTo>
                  <a:pt x="773" y="355"/>
                </a:lnTo>
                <a:lnTo>
                  <a:pt x="776" y="355"/>
                </a:lnTo>
                <a:lnTo>
                  <a:pt x="778" y="357"/>
                </a:lnTo>
                <a:lnTo>
                  <a:pt x="783" y="398"/>
                </a:lnTo>
                <a:lnTo>
                  <a:pt x="783" y="405"/>
                </a:lnTo>
                <a:lnTo>
                  <a:pt x="785" y="405"/>
                </a:lnTo>
                <a:lnTo>
                  <a:pt x="787" y="407"/>
                </a:lnTo>
                <a:lnTo>
                  <a:pt x="795" y="409"/>
                </a:lnTo>
                <a:lnTo>
                  <a:pt x="797" y="412"/>
                </a:lnTo>
                <a:lnTo>
                  <a:pt x="804" y="426"/>
                </a:lnTo>
                <a:lnTo>
                  <a:pt x="809" y="431"/>
                </a:lnTo>
                <a:lnTo>
                  <a:pt x="816" y="435"/>
                </a:lnTo>
                <a:lnTo>
                  <a:pt x="823" y="438"/>
                </a:lnTo>
                <a:lnTo>
                  <a:pt x="856" y="433"/>
                </a:lnTo>
                <a:lnTo>
                  <a:pt x="861" y="431"/>
                </a:lnTo>
                <a:lnTo>
                  <a:pt x="866" y="424"/>
                </a:lnTo>
                <a:lnTo>
                  <a:pt x="866" y="421"/>
                </a:lnTo>
                <a:lnTo>
                  <a:pt x="863" y="417"/>
                </a:lnTo>
                <a:lnTo>
                  <a:pt x="863" y="409"/>
                </a:lnTo>
                <a:lnTo>
                  <a:pt x="866" y="407"/>
                </a:lnTo>
                <a:lnTo>
                  <a:pt x="870" y="407"/>
                </a:lnTo>
                <a:lnTo>
                  <a:pt x="877" y="409"/>
                </a:lnTo>
                <a:lnTo>
                  <a:pt x="880" y="409"/>
                </a:lnTo>
                <a:lnTo>
                  <a:pt x="887" y="407"/>
                </a:lnTo>
                <a:lnTo>
                  <a:pt x="903" y="395"/>
                </a:lnTo>
                <a:lnTo>
                  <a:pt x="918" y="390"/>
                </a:lnTo>
                <a:lnTo>
                  <a:pt x="922" y="390"/>
                </a:lnTo>
                <a:lnTo>
                  <a:pt x="929" y="393"/>
                </a:lnTo>
                <a:lnTo>
                  <a:pt x="936" y="395"/>
                </a:lnTo>
                <a:lnTo>
                  <a:pt x="939" y="402"/>
                </a:lnTo>
                <a:lnTo>
                  <a:pt x="941" y="412"/>
                </a:lnTo>
                <a:lnTo>
                  <a:pt x="944" y="419"/>
                </a:lnTo>
                <a:lnTo>
                  <a:pt x="948" y="426"/>
                </a:lnTo>
                <a:lnTo>
                  <a:pt x="963" y="433"/>
                </a:lnTo>
                <a:lnTo>
                  <a:pt x="965" y="440"/>
                </a:lnTo>
                <a:lnTo>
                  <a:pt x="967" y="450"/>
                </a:lnTo>
                <a:lnTo>
                  <a:pt x="977" y="450"/>
                </a:lnTo>
                <a:lnTo>
                  <a:pt x="989" y="443"/>
                </a:lnTo>
                <a:lnTo>
                  <a:pt x="996" y="438"/>
                </a:lnTo>
                <a:lnTo>
                  <a:pt x="998" y="428"/>
                </a:lnTo>
                <a:lnTo>
                  <a:pt x="993" y="421"/>
                </a:lnTo>
                <a:lnTo>
                  <a:pt x="979" y="409"/>
                </a:lnTo>
                <a:lnTo>
                  <a:pt x="977" y="407"/>
                </a:lnTo>
                <a:lnTo>
                  <a:pt x="974" y="402"/>
                </a:lnTo>
                <a:lnTo>
                  <a:pt x="974" y="398"/>
                </a:lnTo>
                <a:lnTo>
                  <a:pt x="977" y="393"/>
                </a:lnTo>
                <a:lnTo>
                  <a:pt x="977" y="388"/>
                </a:lnTo>
                <a:lnTo>
                  <a:pt x="984" y="381"/>
                </a:lnTo>
                <a:lnTo>
                  <a:pt x="984" y="379"/>
                </a:lnTo>
                <a:lnTo>
                  <a:pt x="986" y="369"/>
                </a:lnTo>
                <a:lnTo>
                  <a:pt x="984" y="364"/>
                </a:lnTo>
                <a:lnTo>
                  <a:pt x="977" y="364"/>
                </a:lnTo>
                <a:lnTo>
                  <a:pt x="965" y="362"/>
                </a:lnTo>
                <a:lnTo>
                  <a:pt x="955" y="360"/>
                </a:lnTo>
                <a:lnTo>
                  <a:pt x="951" y="355"/>
                </a:lnTo>
                <a:lnTo>
                  <a:pt x="953" y="346"/>
                </a:lnTo>
                <a:lnTo>
                  <a:pt x="951" y="346"/>
                </a:lnTo>
                <a:lnTo>
                  <a:pt x="948" y="343"/>
                </a:lnTo>
                <a:lnTo>
                  <a:pt x="948" y="338"/>
                </a:lnTo>
                <a:lnTo>
                  <a:pt x="948" y="336"/>
                </a:lnTo>
                <a:lnTo>
                  <a:pt x="948" y="331"/>
                </a:lnTo>
                <a:lnTo>
                  <a:pt x="946" y="322"/>
                </a:lnTo>
                <a:lnTo>
                  <a:pt x="946" y="317"/>
                </a:lnTo>
                <a:lnTo>
                  <a:pt x="948" y="315"/>
                </a:lnTo>
                <a:lnTo>
                  <a:pt x="955" y="308"/>
                </a:lnTo>
                <a:lnTo>
                  <a:pt x="955" y="303"/>
                </a:lnTo>
                <a:lnTo>
                  <a:pt x="958" y="289"/>
                </a:lnTo>
                <a:lnTo>
                  <a:pt x="960" y="286"/>
                </a:lnTo>
                <a:lnTo>
                  <a:pt x="963" y="284"/>
                </a:lnTo>
                <a:lnTo>
                  <a:pt x="989" y="272"/>
                </a:lnTo>
                <a:lnTo>
                  <a:pt x="996" y="272"/>
                </a:lnTo>
                <a:lnTo>
                  <a:pt x="1000" y="275"/>
                </a:lnTo>
                <a:lnTo>
                  <a:pt x="1003" y="279"/>
                </a:lnTo>
                <a:lnTo>
                  <a:pt x="1000" y="289"/>
                </a:lnTo>
                <a:lnTo>
                  <a:pt x="1003" y="293"/>
                </a:lnTo>
                <a:lnTo>
                  <a:pt x="1015" y="296"/>
                </a:lnTo>
                <a:lnTo>
                  <a:pt x="1019" y="298"/>
                </a:lnTo>
                <a:lnTo>
                  <a:pt x="1019" y="298"/>
                </a:lnTo>
                <a:lnTo>
                  <a:pt x="1022" y="301"/>
                </a:lnTo>
                <a:lnTo>
                  <a:pt x="1026" y="303"/>
                </a:lnTo>
                <a:lnTo>
                  <a:pt x="1029" y="303"/>
                </a:lnTo>
                <a:lnTo>
                  <a:pt x="1038" y="301"/>
                </a:lnTo>
                <a:lnTo>
                  <a:pt x="1060" y="303"/>
                </a:lnTo>
                <a:lnTo>
                  <a:pt x="1067" y="301"/>
                </a:lnTo>
                <a:lnTo>
                  <a:pt x="1069" y="293"/>
                </a:lnTo>
                <a:lnTo>
                  <a:pt x="1069" y="284"/>
                </a:lnTo>
                <a:lnTo>
                  <a:pt x="1069" y="272"/>
                </a:lnTo>
                <a:lnTo>
                  <a:pt x="1064" y="265"/>
                </a:lnTo>
                <a:lnTo>
                  <a:pt x="1060" y="260"/>
                </a:lnTo>
                <a:lnTo>
                  <a:pt x="1045" y="260"/>
                </a:lnTo>
                <a:lnTo>
                  <a:pt x="1041" y="256"/>
                </a:lnTo>
                <a:lnTo>
                  <a:pt x="1036" y="246"/>
                </a:lnTo>
                <a:lnTo>
                  <a:pt x="1038" y="244"/>
                </a:lnTo>
                <a:lnTo>
                  <a:pt x="1041" y="239"/>
                </a:lnTo>
                <a:lnTo>
                  <a:pt x="1043" y="234"/>
                </a:lnTo>
                <a:lnTo>
                  <a:pt x="1043" y="227"/>
                </a:lnTo>
                <a:lnTo>
                  <a:pt x="1041" y="223"/>
                </a:lnTo>
                <a:lnTo>
                  <a:pt x="1043" y="218"/>
                </a:lnTo>
                <a:lnTo>
                  <a:pt x="1045" y="215"/>
                </a:lnTo>
                <a:lnTo>
                  <a:pt x="1050" y="208"/>
                </a:lnTo>
                <a:lnTo>
                  <a:pt x="1048" y="204"/>
                </a:lnTo>
                <a:lnTo>
                  <a:pt x="1045" y="199"/>
                </a:lnTo>
                <a:lnTo>
                  <a:pt x="1043" y="192"/>
                </a:lnTo>
                <a:lnTo>
                  <a:pt x="1048" y="182"/>
                </a:lnTo>
                <a:lnTo>
                  <a:pt x="1050" y="180"/>
                </a:lnTo>
                <a:lnTo>
                  <a:pt x="1050" y="175"/>
                </a:lnTo>
                <a:lnTo>
                  <a:pt x="1050" y="163"/>
                </a:lnTo>
                <a:lnTo>
                  <a:pt x="1060" y="168"/>
                </a:lnTo>
                <a:lnTo>
                  <a:pt x="1074" y="168"/>
                </a:lnTo>
                <a:lnTo>
                  <a:pt x="1100" y="156"/>
                </a:lnTo>
                <a:lnTo>
                  <a:pt x="1107" y="156"/>
                </a:lnTo>
                <a:lnTo>
                  <a:pt x="1109" y="156"/>
                </a:lnTo>
                <a:lnTo>
                  <a:pt x="1133" y="166"/>
                </a:lnTo>
                <a:lnTo>
                  <a:pt x="1138" y="170"/>
                </a:lnTo>
                <a:lnTo>
                  <a:pt x="1138" y="173"/>
                </a:lnTo>
                <a:lnTo>
                  <a:pt x="1130" y="180"/>
                </a:lnTo>
                <a:lnTo>
                  <a:pt x="1130" y="182"/>
                </a:lnTo>
                <a:lnTo>
                  <a:pt x="1133" y="185"/>
                </a:lnTo>
                <a:lnTo>
                  <a:pt x="1135" y="185"/>
                </a:lnTo>
                <a:lnTo>
                  <a:pt x="1140" y="182"/>
                </a:lnTo>
                <a:lnTo>
                  <a:pt x="1145" y="182"/>
                </a:lnTo>
                <a:lnTo>
                  <a:pt x="1154" y="187"/>
                </a:lnTo>
                <a:lnTo>
                  <a:pt x="1157" y="187"/>
                </a:lnTo>
                <a:lnTo>
                  <a:pt x="1161" y="185"/>
                </a:lnTo>
                <a:lnTo>
                  <a:pt x="1164" y="182"/>
                </a:lnTo>
                <a:lnTo>
                  <a:pt x="1166" y="185"/>
                </a:lnTo>
                <a:lnTo>
                  <a:pt x="1173" y="187"/>
                </a:lnTo>
                <a:lnTo>
                  <a:pt x="1175" y="189"/>
                </a:lnTo>
                <a:lnTo>
                  <a:pt x="1178" y="189"/>
                </a:lnTo>
                <a:lnTo>
                  <a:pt x="1187" y="185"/>
                </a:lnTo>
                <a:lnTo>
                  <a:pt x="1192" y="182"/>
                </a:lnTo>
                <a:lnTo>
                  <a:pt x="1201" y="182"/>
                </a:lnTo>
                <a:lnTo>
                  <a:pt x="1209" y="182"/>
                </a:lnTo>
                <a:lnTo>
                  <a:pt x="1211" y="182"/>
                </a:lnTo>
                <a:lnTo>
                  <a:pt x="1216" y="178"/>
                </a:lnTo>
                <a:lnTo>
                  <a:pt x="1220" y="166"/>
                </a:lnTo>
                <a:lnTo>
                  <a:pt x="1220" y="163"/>
                </a:lnTo>
                <a:lnTo>
                  <a:pt x="1223" y="161"/>
                </a:lnTo>
                <a:lnTo>
                  <a:pt x="1225" y="161"/>
                </a:lnTo>
                <a:lnTo>
                  <a:pt x="1225" y="159"/>
                </a:lnTo>
                <a:lnTo>
                  <a:pt x="1225" y="154"/>
                </a:lnTo>
                <a:lnTo>
                  <a:pt x="1225" y="152"/>
                </a:lnTo>
                <a:lnTo>
                  <a:pt x="1227" y="137"/>
                </a:lnTo>
                <a:lnTo>
                  <a:pt x="1230" y="123"/>
                </a:lnTo>
                <a:lnTo>
                  <a:pt x="1230" y="118"/>
                </a:lnTo>
                <a:lnTo>
                  <a:pt x="1246" y="97"/>
                </a:lnTo>
                <a:lnTo>
                  <a:pt x="1251" y="92"/>
                </a:lnTo>
                <a:lnTo>
                  <a:pt x="1270" y="83"/>
                </a:lnTo>
                <a:lnTo>
                  <a:pt x="1289" y="76"/>
                </a:lnTo>
                <a:lnTo>
                  <a:pt x="1301" y="78"/>
                </a:lnTo>
                <a:lnTo>
                  <a:pt x="1310" y="81"/>
                </a:lnTo>
                <a:lnTo>
                  <a:pt x="1317" y="81"/>
                </a:lnTo>
                <a:lnTo>
                  <a:pt x="1327" y="69"/>
                </a:lnTo>
                <a:lnTo>
                  <a:pt x="1327" y="69"/>
                </a:lnTo>
                <a:lnTo>
                  <a:pt x="1329" y="66"/>
                </a:lnTo>
                <a:lnTo>
                  <a:pt x="1332" y="64"/>
                </a:lnTo>
                <a:lnTo>
                  <a:pt x="1334" y="62"/>
                </a:lnTo>
                <a:lnTo>
                  <a:pt x="1339" y="62"/>
                </a:lnTo>
                <a:lnTo>
                  <a:pt x="1341" y="64"/>
                </a:lnTo>
                <a:lnTo>
                  <a:pt x="1343" y="64"/>
                </a:lnTo>
                <a:lnTo>
                  <a:pt x="1343" y="66"/>
                </a:lnTo>
                <a:lnTo>
                  <a:pt x="1346" y="69"/>
                </a:lnTo>
                <a:lnTo>
                  <a:pt x="1351" y="69"/>
                </a:lnTo>
                <a:lnTo>
                  <a:pt x="1353" y="66"/>
                </a:lnTo>
                <a:lnTo>
                  <a:pt x="1355" y="64"/>
                </a:lnTo>
                <a:lnTo>
                  <a:pt x="1355" y="64"/>
                </a:lnTo>
                <a:lnTo>
                  <a:pt x="1355" y="64"/>
                </a:lnTo>
                <a:lnTo>
                  <a:pt x="1355" y="64"/>
                </a:lnTo>
                <a:lnTo>
                  <a:pt x="1362" y="62"/>
                </a:lnTo>
                <a:lnTo>
                  <a:pt x="1369" y="59"/>
                </a:lnTo>
                <a:lnTo>
                  <a:pt x="1384" y="62"/>
                </a:lnTo>
                <a:lnTo>
                  <a:pt x="1384" y="62"/>
                </a:lnTo>
                <a:lnTo>
                  <a:pt x="1386" y="62"/>
                </a:lnTo>
                <a:lnTo>
                  <a:pt x="1386" y="62"/>
                </a:lnTo>
                <a:lnTo>
                  <a:pt x="1388" y="59"/>
                </a:lnTo>
                <a:lnTo>
                  <a:pt x="1395" y="59"/>
                </a:lnTo>
                <a:lnTo>
                  <a:pt x="1405" y="66"/>
                </a:lnTo>
                <a:lnTo>
                  <a:pt x="1410" y="66"/>
                </a:lnTo>
                <a:lnTo>
                  <a:pt x="1414" y="66"/>
                </a:lnTo>
                <a:lnTo>
                  <a:pt x="1419" y="59"/>
                </a:lnTo>
                <a:lnTo>
                  <a:pt x="1422" y="57"/>
                </a:lnTo>
                <a:lnTo>
                  <a:pt x="1433" y="52"/>
                </a:lnTo>
                <a:lnTo>
                  <a:pt x="1443" y="45"/>
                </a:lnTo>
                <a:lnTo>
                  <a:pt x="1455" y="36"/>
                </a:lnTo>
                <a:lnTo>
                  <a:pt x="1466" y="28"/>
                </a:lnTo>
                <a:lnTo>
                  <a:pt x="1485" y="26"/>
                </a:lnTo>
                <a:lnTo>
                  <a:pt x="1511" y="5"/>
                </a:lnTo>
                <a:lnTo>
                  <a:pt x="1530" y="0"/>
                </a:lnTo>
                <a:lnTo>
                  <a:pt x="1537" y="0"/>
                </a:lnTo>
                <a:lnTo>
                  <a:pt x="1540" y="12"/>
                </a:lnTo>
                <a:lnTo>
                  <a:pt x="1535" y="21"/>
                </a:lnTo>
                <a:lnTo>
                  <a:pt x="1519" y="33"/>
                </a:lnTo>
                <a:lnTo>
                  <a:pt x="1516" y="40"/>
                </a:lnTo>
                <a:lnTo>
                  <a:pt x="1519" y="45"/>
                </a:lnTo>
                <a:lnTo>
                  <a:pt x="1521" y="50"/>
                </a:lnTo>
                <a:moveTo>
                  <a:pt x="1805" y="1330"/>
                </a:moveTo>
                <a:lnTo>
                  <a:pt x="1805" y="1330"/>
                </a:lnTo>
                <a:lnTo>
                  <a:pt x="1817" y="1334"/>
                </a:lnTo>
                <a:lnTo>
                  <a:pt x="1824" y="1330"/>
                </a:lnTo>
                <a:lnTo>
                  <a:pt x="1828" y="1320"/>
                </a:lnTo>
                <a:lnTo>
                  <a:pt x="1828" y="1320"/>
                </a:lnTo>
                <a:lnTo>
                  <a:pt x="1828" y="1318"/>
                </a:lnTo>
                <a:lnTo>
                  <a:pt x="1828" y="1318"/>
                </a:lnTo>
                <a:lnTo>
                  <a:pt x="1828" y="1316"/>
                </a:lnTo>
                <a:lnTo>
                  <a:pt x="1831" y="1311"/>
                </a:lnTo>
                <a:lnTo>
                  <a:pt x="1831" y="1304"/>
                </a:lnTo>
                <a:lnTo>
                  <a:pt x="1828" y="1297"/>
                </a:lnTo>
                <a:lnTo>
                  <a:pt x="1826" y="1292"/>
                </a:lnTo>
                <a:lnTo>
                  <a:pt x="1817" y="1297"/>
                </a:lnTo>
                <a:lnTo>
                  <a:pt x="1807" y="1301"/>
                </a:lnTo>
                <a:lnTo>
                  <a:pt x="1802" y="1311"/>
                </a:lnTo>
                <a:lnTo>
                  <a:pt x="1800" y="1323"/>
                </a:lnTo>
                <a:lnTo>
                  <a:pt x="1805" y="1330"/>
                </a:lnTo>
                <a:moveTo>
                  <a:pt x="1940" y="2177"/>
                </a:moveTo>
                <a:lnTo>
                  <a:pt x="1940" y="2177"/>
                </a:lnTo>
                <a:lnTo>
                  <a:pt x="1940" y="2177"/>
                </a:lnTo>
                <a:lnTo>
                  <a:pt x="1944" y="2177"/>
                </a:lnTo>
                <a:lnTo>
                  <a:pt x="1942" y="2174"/>
                </a:lnTo>
                <a:lnTo>
                  <a:pt x="1940" y="2174"/>
                </a:lnTo>
                <a:lnTo>
                  <a:pt x="1940" y="2177"/>
                </a:lnTo>
              </a:path>
            </a:pathLst>
          </a:custGeom>
          <a:solidFill>
            <a:schemeClr val="tx1"/>
          </a:solidFill>
          <a:ln w="63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179211" tIns="89606" rIns="179211" bIns="89606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CustomShape 24">
            <a:extLst>
              <a:ext uri="{FF2B5EF4-FFF2-40B4-BE49-F238E27FC236}">
                <a16:creationId xmlns:a16="http://schemas.microsoft.com/office/drawing/2014/main" id="{D9DD0A60-9010-46FB-87A8-1CD031FFBB12}"/>
              </a:ext>
            </a:extLst>
          </p:cNvPr>
          <p:cNvSpPr/>
          <p:nvPr/>
        </p:nvSpPr>
        <p:spPr>
          <a:xfrm>
            <a:off x="9857491" y="4204351"/>
            <a:ext cx="1820880" cy="3371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+mn-cs"/>
              </a:rPr>
              <a:t>Totale</a:t>
            </a:r>
            <a:endParaRPr kumimoji="0" lang="it-IT" sz="16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Gruppo 54">
            <a:extLst>
              <a:ext uri="{FF2B5EF4-FFF2-40B4-BE49-F238E27FC236}">
                <a16:creationId xmlns:a16="http://schemas.microsoft.com/office/drawing/2014/main" id="{692C69F9-797D-4F4B-B9BC-080D0B6F9C2A}"/>
              </a:ext>
            </a:extLst>
          </p:cNvPr>
          <p:cNvGrpSpPr/>
          <p:nvPr/>
        </p:nvGrpSpPr>
        <p:grpSpPr>
          <a:xfrm>
            <a:off x="6899214" y="2550013"/>
            <a:ext cx="1187355" cy="546890"/>
            <a:chOff x="10314665" y="457458"/>
            <a:chExt cx="1187355" cy="546890"/>
          </a:xfrm>
          <a:solidFill>
            <a:schemeClr val="tx2"/>
          </a:solidFill>
        </p:grpSpPr>
        <p:sp>
          <p:nvSpPr>
            <p:cNvPr id="56" name="Ovale 55">
              <a:extLst>
                <a:ext uri="{FF2B5EF4-FFF2-40B4-BE49-F238E27FC236}">
                  <a16:creationId xmlns:a16="http://schemas.microsoft.com/office/drawing/2014/main" id="{25033974-66BE-428E-959E-CBA08B925026}"/>
                </a:ext>
              </a:extLst>
            </p:cNvPr>
            <p:cNvSpPr/>
            <p:nvPr/>
          </p:nvSpPr>
          <p:spPr>
            <a:xfrm>
              <a:off x="10653118" y="464348"/>
              <a:ext cx="540000" cy="540000"/>
            </a:xfrm>
            <a:prstGeom prst="ellipse">
              <a:avLst/>
            </a:prstGeom>
            <a:solidFill>
              <a:srgbClr val="008E5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/>
          </p:style>
          <p:txBody>
            <a:bodyPr lIns="0" tIns="45000" rIns="0" bIns="450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7" name="Rettangolo 56">
              <a:extLst>
                <a:ext uri="{FF2B5EF4-FFF2-40B4-BE49-F238E27FC236}">
                  <a16:creationId xmlns:a16="http://schemas.microsoft.com/office/drawing/2014/main" id="{1CEBF657-7E64-4EB7-A303-68AAAFEBDE47}"/>
                </a:ext>
              </a:extLst>
            </p:cNvPr>
            <p:cNvSpPr/>
            <p:nvPr/>
          </p:nvSpPr>
          <p:spPr>
            <a:xfrm>
              <a:off x="10314665" y="457458"/>
              <a:ext cx="1187355" cy="5263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-14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508</a:t>
              </a:r>
              <a:endParaRPr kumimoji="0" lang="it-IT" sz="1400" b="1" i="0" u="none" strike="noStrike" kern="1200" cap="none" spc="-1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267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/>
            <a:r>
              <a:rPr lang="it-IT"/>
              <a:t>Clausole flessibilità per la gestione finanziaria delle risorse nel CdP-I 22-26:</a:t>
            </a:r>
            <a:br>
              <a:rPr lang="it-IT"/>
            </a:br>
            <a:r>
              <a:rPr lang="it-IT"/>
              <a:t>Art.1, commi 5-6</a:t>
            </a:r>
          </a:p>
        </p:txBody>
      </p:sp>
      <p:sp>
        <p:nvSpPr>
          <p:cNvPr id="16" name="Segnaposto contenuto 15">
            <a:extLst>
              <a:ext uri="{FF2B5EF4-FFF2-40B4-BE49-F238E27FC236}">
                <a16:creationId xmlns:a16="http://schemas.microsoft.com/office/drawing/2014/main" id="{AAB600A1-F4CC-2A4F-321A-04986CD6C9C6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17" name="Segnaposto testo 16">
            <a:extLst>
              <a:ext uri="{FF2B5EF4-FFF2-40B4-BE49-F238E27FC236}">
                <a16:creationId xmlns:a16="http://schemas.microsoft.com/office/drawing/2014/main" id="{D66882D5-B480-858C-3B21-81C4383269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8" name="Pentagon 3">
            <a:extLst>
              <a:ext uri="{FF2B5EF4-FFF2-40B4-BE49-F238E27FC236}">
                <a16:creationId xmlns:a16="http://schemas.microsoft.com/office/drawing/2014/main" id="{5D4E1648-2C3B-45C0-94F0-CECBA71F3B24}"/>
              </a:ext>
            </a:extLst>
          </p:cNvPr>
          <p:cNvSpPr>
            <a:spLocks/>
          </p:cNvSpPr>
          <p:nvPr/>
        </p:nvSpPr>
        <p:spPr bwMode="gray">
          <a:xfrm>
            <a:off x="368284" y="893254"/>
            <a:ext cx="11176620" cy="2676524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9050" algn="ctr">
            <a:solidFill>
              <a:srgbClr val="D9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ＭＳ Ｐゴシック"/>
              <a:cs typeface="Arial" pitchFamily="34" charset="0"/>
            </a:endParaRPr>
          </a:p>
        </p:txBody>
      </p:sp>
      <p:grpSp>
        <p:nvGrpSpPr>
          <p:cNvPr id="29" name="Group 6">
            <a:extLst>
              <a:ext uri="{FF2B5EF4-FFF2-40B4-BE49-F238E27FC236}">
                <a16:creationId xmlns:a16="http://schemas.microsoft.com/office/drawing/2014/main" id="{60150510-C97B-46E8-BBEC-D60250C20F08}"/>
              </a:ext>
            </a:extLst>
          </p:cNvPr>
          <p:cNvGrpSpPr/>
          <p:nvPr/>
        </p:nvGrpSpPr>
        <p:grpSpPr>
          <a:xfrm>
            <a:off x="744024" y="937390"/>
            <a:ext cx="1584000" cy="233910"/>
            <a:chOff x="575551" y="1193767"/>
            <a:chExt cx="8179286" cy="233775"/>
          </a:xfrm>
        </p:grpSpPr>
        <p:sp>
          <p:nvSpPr>
            <p:cNvPr id="30" name="TextBox 7">
              <a:extLst>
                <a:ext uri="{FF2B5EF4-FFF2-40B4-BE49-F238E27FC236}">
                  <a16:creationId xmlns:a16="http://schemas.microsoft.com/office/drawing/2014/main" id="{E28338BB-12B7-420C-92AF-530009F2D65B}"/>
                </a:ext>
              </a:extLst>
            </p:cNvPr>
            <p:cNvSpPr txBox="1"/>
            <p:nvPr/>
          </p:nvSpPr>
          <p:spPr>
            <a:xfrm>
              <a:off x="575551" y="1193767"/>
              <a:ext cx="8179286" cy="2337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 panose="020F0502020204030204" pitchFamily="34" charset="0"/>
                </a:rPr>
                <a:t>Area di intervento</a:t>
              </a: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31" name="Straight Connector 8">
              <a:extLst>
                <a:ext uri="{FF2B5EF4-FFF2-40B4-BE49-F238E27FC236}">
                  <a16:creationId xmlns:a16="http://schemas.microsoft.com/office/drawing/2014/main" id="{1C8575DA-F979-4994-9CE8-7ED193DD05AD}"/>
                </a:ext>
              </a:extLst>
            </p:cNvPr>
            <p:cNvCxnSpPr>
              <a:cxnSpLocks/>
            </p:cNvCxnSpPr>
            <p:nvPr/>
          </p:nvCxnSpPr>
          <p:spPr>
            <a:xfrm>
              <a:off x="575551" y="1421051"/>
              <a:ext cx="8179286" cy="0"/>
            </a:xfrm>
            <a:prstGeom prst="line">
              <a:avLst/>
            </a:prstGeom>
            <a:noFill/>
            <a:ln w="9525" cap="flat" cmpd="sng" algn="ctr">
              <a:solidFill>
                <a:srgbClr val="DC002E"/>
              </a:solidFill>
              <a:prstDash val="solid"/>
            </a:ln>
            <a:effectLst/>
          </p:spPr>
        </p:cxnSp>
      </p:grpSp>
      <p:grpSp>
        <p:nvGrpSpPr>
          <p:cNvPr id="38" name="Group 6">
            <a:extLst>
              <a:ext uri="{FF2B5EF4-FFF2-40B4-BE49-F238E27FC236}">
                <a16:creationId xmlns:a16="http://schemas.microsoft.com/office/drawing/2014/main" id="{1CC0BF8E-5DCD-4972-AF72-C3E51658BA2E}"/>
              </a:ext>
            </a:extLst>
          </p:cNvPr>
          <p:cNvGrpSpPr/>
          <p:nvPr/>
        </p:nvGrpSpPr>
        <p:grpSpPr>
          <a:xfrm>
            <a:off x="7735544" y="937390"/>
            <a:ext cx="3705597" cy="233910"/>
            <a:chOff x="575551" y="1193773"/>
            <a:chExt cx="8179286" cy="233776"/>
          </a:xfrm>
        </p:grpSpPr>
        <p:sp>
          <p:nvSpPr>
            <p:cNvPr id="39" name="TextBox 7">
              <a:extLst>
                <a:ext uri="{FF2B5EF4-FFF2-40B4-BE49-F238E27FC236}">
                  <a16:creationId xmlns:a16="http://schemas.microsoft.com/office/drawing/2014/main" id="{EF1CB940-46BA-46E8-B455-D0DA78AD1788}"/>
                </a:ext>
              </a:extLst>
            </p:cNvPr>
            <p:cNvSpPr txBox="1"/>
            <p:nvPr/>
          </p:nvSpPr>
          <p:spPr>
            <a:xfrm>
              <a:off x="575551" y="1193773"/>
              <a:ext cx="8179286" cy="23377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 panose="020F0502020204030204" pitchFamily="34" charset="0"/>
                </a:rPr>
                <a:t>Processo</a:t>
              </a: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44" name="Straight Connector 8">
              <a:extLst>
                <a:ext uri="{FF2B5EF4-FFF2-40B4-BE49-F238E27FC236}">
                  <a16:creationId xmlns:a16="http://schemas.microsoft.com/office/drawing/2014/main" id="{68DD79EF-3C30-4421-859D-CFEA1E48058C}"/>
                </a:ext>
              </a:extLst>
            </p:cNvPr>
            <p:cNvCxnSpPr>
              <a:cxnSpLocks/>
            </p:cNvCxnSpPr>
            <p:nvPr/>
          </p:nvCxnSpPr>
          <p:spPr>
            <a:xfrm>
              <a:off x="575551" y="1421051"/>
              <a:ext cx="8179286" cy="0"/>
            </a:xfrm>
            <a:prstGeom prst="line">
              <a:avLst/>
            </a:prstGeom>
            <a:noFill/>
            <a:ln w="9525" cap="flat" cmpd="sng" algn="ctr">
              <a:solidFill>
                <a:srgbClr val="DC002E"/>
              </a:solidFill>
              <a:prstDash val="solid"/>
            </a:ln>
            <a:effectLst/>
          </p:spPr>
        </p:cxnSp>
      </p:grpSp>
      <p:pic>
        <p:nvPicPr>
          <p:cNvPr id="45" name="Picture 2" descr="Piano Nazionale di Ripresa e Resilienza, le Linee Guida approvate dal  Senato - Teknoring">
            <a:extLst>
              <a:ext uri="{FF2B5EF4-FFF2-40B4-BE49-F238E27FC236}">
                <a16:creationId xmlns:a16="http://schemas.microsoft.com/office/drawing/2014/main" id="{0F444AA7-44CF-44E4-8499-30427409DA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0" t="7545" r="6267" b="7381"/>
          <a:stretch/>
        </p:blipFill>
        <p:spPr bwMode="auto">
          <a:xfrm>
            <a:off x="737630" y="1218556"/>
            <a:ext cx="1596788" cy="958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7">
            <a:extLst>
              <a:ext uri="{FF2B5EF4-FFF2-40B4-BE49-F238E27FC236}">
                <a16:creationId xmlns:a16="http://schemas.microsoft.com/office/drawing/2014/main" id="{A6FF73E4-75CB-4C93-8485-6AB69A09D189}"/>
              </a:ext>
            </a:extLst>
          </p:cNvPr>
          <p:cNvSpPr txBox="1"/>
          <p:nvPr/>
        </p:nvSpPr>
        <p:spPr>
          <a:xfrm>
            <a:off x="598556" y="2389281"/>
            <a:ext cx="1874936" cy="614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Investimenti PNRR</a:t>
            </a:r>
          </a:p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Missione 3,</a:t>
            </a:r>
          </a:p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Componente 1</a:t>
            </a:r>
            <a:endParaRPr kumimoji="0" lang="it-IT" sz="1200" b="1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9" name="TextBox 7">
            <a:extLst>
              <a:ext uri="{FF2B5EF4-FFF2-40B4-BE49-F238E27FC236}">
                <a16:creationId xmlns:a16="http://schemas.microsoft.com/office/drawing/2014/main" id="{082FCFF5-134B-4C64-A55A-3D5673467720}"/>
              </a:ext>
            </a:extLst>
          </p:cNvPr>
          <p:cNvSpPr txBox="1"/>
          <p:nvPr/>
        </p:nvSpPr>
        <p:spPr>
          <a:xfrm>
            <a:off x="5623939" y="2389281"/>
            <a:ext cx="1729939" cy="614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Raggiungimento Milestone e Target fissati dal PNRR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0" name="Rectangle: Rounded Corners 388">
            <a:extLst>
              <a:ext uri="{FF2B5EF4-FFF2-40B4-BE49-F238E27FC236}">
                <a16:creationId xmlns:a16="http://schemas.microsoft.com/office/drawing/2014/main" id="{A9864A7C-7051-4082-BD98-CF5CEAA78E70}"/>
              </a:ext>
            </a:extLst>
          </p:cNvPr>
          <p:cNvSpPr/>
          <p:nvPr/>
        </p:nvSpPr>
        <p:spPr>
          <a:xfrm rot="16200000">
            <a:off x="-976364" y="2056550"/>
            <a:ext cx="2564825" cy="352993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0" rIns="36000" bIns="0" rtlCol="0" anchor="ctr" anchorCtr="0">
            <a:noAutofit/>
          </a:bodyPr>
          <a:lstStyle/>
          <a:p>
            <a:pPr marL="0" marR="0" lvl="0" indent="0" algn="ctr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t. 1, comma 5</a:t>
            </a:r>
          </a:p>
        </p:txBody>
      </p:sp>
      <p:pic>
        <p:nvPicPr>
          <p:cNvPr id="53" name="Picture 8" descr="Succede solo a Bologna APS | Charity Tour">
            <a:extLst>
              <a:ext uri="{FF2B5EF4-FFF2-40B4-BE49-F238E27FC236}">
                <a16:creationId xmlns:a16="http://schemas.microsoft.com/office/drawing/2014/main" id="{33C81130-0CCB-4978-9029-C240B7E4C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255" y="1201010"/>
            <a:ext cx="1074129" cy="1074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7">
            <a:extLst>
              <a:ext uri="{FF2B5EF4-FFF2-40B4-BE49-F238E27FC236}">
                <a16:creationId xmlns:a16="http://schemas.microsoft.com/office/drawing/2014/main" id="{8CDCAFEB-23AB-47DC-B0E2-81DF245D56D0}"/>
              </a:ext>
            </a:extLst>
          </p:cNvPr>
          <p:cNvSpPr txBox="1"/>
          <p:nvPr/>
        </p:nvSpPr>
        <p:spPr>
          <a:xfrm>
            <a:off x="2473491" y="2389281"/>
            <a:ext cx="3169055" cy="10233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Flessibilità temporanea su gestione risorse comunitarie e nazionali, rispettando vincoli del CdP e PNRR (articolazione per Investimento/sub-investimento come da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Decreto MEF del 6 agosto 2021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)</a:t>
            </a:r>
          </a:p>
        </p:txBody>
      </p:sp>
      <p:sp>
        <p:nvSpPr>
          <p:cNvPr id="56" name="TextBox 7">
            <a:extLst>
              <a:ext uri="{FF2B5EF4-FFF2-40B4-BE49-F238E27FC236}">
                <a16:creationId xmlns:a16="http://schemas.microsoft.com/office/drawing/2014/main" id="{0CD325CE-0B7C-42EF-9D86-F840A5A6B57B}"/>
              </a:ext>
            </a:extLst>
          </p:cNvPr>
          <p:cNvSpPr txBox="1"/>
          <p:nvPr/>
        </p:nvSpPr>
        <p:spPr>
          <a:xfrm>
            <a:off x="8260384" y="1344291"/>
            <a:ext cx="3093636" cy="409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rPr>
              <a:t>Incremento costo investimento per adeguamenti progettuali</a:t>
            </a:r>
            <a:endParaRPr kumimoji="0" lang="it-IT" sz="1200" b="1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grpSp>
        <p:nvGrpSpPr>
          <p:cNvPr id="57" name="Group 6">
            <a:extLst>
              <a:ext uri="{FF2B5EF4-FFF2-40B4-BE49-F238E27FC236}">
                <a16:creationId xmlns:a16="http://schemas.microsoft.com/office/drawing/2014/main" id="{2E374E8C-5E37-48F4-A8BE-FB078CAD551F}"/>
              </a:ext>
            </a:extLst>
          </p:cNvPr>
          <p:cNvGrpSpPr/>
          <p:nvPr/>
        </p:nvGrpSpPr>
        <p:grpSpPr>
          <a:xfrm>
            <a:off x="5642546" y="937390"/>
            <a:ext cx="1548000" cy="233910"/>
            <a:chOff x="575551" y="1193773"/>
            <a:chExt cx="8179286" cy="233776"/>
          </a:xfrm>
        </p:grpSpPr>
        <p:sp>
          <p:nvSpPr>
            <p:cNvPr id="58" name="TextBox 7">
              <a:extLst>
                <a:ext uri="{FF2B5EF4-FFF2-40B4-BE49-F238E27FC236}">
                  <a16:creationId xmlns:a16="http://schemas.microsoft.com/office/drawing/2014/main" id="{8F5A7919-ED28-4C2F-9627-E4172BCE68EB}"/>
                </a:ext>
              </a:extLst>
            </p:cNvPr>
            <p:cNvSpPr txBox="1"/>
            <p:nvPr/>
          </p:nvSpPr>
          <p:spPr>
            <a:xfrm>
              <a:off x="575551" y="1193773"/>
              <a:ext cx="8179286" cy="23377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 panose="020F0502020204030204" pitchFamily="34" charset="0"/>
                </a:rPr>
                <a:t>Finalità</a:t>
              </a: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59" name="Straight Connector 8">
              <a:extLst>
                <a:ext uri="{FF2B5EF4-FFF2-40B4-BE49-F238E27FC236}">
                  <a16:creationId xmlns:a16="http://schemas.microsoft.com/office/drawing/2014/main" id="{2D56873E-FFC6-4E40-BD68-542AC3A5DED6}"/>
                </a:ext>
              </a:extLst>
            </p:cNvPr>
            <p:cNvCxnSpPr>
              <a:cxnSpLocks/>
            </p:cNvCxnSpPr>
            <p:nvPr/>
          </p:nvCxnSpPr>
          <p:spPr>
            <a:xfrm>
              <a:off x="575551" y="1421051"/>
              <a:ext cx="8179286" cy="0"/>
            </a:xfrm>
            <a:prstGeom prst="line">
              <a:avLst/>
            </a:prstGeom>
            <a:noFill/>
            <a:ln w="9525" cap="flat" cmpd="sng" algn="ctr">
              <a:solidFill>
                <a:srgbClr val="DC002E"/>
              </a:solidFill>
              <a:prstDash val="solid"/>
            </a:ln>
            <a:effectLst/>
          </p:spPr>
        </p:cxnSp>
      </p:grpSp>
      <p:grpSp>
        <p:nvGrpSpPr>
          <p:cNvPr id="60" name="Group 6">
            <a:extLst>
              <a:ext uri="{FF2B5EF4-FFF2-40B4-BE49-F238E27FC236}">
                <a16:creationId xmlns:a16="http://schemas.microsoft.com/office/drawing/2014/main" id="{22704945-C6EB-4DBC-9822-E7EEC67033A0}"/>
              </a:ext>
            </a:extLst>
          </p:cNvPr>
          <p:cNvGrpSpPr/>
          <p:nvPr/>
        </p:nvGrpSpPr>
        <p:grpSpPr>
          <a:xfrm>
            <a:off x="2681751" y="937390"/>
            <a:ext cx="2654846" cy="233910"/>
            <a:chOff x="575551" y="1193773"/>
            <a:chExt cx="8179286" cy="233776"/>
          </a:xfrm>
        </p:grpSpPr>
        <p:sp>
          <p:nvSpPr>
            <p:cNvPr id="61" name="TextBox 7">
              <a:extLst>
                <a:ext uri="{FF2B5EF4-FFF2-40B4-BE49-F238E27FC236}">
                  <a16:creationId xmlns:a16="http://schemas.microsoft.com/office/drawing/2014/main" id="{FB72DE41-61AC-49CD-9E4E-B8CBEAA6F34C}"/>
                </a:ext>
              </a:extLst>
            </p:cNvPr>
            <p:cNvSpPr txBox="1"/>
            <p:nvPr/>
          </p:nvSpPr>
          <p:spPr>
            <a:xfrm>
              <a:off x="575551" y="1193773"/>
              <a:ext cx="8179286" cy="23377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 panose="020F0502020204030204" pitchFamily="34" charset="0"/>
                </a:rPr>
                <a:t>Oggetto</a:t>
              </a: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62" name="Straight Connector 8">
              <a:extLst>
                <a:ext uri="{FF2B5EF4-FFF2-40B4-BE49-F238E27FC236}">
                  <a16:creationId xmlns:a16="http://schemas.microsoft.com/office/drawing/2014/main" id="{F1AA630E-65E9-42A3-BCE5-1C60B38EBB6E}"/>
                </a:ext>
              </a:extLst>
            </p:cNvPr>
            <p:cNvCxnSpPr>
              <a:cxnSpLocks/>
            </p:cNvCxnSpPr>
            <p:nvPr/>
          </p:nvCxnSpPr>
          <p:spPr>
            <a:xfrm>
              <a:off x="575551" y="1421051"/>
              <a:ext cx="8179286" cy="0"/>
            </a:xfrm>
            <a:prstGeom prst="line">
              <a:avLst/>
            </a:prstGeom>
            <a:noFill/>
            <a:ln w="9525" cap="flat" cmpd="sng" algn="ctr">
              <a:solidFill>
                <a:srgbClr val="DC002E"/>
              </a:solidFill>
              <a:prstDash val="solid"/>
            </a:ln>
            <a:effectLst/>
          </p:spPr>
        </p:cxnSp>
      </p:grpSp>
      <p:pic>
        <p:nvPicPr>
          <p:cNvPr id="63" name="Elemento grafico 62" descr="Contratto con riempimento a tinta unita">
            <a:extLst>
              <a:ext uri="{FF2B5EF4-FFF2-40B4-BE49-F238E27FC236}">
                <a16:creationId xmlns:a16="http://schemas.microsoft.com/office/drawing/2014/main" id="{C4E02735-648C-4D2B-A496-97F74B96F1D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736268" y="1815524"/>
            <a:ext cx="468000" cy="468000"/>
          </a:xfrm>
          <a:prstGeom prst="rect">
            <a:avLst/>
          </a:prstGeom>
        </p:spPr>
      </p:pic>
      <p:sp>
        <p:nvSpPr>
          <p:cNvPr id="64" name="TextBox 7">
            <a:extLst>
              <a:ext uri="{FF2B5EF4-FFF2-40B4-BE49-F238E27FC236}">
                <a16:creationId xmlns:a16="http://schemas.microsoft.com/office/drawing/2014/main" id="{B66B0B01-64D3-44B9-9743-F3B1BE5203B8}"/>
              </a:ext>
            </a:extLst>
          </p:cNvPr>
          <p:cNvSpPr txBox="1"/>
          <p:nvPr/>
        </p:nvSpPr>
        <p:spPr>
          <a:xfrm>
            <a:off x="8260384" y="1844853"/>
            <a:ext cx="3093636" cy="409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Comunicazione al MIMS e al MEF della rimodulazione temporanea risorse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6" name="TextBox 7">
            <a:extLst>
              <a:ext uri="{FF2B5EF4-FFF2-40B4-BE49-F238E27FC236}">
                <a16:creationId xmlns:a16="http://schemas.microsoft.com/office/drawing/2014/main" id="{F14EF775-7D24-45BC-929D-5A997112CAFB}"/>
              </a:ext>
            </a:extLst>
          </p:cNvPr>
          <p:cNvSpPr txBox="1"/>
          <p:nvPr/>
        </p:nvSpPr>
        <p:spPr>
          <a:xfrm>
            <a:off x="8260384" y="2383130"/>
            <a:ext cx="3093636" cy="409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Recepimento modifiche nel primo aggiornamento contrattuale utile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D047FD7C-2B47-4D14-867F-ABA8949DFD5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biLevel thresh="50000"/>
          </a:blip>
          <a:srcRect l="11094" t="10239" r="11916" b="20434"/>
          <a:stretch/>
        </p:blipFill>
        <p:spPr>
          <a:xfrm>
            <a:off x="3532925" y="1186278"/>
            <a:ext cx="1074128" cy="1043342"/>
          </a:xfrm>
          <a:prstGeom prst="rect">
            <a:avLst/>
          </a:prstGeom>
        </p:spPr>
      </p:pic>
      <p:pic>
        <p:nvPicPr>
          <p:cNvPr id="67" name="Elemento grafico 66" descr="Elenco di controllo con riempimento a tinta unita">
            <a:extLst>
              <a:ext uri="{FF2B5EF4-FFF2-40B4-BE49-F238E27FC236}">
                <a16:creationId xmlns:a16="http://schemas.microsoft.com/office/drawing/2014/main" id="{F5DF4C1A-8D18-41F4-B738-28FAA049C109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7744597" y="2341750"/>
            <a:ext cx="468000" cy="468000"/>
          </a:xfrm>
          <a:prstGeom prst="rect">
            <a:avLst/>
          </a:prstGeom>
        </p:spPr>
      </p:pic>
      <p:sp>
        <p:nvSpPr>
          <p:cNvPr id="68" name="TextBox 7">
            <a:extLst>
              <a:ext uri="{FF2B5EF4-FFF2-40B4-BE49-F238E27FC236}">
                <a16:creationId xmlns:a16="http://schemas.microsoft.com/office/drawing/2014/main" id="{755876C1-9CA7-45AE-A0E9-80298D86F40A}"/>
              </a:ext>
            </a:extLst>
          </p:cNvPr>
          <p:cNvSpPr txBox="1"/>
          <p:nvPr/>
        </p:nvSpPr>
        <p:spPr>
          <a:xfrm>
            <a:off x="8260384" y="3027519"/>
            <a:ext cx="3093636" cy="409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Reintegro coperture finanziarie nei successivi aggiornamenti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D450C0D0-7D3B-4BEA-A0BD-0B567D9BFFD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6363" t="12339" r="5709" b="10319"/>
          <a:stretch/>
        </p:blipFill>
        <p:spPr>
          <a:xfrm>
            <a:off x="7736269" y="2885026"/>
            <a:ext cx="532060" cy="468000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B8EA756A-4D93-40AF-A48B-7E954AB1B9D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77902" y="1252547"/>
            <a:ext cx="394465" cy="394465"/>
          </a:xfrm>
          <a:prstGeom prst="rect">
            <a:avLst/>
          </a:prstGeom>
        </p:spPr>
      </p:pic>
      <p:sp>
        <p:nvSpPr>
          <p:cNvPr id="208" name="Pentagon 3">
            <a:extLst>
              <a:ext uri="{FF2B5EF4-FFF2-40B4-BE49-F238E27FC236}">
                <a16:creationId xmlns:a16="http://schemas.microsoft.com/office/drawing/2014/main" id="{59AD30E3-DA19-49EF-AF3B-794396A5E641}"/>
              </a:ext>
            </a:extLst>
          </p:cNvPr>
          <p:cNvSpPr>
            <a:spLocks/>
          </p:cNvSpPr>
          <p:nvPr/>
        </p:nvSpPr>
        <p:spPr bwMode="gray">
          <a:xfrm>
            <a:off x="407368" y="3666922"/>
            <a:ext cx="11176620" cy="2676524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9050" algn="ctr">
            <a:solidFill>
              <a:srgbClr val="D9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ＭＳ Ｐゴシック"/>
              <a:cs typeface="Arial" pitchFamily="34" charset="0"/>
            </a:endParaRPr>
          </a:p>
        </p:txBody>
      </p:sp>
      <p:grpSp>
        <p:nvGrpSpPr>
          <p:cNvPr id="209" name="Group 6">
            <a:extLst>
              <a:ext uri="{FF2B5EF4-FFF2-40B4-BE49-F238E27FC236}">
                <a16:creationId xmlns:a16="http://schemas.microsoft.com/office/drawing/2014/main" id="{7405D4B3-1B29-4EC1-AF65-6FCB421C3E3C}"/>
              </a:ext>
            </a:extLst>
          </p:cNvPr>
          <p:cNvGrpSpPr/>
          <p:nvPr/>
        </p:nvGrpSpPr>
        <p:grpSpPr>
          <a:xfrm>
            <a:off x="590118" y="3711058"/>
            <a:ext cx="1584000" cy="233910"/>
            <a:chOff x="575551" y="1193767"/>
            <a:chExt cx="8179286" cy="233775"/>
          </a:xfrm>
        </p:grpSpPr>
        <p:sp>
          <p:nvSpPr>
            <p:cNvPr id="210" name="TextBox 7">
              <a:extLst>
                <a:ext uri="{FF2B5EF4-FFF2-40B4-BE49-F238E27FC236}">
                  <a16:creationId xmlns:a16="http://schemas.microsoft.com/office/drawing/2014/main" id="{2FBF591A-9CE0-4F51-A498-D8EFCE3BC6EA}"/>
                </a:ext>
              </a:extLst>
            </p:cNvPr>
            <p:cNvSpPr txBox="1"/>
            <p:nvPr/>
          </p:nvSpPr>
          <p:spPr>
            <a:xfrm>
              <a:off x="575551" y="1193767"/>
              <a:ext cx="8179286" cy="2337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 panose="020F0502020204030204" pitchFamily="34" charset="0"/>
                </a:rPr>
                <a:t>Area di intervento</a:t>
              </a: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211" name="Straight Connector 8">
              <a:extLst>
                <a:ext uri="{FF2B5EF4-FFF2-40B4-BE49-F238E27FC236}">
                  <a16:creationId xmlns:a16="http://schemas.microsoft.com/office/drawing/2014/main" id="{5CE3E245-09AE-4508-BE80-65745C92D632}"/>
                </a:ext>
              </a:extLst>
            </p:cNvPr>
            <p:cNvCxnSpPr>
              <a:cxnSpLocks/>
            </p:cNvCxnSpPr>
            <p:nvPr/>
          </p:nvCxnSpPr>
          <p:spPr>
            <a:xfrm>
              <a:off x="575551" y="1421051"/>
              <a:ext cx="8179286" cy="0"/>
            </a:xfrm>
            <a:prstGeom prst="line">
              <a:avLst/>
            </a:prstGeom>
            <a:noFill/>
            <a:ln w="9525" cap="flat" cmpd="sng" algn="ctr">
              <a:solidFill>
                <a:srgbClr val="DC002E"/>
              </a:solidFill>
              <a:prstDash val="solid"/>
            </a:ln>
            <a:effectLst/>
          </p:spPr>
        </p:cxnSp>
      </p:grpSp>
      <p:grpSp>
        <p:nvGrpSpPr>
          <p:cNvPr id="212" name="Group 6">
            <a:extLst>
              <a:ext uri="{FF2B5EF4-FFF2-40B4-BE49-F238E27FC236}">
                <a16:creationId xmlns:a16="http://schemas.microsoft.com/office/drawing/2014/main" id="{7405D4B3-1B29-4EC1-AF65-6FCB421C3E3C}"/>
              </a:ext>
            </a:extLst>
          </p:cNvPr>
          <p:cNvGrpSpPr/>
          <p:nvPr/>
        </p:nvGrpSpPr>
        <p:grpSpPr>
          <a:xfrm>
            <a:off x="5742145" y="3711058"/>
            <a:ext cx="1548000" cy="233910"/>
            <a:chOff x="575551" y="1193773"/>
            <a:chExt cx="8179286" cy="233776"/>
          </a:xfrm>
        </p:grpSpPr>
        <p:sp>
          <p:nvSpPr>
            <p:cNvPr id="213" name="TextBox 7">
              <a:extLst>
                <a:ext uri="{FF2B5EF4-FFF2-40B4-BE49-F238E27FC236}">
                  <a16:creationId xmlns:a16="http://schemas.microsoft.com/office/drawing/2014/main" id="{2FBF591A-9CE0-4F51-A498-D8EFCE3BC6EA}"/>
                </a:ext>
              </a:extLst>
            </p:cNvPr>
            <p:cNvSpPr txBox="1"/>
            <p:nvPr/>
          </p:nvSpPr>
          <p:spPr>
            <a:xfrm>
              <a:off x="575551" y="1193773"/>
              <a:ext cx="8179286" cy="23377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 panose="020F0502020204030204" pitchFamily="34" charset="0"/>
                </a:rPr>
                <a:t>Finalità</a:t>
              </a: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214" name="Straight Connector 8">
              <a:extLst>
                <a:ext uri="{FF2B5EF4-FFF2-40B4-BE49-F238E27FC236}">
                  <a16:creationId xmlns:a16="http://schemas.microsoft.com/office/drawing/2014/main" id="{5CE3E245-09AE-4508-BE80-65745C92D632}"/>
                </a:ext>
              </a:extLst>
            </p:cNvPr>
            <p:cNvCxnSpPr>
              <a:cxnSpLocks/>
            </p:cNvCxnSpPr>
            <p:nvPr/>
          </p:nvCxnSpPr>
          <p:spPr>
            <a:xfrm>
              <a:off x="575551" y="1421051"/>
              <a:ext cx="8179286" cy="0"/>
            </a:xfrm>
            <a:prstGeom prst="line">
              <a:avLst/>
            </a:prstGeom>
            <a:noFill/>
            <a:ln w="9525" cap="flat" cmpd="sng" algn="ctr">
              <a:solidFill>
                <a:srgbClr val="DC002E"/>
              </a:solidFill>
              <a:prstDash val="solid"/>
            </a:ln>
            <a:effectLst/>
          </p:spPr>
        </p:cxnSp>
      </p:grpSp>
      <p:pic>
        <p:nvPicPr>
          <p:cNvPr id="223" name="Picture 4" descr="La firma del contratto | Icona Gratis"/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700" y="4192955"/>
            <a:ext cx="884837" cy="964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4" name="TextBox 7">
            <a:extLst>
              <a:ext uri="{FF2B5EF4-FFF2-40B4-BE49-F238E27FC236}">
                <a16:creationId xmlns:a16="http://schemas.microsoft.com/office/drawing/2014/main" id="{2FBF591A-9CE0-4F51-A498-D8EFCE3BC6EA}"/>
              </a:ext>
            </a:extLst>
          </p:cNvPr>
          <p:cNvSpPr txBox="1"/>
          <p:nvPr/>
        </p:nvSpPr>
        <p:spPr>
          <a:xfrm>
            <a:off x="389526" y="5289294"/>
            <a:ext cx="1985184" cy="614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Totale investimenti</a:t>
            </a:r>
          </a:p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presenti nel CdP-I</a:t>
            </a:r>
          </a:p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2022-2026</a:t>
            </a:r>
            <a:endParaRPr kumimoji="0" lang="it-IT" sz="1200" b="1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26" name="TextBox 7">
            <a:extLst>
              <a:ext uri="{FF2B5EF4-FFF2-40B4-BE49-F238E27FC236}">
                <a16:creationId xmlns:a16="http://schemas.microsoft.com/office/drawing/2014/main" id="{2FBF591A-9CE0-4F51-A498-D8EFCE3BC6EA}"/>
              </a:ext>
            </a:extLst>
          </p:cNvPr>
          <p:cNvSpPr txBox="1"/>
          <p:nvPr/>
        </p:nvSpPr>
        <p:spPr>
          <a:xfrm>
            <a:off x="5306284" y="5304272"/>
            <a:ext cx="2334273" cy="614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Rispetto cronoprogrammi</a:t>
            </a:r>
          </a:p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post incremento costi</a:t>
            </a:r>
          </a:p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per nuove tariffe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25606" name="Picture 6" descr="Tempo rimasto | Icona Gratis"/>
          <p:cNvPicPr>
            <a:picLocks noChangeAspect="1" noChangeArrowheads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134" y="4153133"/>
            <a:ext cx="1044573" cy="1044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0" name="Group 6">
            <a:extLst>
              <a:ext uri="{FF2B5EF4-FFF2-40B4-BE49-F238E27FC236}">
                <a16:creationId xmlns:a16="http://schemas.microsoft.com/office/drawing/2014/main" id="{7405D4B3-1B29-4EC1-AF65-6FCB421C3E3C}"/>
              </a:ext>
            </a:extLst>
          </p:cNvPr>
          <p:cNvGrpSpPr/>
          <p:nvPr/>
        </p:nvGrpSpPr>
        <p:grpSpPr>
          <a:xfrm>
            <a:off x="3157767" y="3711058"/>
            <a:ext cx="1476000" cy="233910"/>
            <a:chOff x="575551" y="1193773"/>
            <a:chExt cx="8179286" cy="233776"/>
          </a:xfrm>
        </p:grpSpPr>
        <p:sp>
          <p:nvSpPr>
            <p:cNvPr id="41" name="TextBox 7">
              <a:extLst>
                <a:ext uri="{FF2B5EF4-FFF2-40B4-BE49-F238E27FC236}">
                  <a16:creationId xmlns:a16="http://schemas.microsoft.com/office/drawing/2014/main" id="{2FBF591A-9CE0-4F51-A498-D8EFCE3BC6EA}"/>
                </a:ext>
              </a:extLst>
            </p:cNvPr>
            <p:cNvSpPr txBox="1"/>
            <p:nvPr/>
          </p:nvSpPr>
          <p:spPr>
            <a:xfrm>
              <a:off x="575551" y="1193773"/>
              <a:ext cx="8179286" cy="23377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 panose="020F0502020204030204" pitchFamily="34" charset="0"/>
                </a:rPr>
                <a:t>Oggetto</a:t>
              </a: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42" name="Straight Connector 8">
              <a:extLst>
                <a:ext uri="{FF2B5EF4-FFF2-40B4-BE49-F238E27FC236}">
                  <a16:creationId xmlns:a16="http://schemas.microsoft.com/office/drawing/2014/main" id="{5CE3E245-09AE-4508-BE80-65745C92D632}"/>
                </a:ext>
              </a:extLst>
            </p:cNvPr>
            <p:cNvCxnSpPr>
              <a:cxnSpLocks/>
            </p:cNvCxnSpPr>
            <p:nvPr/>
          </p:nvCxnSpPr>
          <p:spPr>
            <a:xfrm>
              <a:off x="575551" y="1421051"/>
              <a:ext cx="8179286" cy="0"/>
            </a:xfrm>
            <a:prstGeom prst="line">
              <a:avLst/>
            </a:prstGeom>
            <a:noFill/>
            <a:ln w="9525" cap="flat" cmpd="sng" algn="ctr">
              <a:solidFill>
                <a:srgbClr val="DC002E"/>
              </a:solidFill>
              <a:prstDash val="solid"/>
            </a:ln>
            <a:effectLst/>
          </p:spPr>
        </p:cxnSp>
      </p:grpSp>
      <p:sp>
        <p:nvSpPr>
          <p:cNvPr id="43" name="TextBox 7">
            <a:extLst>
              <a:ext uri="{FF2B5EF4-FFF2-40B4-BE49-F238E27FC236}">
                <a16:creationId xmlns:a16="http://schemas.microsoft.com/office/drawing/2014/main" id="{2FBF591A-9CE0-4F51-A498-D8EFCE3BC6EA}"/>
              </a:ext>
            </a:extLst>
          </p:cNvPr>
          <p:cNvSpPr txBox="1"/>
          <p:nvPr/>
        </p:nvSpPr>
        <p:spPr>
          <a:xfrm>
            <a:off x="2772023" y="5289294"/>
            <a:ext cx="2162038" cy="6140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Uso temporaneo risorse su progetti non avviati e non revocabili entro un termine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3368547" y="4156804"/>
            <a:ext cx="968991" cy="1037230"/>
            <a:chOff x="2667583" y="4365937"/>
            <a:chExt cx="968991" cy="1037230"/>
          </a:xfrm>
        </p:grpSpPr>
        <p:pic>
          <p:nvPicPr>
            <p:cNvPr id="2" name="Immagine 1"/>
            <p:cNvPicPr>
              <a:picLocks noChangeAspect="1"/>
            </p:cNvPicPr>
            <p:nvPr/>
          </p:nvPicPr>
          <p:blipFill rotWithShape="1">
            <a:blip r:embed="rId14"/>
            <a:srcRect l="14386" t="10693" r="11700" b="7737"/>
            <a:stretch/>
          </p:blipFill>
          <p:spPr>
            <a:xfrm>
              <a:off x="2667583" y="4365937"/>
              <a:ext cx="968991" cy="1037230"/>
            </a:xfrm>
            <a:prstGeom prst="rect">
              <a:avLst/>
            </a:prstGeom>
          </p:spPr>
        </p:pic>
        <p:sp>
          <p:nvSpPr>
            <p:cNvPr id="3" name="Ovale 2"/>
            <p:cNvSpPr/>
            <p:nvPr/>
          </p:nvSpPr>
          <p:spPr>
            <a:xfrm>
              <a:off x="3046554" y="4499798"/>
              <a:ext cx="222890" cy="238377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Ovale 46"/>
            <p:cNvSpPr/>
            <p:nvPr/>
          </p:nvSpPr>
          <p:spPr>
            <a:xfrm>
              <a:off x="3014804" y="5008828"/>
              <a:ext cx="222890" cy="238377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054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8434" name="Picture 2" descr="Euro | Icona Gratis"/>
            <p:cNvPicPr>
              <a:picLocks noChangeAspect="1" noChangeArrowheads="1"/>
            </p:cNvPicPr>
            <p:nvPr/>
          </p:nvPicPr>
          <p:blipFill>
            <a:blip r:embed="rId15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72879" y="4531054"/>
              <a:ext cx="137991" cy="137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2" descr="Euro | Icona Gratis"/>
            <p:cNvPicPr>
              <a:picLocks noChangeAspect="1" noChangeArrowheads="1"/>
            </p:cNvPicPr>
            <p:nvPr/>
          </p:nvPicPr>
          <p:blipFill>
            <a:blip r:embed="rId15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6486" y="5059020"/>
              <a:ext cx="137991" cy="137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Rectangle: Rounded Corners 388">
            <a:extLst>
              <a:ext uri="{FF2B5EF4-FFF2-40B4-BE49-F238E27FC236}">
                <a16:creationId xmlns:a16="http://schemas.microsoft.com/office/drawing/2014/main" id="{87EC34C8-0D9D-42DE-8D20-C0FA5DD885D1}"/>
              </a:ext>
            </a:extLst>
          </p:cNvPr>
          <p:cNvSpPr/>
          <p:nvPr/>
        </p:nvSpPr>
        <p:spPr>
          <a:xfrm rot="16200000">
            <a:off x="-967584" y="4808195"/>
            <a:ext cx="2547267" cy="352993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0" rIns="36000" bIns="0" rtlCol="0" anchor="ctr" anchorCtr="0">
            <a:noAutofit/>
          </a:bodyPr>
          <a:lstStyle/>
          <a:p>
            <a:pPr marL="0" marR="0" lvl="0" indent="0" algn="ctr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t.1, comma 6</a:t>
            </a:r>
          </a:p>
        </p:txBody>
      </p:sp>
      <p:grpSp>
        <p:nvGrpSpPr>
          <p:cNvPr id="65" name="Group 6">
            <a:extLst>
              <a:ext uri="{FF2B5EF4-FFF2-40B4-BE49-F238E27FC236}">
                <a16:creationId xmlns:a16="http://schemas.microsoft.com/office/drawing/2014/main" id="{8572A468-8AEA-4F84-A269-9A4AB8B422BD}"/>
              </a:ext>
            </a:extLst>
          </p:cNvPr>
          <p:cNvGrpSpPr/>
          <p:nvPr/>
        </p:nvGrpSpPr>
        <p:grpSpPr>
          <a:xfrm>
            <a:off x="7735544" y="3725821"/>
            <a:ext cx="3705597" cy="233910"/>
            <a:chOff x="575551" y="1193773"/>
            <a:chExt cx="8179286" cy="233776"/>
          </a:xfrm>
        </p:grpSpPr>
        <p:sp>
          <p:nvSpPr>
            <p:cNvPr id="69" name="TextBox 7">
              <a:extLst>
                <a:ext uri="{FF2B5EF4-FFF2-40B4-BE49-F238E27FC236}">
                  <a16:creationId xmlns:a16="http://schemas.microsoft.com/office/drawing/2014/main" id="{2308BB7D-02DF-47C8-B33F-227173C4A389}"/>
                </a:ext>
              </a:extLst>
            </p:cNvPr>
            <p:cNvSpPr txBox="1"/>
            <p:nvPr/>
          </p:nvSpPr>
          <p:spPr>
            <a:xfrm>
              <a:off x="575551" y="1193773"/>
              <a:ext cx="8179286" cy="23377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6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Calibri" panose="020F0502020204030204" pitchFamily="34" charset="0"/>
                </a:rPr>
                <a:t>Processo</a:t>
              </a: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70" name="Straight Connector 8">
              <a:extLst>
                <a:ext uri="{FF2B5EF4-FFF2-40B4-BE49-F238E27FC236}">
                  <a16:creationId xmlns:a16="http://schemas.microsoft.com/office/drawing/2014/main" id="{7A63DD0B-5884-4796-B4D4-8A9C5C7B68D6}"/>
                </a:ext>
              </a:extLst>
            </p:cNvPr>
            <p:cNvCxnSpPr>
              <a:cxnSpLocks/>
            </p:cNvCxnSpPr>
            <p:nvPr/>
          </p:nvCxnSpPr>
          <p:spPr>
            <a:xfrm>
              <a:off x="575551" y="1421051"/>
              <a:ext cx="8179286" cy="0"/>
            </a:xfrm>
            <a:prstGeom prst="line">
              <a:avLst/>
            </a:prstGeom>
            <a:noFill/>
            <a:ln w="9525" cap="flat" cmpd="sng" algn="ctr">
              <a:solidFill>
                <a:srgbClr val="DC002E"/>
              </a:solidFill>
              <a:prstDash val="solid"/>
            </a:ln>
            <a:effectLst/>
          </p:spPr>
        </p:cxnSp>
      </p:grpSp>
      <p:sp>
        <p:nvSpPr>
          <p:cNvPr id="71" name="TextBox 7">
            <a:extLst>
              <a:ext uri="{FF2B5EF4-FFF2-40B4-BE49-F238E27FC236}">
                <a16:creationId xmlns:a16="http://schemas.microsoft.com/office/drawing/2014/main" id="{E5FFF87A-1B3C-4680-8388-BDBC595147AC}"/>
              </a:ext>
            </a:extLst>
          </p:cNvPr>
          <p:cNvSpPr txBox="1"/>
          <p:nvPr/>
        </p:nvSpPr>
        <p:spPr>
          <a:xfrm>
            <a:off x="8260384" y="4132722"/>
            <a:ext cx="3093636" cy="409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rPr>
              <a:t>Incremento costo investimento per effetto nuove tariffe</a:t>
            </a:r>
            <a:endParaRPr kumimoji="0" lang="it-IT" sz="1200" b="1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72" name="Elemento grafico 71" descr="Contratto con riempimento a tinta unita">
            <a:extLst>
              <a:ext uri="{FF2B5EF4-FFF2-40B4-BE49-F238E27FC236}">
                <a16:creationId xmlns:a16="http://schemas.microsoft.com/office/drawing/2014/main" id="{733944A1-6C4B-4892-A564-4963234EECF5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736268" y="4750910"/>
            <a:ext cx="468000" cy="468000"/>
          </a:xfrm>
          <a:prstGeom prst="rect">
            <a:avLst/>
          </a:prstGeom>
        </p:spPr>
      </p:pic>
      <p:sp>
        <p:nvSpPr>
          <p:cNvPr id="73" name="TextBox 7">
            <a:extLst>
              <a:ext uri="{FF2B5EF4-FFF2-40B4-BE49-F238E27FC236}">
                <a16:creationId xmlns:a16="http://schemas.microsoft.com/office/drawing/2014/main" id="{C6324130-A329-4E83-8206-4AEDC3B3EC61}"/>
              </a:ext>
            </a:extLst>
          </p:cNvPr>
          <p:cNvSpPr txBox="1"/>
          <p:nvPr/>
        </p:nvSpPr>
        <p:spPr>
          <a:xfrm>
            <a:off x="8260384" y="4633284"/>
            <a:ext cx="3194783" cy="409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Istruttoria e autorizzazione MIMS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 panose="020F0502020204030204" pitchFamily="34" charset="0"/>
              </a:rPr>
              <a:t>(informativa CIPESS per Infrastrutture PIS)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4" name="TextBox 7">
            <a:extLst>
              <a:ext uri="{FF2B5EF4-FFF2-40B4-BE49-F238E27FC236}">
                <a16:creationId xmlns:a16="http://schemas.microsoft.com/office/drawing/2014/main" id="{5869F470-55BC-43C9-95A2-9EDAC75DA1D4}"/>
              </a:ext>
            </a:extLst>
          </p:cNvPr>
          <p:cNvSpPr txBox="1"/>
          <p:nvPr/>
        </p:nvSpPr>
        <p:spPr>
          <a:xfrm>
            <a:off x="8260384" y="5281297"/>
            <a:ext cx="3093636" cy="2046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Informativa al MEF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6" name="TextBox 7">
            <a:extLst>
              <a:ext uri="{FF2B5EF4-FFF2-40B4-BE49-F238E27FC236}">
                <a16:creationId xmlns:a16="http://schemas.microsoft.com/office/drawing/2014/main" id="{544896EA-EB0C-4EC6-8F02-8AF377D17331}"/>
              </a:ext>
            </a:extLst>
          </p:cNvPr>
          <p:cNvSpPr txBox="1"/>
          <p:nvPr/>
        </p:nvSpPr>
        <p:spPr>
          <a:xfrm>
            <a:off x="8260384" y="5815950"/>
            <a:ext cx="3093636" cy="4093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0" marR="0" lvl="0" indent="0" algn="just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C002E"/>
              </a:buClr>
              <a:buSzPct val="10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Reintegro coperture finanziarie nei successivi aggiornamenti</a:t>
            </a:r>
            <a:endParaRPr kumimoji="0" lang="it-IT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77" name="Immagine 76">
            <a:extLst>
              <a:ext uri="{FF2B5EF4-FFF2-40B4-BE49-F238E27FC236}">
                <a16:creationId xmlns:a16="http://schemas.microsoft.com/office/drawing/2014/main" id="{765A50A5-7A60-4B17-85C5-C9BD8A4268C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6363" t="12339" r="5709" b="10319"/>
          <a:stretch/>
        </p:blipFill>
        <p:spPr>
          <a:xfrm>
            <a:off x="7736269" y="5673457"/>
            <a:ext cx="532060" cy="468000"/>
          </a:xfrm>
          <a:prstGeom prst="rect">
            <a:avLst/>
          </a:prstGeom>
        </p:spPr>
      </p:pic>
      <p:pic>
        <p:nvPicPr>
          <p:cNvPr id="78" name="Immagine 77">
            <a:extLst>
              <a:ext uri="{FF2B5EF4-FFF2-40B4-BE49-F238E27FC236}">
                <a16:creationId xmlns:a16="http://schemas.microsoft.com/office/drawing/2014/main" id="{A92380F9-D28E-4A48-BEE1-69903D4AD6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77902" y="4040978"/>
            <a:ext cx="394465" cy="394465"/>
          </a:xfrm>
          <a:prstGeom prst="rect">
            <a:avLst/>
          </a:prstGeom>
        </p:spPr>
      </p:pic>
      <p:pic>
        <p:nvPicPr>
          <p:cNvPr id="79" name="Elemento grafico 78" descr="Contratto con riempimento a tinta unita">
            <a:extLst>
              <a:ext uri="{FF2B5EF4-FFF2-40B4-BE49-F238E27FC236}">
                <a16:creationId xmlns:a16="http://schemas.microsoft.com/office/drawing/2014/main" id="{7F151239-700B-40F9-9073-C833483D854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744597" y="5283431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772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>
            <a:extLst>
              <a:ext uri="{FF2B5EF4-FFF2-40B4-BE49-F238E27FC236}">
                <a16:creationId xmlns:a16="http://schemas.microsoft.com/office/drawing/2014/main" id="{E5355034-5801-AF32-2F8B-7AF7880C29E3}"/>
              </a:ext>
            </a:extLst>
          </p:cNvPr>
          <p:cNvSpPr/>
          <p:nvPr/>
        </p:nvSpPr>
        <p:spPr>
          <a:xfrm>
            <a:off x="90395" y="3751192"/>
            <a:ext cx="11282330" cy="6888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4D5EA3D9-220B-49D0-99ED-55446059D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011" y="0"/>
            <a:ext cx="11696131" cy="895927"/>
          </a:xfrm>
        </p:spPr>
        <p:txBody>
          <a:bodyPr/>
          <a:lstStyle/>
          <a:p>
            <a:r>
              <a:rPr lang="it-IT"/>
              <a:t>Agenda</a:t>
            </a:r>
          </a:p>
        </p:txBody>
      </p:sp>
      <p:sp>
        <p:nvSpPr>
          <p:cNvPr id="7" name="Segnaposto contenuto 1">
            <a:extLst>
              <a:ext uri="{FF2B5EF4-FFF2-40B4-BE49-F238E27FC236}">
                <a16:creationId xmlns:a16="http://schemas.microsoft.com/office/drawing/2014/main" id="{474E63C6-14CD-4B24-A0C7-9930810D10B2}"/>
              </a:ext>
            </a:extLst>
          </p:cNvPr>
          <p:cNvSpPr txBox="1">
            <a:spLocks/>
          </p:cNvSpPr>
          <p:nvPr/>
        </p:nvSpPr>
        <p:spPr>
          <a:xfrm>
            <a:off x="1218705" y="2132261"/>
            <a:ext cx="7052259" cy="1242006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Segnaposto contenuto 1">
            <a:extLst>
              <a:ext uri="{FF2B5EF4-FFF2-40B4-BE49-F238E27FC236}">
                <a16:creationId xmlns:a16="http://schemas.microsoft.com/office/drawing/2014/main" id="{5E0852D8-543C-4180-B48B-7F0896CCA38A}"/>
              </a:ext>
            </a:extLst>
          </p:cNvPr>
          <p:cNvSpPr txBox="1">
            <a:spLocks/>
          </p:cNvSpPr>
          <p:nvPr/>
        </p:nvSpPr>
        <p:spPr>
          <a:xfrm>
            <a:off x="963419" y="3063680"/>
            <a:ext cx="9445030" cy="828132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atti di Programma 2022-2026 parte Servizi e Investimenti</a:t>
            </a:r>
          </a:p>
        </p:txBody>
      </p:sp>
      <p:sp>
        <p:nvSpPr>
          <p:cNvPr id="22" name="Segnaposto contenuto 3">
            <a:extLst>
              <a:ext uri="{FF2B5EF4-FFF2-40B4-BE49-F238E27FC236}">
                <a16:creationId xmlns:a16="http://schemas.microsoft.com/office/drawing/2014/main" id="{0AD3F1CA-76C4-474A-8F46-80672306F0D2}"/>
              </a:ext>
            </a:extLst>
          </p:cNvPr>
          <p:cNvSpPr txBox="1">
            <a:spLocks/>
          </p:cNvSpPr>
          <p:nvPr/>
        </p:nvSpPr>
        <p:spPr>
          <a:xfrm>
            <a:off x="384670" y="3073997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20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2</a:t>
            </a:r>
          </a:p>
        </p:txBody>
      </p:sp>
      <p:sp>
        <p:nvSpPr>
          <p:cNvPr id="23" name="Segnaposto contenuto 1">
            <a:extLst>
              <a:ext uri="{FF2B5EF4-FFF2-40B4-BE49-F238E27FC236}">
                <a16:creationId xmlns:a16="http://schemas.microsoft.com/office/drawing/2014/main" id="{5E0852D8-543C-4180-B48B-7F0896CCA38A}"/>
              </a:ext>
            </a:extLst>
          </p:cNvPr>
          <p:cNvSpPr txBox="1">
            <a:spLocks/>
          </p:cNvSpPr>
          <p:nvPr/>
        </p:nvSpPr>
        <p:spPr>
          <a:xfrm>
            <a:off x="982390" y="2144588"/>
            <a:ext cx="9123841" cy="469026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sion, obiettivi e risultati conseguiti nel 2022</a:t>
            </a:r>
          </a:p>
        </p:txBody>
      </p:sp>
      <p:sp>
        <p:nvSpPr>
          <p:cNvPr id="24" name="Segnaposto contenuto 3">
            <a:extLst>
              <a:ext uri="{FF2B5EF4-FFF2-40B4-BE49-F238E27FC236}">
                <a16:creationId xmlns:a16="http://schemas.microsoft.com/office/drawing/2014/main" id="{0AD3F1CA-76C4-474A-8F46-80672306F0D2}"/>
              </a:ext>
            </a:extLst>
          </p:cNvPr>
          <p:cNvSpPr txBox="1">
            <a:spLocks/>
          </p:cNvSpPr>
          <p:nvPr/>
        </p:nvSpPr>
        <p:spPr>
          <a:xfrm>
            <a:off x="403641" y="2205908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20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1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12CAEA4-DFCA-64AE-C7F1-F6B8ECE793CC}"/>
              </a:ext>
            </a:extLst>
          </p:cNvPr>
          <p:cNvSpPr txBox="1">
            <a:spLocks/>
          </p:cNvSpPr>
          <p:nvPr/>
        </p:nvSpPr>
        <p:spPr>
          <a:xfrm>
            <a:off x="384670" y="3942087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20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3</a:t>
            </a:r>
          </a:p>
        </p:txBody>
      </p:sp>
      <p:sp>
        <p:nvSpPr>
          <p:cNvPr id="11" name="Segnaposto contenuto 1">
            <a:extLst>
              <a:ext uri="{FF2B5EF4-FFF2-40B4-BE49-F238E27FC236}">
                <a16:creationId xmlns:a16="http://schemas.microsoft.com/office/drawing/2014/main" id="{4B4813E0-F64C-47FE-86E6-D9933487DF15}"/>
              </a:ext>
            </a:extLst>
          </p:cNvPr>
          <p:cNvSpPr txBox="1">
            <a:spLocks/>
          </p:cNvSpPr>
          <p:nvPr/>
        </p:nvSpPr>
        <p:spPr>
          <a:xfrm>
            <a:off x="982390" y="3942087"/>
            <a:ext cx="10265162" cy="977839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baseline="0">
                <a:solidFill>
                  <a:schemeClr val="bg2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/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gge di Bilancio 2023: focus risorse </a:t>
            </a:r>
          </a:p>
        </p:txBody>
      </p:sp>
    </p:spTree>
    <p:extLst>
      <p:ext uri="{BB962C8B-B14F-4D97-AF65-F5344CB8AC3E}">
        <p14:creationId xmlns:p14="http://schemas.microsoft.com/office/powerpoint/2010/main" val="19535960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it-IT"/>
              <a:t>Legge di Bilancio 2023</a:t>
            </a:r>
            <a:endParaRPr lang="it-IT" sz="2400"/>
          </a:p>
        </p:txBody>
      </p:sp>
      <p:sp>
        <p:nvSpPr>
          <p:cNvPr id="3" name="Rettangolo 2"/>
          <p:cNvSpPr/>
          <p:nvPr/>
        </p:nvSpPr>
        <p:spPr>
          <a:xfrm>
            <a:off x="311428" y="893660"/>
            <a:ext cx="111932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Sulla  G.U.R.I. n. 303 del 29 dicembre 2022 è stata pubblicata la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Legge di Bilancio 2023 </a:t>
            </a: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(L. 29.12.2022 n. 197) - entrata in vigore in data 01/01/2023, di seguito gli elementi di interesse per il Gestore:</a:t>
            </a: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" name="Gruppo 19">
            <a:extLst>
              <a:ext uri="{FF2B5EF4-FFF2-40B4-BE49-F238E27FC236}">
                <a16:creationId xmlns:a16="http://schemas.microsoft.com/office/drawing/2014/main" id="{26376DF2-34AE-404D-A03F-DD822A639472}"/>
              </a:ext>
            </a:extLst>
          </p:cNvPr>
          <p:cNvGrpSpPr/>
          <p:nvPr/>
        </p:nvGrpSpPr>
        <p:grpSpPr>
          <a:xfrm>
            <a:off x="311428" y="1653699"/>
            <a:ext cx="11193234" cy="5168425"/>
            <a:chOff x="256755" y="1886299"/>
            <a:chExt cx="7794986" cy="5168425"/>
          </a:xfrm>
        </p:grpSpPr>
        <p:sp>
          <p:nvSpPr>
            <p:cNvPr id="29" name="Oval 62">
              <a:extLst>
                <a:ext uri="{FF2B5EF4-FFF2-40B4-BE49-F238E27FC236}">
                  <a16:creationId xmlns:a16="http://schemas.microsoft.com/office/drawing/2014/main" id="{8AE1E5E3-A480-7269-F2BA-DCEEBF1590F6}"/>
                </a:ext>
              </a:extLst>
            </p:cNvPr>
            <p:cNvSpPr/>
            <p:nvPr/>
          </p:nvSpPr>
          <p:spPr>
            <a:xfrm>
              <a:off x="7412655" y="2264142"/>
              <a:ext cx="624654" cy="611091"/>
            </a:xfrm>
            <a:prstGeom prst="ellipse">
              <a:avLst/>
            </a:prstGeom>
            <a:solidFill>
              <a:srgbClr val="D90000"/>
            </a:solidFill>
            <a:ln w="571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uppo 10">
              <a:extLst>
                <a:ext uri="{FF2B5EF4-FFF2-40B4-BE49-F238E27FC236}">
                  <a16:creationId xmlns:a16="http://schemas.microsoft.com/office/drawing/2014/main" id="{618A5913-067E-A8FC-8317-5D90AFDE870F}"/>
                </a:ext>
              </a:extLst>
            </p:cNvPr>
            <p:cNvGrpSpPr/>
            <p:nvPr/>
          </p:nvGrpSpPr>
          <p:grpSpPr>
            <a:xfrm>
              <a:off x="271467" y="1886299"/>
              <a:ext cx="3931283" cy="4490138"/>
              <a:chOff x="551584" y="1499959"/>
              <a:chExt cx="3031481" cy="2273816"/>
            </a:xfrm>
          </p:grpSpPr>
          <p:sp>
            <p:nvSpPr>
              <p:cNvPr id="12" name="Rectangle 88">
                <a:extLst>
                  <a:ext uri="{FF2B5EF4-FFF2-40B4-BE49-F238E27FC236}">
                    <a16:creationId xmlns:a16="http://schemas.microsoft.com/office/drawing/2014/main" id="{BD1AEE50-C648-7E61-CC73-CCC50DA6C324}"/>
                  </a:ext>
                </a:extLst>
              </p:cNvPr>
              <p:cNvSpPr/>
              <p:nvPr/>
            </p:nvSpPr>
            <p:spPr>
              <a:xfrm>
                <a:off x="551584" y="1590914"/>
                <a:ext cx="3031481" cy="218286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Rectangle 89">
                <a:extLst>
                  <a:ext uri="{FF2B5EF4-FFF2-40B4-BE49-F238E27FC236}">
                    <a16:creationId xmlns:a16="http://schemas.microsoft.com/office/drawing/2014/main" id="{5A65005F-5733-44AD-872F-0EF130A95B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3519" y="1499959"/>
                <a:ext cx="3008201" cy="229021"/>
              </a:xfrm>
              <a:prstGeom prst="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Rectangle 22">
                <a:extLst>
                  <a:ext uri="{FF2B5EF4-FFF2-40B4-BE49-F238E27FC236}">
                    <a16:creationId xmlns:a16="http://schemas.microsoft.com/office/drawing/2014/main" id="{6E5B8F5C-ED5C-8EDA-7860-157F6EE0D6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398" y="1677188"/>
                <a:ext cx="2951981" cy="950738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1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D90000"/>
                  </a:buClr>
                  <a:buSzTx/>
                  <a:buFontTx/>
                  <a:buNone/>
                  <a:tabLst/>
                  <a:defRPr/>
                </a:pPr>
                <a:endParaRPr kumimoji="0" lang="it-IT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271463" marR="5080" lvl="0" indent="-258763" algn="just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>
                    <a:tab pos="271463" algn="l"/>
                  </a:tabLst>
                  <a:defRPr/>
                </a:pP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CdP-S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: nuove risorse per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2.800 mln 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per attività di manutenzione straordinaria;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DC002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nessun rifinanziamento attività manutenzione ordinaria.</a:t>
                </a:r>
              </a:p>
              <a:p>
                <a:pPr marL="271463" marR="5080" lvl="0" indent="-258763" algn="just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>
                    <a:tab pos="271463" algn="l"/>
                  </a:tabLst>
                  <a:defRPr/>
                </a:pP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CdP-I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: nuove risorse per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circa 900 mln di euro 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destinate a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specifici interventi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;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DC002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nessun rifinanziamento per copertura affinamenti progettuali opere in corso.  </a:t>
                </a:r>
              </a:p>
            </p:txBody>
          </p:sp>
          <p:sp>
            <p:nvSpPr>
              <p:cNvPr id="16" name="Rectangle 99">
                <a:extLst>
                  <a:ext uri="{FF2B5EF4-FFF2-40B4-BE49-F238E27FC236}">
                    <a16:creationId xmlns:a16="http://schemas.microsoft.com/office/drawing/2014/main" id="{5F184BA0-7725-2B51-FFD2-CEBEB3949F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4791" y="1559616"/>
                <a:ext cx="2552868" cy="14027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1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D9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uove risorse</a:t>
                </a:r>
              </a:p>
            </p:txBody>
          </p:sp>
        </p:grpSp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id="{6C3FBE35-BA90-C7FE-EE84-828CE7C55668}"/>
                </a:ext>
              </a:extLst>
            </p:cNvPr>
            <p:cNvGrpSpPr/>
            <p:nvPr/>
          </p:nvGrpSpPr>
          <p:grpSpPr>
            <a:xfrm>
              <a:off x="4202751" y="1886745"/>
              <a:ext cx="3848990" cy="5167979"/>
              <a:chOff x="3672858" y="1416392"/>
              <a:chExt cx="3554117" cy="5567473"/>
            </a:xfrm>
          </p:grpSpPr>
          <p:sp>
            <p:nvSpPr>
              <p:cNvPr id="18" name="Rectangle 69">
                <a:extLst>
                  <a:ext uri="{FF2B5EF4-FFF2-40B4-BE49-F238E27FC236}">
                    <a16:creationId xmlns:a16="http://schemas.microsoft.com/office/drawing/2014/main" id="{CA4BDFAF-BA41-DC1E-AAD2-609EE09E8E34}"/>
                  </a:ext>
                </a:extLst>
              </p:cNvPr>
              <p:cNvSpPr/>
              <p:nvPr/>
            </p:nvSpPr>
            <p:spPr>
              <a:xfrm>
                <a:off x="3678390" y="1416392"/>
                <a:ext cx="3548585" cy="4874054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Rectangle 70">
                <a:extLst>
                  <a:ext uri="{FF2B5EF4-FFF2-40B4-BE49-F238E27FC236}">
                    <a16:creationId xmlns:a16="http://schemas.microsoft.com/office/drawing/2014/main" id="{BC909640-C093-D1C0-EB5E-C95C6BBA00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672858" y="1443429"/>
                <a:ext cx="3554032" cy="448275"/>
              </a:xfrm>
              <a:prstGeom prst="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Rectangle 23">
                <a:extLst>
                  <a:ext uri="{FF2B5EF4-FFF2-40B4-BE49-F238E27FC236}">
                    <a16:creationId xmlns:a16="http://schemas.microsoft.com/office/drawing/2014/main" id="{34C34D11-1910-BD15-F4A2-DDE50BCDD8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43168" y="2109811"/>
                <a:ext cx="3403635" cy="487405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171450" marR="0" lvl="0" indent="-17145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/>
                  <a:defRPr/>
                </a:pP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ondo per 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DC002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’AVVIO delle opere indifferibili </a:t>
                </a: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(art. 26, comma 7 del DL 50/2022): viene rifinanziato e prorogato per fronteggiare l’aumento del costo dei materiali relativo alle 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pere PNRR, PNC, Commissari e altro </a:t>
                </a: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a avviare dal 1/1/2023 al 31/12/2023, 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er complessivi 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DC002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0 miliardi </a:t>
                </a: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(Commi 369-379);</a:t>
                </a:r>
              </a:p>
              <a:p>
                <a:pPr marL="171450" marR="0" lvl="0" indent="-17145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/>
                  <a:defRPr/>
                </a:pPr>
                <a:endParaRPr kumimoji="0" lang="it-IT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71450" marR="0" lvl="0" indent="-17145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/>
                  <a:defRPr/>
                </a:pP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Viene </a:t>
                </a: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ifinanziato e prorogato il </a:t>
                </a: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ondo per la </a:t>
                </a: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DC002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ROSECUZIONE delle opere pubbliche</a:t>
                </a: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DC002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</a:t>
                </a: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i cui all’art. 7, comma 1, DL 76/2020 per fronteggiare l’aumento del costo dei materiali in relazione agli appalti pubblici di lavori in corso per opere PNRR, PNC, Commissari e altro, aggiudicati sulla base di offerte con termine finale di presentazione entro il 31/12/2022, </a:t>
                </a: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DC002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er 1.100 milioni di euro per il 2023 e 500 per il 2024 </a:t>
                </a: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(Comma 458).</a:t>
                </a:r>
              </a:p>
              <a:p>
                <a:pPr marL="171450" marR="0" lvl="0" indent="-17145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tabLst/>
                  <a:defRPr/>
                </a:pPr>
                <a:endPara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Rectangle 98">
                <a:extLst>
                  <a:ext uri="{FF2B5EF4-FFF2-40B4-BE49-F238E27FC236}">
                    <a16:creationId xmlns:a16="http://schemas.microsoft.com/office/drawing/2014/main" id="{32E41C8E-A2F2-14B9-9D5A-4CAC71B752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42457" y="1462611"/>
                <a:ext cx="2881004" cy="298412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1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D9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ifinanziamento fondi caro prezzi</a:t>
                </a:r>
              </a:p>
            </p:txBody>
          </p:sp>
        </p:grpSp>
        <p:grpSp>
          <p:nvGrpSpPr>
            <p:cNvPr id="32" name="Gruppo 10">
              <a:extLst>
                <a:ext uri="{FF2B5EF4-FFF2-40B4-BE49-F238E27FC236}">
                  <a16:creationId xmlns:a16="http://schemas.microsoft.com/office/drawing/2014/main" id="{618A5913-067E-A8FC-8317-5D90AFDE870F}"/>
                </a:ext>
              </a:extLst>
            </p:cNvPr>
            <p:cNvGrpSpPr/>
            <p:nvPr/>
          </p:nvGrpSpPr>
          <p:grpSpPr>
            <a:xfrm>
              <a:off x="256755" y="1886299"/>
              <a:ext cx="3931283" cy="4524316"/>
              <a:chOff x="540239" y="1499959"/>
              <a:chExt cx="3031481" cy="2291124"/>
            </a:xfrm>
          </p:grpSpPr>
          <p:sp>
            <p:nvSpPr>
              <p:cNvPr id="26" name="Rectangle 88">
                <a:extLst>
                  <a:ext uri="{FF2B5EF4-FFF2-40B4-BE49-F238E27FC236}">
                    <a16:creationId xmlns:a16="http://schemas.microsoft.com/office/drawing/2014/main" id="{BD1AEE50-C648-7E61-CC73-CCC50DA6C324}"/>
                  </a:ext>
                </a:extLst>
              </p:cNvPr>
              <p:cNvSpPr/>
              <p:nvPr/>
            </p:nvSpPr>
            <p:spPr>
              <a:xfrm>
                <a:off x="540239" y="1608222"/>
                <a:ext cx="3031481" cy="2182861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Rectangle 89">
                <a:extLst>
                  <a:ext uri="{FF2B5EF4-FFF2-40B4-BE49-F238E27FC236}">
                    <a16:creationId xmlns:a16="http://schemas.microsoft.com/office/drawing/2014/main" id="{5A65005F-5733-44AD-872F-0EF130A95B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3519" y="1499959"/>
                <a:ext cx="3008201" cy="229021"/>
              </a:xfrm>
              <a:prstGeom prst="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Rectangle 22">
                <a:extLst>
                  <a:ext uri="{FF2B5EF4-FFF2-40B4-BE49-F238E27FC236}">
                    <a16:creationId xmlns:a16="http://schemas.microsoft.com/office/drawing/2014/main" id="{6E5B8F5C-ED5C-8EDA-7860-157F6EE0D6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398" y="1677188"/>
                <a:ext cx="2951981" cy="950738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1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D90000"/>
                  </a:buClr>
                  <a:buSzTx/>
                  <a:buFontTx/>
                  <a:buNone/>
                  <a:tabLst/>
                  <a:defRPr/>
                </a:pPr>
                <a:endParaRPr kumimoji="0" lang="it-IT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271463" marR="5080" lvl="0" indent="-258763" algn="just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>
                    <a:tab pos="271463" algn="l"/>
                  </a:tabLst>
                  <a:defRPr/>
                </a:pP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CdP-S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: nuove risorse per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2.800 mln 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per attività di manutenzione straordinaria;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nessun rifinanziamento attività manutenzione ordinaria.</a:t>
                </a:r>
              </a:p>
              <a:p>
                <a:pPr marL="271463" marR="5080" lvl="0" indent="-258763" algn="just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>
                    <a:tab pos="271463" algn="l"/>
                  </a:tabLst>
                  <a:defRPr/>
                </a:pP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CdP-I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: nuove risorse per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circa 900 mln di euro 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destinate a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specifici interventi</a:t>
                </a:r>
                <a:r>
                  <a:rPr kumimoji="0" lang="it-IT" sz="1600" b="0" i="0" u="none" strike="noStrike" kern="1200" cap="none" spc="-7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; </a:t>
                </a:r>
                <a:r>
                  <a:rPr kumimoji="0" lang="it-IT" sz="1600" b="1" i="0" u="none" strike="noStrike" kern="1200" cap="none" spc="-7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rPr>
                  <a:t>nessun rifinanziamento per copertura affinamenti progettuali opere in corso.  </a:t>
                </a:r>
              </a:p>
            </p:txBody>
          </p:sp>
          <p:sp>
            <p:nvSpPr>
              <p:cNvPr id="30" name="Rectangle 99">
                <a:extLst>
                  <a:ext uri="{FF2B5EF4-FFF2-40B4-BE49-F238E27FC236}">
                    <a16:creationId xmlns:a16="http://schemas.microsoft.com/office/drawing/2014/main" id="{5F184BA0-7725-2B51-FFD2-CEBEB3949F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4791" y="1559616"/>
                <a:ext cx="2552868" cy="140273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1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D9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uove risorse</a:t>
                </a:r>
              </a:p>
            </p:txBody>
          </p:sp>
        </p:grpSp>
        <p:grpSp>
          <p:nvGrpSpPr>
            <p:cNvPr id="37" name="Gruppo 16">
              <a:extLst>
                <a:ext uri="{FF2B5EF4-FFF2-40B4-BE49-F238E27FC236}">
                  <a16:creationId xmlns:a16="http://schemas.microsoft.com/office/drawing/2014/main" id="{6C3FBE35-BA90-C7FE-EE84-828CE7C55668}"/>
                </a:ext>
              </a:extLst>
            </p:cNvPr>
            <p:cNvGrpSpPr/>
            <p:nvPr/>
          </p:nvGrpSpPr>
          <p:grpSpPr>
            <a:xfrm>
              <a:off x="4202751" y="1886745"/>
              <a:ext cx="3848990" cy="5167979"/>
              <a:chOff x="3672858" y="1416392"/>
              <a:chExt cx="3554117" cy="5567473"/>
            </a:xfrm>
          </p:grpSpPr>
          <p:sp>
            <p:nvSpPr>
              <p:cNvPr id="33" name="Rectangle 69">
                <a:extLst>
                  <a:ext uri="{FF2B5EF4-FFF2-40B4-BE49-F238E27FC236}">
                    <a16:creationId xmlns:a16="http://schemas.microsoft.com/office/drawing/2014/main" id="{CA4BDFAF-BA41-DC1E-AAD2-609EE09E8E34}"/>
                  </a:ext>
                </a:extLst>
              </p:cNvPr>
              <p:cNvSpPr/>
              <p:nvPr/>
            </p:nvSpPr>
            <p:spPr>
              <a:xfrm>
                <a:off x="3678390" y="1416392"/>
                <a:ext cx="3548585" cy="4874054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Rectangle 70">
                <a:extLst>
                  <a:ext uri="{FF2B5EF4-FFF2-40B4-BE49-F238E27FC236}">
                    <a16:creationId xmlns:a16="http://schemas.microsoft.com/office/drawing/2014/main" id="{BC909640-C093-D1C0-EB5E-C95C6BBA00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672858" y="1443429"/>
                <a:ext cx="3554032" cy="448275"/>
              </a:xfrm>
              <a:prstGeom prst="rect">
                <a:avLst/>
              </a:prstGeom>
              <a:solidFill>
                <a:srgbClr val="00666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Rectangle 23">
                <a:extLst>
                  <a:ext uri="{FF2B5EF4-FFF2-40B4-BE49-F238E27FC236}">
                    <a16:creationId xmlns:a16="http://schemas.microsoft.com/office/drawing/2014/main" id="{34C34D11-1910-BD15-F4A2-DDE50BCDD8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43168" y="2109811"/>
                <a:ext cx="3403635" cy="487405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171450" marR="0" lvl="0" indent="-17145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/>
                  <a:defRPr/>
                </a:pP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ondo per 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’AVVIO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delle opere indifferibili </a:t>
                </a: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(art. 26, comma 7 del DL 50/2022): viene rifinanziato e prorogato per fronteggiare l’aumento del costo dei materiali relativo alle 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pere PNRR, PNC, Commissari e altro </a:t>
                </a: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a avviare dal 1/1/2023 al 31/12/2023, 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er complessivi </a:t>
                </a:r>
                <a:r>
                  <a:rPr kumimoji="0" lang="it-IT" sz="1600" b="1" i="0" u="none" strike="noStrike" kern="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0 miliardi </a:t>
                </a: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(Commi 369-379);</a:t>
                </a:r>
              </a:p>
              <a:p>
                <a:pPr marL="171450" marR="0" lvl="0" indent="-17145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/>
                  <a:defRPr/>
                </a:pPr>
                <a:endParaRPr kumimoji="0" lang="it-IT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71450" marR="0" lvl="0" indent="-17145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ü"/>
                  <a:tabLst/>
                  <a:defRPr/>
                </a:pP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Viene </a:t>
                </a: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ifinanziato e prorogato il </a:t>
                </a: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ondo per la </a:t>
                </a: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ROSECUZIONE</a:t>
                </a: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delle opere pubbliche</a:t>
                </a:r>
                <a:r>
                  <a:rPr kumimoji="0" lang="it-IT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di cui all’art. 7, comma 1, DL 76/2020 per fronteggiare l’aumento del costo dei materiali in relazione agli appalti pubblici di lavori in corso per opere PNRR, PNC, Commissari e altro, aggiudicati sulla base di offerte con termine finale di presentazione entro il 31/12/2022, </a:t>
                </a:r>
                <a:r>
                  <a:rPr kumimoji="0" lang="it-IT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er 1.100 milioni di euro per il 2023 e 500 per il 2024 </a:t>
                </a:r>
                <a:r>
                  <a:rPr kumimoji="0" lang="it-IT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(Comma 458).</a:t>
                </a:r>
              </a:p>
              <a:p>
                <a:pPr marL="171450" marR="0" lvl="0" indent="-17145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q"/>
                  <a:tabLst/>
                  <a:defRPr/>
                </a:pPr>
                <a:endParaRPr kumimoji="0" lang="it-IT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just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Rectangle 98">
                <a:extLst>
                  <a:ext uri="{FF2B5EF4-FFF2-40B4-BE49-F238E27FC236}">
                    <a16:creationId xmlns:a16="http://schemas.microsoft.com/office/drawing/2014/main" id="{32E41C8E-A2F2-14B9-9D5A-4CAC71B752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42457" y="1462611"/>
                <a:ext cx="2881004" cy="298412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1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D9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it-IT" sz="18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ifinanziamento fondi caro prezzi</a:t>
                </a:r>
              </a:p>
            </p:txBody>
          </p:sp>
        </p:grpSp>
      </p:grpSp>
      <p:pic>
        <p:nvPicPr>
          <p:cNvPr id="31" name="Immagine 30">
            <a:extLst>
              <a:ext uri="{FF2B5EF4-FFF2-40B4-BE49-F238E27FC236}">
                <a16:creationId xmlns:a16="http://schemas.microsoft.com/office/drawing/2014/main" id="{3024A55A-905C-566C-AF5C-DE4C69E2C2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70291" y="1627010"/>
            <a:ext cx="465146" cy="456765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A141972A-5249-E32E-12E1-89B05E9619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8639" y="1627838"/>
            <a:ext cx="528437" cy="518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4988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10577710" y="2771073"/>
            <a:ext cx="1152244" cy="865707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10550212" y="4429692"/>
            <a:ext cx="1097375" cy="896190"/>
          </a:xfrm>
          <a:prstGeom prst="rect">
            <a:avLst/>
          </a:prstGeom>
        </p:spPr>
      </p:pic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407368" y="-270489"/>
            <a:ext cx="11176620" cy="866367"/>
          </a:xfrm>
        </p:spPr>
        <p:txBody>
          <a:bodyPr/>
          <a:lstStyle/>
          <a:p>
            <a:r>
              <a:rPr lang="it-IT" dirty="0"/>
              <a:t>Focus nuove risorse finanziarie su IFN da Legge di Bilancio 2023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idx="13"/>
          </p:nvPr>
        </p:nvSpPr>
        <p:spPr>
          <a:xfrm>
            <a:off x="407368" y="595878"/>
            <a:ext cx="11176620" cy="390933"/>
          </a:xfrm>
        </p:spPr>
        <p:txBody>
          <a:bodyPr>
            <a:normAutofit/>
          </a:bodyPr>
          <a:lstStyle/>
          <a:p>
            <a:r>
              <a:rPr lang="it-IT"/>
              <a:t>Le risorse da contrattualizzare nell’aggiornamento dei Contratti di Programma</a:t>
            </a:r>
          </a:p>
        </p:txBody>
      </p:sp>
      <p:sp>
        <p:nvSpPr>
          <p:cNvPr id="38" name="Rettangolo 37"/>
          <p:cNvSpPr/>
          <p:nvPr/>
        </p:nvSpPr>
        <p:spPr>
          <a:xfrm>
            <a:off x="10090617" y="985603"/>
            <a:ext cx="2016563" cy="23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ln di €</a:t>
            </a:r>
          </a:p>
        </p:txBody>
      </p:sp>
      <p:sp>
        <p:nvSpPr>
          <p:cNvPr id="51" name="Rettangolo 50"/>
          <p:cNvSpPr/>
          <p:nvPr/>
        </p:nvSpPr>
        <p:spPr>
          <a:xfrm>
            <a:off x="535069" y="1970807"/>
            <a:ext cx="2392048" cy="7711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ZIONE NAZIONALE LINEA TORINO-LI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gge di Bilancio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.7532 MIT (commi 507-508)</a:t>
            </a:r>
          </a:p>
        </p:txBody>
      </p:sp>
      <p:sp>
        <p:nvSpPr>
          <p:cNvPr id="52" name="Rettangolo 51"/>
          <p:cNvSpPr/>
          <p:nvPr/>
        </p:nvSpPr>
        <p:spPr>
          <a:xfrm>
            <a:off x="545242" y="2930754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50</a:t>
            </a:r>
          </a:p>
        </p:txBody>
      </p:sp>
      <p:sp>
        <p:nvSpPr>
          <p:cNvPr id="271" name="Rettangolo 270"/>
          <p:cNvSpPr/>
          <p:nvPr/>
        </p:nvSpPr>
        <p:spPr>
          <a:xfrm>
            <a:off x="3162575" y="4062039"/>
            <a:ext cx="2827194" cy="8323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DO DI GENOVA- Riqualificazi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gge di Bilancio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cap.7518 MIT - - Progetto unico nodo di Genova e Terzo valico dei Giovi)</a:t>
            </a:r>
          </a:p>
        </p:txBody>
      </p:sp>
      <p:sp>
        <p:nvSpPr>
          <p:cNvPr id="272" name="Rettangolo 271"/>
          <p:cNvSpPr/>
          <p:nvPr/>
        </p:nvSpPr>
        <p:spPr>
          <a:xfrm>
            <a:off x="3194582" y="5134384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0</a:t>
            </a:r>
          </a:p>
        </p:txBody>
      </p:sp>
      <p:sp>
        <p:nvSpPr>
          <p:cNvPr id="387" name="Rettangolo 386"/>
          <p:cNvSpPr/>
          <p:nvPr/>
        </p:nvSpPr>
        <p:spPr>
          <a:xfrm>
            <a:off x="6052244" y="4062039"/>
            <a:ext cx="2474586" cy="7262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NEA CHIASSO MONZ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ettazione interventi MOU Direttrice Gottar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comma 517)</a:t>
            </a:r>
          </a:p>
        </p:txBody>
      </p:sp>
      <p:sp>
        <p:nvSpPr>
          <p:cNvPr id="388" name="Rettangolo 387"/>
          <p:cNvSpPr/>
          <p:nvPr/>
        </p:nvSpPr>
        <p:spPr>
          <a:xfrm>
            <a:off x="6070474" y="5134384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</a:t>
            </a:r>
          </a:p>
        </p:txBody>
      </p:sp>
      <p:cxnSp>
        <p:nvCxnSpPr>
          <p:cNvPr id="236" name="Connettore diritto 235">
            <a:extLst>
              <a:ext uri="{FF2B5EF4-FFF2-40B4-BE49-F238E27FC236}">
                <a16:creationId xmlns:a16="http://schemas.microsoft.com/office/drawing/2014/main" id="{9E289A48-B77B-4CDD-9CF8-206404B320B7}"/>
              </a:ext>
            </a:extLst>
          </p:cNvPr>
          <p:cNvCxnSpPr>
            <a:cxnSpLocks/>
          </p:cNvCxnSpPr>
          <p:nvPr/>
        </p:nvCxnSpPr>
        <p:spPr>
          <a:xfrm>
            <a:off x="482686" y="1979456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Connettore diritto 244">
            <a:extLst>
              <a:ext uri="{FF2B5EF4-FFF2-40B4-BE49-F238E27FC236}">
                <a16:creationId xmlns:a16="http://schemas.microsoft.com/office/drawing/2014/main" id="{8C3709D2-B3C1-4EA0-AA7D-871CA88D6142}"/>
              </a:ext>
            </a:extLst>
          </p:cNvPr>
          <p:cNvCxnSpPr>
            <a:cxnSpLocks/>
          </p:cNvCxnSpPr>
          <p:nvPr/>
        </p:nvCxnSpPr>
        <p:spPr>
          <a:xfrm>
            <a:off x="3185336" y="4012302"/>
            <a:ext cx="2664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Connettore diritto 250">
            <a:extLst>
              <a:ext uri="{FF2B5EF4-FFF2-40B4-BE49-F238E27FC236}">
                <a16:creationId xmlns:a16="http://schemas.microsoft.com/office/drawing/2014/main" id="{45ECA5FE-7D0F-4FF5-9EAF-AD3E82E760C5}"/>
              </a:ext>
            </a:extLst>
          </p:cNvPr>
          <p:cNvCxnSpPr>
            <a:cxnSpLocks/>
          </p:cNvCxnSpPr>
          <p:nvPr/>
        </p:nvCxnSpPr>
        <p:spPr>
          <a:xfrm>
            <a:off x="432464" y="4012302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Rettangolo 252">
            <a:extLst>
              <a:ext uri="{FF2B5EF4-FFF2-40B4-BE49-F238E27FC236}">
                <a16:creationId xmlns:a16="http://schemas.microsoft.com/office/drawing/2014/main" id="{49E54A86-DBC2-472F-B5BE-B2FAE70AEFF4}"/>
              </a:ext>
            </a:extLst>
          </p:cNvPr>
          <p:cNvSpPr/>
          <p:nvPr/>
        </p:nvSpPr>
        <p:spPr>
          <a:xfrm>
            <a:off x="435850" y="5134384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</a:t>
            </a:r>
          </a:p>
        </p:txBody>
      </p:sp>
      <p:cxnSp>
        <p:nvCxnSpPr>
          <p:cNvPr id="255" name="Connettore diritto 254">
            <a:extLst>
              <a:ext uri="{FF2B5EF4-FFF2-40B4-BE49-F238E27FC236}">
                <a16:creationId xmlns:a16="http://schemas.microsoft.com/office/drawing/2014/main" id="{50CCA72C-7BDE-4BF2-8891-D53E834FF326}"/>
              </a:ext>
            </a:extLst>
          </p:cNvPr>
          <p:cNvCxnSpPr>
            <a:cxnSpLocks/>
          </p:cNvCxnSpPr>
          <p:nvPr/>
        </p:nvCxnSpPr>
        <p:spPr>
          <a:xfrm>
            <a:off x="3243805" y="1979456"/>
            <a:ext cx="2700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Rettangolo 256">
            <a:extLst>
              <a:ext uri="{FF2B5EF4-FFF2-40B4-BE49-F238E27FC236}">
                <a16:creationId xmlns:a16="http://schemas.microsoft.com/office/drawing/2014/main" id="{68311FAE-34E7-4E2B-AA20-E8B67B966888}"/>
              </a:ext>
            </a:extLst>
          </p:cNvPr>
          <p:cNvSpPr/>
          <p:nvPr/>
        </p:nvSpPr>
        <p:spPr>
          <a:xfrm>
            <a:off x="3237090" y="2930754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,85</a:t>
            </a:r>
          </a:p>
        </p:txBody>
      </p:sp>
      <p:cxnSp>
        <p:nvCxnSpPr>
          <p:cNvPr id="261" name="Connettore diritto 260">
            <a:extLst>
              <a:ext uri="{FF2B5EF4-FFF2-40B4-BE49-F238E27FC236}">
                <a16:creationId xmlns:a16="http://schemas.microsoft.com/office/drawing/2014/main" id="{AC6A63BD-EF32-4040-8F8C-564AD4ED24F1}"/>
              </a:ext>
            </a:extLst>
          </p:cNvPr>
          <p:cNvCxnSpPr>
            <a:cxnSpLocks/>
          </p:cNvCxnSpPr>
          <p:nvPr/>
        </p:nvCxnSpPr>
        <p:spPr>
          <a:xfrm>
            <a:off x="9040807" y="1988105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Connettore diritto 261">
            <a:extLst>
              <a:ext uri="{FF2B5EF4-FFF2-40B4-BE49-F238E27FC236}">
                <a16:creationId xmlns:a16="http://schemas.microsoft.com/office/drawing/2014/main" id="{3FD27BA8-04C2-4CB3-B20F-76C28EBA1FCA}"/>
              </a:ext>
            </a:extLst>
          </p:cNvPr>
          <p:cNvCxnSpPr>
            <a:cxnSpLocks/>
          </p:cNvCxnSpPr>
          <p:nvPr/>
        </p:nvCxnSpPr>
        <p:spPr>
          <a:xfrm>
            <a:off x="6036851" y="4012302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ttangolo 216"/>
          <p:cNvSpPr/>
          <p:nvPr/>
        </p:nvSpPr>
        <p:spPr>
          <a:xfrm>
            <a:off x="421335" y="1380637"/>
            <a:ext cx="2485410" cy="333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ORSE CERTE</a:t>
            </a: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11" name="Gruppo 210"/>
          <p:cNvGrpSpPr/>
          <p:nvPr/>
        </p:nvGrpSpPr>
        <p:grpSpPr>
          <a:xfrm>
            <a:off x="4529489" y="5988865"/>
            <a:ext cx="4892065" cy="507527"/>
            <a:chOff x="9273743" y="5737502"/>
            <a:chExt cx="2710248" cy="669272"/>
          </a:xfrm>
        </p:grpSpPr>
        <p:sp>
          <p:nvSpPr>
            <p:cNvPr id="216" name="Rettangolo 215"/>
            <p:cNvSpPr/>
            <p:nvPr/>
          </p:nvSpPr>
          <p:spPr>
            <a:xfrm>
              <a:off x="9273743" y="5737502"/>
              <a:ext cx="2710248" cy="6692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TALE RISORSE DA CONTRATTUALIZZARE</a:t>
              </a:r>
            </a:p>
          </p:txBody>
        </p:sp>
        <p:sp>
          <p:nvSpPr>
            <p:cNvPr id="219" name="Rettangolo 218"/>
            <p:cNvSpPr/>
            <p:nvPr/>
          </p:nvSpPr>
          <p:spPr>
            <a:xfrm>
              <a:off x="9649939" y="5782361"/>
              <a:ext cx="1981786" cy="54437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1" i="0" u="none" strike="noStrike" kern="1200" cap="none" spc="0" normalizeH="0" baseline="0" noProof="0">
                  <a:ln>
                    <a:noFill/>
                  </a:ln>
                  <a:solidFill>
                    <a:srgbClr val="008E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.700</a:t>
              </a:r>
            </a:p>
          </p:txBody>
        </p:sp>
      </p:grpSp>
      <p:pic>
        <p:nvPicPr>
          <p:cNvPr id="2" name="Immagine 1">
            <a:extLst>
              <a:ext uri="{FF2B5EF4-FFF2-40B4-BE49-F238E27FC236}">
                <a16:creationId xmlns:a16="http://schemas.microsoft.com/office/drawing/2014/main" id="{394F192D-7434-40F7-B7FA-7E7036B3FBD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lum bright="70000" contrast="-70000"/>
          </a:blip>
          <a:srcRect l="18962" t="41114" r="65887" b="18742"/>
          <a:stretch/>
        </p:blipFill>
        <p:spPr>
          <a:xfrm>
            <a:off x="4942265" y="4980826"/>
            <a:ext cx="541608" cy="772710"/>
          </a:xfrm>
          <a:prstGeom prst="rect">
            <a:avLst/>
          </a:prstGeom>
        </p:spPr>
      </p:pic>
      <p:sp>
        <p:nvSpPr>
          <p:cNvPr id="239" name="Rettangolo 238">
            <a:extLst>
              <a:ext uri="{FF2B5EF4-FFF2-40B4-BE49-F238E27FC236}">
                <a16:creationId xmlns:a16="http://schemas.microsoft.com/office/drawing/2014/main" id="{7F3B0714-1809-4D6F-BBB1-0F37F7A7E869}"/>
              </a:ext>
            </a:extLst>
          </p:cNvPr>
          <p:cNvSpPr/>
          <p:nvPr/>
        </p:nvSpPr>
        <p:spPr>
          <a:xfrm>
            <a:off x="380894" y="4062039"/>
            <a:ext cx="2745596" cy="8356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VILUPPO AREA PIEMONTE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remento costo material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comma 518, cap.7518 MIT - Progetto unico nodo di Genova e Terzo valico dei Giovi)</a:t>
            </a:r>
          </a:p>
        </p:txBody>
      </p:sp>
      <p:grpSp>
        <p:nvGrpSpPr>
          <p:cNvPr id="240" name="Gruppo 384">
            <a:extLst>
              <a:ext uri="{FF2B5EF4-FFF2-40B4-BE49-F238E27FC236}">
                <a16:creationId xmlns:a16="http://schemas.microsoft.com/office/drawing/2014/main" id="{644DECFA-002C-4D5B-8603-33C531919F5E}"/>
              </a:ext>
            </a:extLst>
          </p:cNvPr>
          <p:cNvGrpSpPr>
            <a:grpSpLocks/>
          </p:cNvGrpSpPr>
          <p:nvPr/>
        </p:nvGrpSpPr>
        <p:grpSpPr bwMode="auto">
          <a:xfrm>
            <a:off x="2223092" y="4953942"/>
            <a:ext cx="645241" cy="826480"/>
            <a:chOff x="6030758" y="980464"/>
            <a:chExt cx="5107083" cy="5839233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241" name="Figura a mano libera 389">
              <a:extLst>
                <a:ext uri="{FF2B5EF4-FFF2-40B4-BE49-F238E27FC236}">
                  <a16:creationId xmlns:a16="http://schemas.microsoft.com/office/drawing/2014/main" id="{A268CCD3-A524-48F2-A49E-75D8EA0C2B7B}"/>
                </a:ext>
              </a:extLst>
            </p:cNvPr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igura a mano libera 390">
              <a:extLst>
                <a:ext uri="{FF2B5EF4-FFF2-40B4-BE49-F238E27FC236}">
                  <a16:creationId xmlns:a16="http://schemas.microsoft.com/office/drawing/2014/main" id="{C51625D9-AF9B-49EA-A73B-E4CAB55A95D2}"/>
                </a:ext>
              </a:extLst>
            </p:cNvPr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igura a mano libera 391">
              <a:extLst>
                <a:ext uri="{FF2B5EF4-FFF2-40B4-BE49-F238E27FC236}">
                  <a16:creationId xmlns:a16="http://schemas.microsoft.com/office/drawing/2014/main" id="{058FADAE-3999-4D5F-8314-914B438D43E7}"/>
                </a:ext>
              </a:extLst>
            </p:cNvPr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igura a mano libera 392">
              <a:extLst>
                <a:ext uri="{FF2B5EF4-FFF2-40B4-BE49-F238E27FC236}">
                  <a16:creationId xmlns:a16="http://schemas.microsoft.com/office/drawing/2014/main" id="{1A48B725-A065-4805-9856-F8E2AAFDF4F8}"/>
                </a:ext>
              </a:extLst>
            </p:cNvPr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igura a mano libera 393">
              <a:extLst>
                <a:ext uri="{FF2B5EF4-FFF2-40B4-BE49-F238E27FC236}">
                  <a16:creationId xmlns:a16="http://schemas.microsoft.com/office/drawing/2014/main" id="{0C935F33-5243-430D-88A4-89FDA1C84EA8}"/>
                </a:ext>
              </a:extLst>
            </p:cNvPr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igura a mano libera 394">
              <a:extLst>
                <a:ext uri="{FF2B5EF4-FFF2-40B4-BE49-F238E27FC236}">
                  <a16:creationId xmlns:a16="http://schemas.microsoft.com/office/drawing/2014/main" id="{302A1A4C-D64B-46C1-8BC9-C1FCBF259168}"/>
                </a:ext>
              </a:extLst>
            </p:cNvPr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igura a mano libera 395">
              <a:extLst>
                <a:ext uri="{FF2B5EF4-FFF2-40B4-BE49-F238E27FC236}">
                  <a16:creationId xmlns:a16="http://schemas.microsoft.com/office/drawing/2014/main" id="{8494B4FA-8476-4A50-AA3E-994B0B12BEDB}"/>
                </a:ext>
              </a:extLst>
            </p:cNvPr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igura a mano libera 396">
              <a:extLst>
                <a:ext uri="{FF2B5EF4-FFF2-40B4-BE49-F238E27FC236}">
                  <a16:creationId xmlns:a16="http://schemas.microsoft.com/office/drawing/2014/main" id="{5B4E473A-A6D7-4385-9BA5-9D0E6D773FAC}"/>
                </a:ext>
              </a:extLst>
            </p:cNvPr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igura a mano libera 397">
              <a:extLst>
                <a:ext uri="{FF2B5EF4-FFF2-40B4-BE49-F238E27FC236}">
                  <a16:creationId xmlns:a16="http://schemas.microsoft.com/office/drawing/2014/main" id="{3A788EA5-44F0-4CBE-8611-2350D515FACC}"/>
                </a:ext>
              </a:extLst>
            </p:cNvPr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igura a mano libera 398">
              <a:extLst>
                <a:ext uri="{FF2B5EF4-FFF2-40B4-BE49-F238E27FC236}">
                  <a16:creationId xmlns:a16="http://schemas.microsoft.com/office/drawing/2014/main" id="{4DF2500C-08BC-4FCE-A5EA-943FCD9A7BEF}"/>
                </a:ext>
              </a:extLst>
            </p:cNvPr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Figura a mano libera 399">
              <a:extLst>
                <a:ext uri="{FF2B5EF4-FFF2-40B4-BE49-F238E27FC236}">
                  <a16:creationId xmlns:a16="http://schemas.microsoft.com/office/drawing/2014/main" id="{FCCDDD79-52DB-41C2-AC09-AAF6D4B76403}"/>
                </a:ext>
              </a:extLst>
            </p:cNvPr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igura a mano libera 400">
              <a:extLst>
                <a:ext uri="{FF2B5EF4-FFF2-40B4-BE49-F238E27FC236}">
                  <a16:creationId xmlns:a16="http://schemas.microsoft.com/office/drawing/2014/main" id="{3C41B502-A4B3-4053-A1AC-F65FA26F4FB6}"/>
                </a:ext>
              </a:extLst>
            </p:cNvPr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solidFill>
              <a:schemeClr val="tx2"/>
            </a:solidFill>
            <a:ln w="9525">
              <a:noFill/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igura a mano libera 401">
              <a:extLst>
                <a:ext uri="{FF2B5EF4-FFF2-40B4-BE49-F238E27FC236}">
                  <a16:creationId xmlns:a16="http://schemas.microsoft.com/office/drawing/2014/main" id="{EBE0A713-AE29-48FD-AC75-2FDC2D760660}"/>
                </a:ext>
              </a:extLst>
            </p:cNvPr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igura a mano libera 402">
              <a:extLst>
                <a:ext uri="{FF2B5EF4-FFF2-40B4-BE49-F238E27FC236}">
                  <a16:creationId xmlns:a16="http://schemas.microsoft.com/office/drawing/2014/main" id="{82EB8812-5EBF-4018-9799-6F8794B38483}"/>
                </a:ext>
              </a:extLst>
            </p:cNvPr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igura a mano libera 403">
              <a:extLst>
                <a:ext uri="{FF2B5EF4-FFF2-40B4-BE49-F238E27FC236}">
                  <a16:creationId xmlns:a16="http://schemas.microsoft.com/office/drawing/2014/main" id="{37BCCC71-EE85-467E-BEE2-132C83B0B2B3}"/>
                </a:ext>
              </a:extLst>
            </p:cNvPr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igura a mano libera 404">
              <a:extLst>
                <a:ext uri="{FF2B5EF4-FFF2-40B4-BE49-F238E27FC236}">
                  <a16:creationId xmlns:a16="http://schemas.microsoft.com/office/drawing/2014/main" id="{ADD8FDC7-AB3F-425D-AA6C-B269810B6B0A}"/>
                </a:ext>
              </a:extLst>
            </p:cNvPr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igura a mano libera 405">
              <a:extLst>
                <a:ext uri="{FF2B5EF4-FFF2-40B4-BE49-F238E27FC236}">
                  <a16:creationId xmlns:a16="http://schemas.microsoft.com/office/drawing/2014/main" id="{59412983-BC98-45F0-9982-BE34C399C6AE}"/>
                </a:ext>
              </a:extLst>
            </p:cNvPr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igura a mano libera 406">
              <a:extLst>
                <a:ext uri="{FF2B5EF4-FFF2-40B4-BE49-F238E27FC236}">
                  <a16:creationId xmlns:a16="http://schemas.microsoft.com/office/drawing/2014/main" id="{1EDC013D-45A4-41D1-8566-6E777A514E57}"/>
                </a:ext>
              </a:extLst>
            </p:cNvPr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igura a mano libera 407">
              <a:extLst>
                <a:ext uri="{FF2B5EF4-FFF2-40B4-BE49-F238E27FC236}">
                  <a16:creationId xmlns:a16="http://schemas.microsoft.com/office/drawing/2014/main" id="{759CEB06-C2E4-4B1B-837B-90DE17E1CD60}"/>
                </a:ext>
              </a:extLst>
            </p:cNvPr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igura a mano libera 408">
              <a:extLst>
                <a:ext uri="{FF2B5EF4-FFF2-40B4-BE49-F238E27FC236}">
                  <a16:creationId xmlns:a16="http://schemas.microsoft.com/office/drawing/2014/main" id="{A580F479-5036-49DB-915D-1694E5EAEB63}"/>
                </a:ext>
              </a:extLst>
            </p:cNvPr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B397A33D-BE38-4C22-812F-55D9E8E1D1DA}"/>
              </a:ext>
            </a:extLst>
          </p:cNvPr>
          <p:cNvGrpSpPr/>
          <p:nvPr/>
        </p:nvGrpSpPr>
        <p:grpSpPr>
          <a:xfrm>
            <a:off x="7404225" y="4723973"/>
            <a:ext cx="1111335" cy="964872"/>
            <a:chOff x="7404225" y="4733333"/>
            <a:chExt cx="1111335" cy="964872"/>
          </a:xfrm>
        </p:grpSpPr>
        <p:sp>
          <p:nvSpPr>
            <p:cNvPr id="329" name="Figura a mano libera 401">
              <a:extLst>
                <a:ext uri="{FF2B5EF4-FFF2-40B4-BE49-F238E27FC236}">
                  <a16:creationId xmlns:a16="http://schemas.microsoft.com/office/drawing/2014/main" id="{71BEA9BB-2AF4-47A0-9B15-5DBDABBCDA64}"/>
                </a:ext>
              </a:extLst>
            </p:cNvPr>
            <p:cNvSpPr/>
            <p:nvPr/>
          </p:nvSpPr>
          <p:spPr bwMode="auto">
            <a:xfrm>
              <a:off x="7404225" y="4733333"/>
              <a:ext cx="1111335" cy="964872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solidFill>
              <a:srgbClr val="E4E4E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0" name="Connettore diritto 9">
              <a:extLst>
                <a:ext uri="{FF2B5EF4-FFF2-40B4-BE49-F238E27FC236}">
                  <a16:creationId xmlns:a16="http://schemas.microsoft.com/office/drawing/2014/main" id="{CA7E6EFC-E9D4-4B4A-B2A1-ADF4B859C273}"/>
                </a:ext>
              </a:extLst>
            </p:cNvPr>
            <p:cNvCxnSpPr>
              <a:cxnSpLocks/>
              <a:endCxn id="331" idx="4"/>
            </p:cNvCxnSpPr>
            <p:nvPr/>
          </p:nvCxnSpPr>
          <p:spPr>
            <a:xfrm flipH="1">
              <a:off x="7631444" y="5145170"/>
              <a:ext cx="4" cy="189006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0" name="Ovale 329">
              <a:extLst>
                <a:ext uri="{FF2B5EF4-FFF2-40B4-BE49-F238E27FC236}">
                  <a16:creationId xmlns:a16="http://schemas.microsoft.com/office/drawing/2014/main" id="{40BA822A-9881-48EB-8547-F53D63F30644}"/>
                </a:ext>
              </a:extLst>
            </p:cNvPr>
            <p:cNvSpPr/>
            <p:nvPr/>
          </p:nvSpPr>
          <p:spPr>
            <a:xfrm>
              <a:off x="7602869" y="5116370"/>
              <a:ext cx="57150" cy="576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1" name="Ovale 330">
              <a:extLst>
                <a:ext uri="{FF2B5EF4-FFF2-40B4-BE49-F238E27FC236}">
                  <a16:creationId xmlns:a16="http://schemas.microsoft.com/office/drawing/2014/main" id="{3ABCEB4B-C402-4FA4-B3D5-5EB4B69EB6E4}"/>
                </a:ext>
              </a:extLst>
            </p:cNvPr>
            <p:cNvSpPr/>
            <p:nvPr/>
          </p:nvSpPr>
          <p:spPr>
            <a:xfrm>
              <a:off x="7602869" y="5276576"/>
              <a:ext cx="57150" cy="576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3" name="Immagine 12">
            <a:extLst>
              <a:ext uri="{FF2B5EF4-FFF2-40B4-BE49-F238E27FC236}">
                <a16:creationId xmlns:a16="http://schemas.microsoft.com/office/drawing/2014/main" id="{C756FEAE-41CE-4076-B9BD-24F28EA5877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8892"/>
          <a:stretch/>
        </p:blipFill>
        <p:spPr>
          <a:xfrm>
            <a:off x="1916980" y="2904450"/>
            <a:ext cx="1046232" cy="593447"/>
          </a:xfrm>
          <a:prstGeom prst="rect">
            <a:avLst/>
          </a:prstGeom>
        </p:spPr>
      </p:pic>
      <p:sp>
        <p:nvSpPr>
          <p:cNvPr id="332" name="Rettangolo 331">
            <a:extLst>
              <a:ext uri="{FF2B5EF4-FFF2-40B4-BE49-F238E27FC236}">
                <a16:creationId xmlns:a16="http://schemas.microsoft.com/office/drawing/2014/main" id="{6DFD19E7-E00E-4E96-893F-DE53D8D9D395}"/>
              </a:ext>
            </a:extLst>
          </p:cNvPr>
          <p:cNvSpPr/>
          <p:nvPr/>
        </p:nvSpPr>
        <p:spPr>
          <a:xfrm>
            <a:off x="3214267" y="1970807"/>
            <a:ext cx="2952314" cy="769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NTE SULLO STRETTO DI MESSIN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mento capitale per riavvio attivit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Commi 487-493)</a:t>
            </a:r>
            <a:endParaRPr kumimoji="0" lang="it-IT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8" name="Picture 4" descr="Ponte | Icona Gratis">
            <a:extLst>
              <a:ext uri="{FF2B5EF4-FFF2-40B4-BE49-F238E27FC236}">
                <a16:creationId xmlns:a16="http://schemas.microsoft.com/office/drawing/2014/main" id="{15C839E3-8EBE-4B55-B5AB-F8D852EECD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883" y="2697527"/>
            <a:ext cx="1015008" cy="1015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6" name="Rettangolo 335">
            <a:extLst>
              <a:ext uri="{FF2B5EF4-FFF2-40B4-BE49-F238E27FC236}">
                <a16:creationId xmlns:a16="http://schemas.microsoft.com/office/drawing/2014/main" id="{0F72F18D-333B-4802-8CE3-FA42855D49A2}"/>
              </a:ext>
            </a:extLst>
          </p:cNvPr>
          <p:cNvSpPr/>
          <p:nvPr/>
        </p:nvSpPr>
        <p:spPr>
          <a:xfrm>
            <a:off x="9021365" y="1357997"/>
            <a:ext cx="2777798" cy="67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ORSE DA DEFINIRE</a:t>
            </a:r>
          </a:p>
        </p:txBody>
      </p:sp>
      <p:sp>
        <p:nvSpPr>
          <p:cNvPr id="337" name="Rettangolo 336">
            <a:extLst>
              <a:ext uri="{FF2B5EF4-FFF2-40B4-BE49-F238E27FC236}">
                <a16:creationId xmlns:a16="http://schemas.microsoft.com/office/drawing/2014/main" id="{0E1E4F59-9F74-45CF-9675-82DDD24A37F4}"/>
              </a:ext>
            </a:extLst>
          </p:cNvPr>
          <p:cNvSpPr/>
          <p:nvPr/>
        </p:nvSpPr>
        <p:spPr>
          <a:xfrm>
            <a:off x="373615" y="1276717"/>
            <a:ext cx="8501329" cy="4597488"/>
          </a:xfrm>
          <a:prstGeom prst="rect">
            <a:avLst/>
          </a:prstGeom>
          <a:noFill/>
          <a:ln w="19050">
            <a:solidFill>
              <a:srgbClr val="008E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8" name="Rettangolo 337">
            <a:extLst>
              <a:ext uri="{FF2B5EF4-FFF2-40B4-BE49-F238E27FC236}">
                <a16:creationId xmlns:a16="http://schemas.microsoft.com/office/drawing/2014/main" id="{F2C4ABCA-A44A-4A0E-A21F-9A7696765106}"/>
              </a:ext>
            </a:extLst>
          </p:cNvPr>
          <p:cNvSpPr/>
          <p:nvPr/>
        </p:nvSpPr>
        <p:spPr>
          <a:xfrm>
            <a:off x="8961300" y="1276717"/>
            <a:ext cx="2722372" cy="4597488"/>
          </a:xfrm>
          <a:prstGeom prst="rect">
            <a:avLst/>
          </a:prstGeom>
          <a:noFill/>
          <a:ln w="19050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39" name="Connettore diritto 338">
            <a:extLst>
              <a:ext uri="{FF2B5EF4-FFF2-40B4-BE49-F238E27FC236}">
                <a16:creationId xmlns:a16="http://schemas.microsoft.com/office/drawing/2014/main" id="{4A836A76-A4D5-4A42-80FB-887CCEEA8536}"/>
              </a:ext>
            </a:extLst>
          </p:cNvPr>
          <p:cNvCxnSpPr>
            <a:cxnSpLocks/>
          </p:cNvCxnSpPr>
          <p:nvPr/>
        </p:nvCxnSpPr>
        <p:spPr>
          <a:xfrm>
            <a:off x="9040807" y="4012302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1" name="Rettangolo 340">
            <a:extLst>
              <a:ext uri="{FF2B5EF4-FFF2-40B4-BE49-F238E27FC236}">
                <a16:creationId xmlns:a16="http://schemas.microsoft.com/office/drawing/2014/main" id="{E0A438EF-2DD3-44B8-B9D0-91C9F4DA3396}"/>
              </a:ext>
            </a:extLst>
          </p:cNvPr>
          <p:cNvSpPr/>
          <p:nvPr/>
        </p:nvSpPr>
        <p:spPr>
          <a:xfrm>
            <a:off x="9086645" y="4178809"/>
            <a:ext cx="2474586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NDO CARO PREZZ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ecuzione opere in cors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Comma 458)</a:t>
            </a:r>
          </a:p>
        </p:txBody>
      </p:sp>
      <p:sp>
        <p:nvSpPr>
          <p:cNvPr id="342" name="Rettangolo 341">
            <a:extLst>
              <a:ext uri="{FF2B5EF4-FFF2-40B4-BE49-F238E27FC236}">
                <a16:creationId xmlns:a16="http://schemas.microsoft.com/office/drawing/2014/main" id="{63BE9DB0-3BE9-44F1-A8DD-D74BF68D1B90}"/>
              </a:ext>
            </a:extLst>
          </p:cNvPr>
          <p:cNvSpPr/>
          <p:nvPr/>
        </p:nvSpPr>
        <p:spPr>
          <a:xfrm>
            <a:off x="9051823" y="2153203"/>
            <a:ext cx="2952314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NDO CARO PREZZ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vio opere indifferibil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Commi 369-379)</a:t>
            </a:r>
            <a:endParaRPr kumimoji="0" lang="it-IT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3" name="Rettangolo 342">
            <a:extLst>
              <a:ext uri="{FF2B5EF4-FFF2-40B4-BE49-F238E27FC236}">
                <a16:creationId xmlns:a16="http://schemas.microsoft.com/office/drawing/2014/main" id="{8A5319A7-1B52-4ED6-B324-F806BB0BD9F8}"/>
              </a:ext>
            </a:extLst>
          </p:cNvPr>
          <p:cNvSpPr/>
          <p:nvPr/>
        </p:nvSpPr>
        <p:spPr>
          <a:xfrm>
            <a:off x="9052455" y="2930754"/>
            <a:ext cx="1824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.000</a:t>
            </a:r>
          </a:p>
        </p:txBody>
      </p:sp>
      <p:sp>
        <p:nvSpPr>
          <p:cNvPr id="345" name="Rettangolo 344">
            <a:extLst>
              <a:ext uri="{FF2B5EF4-FFF2-40B4-BE49-F238E27FC236}">
                <a16:creationId xmlns:a16="http://schemas.microsoft.com/office/drawing/2014/main" id="{1C0B2E91-BA00-4883-B953-071DFF56BE58}"/>
              </a:ext>
            </a:extLst>
          </p:cNvPr>
          <p:cNvSpPr/>
          <p:nvPr/>
        </p:nvSpPr>
        <p:spPr>
          <a:xfrm>
            <a:off x="9027602" y="4830705"/>
            <a:ext cx="1550107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600</a:t>
            </a:r>
          </a:p>
        </p:txBody>
      </p:sp>
      <p:sp>
        <p:nvSpPr>
          <p:cNvPr id="346" name="Rettangolo 345">
            <a:extLst>
              <a:ext uri="{FF2B5EF4-FFF2-40B4-BE49-F238E27FC236}">
                <a16:creationId xmlns:a16="http://schemas.microsoft.com/office/drawing/2014/main" id="{8AC8DE61-54A7-4CE0-BCB8-1E66783A7027}"/>
              </a:ext>
            </a:extLst>
          </p:cNvPr>
          <p:cNvSpPr/>
          <p:nvPr/>
        </p:nvSpPr>
        <p:spPr>
          <a:xfrm>
            <a:off x="9021365" y="3451848"/>
            <a:ext cx="2562623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ota RFI definibile solo a valle del positivo accoglimento delle istanze di accesso al fondo</a:t>
            </a:r>
          </a:p>
        </p:txBody>
      </p:sp>
      <p:sp>
        <p:nvSpPr>
          <p:cNvPr id="347" name="Rettangolo 346">
            <a:extLst>
              <a:ext uri="{FF2B5EF4-FFF2-40B4-BE49-F238E27FC236}">
                <a16:creationId xmlns:a16="http://schemas.microsoft.com/office/drawing/2014/main" id="{FC522A80-45FF-4676-87CD-451CEC544213}"/>
              </a:ext>
            </a:extLst>
          </p:cNvPr>
          <p:cNvSpPr/>
          <p:nvPr/>
        </p:nvSpPr>
        <p:spPr>
          <a:xfrm>
            <a:off x="9037375" y="5371544"/>
            <a:ext cx="2546613" cy="4250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ota RFI definibile solo a valle del positivo accoglimento delle istanze di accesso al fondo</a:t>
            </a:r>
          </a:p>
        </p:txBody>
      </p:sp>
      <p:sp>
        <p:nvSpPr>
          <p:cNvPr id="81" name="Rettangolo 80">
            <a:extLst>
              <a:ext uri="{FF2B5EF4-FFF2-40B4-BE49-F238E27FC236}">
                <a16:creationId xmlns:a16="http://schemas.microsoft.com/office/drawing/2014/main" id="{8AC8DE61-54A7-4CE0-BCB8-1E66783A7027}"/>
              </a:ext>
            </a:extLst>
          </p:cNvPr>
          <p:cNvSpPr/>
          <p:nvPr/>
        </p:nvSpPr>
        <p:spPr>
          <a:xfrm>
            <a:off x="3238583" y="3442116"/>
            <a:ext cx="2610753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ota dei 50 mln in funzione della partecipazione RFI 13%</a:t>
            </a:r>
          </a:p>
        </p:txBody>
      </p:sp>
      <p:pic>
        <p:nvPicPr>
          <p:cNvPr id="11" name="Picture 2" descr="Icona Della Lente D'ingrandimento, Lente Di Vettore O Segno Della Lente ...">
            <a:extLst>
              <a:ext uri="{FF2B5EF4-FFF2-40B4-BE49-F238E27FC236}">
                <a16:creationId xmlns:a16="http://schemas.microsoft.com/office/drawing/2014/main" id="{BCCE615A-D034-FCB1-8A33-06E93999C2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737"/>
          <a:stretch/>
        </p:blipFill>
        <p:spPr bwMode="auto">
          <a:xfrm>
            <a:off x="5372399" y="2382157"/>
            <a:ext cx="672916" cy="591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Rettangolo 67">
            <a:extLst>
              <a:ext uri="{FF2B5EF4-FFF2-40B4-BE49-F238E27FC236}">
                <a16:creationId xmlns:a16="http://schemas.microsoft.com/office/drawing/2014/main" id="{3A6C96FF-A7C8-46F8-90AE-EAA0E224DF88}"/>
              </a:ext>
            </a:extLst>
          </p:cNvPr>
          <p:cNvSpPr/>
          <p:nvPr/>
        </p:nvSpPr>
        <p:spPr>
          <a:xfrm>
            <a:off x="6111315" y="2833356"/>
            <a:ext cx="1491553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800</a:t>
            </a:r>
          </a:p>
        </p:txBody>
      </p:sp>
      <p:sp>
        <p:nvSpPr>
          <p:cNvPr id="69" name="Rettangolo 68">
            <a:extLst>
              <a:ext uri="{FF2B5EF4-FFF2-40B4-BE49-F238E27FC236}">
                <a16:creationId xmlns:a16="http://schemas.microsoft.com/office/drawing/2014/main" id="{83C2932B-70BE-4F11-A2FE-011149B4A7AF}"/>
              </a:ext>
            </a:extLst>
          </p:cNvPr>
          <p:cNvSpPr/>
          <p:nvPr/>
        </p:nvSpPr>
        <p:spPr>
          <a:xfrm>
            <a:off x="6088493" y="1970807"/>
            <a:ext cx="2952314" cy="769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UTENZIONE STRAORDINAR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itolo 7122 PG.5</a:t>
            </a:r>
          </a:p>
        </p:txBody>
      </p:sp>
      <p:cxnSp>
        <p:nvCxnSpPr>
          <p:cNvPr id="72" name="Connettore diritto 71">
            <a:extLst>
              <a:ext uri="{FF2B5EF4-FFF2-40B4-BE49-F238E27FC236}">
                <a16:creationId xmlns:a16="http://schemas.microsoft.com/office/drawing/2014/main" id="{54094DD6-81D5-4AC4-9A35-98151E94941F}"/>
              </a:ext>
            </a:extLst>
          </p:cNvPr>
          <p:cNvCxnSpPr>
            <a:cxnSpLocks/>
          </p:cNvCxnSpPr>
          <p:nvPr/>
        </p:nvCxnSpPr>
        <p:spPr>
          <a:xfrm>
            <a:off x="6070474" y="1979456"/>
            <a:ext cx="2700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434" name="Picture 2" descr="railway track Icon - Free PNG &amp; SVG 1567494 - Noun Project">
            <a:extLst>
              <a:ext uri="{FF2B5EF4-FFF2-40B4-BE49-F238E27FC236}">
                <a16:creationId xmlns:a16="http://schemas.microsoft.com/office/drawing/2014/main" id="{35193ADB-65B2-42AF-A6B5-2C1613955D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473458">
            <a:off x="7612505" y="2578524"/>
            <a:ext cx="1066365" cy="1066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9493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Icona Della Lente D'ingrandimento, Lente Di Vettore O Segno Della Lente ...">
            <a:extLst>
              <a:ext uri="{FF2B5EF4-FFF2-40B4-BE49-F238E27FC236}">
                <a16:creationId xmlns:a16="http://schemas.microsoft.com/office/drawing/2014/main" id="{B4F5C431-6BFF-6491-6CB2-FD1B07C023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737"/>
          <a:stretch/>
        </p:blipFill>
        <p:spPr bwMode="auto">
          <a:xfrm>
            <a:off x="10990579" y="3443482"/>
            <a:ext cx="672916" cy="591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Immagine 89"/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460553" y="3204896"/>
            <a:ext cx="836260" cy="628301"/>
          </a:xfrm>
          <a:prstGeom prst="rect">
            <a:avLst/>
          </a:prstGeom>
        </p:spPr>
      </p:pic>
      <p:pic>
        <p:nvPicPr>
          <p:cNvPr id="91" name="Immagine 90"/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2208056" y="3122435"/>
            <a:ext cx="796438" cy="650425"/>
          </a:xfrm>
          <a:prstGeom prst="rect">
            <a:avLst/>
          </a:prstGeom>
        </p:spPr>
      </p:pic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407368" y="-270268"/>
            <a:ext cx="11176620" cy="866367"/>
          </a:xfrm>
        </p:spPr>
        <p:txBody>
          <a:bodyPr/>
          <a:lstStyle/>
          <a:p>
            <a:r>
              <a:rPr lang="it-IT" dirty="0"/>
              <a:t>Focus altre fonti da contrattualizzare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idx="13"/>
          </p:nvPr>
        </p:nvSpPr>
        <p:spPr>
          <a:xfrm>
            <a:off x="407368" y="596099"/>
            <a:ext cx="11176620" cy="390933"/>
          </a:xfrm>
        </p:spPr>
        <p:txBody>
          <a:bodyPr>
            <a:normAutofit/>
          </a:bodyPr>
          <a:lstStyle/>
          <a:p>
            <a:r>
              <a:rPr lang="it-IT"/>
              <a:t>Le ulteriori risorse da contrattualizzare nell’aggiornamento del Contratto di Programma Investimenti</a:t>
            </a:r>
          </a:p>
        </p:txBody>
      </p:sp>
      <p:cxnSp>
        <p:nvCxnSpPr>
          <p:cNvPr id="72" name="Connettore diritto 71">
            <a:extLst>
              <a:ext uri="{FF2B5EF4-FFF2-40B4-BE49-F238E27FC236}">
                <a16:creationId xmlns:a16="http://schemas.microsoft.com/office/drawing/2014/main" id="{9447D300-6D9F-4E21-8B04-99EC04CDE6FF}"/>
              </a:ext>
            </a:extLst>
          </p:cNvPr>
          <p:cNvCxnSpPr>
            <a:cxnSpLocks/>
          </p:cNvCxnSpPr>
          <p:nvPr/>
        </p:nvCxnSpPr>
        <p:spPr>
          <a:xfrm>
            <a:off x="407048" y="1753403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ttangolo 72">
            <a:extLst>
              <a:ext uri="{FF2B5EF4-FFF2-40B4-BE49-F238E27FC236}">
                <a16:creationId xmlns:a16="http://schemas.microsoft.com/office/drawing/2014/main" id="{6FEF89DC-3AE7-4CC7-9A06-2509F63D22C2}"/>
              </a:ext>
            </a:extLst>
          </p:cNvPr>
          <p:cNvSpPr/>
          <p:nvPr/>
        </p:nvSpPr>
        <p:spPr>
          <a:xfrm>
            <a:off x="319178" y="1747111"/>
            <a:ext cx="3029219" cy="365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NDI DL AIUTI (DL56/2022 art.26)</a:t>
            </a:r>
          </a:p>
        </p:txBody>
      </p:sp>
      <p:sp>
        <p:nvSpPr>
          <p:cNvPr id="74" name="Rettangolo 73">
            <a:extLst>
              <a:ext uri="{FF2B5EF4-FFF2-40B4-BE49-F238E27FC236}">
                <a16:creationId xmlns:a16="http://schemas.microsoft.com/office/drawing/2014/main" id="{98E80505-9E7D-46B1-A82A-2210F2C26FC8}"/>
              </a:ext>
            </a:extLst>
          </p:cNvPr>
          <p:cNvSpPr/>
          <p:nvPr/>
        </p:nvSpPr>
        <p:spPr>
          <a:xfrm>
            <a:off x="2249417" y="2430922"/>
            <a:ext cx="1037747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</a:t>
            </a:r>
          </a:p>
        </p:txBody>
      </p:sp>
      <p:sp>
        <p:nvSpPr>
          <p:cNvPr id="75" name="Rettangolo 74">
            <a:extLst>
              <a:ext uri="{FF2B5EF4-FFF2-40B4-BE49-F238E27FC236}">
                <a16:creationId xmlns:a16="http://schemas.microsoft.com/office/drawing/2014/main" id="{FF2644A8-27AD-4276-8422-AE10558237A1}"/>
              </a:ext>
            </a:extLst>
          </p:cNvPr>
          <p:cNvSpPr/>
          <p:nvPr/>
        </p:nvSpPr>
        <p:spPr>
          <a:xfrm>
            <a:off x="3168543" y="1681893"/>
            <a:ext cx="2392048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E (CEF, PNRR)</a:t>
            </a:r>
          </a:p>
        </p:txBody>
      </p:sp>
      <p:sp>
        <p:nvSpPr>
          <p:cNvPr id="76" name="Rettangolo 75">
            <a:extLst>
              <a:ext uri="{FF2B5EF4-FFF2-40B4-BE49-F238E27FC236}">
                <a16:creationId xmlns:a16="http://schemas.microsoft.com/office/drawing/2014/main" id="{5F2C04FC-02D6-4886-BCBF-5C45D33853E2}"/>
              </a:ext>
            </a:extLst>
          </p:cNvPr>
          <p:cNvSpPr/>
          <p:nvPr/>
        </p:nvSpPr>
        <p:spPr>
          <a:xfrm>
            <a:off x="3165205" y="2430922"/>
            <a:ext cx="122588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6</a:t>
            </a:r>
          </a:p>
        </p:txBody>
      </p:sp>
      <p:sp>
        <p:nvSpPr>
          <p:cNvPr id="78" name="Rettangolo 77">
            <a:extLst>
              <a:ext uri="{FF2B5EF4-FFF2-40B4-BE49-F238E27FC236}">
                <a16:creationId xmlns:a16="http://schemas.microsoft.com/office/drawing/2014/main" id="{3A457552-15BC-4B26-BDAD-C0EAB31FC80F}"/>
              </a:ext>
            </a:extLst>
          </p:cNvPr>
          <p:cNvSpPr/>
          <p:nvPr/>
        </p:nvSpPr>
        <p:spPr>
          <a:xfrm>
            <a:off x="3162575" y="4082851"/>
            <a:ext cx="2700987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TRE FONTI (EELL, Terzi, </a:t>
            </a:r>
            <a:r>
              <a:rPr kumimoji="0" lang="it-IT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c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tra cui MOU Italia Svizzera, </a:t>
            </a:r>
            <a:r>
              <a:rPr kumimoji="0" lang="it-IT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NQuA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ari)</a:t>
            </a:r>
            <a:endParaRPr kumimoji="0" lang="it-IT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Rettangolo 78">
            <a:extLst>
              <a:ext uri="{FF2B5EF4-FFF2-40B4-BE49-F238E27FC236}">
                <a16:creationId xmlns:a16="http://schemas.microsoft.com/office/drawing/2014/main" id="{96368BEF-F9EF-4E02-BD4D-D07A58D12112}"/>
              </a:ext>
            </a:extLst>
          </p:cNvPr>
          <p:cNvSpPr/>
          <p:nvPr/>
        </p:nvSpPr>
        <p:spPr>
          <a:xfrm>
            <a:off x="3459556" y="4873486"/>
            <a:ext cx="1214507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94</a:t>
            </a:r>
          </a:p>
        </p:txBody>
      </p:sp>
      <p:sp>
        <p:nvSpPr>
          <p:cNvPr id="80" name="Rettangolo 79">
            <a:extLst>
              <a:ext uri="{FF2B5EF4-FFF2-40B4-BE49-F238E27FC236}">
                <a16:creationId xmlns:a16="http://schemas.microsoft.com/office/drawing/2014/main" id="{E64E888E-D009-4A7D-BCCD-AA02B399E2BC}"/>
              </a:ext>
            </a:extLst>
          </p:cNvPr>
          <p:cNvSpPr/>
          <p:nvPr/>
        </p:nvSpPr>
        <p:spPr>
          <a:xfrm>
            <a:off x="8967861" y="4050951"/>
            <a:ext cx="2687610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ZIONE FONDO FSC 21-27</a:t>
            </a:r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Delibera CIPESS 35/2022)</a:t>
            </a:r>
          </a:p>
        </p:txBody>
      </p:sp>
      <p:sp>
        <p:nvSpPr>
          <p:cNvPr id="81" name="Rettangolo 80">
            <a:extLst>
              <a:ext uri="{FF2B5EF4-FFF2-40B4-BE49-F238E27FC236}">
                <a16:creationId xmlns:a16="http://schemas.microsoft.com/office/drawing/2014/main" id="{0987D191-BCE8-457A-A016-129098200623}"/>
              </a:ext>
            </a:extLst>
          </p:cNvPr>
          <p:cNvSpPr/>
          <p:nvPr/>
        </p:nvSpPr>
        <p:spPr>
          <a:xfrm>
            <a:off x="8986091" y="4873905"/>
            <a:ext cx="118109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bd</a:t>
            </a:r>
            <a:endParaRPr kumimoji="0" lang="it-IT" sz="4400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2" name="Connettore diritto 81">
            <a:extLst>
              <a:ext uri="{FF2B5EF4-FFF2-40B4-BE49-F238E27FC236}">
                <a16:creationId xmlns:a16="http://schemas.microsoft.com/office/drawing/2014/main" id="{C8D70CB7-9E2E-45E4-B8CC-05C57C324F62}"/>
              </a:ext>
            </a:extLst>
          </p:cNvPr>
          <p:cNvCxnSpPr>
            <a:cxnSpLocks/>
          </p:cNvCxnSpPr>
          <p:nvPr/>
        </p:nvCxnSpPr>
        <p:spPr>
          <a:xfrm>
            <a:off x="3251069" y="1753403"/>
            <a:ext cx="2628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ttore diritto 82">
            <a:extLst>
              <a:ext uri="{FF2B5EF4-FFF2-40B4-BE49-F238E27FC236}">
                <a16:creationId xmlns:a16="http://schemas.microsoft.com/office/drawing/2014/main" id="{68906B6B-D270-466B-89D7-BBAF74EFA39B}"/>
              </a:ext>
            </a:extLst>
          </p:cNvPr>
          <p:cNvCxnSpPr>
            <a:cxnSpLocks/>
          </p:cNvCxnSpPr>
          <p:nvPr/>
        </p:nvCxnSpPr>
        <p:spPr>
          <a:xfrm>
            <a:off x="3185336" y="4019604"/>
            <a:ext cx="2664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ttore diritto 83">
            <a:extLst>
              <a:ext uri="{FF2B5EF4-FFF2-40B4-BE49-F238E27FC236}">
                <a16:creationId xmlns:a16="http://schemas.microsoft.com/office/drawing/2014/main" id="{FBEBF9AD-7FC5-4467-A15B-E3D2A50FDF4B}"/>
              </a:ext>
            </a:extLst>
          </p:cNvPr>
          <p:cNvCxnSpPr>
            <a:cxnSpLocks/>
          </p:cNvCxnSpPr>
          <p:nvPr/>
        </p:nvCxnSpPr>
        <p:spPr>
          <a:xfrm>
            <a:off x="432464" y="4019604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ttangolo 84">
            <a:extLst>
              <a:ext uri="{FF2B5EF4-FFF2-40B4-BE49-F238E27FC236}">
                <a16:creationId xmlns:a16="http://schemas.microsoft.com/office/drawing/2014/main" id="{1124CFC5-6980-451D-8AC6-ECA67DE04515}"/>
              </a:ext>
            </a:extLst>
          </p:cNvPr>
          <p:cNvSpPr/>
          <p:nvPr/>
        </p:nvSpPr>
        <p:spPr>
          <a:xfrm>
            <a:off x="6078923" y="4873486"/>
            <a:ext cx="1626409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BE7D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5</a:t>
            </a:r>
          </a:p>
        </p:txBody>
      </p:sp>
      <p:cxnSp>
        <p:nvCxnSpPr>
          <p:cNvPr id="88" name="Connettore diritto 87">
            <a:extLst>
              <a:ext uri="{FF2B5EF4-FFF2-40B4-BE49-F238E27FC236}">
                <a16:creationId xmlns:a16="http://schemas.microsoft.com/office/drawing/2014/main" id="{5ABA0FD1-0A46-4B6A-AC87-9DC81E52619A}"/>
              </a:ext>
            </a:extLst>
          </p:cNvPr>
          <p:cNvCxnSpPr>
            <a:cxnSpLocks/>
          </p:cNvCxnSpPr>
          <p:nvPr/>
        </p:nvCxnSpPr>
        <p:spPr>
          <a:xfrm>
            <a:off x="9040807" y="1753403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ttore diritto 88">
            <a:extLst>
              <a:ext uri="{FF2B5EF4-FFF2-40B4-BE49-F238E27FC236}">
                <a16:creationId xmlns:a16="http://schemas.microsoft.com/office/drawing/2014/main" id="{C37A3814-02CB-43BF-A6E7-1C73EE20F02B}"/>
              </a:ext>
            </a:extLst>
          </p:cNvPr>
          <p:cNvCxnSpPr>
            <a:cxnSpLocks/>
          </p:cNvCxnSpPr>
          <p:nvPr/>
        </p:nvCxnSpPr>
        <p:spPr>
          <a:xfrm>
            <a:off x="6036851" y="4019604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ttangolo 118">
            <a:extLst>
              <a:ext uri="{FF2B5EF4-FFF2-40B4-BE49-F238E27FC236}">
                <a16:creationId xmlns:a16="http://schemas.microsoft.com/office/drawing/2014/main" id="{5335929E-EA45-4CD6-B774-84FFD4F76DD9}"/>
              </a:ext>
            </a:extLst>
          </p:cNvPr>
          <p:cNvSpPr/>
          <p:nvPr/>
        </p:nvSpPr>
        <p:spPr>
          <a:xfrm>
            <a:off x="9030941" y="1808114"/>
            <a:ext cx="2952314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IOCHI OLIMPICI CORTINA 2026</a:t>
            </a:r>
          </a:p>
        </p:txBody>
      </p:sp>
      <p:cxnSp>
        <p:nvCxnSpPr>
          <p:cNvPr id="121" name="Connettore diritto 120">
            <a:extLst>
              <a:ext uri="{FF2B5EF4-FFF2-40B4-BE49-F238E27FC236}">
                <a16:creationId xmlns:a16="http://schemas.microsoft.com/office/drawing/2014/main" id="{85378944-4717-40F8-BE57-94A745FD5F4E}"/>
              </a:ext>
            </a:extLst>
          </p:cNvPr>
          <p:cNvCxnSpPr>
            <a:cxnSpLocks/>
          </p:cNvCxnSpPr>
          <p:nvPr/>
        </p:nvCxnSpPr>
        <p:spPr>
          <a:xfrm>
            <a:off x="9040807" y="4019604"/>
            <a:ext cx="2513985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ttangolo 121">
            <a:extLst>
              <a:ext uri="{FF2B5EF4-FFF2-40B4-BE49-F238E27FC236}">
                <a16:creationId xmlns:a16="http://schemas.microsoft.com/office/drawing/2014/main" id="{FA132D4B-121F-4E31-9F41-A8E35DBFFB2E}"/>
              </a:ext>
            </a:extLst>
          </p:cNvPr>
          <p:cNvSpPr/>
          <p:nvPr/>
        </p:nvSpPr>
        <p:spPr>
          <a:xfrm>
            <a:off x="459374" y="4082851"/>
            <a:ext cx="2474586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IUBILEO ROMA 20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opere ambito stazione </a:t>
            </a:r>
            <a:r>
              <a:rPr kumimoji="0" lang="it-IT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.Pietro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3" name="Rettangolo 122">
            <a:extLst>
              <a:ext uri="{FF2B5EF4-FFF2-40B4-BE49-F238E27FC236}">
                <a16:creationId xmlns:a16="http://schemas.microsoft.com/office/drawing/2014/main" id="{B5B283D0-FEE6-4BF2-B4B9-540EC8498201}"/>
              </a:ext>
            </a:extLst>
          </p:cNvPr>
          <p:cNvSpPr/>
          <p:nvPr/>
        </p:nvSpPr>
        <p:spPr>
          <a:xfrm>
            <a:off x="6017219" y="1800170"/>
            <a:ext cx="2503208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ZO VALICO DEI GIOV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19191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LEGGE 5 agosto 2022, n. 108</a:t>
            </a: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  <a:endParaRPr kumimoji="0" lang="it-IT" sz="1200" b="1" i="0" u="none" strike="noStrike" kern="1200" cap="none" spc="0" normalizeH="0" baseline="0" noProof="0">
              <a:ln>
                <a:noFill/>
              </a:ln>
              <a:solidFill>
                <a:srgbClr val="19191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Rettangolo 123">
            <a:extLst>
              <a:ext uri="{FF2B5EF4-FFF2-40B4-BE49-F238E27FC236}">
                <a16:creationId xmlns:a16="http://schemas.microsoft.com/office/drawing/2014/main" id="{19065A70-3C5C-4C6B-A1AB-633F4A2C2408}"/>
              </a:ext>
            </a:extLst>
          </p:cNvPr>
          <p:cNvSpPr/>
          <p:nvPr/>
        </p:nvSpPr>
        <p:spPr>
          <a:xfrm>
            <a:off x="6288526" y="2481162"/>
            <a:ext cx="1563380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9</a:t>
            </a:r>
          </a:p>
        </p:txBody>
      </p:sp>
      <p:sp>
        <p:nvSpPr>
          <p:cNvPr id="135" name="CasellaDiTesto 134">
            <a:extLst>
              <a:ext uri="{FF2B5EF4-FFF2-40B4-BE49-F238E27FC236}">
                <a16:creationId xmlns:a16="http://schemas.microsoft.com/office/drawing/2014/main" id="{48F36E70-98FE-488C-A975-F70FBA56187C}"/>
              </a:ext>
            </a:extLst>
          </p:cNvPr>
          <p:cNvSpPr txBox="1"/>
          <p:nvPr/>
        </p:nvSpPr>
        <p:spPr>
          <a:xfrm>
            <a:off x="1670876" y="2026274"/>
            <a:ext cx="15156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ecuzione opere pubbliche (2022)</a:t>
            </a:r>
          </a:p>
        </p:txBody>
      </p:sp>
      <p:sp>
        <p:nvSpPr>
          <p:cNvPr id="139" name="Rettangolo 138">
            <a:extLst>
              <a:ext uri="{FF2B5EF4-FFF2-40B4-BE49-F238E27FC236}">
                <a16:creationId xmlns:a16="http://schemas.microsoft.com/office/drawing/2014/main" id="{EA493B69-F8AD-4DAF-8851-0647836A48A2}"/>
              </a:ext>
            </a:extLst>
          </p:cNvPr>
          <p:cNvSpPr/>
          <p:nvPr/>
        </p:nvSpPr>
        <p:spPr>
          <a:xfrm>
            <a:off x="410249" y="2430922"/>
            <a:ext cx="1498688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804</a:t>
            </a:r>
          </a:p>
        </p:txBody>
      </p:sp>
      <p:sp>
        <p:nvSpPr>
          <p:cNvPr id="140" name="CasellaDiTesto 139">
            <a:extLst>
              <a:ext uri="{FF2B5EF4-FFF2-40B4-BE49-F238E27FC236}">
                <a16:creationId xmlns:a16="http://schemas.microsoft.com/office/drawing/2014/main" id="{4D6252B7-3F85-424F-8EF3-6B3288BE9702}"/>
              </a:ext>
            </a:extLst>
          </p:cNvPr>
          <p:cNvSpPr txBox="1"/>
          <p:nvPr/>
        </p:nvSpPr>
        <p:spPr>
          <a:xfrm>
            <a:off x="336222" y="2033224"/>
            <a:ext cx="15156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vio opere indifferibili (2022)</a:t>
            </a:r>
          </a:p>
        </p:txBody>
      </p:sp>
      <p:grpSp>
        <p:nvGrpSpPr>
          <p:cNvPr id="141" name="Gruppo 384">
            <a:extLst>
              <a:ext uri="{FF2B5EF4-FFF2-40B4-BE49-F238E27FC236}">
                <a16:creationId xmlns:a16="http://schemas.microsoft.com/office/drawing/2014/main" id="{A2D72001-EFE2-4164-B509-9C4CFEEE0AE7}"/>
              </a:ext>
            </a:extLst>
          </p:cNvPr>
          <p:cNvGrpSpPr>
            <a:grpSpLocks/>
          </p:cNvGrpSpPr>
          <p:nvPr/>
        </p:nvGrpSpPr>
        <p:grpSpPr bwMode="auto">
          <a:xfrm>
            <a:off x="7824672" y="4566160"/>
            <a:ext cx="778962" cy="930045"/>
            <a:chOff x="6030758" y="980464"/>
            <a:chExt cx="5107083" cy="5839233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142" name="Figura a mano libera 389">
              <a:extLst>
                <a:ext uri="{FF2B5EF4-FFF2-40B4-BE49-F238E27FC236}">
                  <a16:creationId xmlns:a16="http://schemas.microsoft.com/office/drawing/2014/main" id="{3C9583DA-1B29-470F-A5AF-8F5D0CE849CF}"/>
                </a:ext>
              </a:extLst>
            </p:cNvPr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igura a mano libera 390">
              <a:extLst>
                <a:ext uri="{FF2B5EF4-FFF2-40B4-BE49-F238E27FC236}">
                  <a16:creationId xmlns:a16="http://schemas.microsoft.com/office/drawing/2014/main" id="{55497948-D6F4-40FF-9189-A5E0B32C7A86}"/>
                </a:ext>
              </a:extLst>
            </p:cNvPr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igura a mano libera 391">
              <a:extLst>
                <a:ext uri="{FF2B5EF4-FFF2-40B4-BE49-F238E27FC236}">
                  <a16:creationId xmlns:a16="http://schemas.microsoft.com/office/drawing/2014/main" id="{B390A847-B132-4D93-8107-9303B112D4DE}"/>
                </a:ext>
              </a:extLst>
            </p:cNvPr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igura a mano libera 392">
              <a:extLst>
                <a:ext uri="{FF2B5EF4-FFF2-40B4-BE49-F238E27FC236}">
                  <a16:creationId xmlns:a16="http://schemas.microsoft.com/office/drawing/2014/main" id="{3047ACD1-5C7F-4E6E-8902-67BA4D3A18C8}"/>
                </a:ext>
              </a:extLst>
            </p:cNvPr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igura a mano libera 393">
              <a:extLst>
                <a:ext uri="{FF2B5EF4-FFF2-40B4-BE49-F238E27FC236}">
                  <a16:creationId xmlns:a16="http://schemas.microsoft.com/office/drawing/2014/main" id="{5F212D09-9CBA-40FE-977D-82DCC6B066BC}"/>
                </a:ext>
              </a:extLst>
            </p:cNvPr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igura a mano libera 394">
              <a:extLst>
                <a:ext uri="{FF2B5EF4-FFF2-40B4-BE49-F238E27FC236}">
                  <a16:creationId xmlns:a16="http://schemas.microsoft.com/office/drawing/2014/main" id="{7BAE50D3-B509-47CA-83F0-B8D7169E3F60}"/>
                </a:ext>
              </a:extLst>
            </p:cNvPr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igura a mano libera 395">
              <a:extLst>
                <a:ext uri="{FF2B5EF4-FFF2-40B4-BE49-F238E27FC236}">
                  <a16:creationId xmlns:a16="http://schemas.microsoft.com/office/drawing/2014/main" id="{76AF7996-4173-451D-8EC7-2D9828D79F59}"/>
                </a:ext>
              </a:extLst>
            </p:cNvPr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igura a mano libera 396">
              <a:extLst>
                <a:ext uri="{FF2B5EF4-FFF2-40B4-BE49-F238E27FC236}">
                  <a16:creationId xmlns:a16="http://schemas.microsoft.com/office/drawing/2014/main" id="{56721189-6911-49CC-A325-510DA5B2CFFB}"/>
                </a:ext>
              </a:extLst>
            </p:cNvPr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igura a mano libera 397">
              <a:extLst>
                <a:ext uri="{FF2B5EF4-FFF2-40B4-BE49-F238E27FC236}">
                  <a16:creationId xmlns:a16="http://schemas.microsoft.com/office/drawing/2014/main" id="{31CA94CC-F161-4890-9E30-3A02B18F5D3A}"/>
                </a:ext>
              </a:extLst>
            </p:cNvPr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igura a mano libera 398">
              <a:extLst>
                <a:ext uri="{FF2B5EF4-FFF2-40B4-BE49-F238E27FC236}">
                  <a16:creationId xmlns:a16="http://schemas.microsoft.com/office/drawing/2014/main" id="{84FB2A52-EE10-4C3D-B663-A23F9A2BF73B}"/>
                </a:ext>
              </a:extLst>
            </p:cNvPr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igura a mano libera 399">
              <a:extLst>
                <a:ext uri="{FF2B5EF4-FFF2-40B4-BE49-F238E27FC236}">
                  <a16:creationId xmlns:a16="http://schemas.microsoft.com/office/drawing/2014/main" id="{0C552C28-327D-4112-8B77-D53D12EA609B}"/>
                </a:ext>
              </a:extLst>
            </p:cNvPr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igura a mano libera 400">
              <a:extLst>
                <a:ext uri="{FF2B5EF4-FFF2-40B4-BE49-F238E27FC236}">
                  <a16:creationId xmlns:a16="http://schemas.microsoft.com/office/drawing/2014/main" id="{0879AE85-085C-4B82-98A2-21849FD4006A}"/>
                </a:ext>
              </a:extLst>
            </p:cNvPr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grpFill/>
            <a:ln w="9525">
              <a:noFill/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igura a mano libera 401">
              <a:extLst>
                <a:ext uri="{FF2B5EF4-FFF2-40B4-BE49-F238E27FC236}">
                  <a16:creationId xmlns:a16="http://schemas.microsoft.com/office/drawing/2014/main" id="{27EC94DB-A893-4DA7-9E3D-AEC903C90316}"/>
                </a:ext>
              </a:extLst>
            </p:cNvPr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igura a mano libera 402">
              <a:extLst>
                <a:ext uri="{FF2B5EF4-FFF2-40B4-BE49-F238E27FC236}">
                  <a16:creationId xmlns:a16="http://schemas.microsoft.com/office/drawing/2014/main" id="{C5BEF4ED-7C65-40F9-9D90-8681678F22AE}"/>
                </a:ext>
              </a:extLst>
            </p:cNvPr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igura a mano libera 403">
              <a:extLst>
                <a:ext uri="{FF2B5EF4-FFF2-40B4-BE49-F238E27FC236}">
                  <a16:creationId xmlns:a16="http://schemas.microsoft.com/office/drawing/2014/main" id="{3D64E48F-23C4-4B01-936F-65E234984588}"/>
                </a:ext>
              </a:extLst>
            </p:cNvPr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igura a mano libera 404">
              <a:extLst>
                <a:ext uri="{FF2B5EF4-FFF2-40B4-BE49-F238E27FC236}">
                  <a16:creationId xmlns:a16="http://schemas.microsoft.com/office/drawing/2014/main" id="{D85895AD-396B-437D-8D83-40413A61672E}"/>
                </a:ext>
              </a:extLst>
            </p:cNvPr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igura a mano libera 405">
              <a:extLst>
                <a:ext uri="{FF2B5EF4-FFF2-40B4-BE49-F238E27FC236}">
                  <a16:creationId xmlns:a16="http://schemas.microsoft.com/office/drawing/2014/main" id="{D0498683-421C-47CE-8F35-A734A2D63036}"/>
                </a:ext>
              </a:extLst>
            </p:cNvPr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igura a mano libera 406">
              <a:extLst>
                <a:ext uri="{FF2B5EF4-FFF2-40B4-BE49-F238E27FC236}">
                  <a16:creationId xmlns:a16="http://schemas.microsoft.com/office/drawing/2014/main" id="{0C373C33-2C47-4658-803F-FE4B36E3517D}"/>
                </a:ext>
              </a:extLst>
            </p:cNvPr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igura a mano libera 407">
              <a:extLst>
                <a:ext uri="{FF2B5EF4-FFF2-40B4-BE49-F238E27FC236}">
                  <a16:creationId xmlns:a16="http://schemas.microsoft.com/office/drawing/2014/main" id="{E32E1584-2036-41B7-8468-F951871E5573}"/>
                </a:ext>
              </a:extLst>
            </p:cNvPr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igura a mano libera 408">
              <a:extLst>
                <a:ext uri="{FF2B5EF4-FFF2-40B4-BE49-F238E27FC236}">
                  <a16:creationId xmlns:a16="http://schemas.microsoft.com/office/drawing/2014/main" id="{6D0E0CE9-5B38-4EBD-9811-00ED29B29A21}"/>
                </a:ext>
              </a:extLst>
            </p:cNvPr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2" name="Rettangolo 161">
            <a:extLst>
              <a:ext uri="{FF2B5EF4-FFF2-40B4-BE49-F238E27FC236}">
                <a16:creationId xmlns:a16="http://schemas.microsoft.com/office/drawing/2014/main" id="{D51F7C83-1E23-4790-87B6-408676B1946E}"/>
              </a:ext>
            </a:extLst>
          </p:cNvPr>
          <p:cNvSpPr/>
          <p:nvPr/>
        </p:nvSpPr>
        <p:spPr>
          <a:xfrm>
            <a:off x="6000277" y="4082851"/>
            <a:ext cx="2474586" cy="5019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NDI INCROCIAT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OSTRADA A22 BRENNERO </a:t>
            </a: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2^ quota Fondo Ferrovia)</a:t>
            </a:r>
          </a:p>
        </p:txBody>
      </p:sp>
      <p:pic>
        <p:nvPicPr>
          <p:cNvPr id="163" name="Immagine 162">
            <a:extLst>
              <a:ext uri="{FF2B5EF4-FFF2-40B4-BE49-F238E27FC236}">
                <a16:creationId xmlns:a16="http://schemas.microsoft.com/office/drawing/2014/main" id="{E081D553-9D4E-4230-8E76-51F1527EB819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999999"/>
              </a:clrFrom>
              <a:clrTo>
                <a:srgbClr val="999999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691986" y="4794609"/>
            <a:ext cx="609992" cy="609992"/>
          </a:xfrm>
          <a:prstGeom prst="rect">
            <a:avLst/>
          </a:prstGeom>
        </p:spPr>
      </p:pic>
      <p:grpSp>
        <p:nvGrpSpPr>
          <p:cNvPr id="164" name="Gruppo 384">
            <a:extLst>
              <a:ext uri="{FF2B5EF4-FFF2-40B4-BE49-F238E27FC236}">
                <a16:creationId xmlns:a16="http://schemas.microsoft.com/office/drawing/2014/main" id="{15357E93-BDBA-4A3C-9252-D57BC674E255}"/>
              </a:ext>
            </a:extLst>
          </p:cNvPr>
          <p:cNvGrpSpPr>
            <a:grpSpLocks/>
          </p:cNvGrpSpPr>
          <p:nvPr/>
        </p:nvGrpSpPr>
        <p:grpSpPr bwMode="auto">
          <a:xfrm>
            <a:off x="7931538" y="2472019"/>
            <a:ext cx="645241" cy="826480"/>
            <a:chOff x="6030758" y="980464"/>
            <a:chExt cx="5107083" cy="5839233"/>
          </a:xfrm>
          <a:solidFill>
            <a:schemeClr val="bg1">
              <a:lumMod val="85000"/>
            </a:schemeClr>
          </a:solidFill>
          <a:effectLst/>
        </p:grpSpPr>
        <p:sp>
          <p:nvSpPr>
            <p:cNvPr id="165" name="Figura a mano libera 389">
              <a:extLst>
                <a:ext uri="{FF2B5EF4-FFF2-40B4-BE49-F238E27FC236}">
                  <a16:creationId xmlns:a16="http://schemas.microsoft.com/office/drawing/2014/main" id="{42339B34-67F1-4BFD-8CF2-D8A7B1AFA618}"/>
                </a:ext>
              </a:extLst>
            </p:cNvPr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igura a mano libera 390">
              <a:extLst>
                <a:ext uri="{FF2B5EF4-FFF2-40B4-BE49-F238E27FC236}">
                  <a16:creationId xmlns:a16="http://schemas.microsoft.com/office/drawing/2014/main" id="{8E8FF1ED-F4BE-4123-9E2F-87C315B17CFE}"/>
                </a:ext>
              </a:extLst>
            </p:cNvPr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igura a mano libera 391">
              <a:extLst>
                <a:ext uri="{FF2B5EF4-FFF2-40B4-BE49-F238E27FC236}">
                  <a16:creationId xmlns:a16="http://schemas.microsoft.com/office/drawing/2014/main" id="{C9259A91-12EE-4F11-B533-82B0C16C0A86}"/>
                </a:ext>
              </a:extLst>
            </p:cNvPr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9525"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igura a mano libera 392">
              <a:extLst>
                <a:ext uri="{FF2B5EF4-FFF2-40B4-BE49-F238E27FC236}">
                  <a16:creationId xmlns:a16="http://schemas.microsoft.com/office/drawing/2014/main" id="{C1E658E9-737D-4390-8CD9-8069CBAC74D7}"/>
                </a:ext>
              </a:extLst>
            </p:cNvPr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igura a mano libera 393">
              <a:extLst>
                <a:ext uri="{FF2B5EF4-FFF2-40B4-BE49-F238E27FC236}">
                  <a16:creationId xmlns:a16="http://schemas.microsoft.com/office/drawing/2014/main" id="{A6A3B387-32E7-46C5-9B32-F8BCF9352279}"/>
                </a:ext>
              </a:extLst>
            </p:cNvPr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igura a mano libera 394">
              <a:extLst>
                <a:ext uri="{FF2B5EF4-FFF2-40B4-BE49-F238E27FC236}">
                  <a16:creationId xmlns:a16="http://schemas.microsoft.com/office/drawing/2014/main" id="{887AD70A-FB83-4C61-B858-A07B5D91B6BC}"/>
                </a:ext>
              </a:extLst>
            </p:cNvPr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igura a mano libera 395">
              <a:extLst>
                <a:ext uri="{FF2B5EF4-FFF2-40B4-BE49-F238E27FC236}">
                  <a16:creationId xmlns:a16="http://schemas.microsoft.com/office/drawing/2014/main" id="{58A9BABC-7DB5-4499-A0AC-5A873EC419D7}"/>
                </a:ext>
              </a:extLst>
            </p:cNvPr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igura a mano libera 396">
              <a:extLst>
                <a:ext uri="{FF2B5EF4-FFF2-40B4-BE49-F238E27FC236}">
                  <a16:creationId xmlns:a16="http://schemas.microsoft.com/office/drawing/2014/main" id="{75BD7631-F870-4666-AF6B-3EF56EAA4A77}"/>
                </a:ext>
              </a:extLst>
            </p:cNvPr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igura a mano libera 397">
              <a:extLst>
                <a:ext uri="{FF2B5EF4-FFF2-40B4-BE49-F238E27FC236}">
                  <a16:creationId xmlns:a16="http://schemas.microsoft.com/office/drawing/2014/main" id="{2AC9E75B-E147-4433-BC60-8638950B7CC4}"/>
                </a:ext>
              </a:extLst>
            </p:cNvPr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igura a mano libera 398">
              <a:extLst>
                <a:ext uri="{FF2B5EF4-FFF2-40B4-BE49-F238E27FC236}">
                  <a16:creationId xmlns:a16="http://schemas.microsoft.com/office/drawing/2014/main" id="{ECC59768-2862-446F-8FA4-DCB507113659}"/>
                </a:ext>
              </a:extLst>
            </p:cNvPr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igura a mano libera 399">
              <a:extLst>
                <a:ext uri="{FF2B5EF4-FFF2-40B4-BE49-F238E27FC236}">
                  <a16:creationId xmlns:a16="http://schemas.microsoft.com/office/drawing/2014/main" id="{9A935D42-F345-4E2B-AF12-62228E35CB39}"/>
                </a:ext>
              </a:extLst>
            </p:cNvPr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igura a mano libera 400">
              <a:extLst>
                <a:ext uri="{FF2B5EF4-FFF2-40B4-BE49-F238E27FC236}">
                  <a16:creationId xmlns:a16="http://schemas.microsoft.com/office/drawing/2014/main" id="{B0E0F150-A66D-4C52-AAF6-1EE4CD4D4125}"/>
                </a:ext>
              </a:extLst>
            </p:cNvPr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solidFill>
              <a:schemeClr val="tx2"/>
            </a:solidFill>
            <a:ln w="9525">
              <a:noFill/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igura a mano libera 401">
              <a:extLst>
                <a:ext uri="{FF2B5EF4-FFF2-40B4-BE49-F238E27FC236}">
                  <a16:creationId xmlns:a16="http://schemas.microsoft.com/office/drawing/2014/main" id="{86AAA06A-14BA-4AC0-8F9D-3AB6140DF98F}"/>
                </a:ext>
              </a:extLst>
            </p:cNvPr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igura a mano libera 402">
              <a:extLst>
                <a:ext uri="{FF2B5EF4-FFF2-40B4-BE49-F238E27FC236}">
                  <a16:creationId xmlns:a16="http://schemas.microsoft.com/office/drawing/2014/main" id="{233B14D2-FBE7-42DA-A03E-C7C9E476A2FD}"/>
                </a:ext>
              </a:extLst>
            </p:cNvPr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igura a mano libera 403">
              <a:extLst>
                <a:ext uri="{FF2B5EF4-FFF2-40B4-BE49-F238E27FC236}">
                  <a16:creationId xmlns:a16="http://schemas.microsoft.com/office/drawing/2014/main" id="{CB6993B9-CF2C-4951-86FB-605A89E70AE1}"/>
                </a:ext>
              </a:extLst>
            </p:cNvPr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igura a mano libera 404">
              <a:extLst>
                <a:ext uri="{FF2B5EF4-FFF2-40B4-BE49-F238E27FC236}">
                  <a16:creationId xmlns:a16="http://schemas.microsoft.com/office/drawing/2014/main" id="{740532DC-9362-4E96-A21D-53501ABDAF4E}"/>
                </a:ext>
              </a:extLst>
            </p:cNvPr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igura a mano libera 405">
              <a:extLst>
                <a:ext uri="{FF2B5EF4-FFF2-40B4-BE49-F238E27FC236}">
                  <a16:creationId xmlns:a16="http://schemas.microsoft.com/office/drawing/2014/main" id="{95179DB1-47AB-44B4-AFF6-321D883167BB}"/>
                </a:ext>
              </a:extLst>
            </p:cNvPr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igura a mano libera 406">
              <a:extLst>
                <a:ext uri="{FF2B5EF4-FFF2-40B4-BE49-F238E27FC236}">
                  <a16:creationId xmlns:a16="http://schemas.microsoft.com/office/drawing/2014/main" id="{BFE5BD57-41ED-4579-AB85-66C986B6AC18}"/>
                </a:ext>
              </a:extLst>
            </p:cNvPr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igura a mano libera 407">
              <a:extLst>
                <a:ext uri="{FF2B5EF4-FFF2-40B4-BE49-F238E27FC236}">
                  <a16:creationId xmlns:a16="http://schemas.microsoft.com/office/drawing/2014/main" id="{91D51E2F-3884-49DA-8FC9-5EB7304E9A1E}"/>
                </a:ext>
              </a:extLst>
            </p:cNvPr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igura a mano libera 408">
              <a:extLst>
                <a:ext uri="{FF2B5EF4-FFF2-40B4-BE49-F238E27FC236}">
                  <a16:creationId xmlns:a16="http://schemas.microsoft.com/office/drawing/2014/main" id="{762BD3A0-72BE-44FD-ACB1-82E3A4CC15F8}"/>
                </a:ext>
              </a:extLst>
            </p:cNvPr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1" name="Immagine 10">
            <a:extLst>
              <a:ext uri="{FF2B5EF4-FFF2-40B4-BE49-F238E27FC236}">
                <a16:creationId xmlns:a16="http://schemas.microsoft.com/office/drawing/2014/main" id="{061083AB-053D-4D6B-AED1-2A9204380783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348807" y="2530066"/>
            <a:ext cx="1331461" cy="745618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69CDA8C5-073F-4278-B084-635AE7D3B735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405091" y="4562811"/>
            <a:ext cx="1479482" cy="887689"/>
          </a:xfrm>
          <a:prstGeom prst="rect">
            <a:avLst/>
          </a:prstGeom>
        </p:spPr>
      </p:pic>
      <p:pic>
        <p:nvPicPr>
          <p:cNvPr id="193" name="Elemento grafico 192" descr="Banca">
            <a:extLst>
              <a:ext uri="{FF2B5EF4-FFF2-40B4-BE49-F238E27FC236}">
                <a16:creationId xmlns:a16="http://schemas.microsoft.com/office/drawing/2014/main" id="{E4BA11EF-056B-4215-AC54-00D80D843EB4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553352" y="4463775"/>
            <a:ext cx="1039404" cy="1039404"/>
          </a:xfrm>
          <a:prstGeom prst="rect">
            <a:avLst/>
          </a:prstGeom>
        </p:spPr>
      </p:pic>
      <p:grpSp>
        <p:nvGrpSpPr>
          <p:cNvPr id="7" name="Gruppo 193">
            <a:extLst>
              <a:ext uri="{FF2B5EF4-FFF2-40B4-BE49-F238E27FC236}">
                <a16:creationId xmlns:a16="http://schemas.microsoft.com/office/drawing/2014/main" id="{527FACDF-E38F-45B3-8E5D-0DD103BC89AF}"/>
              </a:ext>
            </a:extLst>
          </p:cNvPr>
          <p:cNvGrpSpPr/>
          <p:nvPr/>
        </p:nvGrpSpPr>
        <p:grpSpPr>
          <a:xfrm>
            <a:off x="4529488" y="6137174"/>
            <a:ext cx="4345459" cy="507527"/>
            <a:chOff x="9273743" y="5737502"/>
            <a:chExt cx="2185565" cy="669272"/>
          </a:xfrm>
          <a:noFill/>
        </p:grpSpPr>
        <p:sp>
          <p:nvSpPr>
            <p:cNvPr id="3" name="Rettangolo 194">
              <a:extLst>
                <a:ext uri="{FF2B5EF4-FFF2-40B4-BE49-F238E27FC236}">
                  <a16:creationId xmlns:a16="http://schemas.microsoft.com/office/drawing/2014/main" id="{2722A01F-F65D-4CB4-94C4-83DB5050503C}"/>
                </a:ext>
              </a:extLst>
            </p:cNvPr>
            <p:cNvSpPr/>
            <p:nvPr/>
          </p:nvSpPr>
          <p:spPr>
            <a:xfrm>
              <a:off x="9273743" y="5737502"/>
              <a:ext cx="2109357" cy="6692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TALE RISORSE DA CONTRATTUALIZZARE</a:t>
              </a:r>
            </a:p>
          </p:txBody>
        </p:sp>
        <p:sp>
          <p:nvSpPr>
            <p:cNvPr id="4" name="Rettangolo 195">
              <a:extLst>
                <a:ext uri="{FF2B5EF4-FFF2-40B4-BE49-F238E27FC236}">
                  <a16:creationId xmlns:a16="http://schemas.microsoft.com/office/drawing/2014/main" id="{B2AFFBB4-8389-420D-9EC5-9525D8089ED9}"/>
                </a:ext>
              </a:extLst>
            </p:cNvPr>
            <p:cNvSpPr/>
            <p:nvPr/>
          </p:nvSpPr>
          <p:spPr>
            <a:xfrm>
              <a:off x="10061858" y="5799947"/>
              <a:ext cx="1397450" cy="54437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1" i="0" u="none" strike="noStrike" kern="1200" cap="none" spc="0" normalizeH="0" baseline="0" noProof="0">
                  <a:ln>
                    <a:noFill/>
                  </a:ln>
                  <a:solidFill>
                    <a:srgbClr val="008E5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.504</a:t>
              </a:r>
            </a:p>
          </p:txBody>
        </p:sp>
      </p:grpSp>
      <p:sp>
        <p:nvSpPr>
          <p:cNvPr id="125" name="Rettangolo 124">
            <a:extLst>
              <a:ext uri="{FF2B5EF4-FFF2-40B4-BE49-F238E27FC236}">
                <a16:creationId xmlns:a16="http://schemas.microsoft.com/office/drawing/2014/main" id="{ABF38E75-FCE3-465F-B8DF-B188B42028FC}"/>
              </a:ext>
            </a:extLst>
          </p:cNvPr>
          <p:cNvSpPr/>
          <p:nvPr/>
        </p:nvSpPr>
        <p:spPr>
          <a:xfrm>
            <a:off x="249389" y="4862108"/>
            <a:ext cx="147948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,7</a:t>
            </a:r>
          </a:p>
        </p:txBody>
      </p:sp>
      <p:sp>
        <p:nvSpPr>
          <p:cNvPr id="87" name="Rettangolo 86">
            <a:extLst>
              <a:ext uri="{FF2B5EF4-FFF2-40B4-BE49-F238E27FC236}">
                <a16:creationId xmlns:a16="http://schemas.microsoft.com/office/drawing/2014/main" id="{3635CE48-3467-4296-B504-611F495972EF}"/>
              </a:ext>
            </a:extLst>
          </p:cNvPr>
          <p:cNvSpPr/>
          <p:nvPr/>
        </p:nvSpPr>
        <p:spPr>
          <a:xfrm>
            <a:off x="9053764" y="2486192"/>
            <a:ext cx="1504062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1</a:t>
            </a:r>
          </a:p>
        </p:txBody>
      </p:sp>
      <p:sp>
        <p:nvSpPr>
          <p:cNvPr id="92" name="Rettangolo 91"/>
          <p:cNvSpPr/>
          <p:nvPr/>
        </p:nvSpPr>
        <p:spPr>
          <a:xfrm>
            <a:off x="421335" y="1290019"/>
            <a:ext cx="2485410" cy="333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ORSE CERTE</a:t>
            </a: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Rettangolo 92">
            <a:extLst>
              <a:ext uri="{FF2B5EF4-FFF2-40B4-BE49-F238E27FC236}">
                <a16:creationId xmlns:a16="http://schemas.microsoft.com/office/drawing/2014/main" id="{0F72F18D-333B-4802-8CE3-FA42855D49A2}"/>
              </a:ext>
            </a:extLst>
          </p:cNvPr>
          <p:cNvSpPr/>
          <p:nvPr/>
        </p:nvSpPr>
        <p:spPr>
          <a:xfrm>
            <a:off x="9021365" y="1267379"/>
            <a:ext cx="2777798" cy="67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ORSE DA DEFINIRE</a:t>
            </a:r>
          </a:p>
        </p:txBody>
      </p:sp>
      <p:sp>
        <p:nvSpPr>
          <p:cNvPr id="94" name="Rettangolo 93">
            <a:extLst>
              <a:ext uri="{FF2B5EF4-FFF2-40B4-BE49-F238E27FC236}">
                <a16:creationId xmlns:a16="http://schemas.microsoft.com/office/drawing/2014/main" id="{0E1E4F59-9F74-45CF-9675-82DDD24A37F4}"/>
              </a:ext>
            </a:extLst>
          </p:cNvPr>
          <p:cNvSpPr/>
          <p:nvPr/>
        </p:nvSpPr>
        <p:spPr>
          <a:xfrm>
            <a:off x="373615" y="1276717"/>
            <a:ext cx="8501329" cy="4714916"/>
          </a:xfrm>
          <a:prstGeom prst="rect">
            <a:avLst/>
          </a:prstGeom>
          <a:noFill/>
          <a:ln w="19050">
            <a:solidFill>
              <a:srgbClr val="008E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5" name="Rettangolo 94">
            <a:extLst>
              <a:ext uri="{FF2B5EF4-FFF2-40B4-BE49-F238E27FC236}">
                <a16:creationId xmlns:a16="http://schemas.microsoft.com/office/drawing/2014/main" id="{F2C4ABCA-A44A-4A0E-A21F-9A7696765106}"/>
              </a:ext>
            </a:extLst>
          </p:cNvPr>
          <p:cNvSpPr/>
          <p:nvPr/>
        </p:nvSpPr>
        <p:spPr>
          <a:xfrm>
            <a:off x="8961300" y="1276717"/>
            <a:ext cx="2722372" cy="4714916"/>
          </a:xfrm>
          <a:prstGeom prst="rect">
            <a:avLst/>
          </a:prstGeom>
          <a:noFill/>
          <a:ln w="19050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054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6" name="Rettangolo 95">
            <a:extLst>
              <a:ext uri="{FF2B5EF4-FFF2-40B4-BE49-F238E27FC236}">
                <a16:creationId xmlns:a16="http://schemas.microsoft.com/office/drawing/2014/main" id="{8AC8DE61-54A7-4CE0-BCB8-1E66783A7027}"/>
              </a:ext>
            </a:extLst>
          </p:cNvPr>
          <p:cNvSpPr/>
          <p:nvPr/>
        </p:nvSpPr>
        <p:spPr>
          <a:xfrm>
            <a:off x="9021365" y="3149835"/>
            <a:ext cx="2562623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attesa decreto MIT con individuazione puntuale degli interventi</a:t>
            </a:r>
          </a:p>
        </p:txBody>
      </p:sp>
      <p:sp>
        <p:nvSpPr>
          <p:cNvPr id="97" name="Rettangolo 96">
            <a:extLst>
              <a:ext uri="{FF2B5EF4-FFF2-40B4-BE49-F238E27FC236}">
                <a16:creationId xmlns:a16="http://schemas.microsoft.com/office/drawing/2014/main" id="{8AC8DE61-54A7-4CE0-BCB8-1E66783A7027}"/>
              </a:ext>
            </a:extLst>
          </p:cNvPr>
          <p:cNvSpPr/>
          <p:nvPr/>
        </p:nvSpPr>
        <p:spPr>
          <a:xfrm>
            <a:off x="9030941" y="5420219"/>
            <a:ext cx="2562623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1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ota RFI definibile solo a valle del positivo accoglimento delle istanze di accesso al fondo </a:t>
            </a:r>
          </a:p>
        </p:txBody>
      </p:sp>
      <p:sp>
        <p:nvSpPr>
          <p:cNvPr id="98" name="Rettangolo 97"/>
          <p:cNvSpPr/>
          <p:nvPr/>
        </p:nvSpPr>
        <p:spPr>
          <a:xfrm>
            <a:off x="10358416" y="998713"/>
            <a:ext cx="2016563" cy="233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ln di €</a:t>
            </a:r>
          </a:p>
        </p:txBody>
      </p:sp>
      <p:sp>
        <p:nvSpPr>
          <p:cNvPr id="103" name="CasellaDiTesto 102">
            <a:extLst>
              <a:ext uri="{FF2B5EF4-FFF2-40B4-BE49-F238E27FC236}">
                <a16:creationId xmlns:a16="http://schemas.microsoft.com/office/drawing/2014/main" id="{6F44EF3C-DED9-410B-AA63-C0FA5D09594A}"/>
              </a:ext>
            </a:extLst>
          </p:cNvPr>
          <p:cNvSpPr txBox="1"/>
          <p:nvPr/>
        </p:nvSpPr>
        <p:spPr>
          <a:xfrm>
            <a:off x="3165401" y="2071278"/>
            <a:ext cx="14050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F 2014-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F 2021-2027</a:t>
            </a:r>
          </a:p>
        </p:txBody>
      </p:sp>
      <p:sp>
        <p:nvSpPr>
          <p:cNvPr id="104" name="CasellaDiTesto 103">
            <a:extLst>
              <a:ext uri="{FF2B5EF4-FFF2-40B4-BE49-F238E27FC236}">
                <a16:creationId xmlns:a16="http://schemas.microsoft.com/office/drawing/2014/main" id="{2913B309-C57F-4BB3-862A-68FB9ADC7EE6}"/>
              </a:ext>
            </a:extLst>
          </p:cNvPr>
          <p:cNvSpPr txBox="1"/>
          <p:nvPr/>
        </p:nvSpPr>
        <p:spPr>
          <a:xfrm>
            <a:off x="4588592" y="2092597"/>
            <a:ext cx="127497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E PNRR – M3c1</a:t>
            </a:r>
          </a:p>
        </p:txBody>
      </p:sp>
      <p:sp>
        <p:nvSpPr>
          <p:cNvPr id="105" name="Rettangolo 104">
            <a:extLst>
              <a:ext uri="{FF2B5EF4-FFF2-40B4-BE49-F238E27FC236}">
                <a16:creationId xmlns:a16="http://schemas.microsoft.com/office/drawing/2014/main" id="{25782088-670B-4FC6-9EC6-81B519895F0C}"/>
              </a:ext>
            </a:extLst>
          </p:cNvPr>
          <p:cNvSpPr/>
          <p:nvPr/>
        </p:nvSpPr>
        <p:spPr>
          <a:xfrm>
            <a:off x="4603698" y="2430922"/>
            <a:ext cx="1245638" cy="5408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008E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5</a:t>
            </a:r>
          </a:p>
        </p:txBody>
      </p:sp>
      <p:cxnSp>
        <p:nvCxnSpPr>
          <p:cNvPr id="86" name="Connettore diritto 85">
            <a:extLst>
              <a:ext uri="{FF2B5EF4-FFF2-40B4-BE49-F238E27FC236}">
                <a16:creationId xmlns:a16="http://schemas.microsoft.com/office/drawing/2014/main" id="{042DFFD9-C972-4167-B32D-5FB4B1CD06E9}"/>
              </a:ext>
            </a:extLst>
          </p:cNvPr>
          <p:cNvCxnSpPr>
            <a:cxnSpLocks/>
          </p:cNvCxnSpPr>
          <p:nvPr/>
        </p:nvCxnSpPr>
        <p:spPr>
          <a:xfrm>
            <a:off x="6046960" y="1753403"/>
            <a:ext cx="2700000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6" descr="Larus Pharma nel Mondo – Larus Pharma">
            <a:extLst>
              <a:ext uri="{FF2B5EF4-FFF2-40B4-BE49-F238E27FC236}">
                <a16:creationId xmlns:a16="http://schemas.microsoft.com/office/drawing/2014/main" id="{46E13D67-3BC8-40D7-ACBF-C9C14FCBE0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1677" y="2983808"/>
            <a:ext cx="1064788" cy="1064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0423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https://euc-powerpoint.officeapps.live.com/pods/GetClipboardImage.ashx?Id=a7c6273d-23e2-447d-9c00-b78661db422a&amp;DC=GEU5&amp;pkey=36ce54e4-84c7-4c6a-87c2-2a8198d766f0&amp;wdwaccluster=GEU5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utoShape 4" descr="https://euc-powerpoint.officeapps.live.com/pods/GetClipboardImage.ashx?Id=a7c6273d-23e2-447d-9c00-b78661db422a&amp;DC=GEU5&amp;pkey=36ce54e4-84c7-4c6a-87c2-2a8198d766f0&amp;wdwaccluster=GEU5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utoShape 6" descr="https://euc-powerpoint.officeapps.live.com/pods/GetClipboardImage.ashx?Id=b3b16e04-b5ad-4745-a581-17f66dd766ab&amp;DC=GEU5&amp;pkey=0f2c5f12-ed30-4ac0-b0b9-1696d31cb4aa&amp;wdwaccluster=GEU5"/>
          <p:cNvSpPr>
            <a:spLocks noChangeAspect="1" noChangeArrowheads="1"/>
          </p:cNvSpPr>
          <p:nvPr/>
        </p:nvSpPr>
        <p:spPr bwMode="auto">
          <a:xfrm>
            <a:off x="51752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olo 8">
            <a:extLst>
              <a:ext uri="{FF2B5EF4-FFF2-40B4-BE49-F238E27FC236}">
                <a16:creationId xmlns:a16="http://schemas.microsoft.com/office/drawing/2014/main" id="{53CA4195-9FBC-4FF5-9A0A-F6C2FA641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solidFill>
                  <a:srgbClr val="C8113D"/>
                </a:solidFill>
              </a:rPr>
              <a:t>Gli asset della Re</a:t>
            </a:r>
            <a:r>
              <a:rPr lang="it-IT" sz="2800">
                <a:solidFill>
                  <a:srgbClr val="C8113D"/>
                </a:solidFill>
              </a:rPr>
              <a:t>te Ferroviaria Nazionale</a:t>
            </a:r>
            <a:endParaRPr lang="it-IT"/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9D55439D-18FD-4ED6-10BB-D68F2CF319B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368" y="866367"/>
            <a:ext cx="3541760" cy="390933"/>
          </a:xfrm>
        </p:spPr>
        <p:txBody>
          <a:bodyPr>
            <a:normAutofit lnSpcReduction="10000"/>
          </a:bodyPr>
          <a:lstStyle/>
          <a:p>
            <a:r>
              <a:rPr lang="it-IT" altLang="it-IT" sz="2200">
                <a:solidFill>
                  <a:srgbClr val="006666"/>
                </a:solidFill>
              </a:rPr>
              <a:t>P</a:t>
            </a:r>
            <a:r>
              <a:rPr lang="it-IT" altLang="it-IT" sz="2200">
                <a:solidFill>
                  <a:srgbClr val="006666"/>
                </a:solidFill>
                <a:latin typeface="+mn-lt"/>
                <a:ea typeface="+mn-ea"/>
                <a:cs typeface="+mn-cs"/>
              </a:rPr>
              <a:t>rincipali indicatori 2022</a:t>
            </a:r>
            <a:endParaRPr lang="it-IT" sz="2200">
              <a:solidFill>
                <a:srgbClr val="006666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84" name="Gruppo 183">
            <a:extLst>
              <a:ext uri="{FF2B5EF4-FFF2-40B4-BE49-F238E27FC236}">
                <a16:creationId xmlns:a16="http://schemas.microsoft.com/office/drawing/2014/main" id="{9E4A6003-93F8-4714-BC31-253E57DC55F6}"/>
              </a:ext>
            </a:extLst>
          </p:cNvPr>
          <p:cNvGrpSpPr/>
          <p:nvPr/>
        </p:nvGrpSpPr>
        <p:grpSpPr>
          <a:xfrm>
            <a:off x="4268350" y="1237608"/>
            <a:ext cx="3850056" cy="4808539"/>
            <a:chOff x="3427834" y="1542914"/>
            <a:chExt cx="4824316" cy="4606711"/>
          </a:xfrm>
        </p:grpSpPr>
        <p:sp>
          <p:nvSpPr>
            <p:cNvPr id="185" name="Freeform 439">
              <a:extLst>
                <a:ext uri="{FF2B5EF4-FFF2-40B4-BE49-F238E27FC236}">
                  <a16:creationId xmlns:a16="http://schemas.microsoft.com/office/drawing/2014/main" id="{84ECE202-BA6D-4293-A29E-245451F091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3045" y="4138907"/>
              <a:ext cx="694308" cy="1066632"/>
            </a:xfrm>
            <a:custGeom>
              <a:avLst/>
              <a:gdLst/>
              <a:ahLst/>
              <a:cxnLst>
                <a:cxn ang="0">
                  <a:pos x="361" y="840"/>
                </a:cxn>
                <a:cxn ang="0">
                  <a:pos x="311" y="856"/>
                </a:cxn>
                <a:cxn ang="0">
                  <a:pos x="303" y="926"/>
                </a:cxn>
                <a:cxn ang="0">
                  <a:pos x="258" y="972"/>
                </a:cxn>
                <a:cxn ang="0">
                  <a:pos x="221" y="977"/>
                </a:cxn>
                <a:cxn ang="0">
                  <a:pos x="178" y="974"/>
                </a:cxn>
                <a:cxn ang="0">
                  <a:pos x="159" y="968"/>
                </a:cxn>
                <a:cxn ang="0">
                  <a:pos x="142" y="914"/>
                </a:cxn>
                <a:cxn ang="0">
                  <a:pos x="103" y="934"/>
                </a:cxn>
                <a:cxn ang="0">
                  <a:pos x="73" y="920"/>
                </a:cxn>
                <a:cxn ang="0">
                  <a:pos x="97" y="890"/>
                </a:cxn>
                <a:cxn ang="0">
                  <a:pos x="99" y="884"/>
                </a:cxn>
                <a:cxn ang="0">
                  <a:pos x="79" y="848"/>
                </a:cxn>
                <a:cxn ang="0">
                  <a:pos x="88" y="792"/>
                </a:cxn>
                <a:cxn ang="0">
                  <a:pos x="84" y="744"/>
                </a:cxn>
                <a:cxn ang="0">
                  <a:pos x="112" y="684"/>
                </a:cxn>
                <a:cxn ang="0">
                  <a:pos x="103" y="630"/>
                </a:cxn>
                <a:cxn ang="0">
                  <a:pos x="129" y="620"/>
                </a:cxn>
                <a:cxn ang="0">
                  <a:pos x="120" y="559"/>
                </a:cxn>
                <a:cxn ang="0">
                  <a:pos x="112" y="561"/>
                </a:cxn>
                <a:cxn ang="0">
                  <a:pos x="88" y="533"/>
                </a:cxn>
                <a:cxn ang="0">
                  <a:pos x="105" y="499"/>
                </a:cxn>
                <a:cxn ang="0">
                  <a:pos x="112" y="441"/>
                </a:cxn>
                <a:cxn ang="0">
                  <a:pos x="103" y="387"/>
                </a:cxn>
                <a:cxn ang="0">
                  <a:pos x="90" y="343"/>
                </a:cxn>
                <a:cxn ang="0">
                  <a:pos x="62" y="285"/>
                </a:cxn>
                <a:cxn ang="0">
                  <a:pos x="34" y="283"/>
                </a:cxn>
                <a:cxn ang="0">
                  <a:pos x="11" y="287"/>
                </a:cxn>
                <a:cxn ang="0">
                  <a:pos x="24" y="240"/>
                </a:cxn>
                <a:cxn ang="0">
                  <a:pos x="13" y="198"/>
                </a:cxn>
                <a:cxn ang="0">
                  <a:pos x="30" y="148"/>
                </a:cxn>
                <a:cxn ang="0">
                  <a:pos x="36" y="128"/>
                </a:cxn>
                <a:cxn ang="0">
                  <a:pos x="75" y="174"/>
                </a:cxn>
                <a:cxn ang="0">
                  <a:pos x="148" y="176"/>
                </a:cxn>
                <a:cxn ang="0">
                  <a:pos x="210" y="142"/>
                </a:cxn>
                <a:cxn ang="0">
                  <a:pos x="253" y="96"/>
                </a:cxn>
                <a:cxn ang="0">
                  <a:pos x="294" y="62"/>
                </a:cxn>
                <a:cxn ang="0">
                  <a:pos x="348" y="40"/>
                </a:cxn>
                <a:cxn ang="0">
                  <a:pos x="350" y="10"/>
                </a:cxn>
                <a:cxn ang="0">
                  <a:pos x="386" y="16"/>
                </a:cxn>
                <a:cxn ang="0">
                  <a:pos x="408" y="30"/>
                </a:cxn>
                <a:cxn ang="0">
                  <a:pos x="429" y="44"/>
                </a:cxn>
                <a:cxn ang="0">
                  <a:pos x="457" y="48"/>
                </a:cxn>
                <a:cxn ang="0">
                  <a:pos x="479" y="58"/>
                </a:cxn>
                <a:cxn ang="0">
                  <a:pos x="468" y="92"/>
                </a:cxn>
                <a:cxn ang="0">
                  <a:pos x="483" y="104"/>
                </a:cxn>
                <a:cxn ang="0">
                  <a:pos x="505" y="112"/>
                </a:cxn>
                <a:cxn ang="0">
                  <a:pos x="481" y="136"/>
                </a:cxn>
                <a:cxn ang="0">
                  <a:pos x="477" y="140"/>
                </a:cxn>
                <a:cxn ang="0">
                  <a:pos x="502" y="152"/>
                </a:cxn>
                <a:cxn ang="0">
                  <a:pos x="535" y="176"/>
                </a:cxn>
                <a:cxn ang="0">
                  <a:pos x="535" y="218"/>
                </a:cxn>
                <a:cxn ang="0">
                  <a:pos x="558" y="281"/>
                </a:cxn>
                <a:cxn ang="0">
                  <a:pos x="556" y="343"/>
                </a:cxn>
                <a:cxn ang="0">
                  <a:pos x="509" y="403"/>
                </a:cxn>
                <a:cxn ang="0">
                  <a:pos x="526" y="473"/>
                </a:cxn>
                <a:cxn ang="0">
                  <a:pos x="528" y="533"/>
                </a:cxn>
                <a:cxn ang="0">
                  <a:pos x="528" y="585"/>
                </a:cxn>
                <a:cxn ang="0">
                  <a:pos x="520" y="654"/>
                </a:cxn>
                <a:cxn ang="0">
                  <a:pos x="511" y="728"/>
                </a:cxn>
                <a:cxn ang="0">
                  <a:pos x="500" y="798"/>
                </a:cxn>
                <a:cxn ang="0">
                  <a:pos x="487" y="854"/>
                </a:cxn>
                <a:cxn ang="0">
                  <a:pos x="470" y="882"/>
                </a:cxn>
              </a:cxnLst>
              <a:rect l="0" t="0" r="r" b="b"/>
              <a:pathLst>
                <a:path w="573" h="987">
                  <a:moveTo>
                    <a:pt x="425" y="866"/>
                  </a:moveTo>
                  <a:lnTo>
                    <a:pt x="427" y="866"/>
                  </a:lnTo>
                  <a:lnTo>
                    <a:pt x="425" y="864"/>
                  </a:lnTo>
                  <a:lnTo>
                    <a:pt x="423" y="862"/>
                  </a:lnTo>
                  <a:lnTo>
                    <a:pt x="421" y="862"/>
                  </a:lnTo>
                  <a:lnTo>
                    <a:pt x="421" y="860"/>
                  </a:lnTo>
                  <a:lnTo>
                    <a:pt x="421" y="860"/>
                  </a:lnTo>
                  <a:lnTo>
                    <a:pt x="419" y="860"/>
                  </a:lnTo>
                  <a:lnTo>
                    <a:pt x="417" y="858"/>
                  </a:lnTo>
                  <a:lnTo>
                    <a:pt x="414" y="860"/>
                  </a:lnTo>
                  <a:lnTo>
                    <a:pt x="414" y="858"/>
                  </a:lnTo>
                  <a:lnTo>
                    <a:pt x="412" y="856"/>
                  </a:lnTo>
                  <a:lnTo>
                    <a:pt x="410" y="856"/>
                  </a:lnTo>
                  <a:lnTo>
                    <a:pt x="410" y="854"/>
                  </a:lnTo>
                  <a:lnTo>
                    <a:pt x="410" y="852"/>
                  </a:lnTo>
                  <a:lnTo>
                    <a:pt x="408" y="852"/>
                  </a:lnTo>
                  <a:lnTo>
                    <a:pt x="406" y="850"/>
                  </a:lnTo>
                  <a:lnTo>
                    <a:pt x="406" y="850"/>
                  </a:lnTo>
                  <a:lnTo>
                    <a:pt x="406" y="850"/>
                  </a:lnTo>
                  <a:lnTo>
                    <a:pt x="404" y="848"/>
                  </a:lnTo>
                  <a:lnTo>
                    <a:pt x="402" y="848"/>
                  </a:lnTo>
                  <a:lnTo>
                    <a:pt x="402" y="848"/>
                  </a:lnTo>
                  <a:lnTo>
                    <a:pt x="399" y="848"/>
                  </a:lnTo>
                  <a:lnTo>
                    <a:pt x="397" y="846"/>
                  </a:lnTo>
                  <a:lnTo>
                    <a:pt x="397" y="844"/>
                  </a:lnTo>
                  <a:lnTo>
                    <a:pt x="395" y="844"/>
                  </a:lnTo>
                  <a:lnTo>
                    <a:pt x="393" y="844"/>
                  </a:lnTo>
                  <a:lnTo>
                    <a:pt x="391" y="844"/>
                  </a:lnTo>
                  <a:lnTo>
                    <a:pt x="389" y="844"/>
                  </a:lnTo>
                  <a:lnTo>
                    <a:pt x="386" y="844"/>
                  </a:lnTo>
                  <a:lnTo>
                    <a:pt x="386" y="844"/>
                  </a:lnTo>
                  <a:lnTo>
                    <a:pt x="384" y="842"/>
                  </a:lnTo>
                  <a:lnTo>
                    <a:pt x="382" y="844"/>
                  </a:lnTo>
                  <a:lnTo>
                    <a:pt x="380" y="844"/>
                  </a:lnTo>
                  <a:lnTo>
                    <a:pt x="378" y="842"/>
                  </a:lnTo>
                  <a:lnTo>
                    <a:pt x="376" y="842"/>
                  </a:lnTo>
                  <a:lnTo>
                    <a:pt x="376" y="840"/>
                  </a:lnTo>
                  <a:lnTo>
                    <a:pt x="374" y="838"/>
                  </a:lnTo>
                  <a:lnTo>
                    <a:pt x="371" y="838"/>
                  </a:lnTo>
                  <a:lnTo>
                    <a:pt x="369" y="838"/>
                  </a:lnTo>
                  <a:lnTo>
                    <a:pt x="367" y="838"/>
                  </a:lnTo>
                  <a:lnTo>
                    <a:pt x="367" y="838"/>
                  </a:lnTo>
                  <a:lnTo>
                    <a:pt x="365" y="840"/>
                  </a:lnTo>
                  <a:lnTo>
                    <a:pt x="363" y="840"/>
                  </a:lnTo>
                  <a:lnTo>
                    <a:pt x="361" y="840"/>
                  </a:lnTo>
                  <a:lnTo>
                    <a:pt x="359" y="842"/>
                  </a:lnTo>
                  <a:lnTo>
                    <a:pt x="356" y="842"/>
                  </a:lnTo>
                  <a:lnTo>
                    <a:pt x="356" y="844"/>
                  </a:lnTo>
                  <a:lnTo>
                    <a:pt x="354" y="844"/>
                  </a:lnTo>
                  <a:lnTo>
                    <a:pt x="352" y="846"/>
                  </a:lnTo>
                  <a:lnTo>
                    <a:pt x="352" y="848"/>
                  </a:lnTo>
                  <a:lnTo>
                    <a:pt x="350" y="848"/>
                  </a:lnTo>
                  <a:lnTo>
                    <a:pt x="350" y="850"/>
                  </a:lnTo>
                  <a:lnTo>
                    <a:pt x="348" y="852"/>
                  </a:lnTo>
                  <a:lnTo>
                    <a:pt x="350" y="854"/>
                  </a:lnTo>
                  <a:lnTo>
                    <a:pt x="352" y="854"/>
                  </a:lnTo>
                  <a:lnTo>
                    <a:pt x="352" y="856"/>
                  </a:lnTo>
                  <a:lnTo>
                    <a:pt x="350" y="856"/>
                  </a:lnTo>
                  <a:lnTo>
                    <a:pt x="350" y="856"/>
                  </a:lnTo>
                  <a:lnTo>
                    <a:pt x="348" y="858"/>
                  </a:lnTo>
                  <a:lnTo>
                    <a:pt x="348" y="856"/>
                  </a:lnTo>
                  <a:lnTo>
                    <a:pt x="346" y="856"/>
                  </a:lnTo>
                  <a:lnTo>
                    <a:pt x="344" y="858"/>
                  </a:lnTo>
                  <a:lnTo>
                    <a:pt x="344" y="856"/>
                  </a:lnTo>
                  <a:lnTo>
                    <a:pt x="341" y="854"/>
                  </a:lnTo>
                  <a:lnTo>
                    <a:pt x="341" y="854"/>
                  </a:lnTo>
                  <a:lnTo>
                    <a:pt x="339" y="852"/>
                  </a:lnTo>
                  <a:lnTo>
                    <a:pt x="337" y="850"/>
                  </a:lnTo>
                  <a:lnTo>
                    <a:pt x="337" y="850"/>
                  </a:lnTo>
                  <a:lnTo>
                    <a:pt x="337" y="848"/>
                  </a:lnTo>
                  <a:lnTo>
                    <a:pt x="335" y="846"/>
                  </a:lnTo>
                  <a:lnTo>
                    <a:pt x="333" y="846"/>
                  </a:lnTo>
                  <a:lnTo>
                    <a:pt x="333" y="846"/>
                  </a:lnTo>
                  <a:lnTo>
                    <a:pt x="331" y="844"/>
                  </a:lnTo>
                  <a:lnTo>
                    <a:pt x="331" y="844"/>
                  </a:lnTo>
                  <a:lnTo>
                    <a:pt x="331" y="846"/>
                  </a:lnTo>
                  <a:lnTo>
                    <a:pt x="328" y="844"/>
                  </a:lnTo>
                  <a:lnTo>
                    <a:pt x="328" y="844"/>
                  </a:lnTo>
                  <a:lnTo>
                    <a:pt x="326" y="844"/>
                  </a:lnTo>
                  <a:lnTo>
                    <a:pt x="326" y="844"/>
                  </a:lnTo>
                  <a:lnTo>
                    <a:pt x="324" y="844"/>
                  </a:lnTo>
                  <a:lnTo>
                    <a:pt x="324" y="846"/>
                  </a:lnTo>
                  <a:lnTo>
                    <a:pt x="322" y="848"/>
                  </a:lnTo>
                  <a:lnTo>
                    <a:pt x="320" y="848"/>
                  </a:lnTo>
                  <a:lnTo>
                    <a:pt x="318" y="850"/>
                  </a:lnTo>
                  <a:lnTo>
                    <a:pt x="318" y="850"/>
                  </a:lnTo>
                  <a:lnTo>
                    <a:pt x="316" y="852"/>
                  </a:lnTo>
                  <a:lnTo>
                    <a:pt x="313" y="852"/>
                  </a:lnTo>
                  <a:lnTo>
                    <a:pt x="313" y="854"/>
                  </a:lnTo>
                  <a:lnTo>
                    <a:pt x="311" y="856"/>
                  </a:lnTo>
                  <a:lnTo>
                    <a:pt x="311" y="858"/>
                  </a:lnTo>
                  <a:lnTo>
                    <a:pt x="309" y="858"/>
                  </a:lnTo>
                  <a:lnTo>
                    <a:pt x="307" y="860"/>
                  </a:lnTo>
                  <a:lnTo>
                    <a:pt x="307" y="862"/>
                  </a:lnTo>
                  <a:lnTo>
                    <a:pt x="305" y="862"/>
                  </a:lnTo>
                  <a:lnTo>
                    <a:pt x="305" y="864"/>
                  </a:lnTo>
                  <a:lnTo>
                    <a:pt x="303" y="866"/>
                  </a:lnTo>
                  <a:lnTo>
                    <a:pt x="303" y="868"/>
                  </a:lnTo>
                  <a:lnTo>
                    <a:pt x="303" y="868"/>
                  </a:lnTo>
                  <a:lnTo>
                    <a:pt x="301" y="870"/>
                  </a:lnTo>
                  <a:lnTo>
                    <a:pt x="301" y="872"/>
                  </a:lnTo>
                  <a:lnTo>
                    <a:pt x="298" y="874"/>
                  </a:lnTo>
                  <a:lnTo>
                    <a:pt x="298" y="876"/>
                  </a:lnTo>
                  <a:lnTo>
                    <a:pt x="298" y="878"/>
                  </a:lnTo>
                  <a:lnTo>
                    <a:pt x="298" y="878"/>
                  </a:lnTo>
                  <a:lnTo>
                    <a:pt x="296" y="880"/>
                  </a:lnTo>
                  <a:lnTo>
                    <a:pt x="296" y="882"/>
                  </a:lnTo>
                  <a:lnTo>
                    <a:pt x="296" y="884"/>
                  </a:lnTo>
                  <a:lnTo>
                    <a:pt x="298" y="886"/>
                  </a:lnTo>
                  <a:lnTo>
                    <a:pt x="298" y="888"/>
                  </a:lnTo>
                  <a:lnTo>
                    <a:pt x="298" y="890"/>
                  </a:lnTo>
                  <a:lnTo>
                    <a:pt x="298" y="890"/>
                  </a:lnTo>
                  <a:lnTo>
                    <a:pt x="298" y="892"/>
                  </a:lnTo>
                  <a:lnTo>
                    <a:pt x="298" y="894"/>
                  </a:lnTo>
                  <a:lnTo>
                    <a:pt x="298" y="896"/>
                  </a:lnTo>
                  <a:lnTo>
                    <a:pt x="301" y="898"/>
                  </a:lnTo>
                  <a:lnTo>
                    <a:pt x="301" y="900"/>
                  </a:lnTo>
                  <a:lnTo>
                    <a:pt x="303" y="900"/>
                  </a:lnTo>
                  <a:lnTo>
                    <a:pt x="303" y="902"/>
                  </a:lnTo>
                  <a:lnTo>
                    <a:pt x="305" y="904"/>
                  </a:lnTo>
                  <a:lnTo>
                    <a:pt x="305" y="906"/>
                  </a:lnTo>
                  <a:lnTo>
                    <a:pt x="307" y="906"/>
                  </a:lnTo>
                  <a:lnTo>
                    <a:pt x="309" y="908"/>
                  </a:lnTo>
                  <a:lnTo>
                    <a:pt x="309" y="910"/>
                  </a:lnTo>
                  <a:lnTo>
                    <a:pt x="309" y="910"/>
                  </a:lnTo>
                  <a:lnTo>
                    <a:pt x="309" y="912"/>
                  </a:lnTo>
                  <a:lnTo>
                    <a:pt x="307" y="914"/>
                  </a:lnTo>
                  <a:lnTo>
                    <a:pt x="307" y="916"/>
                  </a:lnTo>
                  <a:lnTo>
                    <a:pt x="305" y="918"/>
                  </a:lnTo>
                  <a:lnTo>
                    <a:pt x="305" y="918"/>
                  </a:lnTo>
                  <a:lnTo>
                    <a:pt x="305" y="920"/>
                  </a:lnTo>
                  <a:lnTo>
                    <a:pt x="303" y="920"/>
                  </a:lnTo>
                  <a:lnTo>
                    <a:pt x="303" y="922"/>
                  </a:lnTo>
                  <a:lnTo>
                    <a:pt x="303" y="924"/>
                  </a:lnTo>
                  <a:lnTo>
                    <a:pt x="303" y="926"/>
                  </a:lnTo>
                  <a:lnTo>
                    <a:pt x="303" y="928"/>
                  </a:lnTo>
                  <a:lnTo>
                    <a:pt x="301" y="930"/>
                  </a:lnTo>
                  <a:lnTo>
                    <a:pt x="301" y="932"/>
                  </a:lnTo>
                  <a:lnTo>
                    <a:pt x="303" y="932"/>
                  </a:lnTo>
                  <a:lnTo>
                    <a:pt x="301" y="934"/>
                  </a:lnTo>
                  <a:lnTo>
                    <a:pt x="301" y="934"/>
                  </a:lnTo>
                  <a:lnTo>
                    <a:pt x="298" y="934"/>
                  </a:lnTo>
                  <a:lnTo>
                    <a:pt x="298" y="936"/>
                  </a:lnTo>
                  <a:lnTo>
                    <a:pt x="298" y="938"/>
                  </a:lnTo>
                  <a:lnTo>
                    <a:pt x="301" y="940"/>
                  </a:lnTo>
                  <a:lnTo>
                    <a:pt x="301" y="940"/>
                  </a:lnTo>
                  <a:lnTo>
                    <a:pt x="298" y="940"/>
                  </a:lnTo>
                  <a:lnTo>
                    <a:pt x="298" y="938"/>
                  </a:lnTo>
                  <a:lnTo>
                    <a:pt x="296" y="938"/>
                  </a:lnTo>
                  <a:lnTo>
                    <a:pt x="294" y="938"/>
                  </a:lnTo>
                  <a:lnTo>
                    <a:pt x="294" y="938"/>
                  </a:lnTo>
                  <a:lnTo>
                    <a:pt x="292" y="940"/>
                  </a:lnTo>
                  <a:lnTo>
                    <a:pt x="292" y="940"/>
                  </a:lnTo>
                  <a:lnTo>
                    <a:pt x="292" y="942"/>
                  </a:lnTo>
                  <a:lnTo>
                    <a:pt x="292" y="942"/>
                  </a:lnTo>
                  <a:lnTo>
                    <a:pt x="290" y="944"/>
                  </a:lnTo>
                  <a:lnTo>
                    <a:pt x="288" y="946"/>
                  </a:lnTo>
                  <a:lnTo>
                    <a:pt x="288" y="946"/>
                  </a:lnTo>
                  <a:lnTo>
                    <a:pt x="286" y="948"/>
                  </a:lnTo>
                  <a:lnTo>
                    <a:pt x="283" y="950"/>
                  </a:lnTo>
                  <a:lnTo>
                    <a:pt x="283" y="950"/>
                  </a:lnTo>
                  <a:lnTo>
                    <a:pt x="281" y="952"/>
                  </a:lnTo>
                  <a:lnTo>
                    <a:pt x="281" y="952"/>
                  </a:lnTo>
                  <a:lnTo>
                    <a:pt x="279" y="954"/>
                  </a:lnTo>
                  <a:lnTo>
                    <a:pt x="277" y="954"/>
                  </a:lnTo>
                  <a:lnTo>
                    <a:pt x="275" y="956"/>
                  </a:lnTo>
                  <a:lnTo>
                    <a:pt x="275" y="956"/>
                  </a:lnTo>
                  <a:lnTo>
                    <a:pt x="273" y="958"/>
                  </a:lnTo>
                  <a:lnTo>
                    <a:pt x="273" y="960"/>
                  </a:lnTo>
                  <a:lnTo>
                    <a:pt x="271" y="960"/>
                  </a:lnTo>
                  <a:lnTo>
                    <a:pt x="268" y="962"/>
                  </a:lnTo>
                  <a:lnTo>
                    <a:pt x="266" y="962"/>
                  </a:lnTo>
                  <a:lnTo>
                    <a:pt x="266" y="964"/>
                  </a:lnTo>
                  <a:lnTo>
                    <a:pt x="264" y="966"/>
                  </a:lnTo>
                  <a:lnTo>
                    <a:pt x="262" y="966"/>
                  </a:lnTo>
                  <a:lnTo>
                    <a:pt x="262" y="968"/>
                  </a:lnTo>
                  <a:lnTo>
                    <a:pt x="262" y="970"/>
                  </a:lnTo>
                  <a:lnTo>
                    <a:pt x="260" y="972"/>
                  </a:lnTo>
                  <a:lnTo>
                    <a:pt x="260" y="972"/>
                  </a:lnTo>
                  <a:lnTo>
                    <a:pt x="258" y="972"/>
                  </a:lnTo>
                  <a:lnTo>
                    <a:pt x="258" y="974"/>
                  </a:lnTo>
                  <a:lnTo>
                    <a:pt x="255" y="974"/>
                  </a:lnTo>
                  <a:lnTo>
                    <a:pt x="255" y="974"/>
                  </a:lnTo>
                  <a:lnTo>
                    <a:pt x="253" y="975"/>
                  </a:lnTo>
                  <a:lnTo>
                    <a:pt x="253" y="975"/>
                  </a:lnTo>
                  <a:lnTo>
                    <a:pt x="251" y="975"/>
                  </a:lnTo>
                  <a:lnTo>
                    <a:pt x="249" y="977"/>
                  </a:lnTo>
                  <a:lnTo>
                    <a:pt x="249" y="977"/>
                  </a:lnTo>
                  <a:lnTo>
                    <a:pt x="247" y="979"/>
                  </a:lnTo>
                  <a:lnTo>
                    <a:pt x="247" y="979"/>
                  </a:lnTo>
                  <a:lnTo>
                    <a:pt x="245" y="981"/>
                  </a:lnTo>
                  <a:lnTo>
                    <a:pt x="245" y="983"/>
                  </a:lnTo>
                  <a:lnTo>
                    <a:pt x="243" y="983"/>
                  </a:lnTo>
                  <a:lnTo>
                    <a:pt x="243" y="983"/>
                  </a:lnTo>
                  <a:lnTo>
                    <a:pt x="240" y="983"/>
                  </a:lnTo>
                  <a:lnTo>
                    <a:pt x="240" y="983"/>
                  </a:lnTo>
                  <a:lnTo>
                    <a:pt x="238" y="983"/>
                  </a:lnTo>
                  <a:lnTo>
                    <a:pt x="238" y="981"/>
                  </a:lnTo>
                  <a:lnTo>
                    <a:pt x="236" y="983"/>
                  </a:lnTo>
                  <a:lnTo>
                    <a:pt x="236" y="983"/>
                  </a:lnTo>
                  <a:lnTo>
                    <a:pt x="236" y="981"/>
                  </a:lnTo>
                  <a:lnTo>
                    <a:pt x="234" y="981"/>
                  </a:lnTo>
                  <a:lnTo>
                    <a:pt x="234" y="979"/>
                  </a:lnTo>
                  <a:lnTo>
                    <a:pt x="234" y="979"/>
                  </a:lnTo>
                  <a:lnTo>
                    <a:pt x="234" y="977"/>
                  </a:lnTo>
                  <a:lnTo>
                    <a:pt x="232" y="977"/>
                  </a:lnTo>
                  <a:lnTo>
                    <a:pt x="232" y="977"/>
                  </a:lnTo>
                  <a:lnTo>
                    <a:pt x="232" y="975"/>
                  </a:lnTo>
                  <a:lnTo>
                    <a:pt x="230" y="975"/>
                  </a:lnTo>
                  <a:lnTo>
                    <a:pt x="228" y="975"/>
                  </a:lnTo>
                  <a:lnTo>
                    <a:pt x="225" y="975"/>
                  </a:lnTo>
                  <a:lnTo>
                    <a:pt x="225" y="975"/>
                  </a:lnTo>
                  <a:lnTo>
                    <a:pt x="225" y="974"/>
                  </a:lnTo>
                  <a:lnTo>
                    <a:pt x="225" y="972"/>
                  </a:lnTo>
                  <a:lnTo>
                    <a:pt x="225" y="974"/>
                  </a:lnTo>
                  <a:lnTo>
                    <a:pt x="225" y="974"/>
                  </a:lnTo>
                  <a:lnTo>
                    <a:pt x="223" y="975"/>
                  </a:lnTo>
                  <a:lnTo>
                    <a:pt x="223" y="977"/>
                  </a:lnTo>
                  <a:lnTo>
                    <a:pt x="223" y="977"/>
                  </a:lnTo>
                  <a:lnTo>
                    <a:pt x="225" y="979"/>
                  </a:lnTo>
                  <a:lnTo>
                    <a:pt x="223" y="979"/>
                  </a:lnTo>
                  <a:lnTo>
                    <a:pt x="223" y="979"/>
                  </a:lnTo>
                  <a:lnTo>
                    <a:pt x="223" y="977"/>
                  </a:lnTo>
                  <a:lnTo>
                    <a:pt x="223" y="977"/>
                  </a:lnTo>
                  <a:lnTo>
                    <a:pt x="221" y="977"/>
                  </a:lnTo>
                  <a:lnTo>
                    <a:pt x="221" y="975"/>
                  </a:lnTo>
                  <a:lnTo>
                    <a:pt x="219" y="975"/>
                  </a:lnTo>
                  <a:lnTo>
                    <a:pt x="219" y="974"/>
                  </a:lnTo>
                  <a:lnTo>
                    <a:pt x="217" y="974"/>
                  </a:lnTo>
                  <a:lnTo>
                    <a:pt x="217" y="972"/>
                  </a:lnTo>
                  <a:lnTo>
                    <a:pt x="217" y="972"/>
                  </a:lnTo>
                  <a:lnTo>
                    <a:pt x="217" y="970"/>
                  </a:lnTo>
                  <a:lnTo>
                    <a:pt x="217" y="970"/>
                  </a:lnTo>
                  <a:lnTo>
                    <a:pt x="217" y="968"/>
                  </a:lnTo>
                  <a:lnTo>
                    <a:pt x="215" y="968"/>
                  </a:lnTo>
                  <a:lnTo>
                    <a:pt x="215" y="968"/>
                  </a:lnTo>
                  <a:lnTo>
                    <a:pt x="213" y="968"/>
                  </a:lnTo>
                  <a:lnTo>
                    <a:pt x="210" y="966"/>
                  </a:lnTo>
                  <a:lnTo>
                    <a:pt x="210" y="966"/>
                  </a:lnTo>
                  <a:lnTo>
                    <a:pt x="208" y="964"/>
                  </a:lnTo>
                  <a:lnTo>
                    <a:pt x="206" y="964"/>
                  </a:lnTo>
                  <a:lnTo>
                    <a:pt x="204" y="964"/>
                  </a:lnTo>
                  <a:lnTo>
                    <a:pt x="204" y="962"/>
                  </a:lnTo>
                  <a:lnTo>
                    <a:pt x="202" y="962"/>
                  </a:lnTo>
                  <a:lnTo>
                    <a:pt x="200" y="960"/>
                  </a:lnTo>
                  <a:lnTo>
                    <a:pt x="200" y="960"/>
                  </a:lnTo>
                  <a:lnTo>
                    <a:pt x="197" y="958"/>
                  </a:lnTo>
                  <a:lnTo>
                    <a:pt x="197" y="960"/>
                  </a:lnTo>
                  <a:lnTo>
                    <a:pt x="197" y="960"/>
                  </a:lnTo>
                  <a:lnTo>
                    <a:pt x="195" y="962"/>
                  </a:lnTo>
                  <a:lnTo>
                    <a:pt x="195" y="964"/>
                  </a:lnTo>
                  <a:lnTo>
                    <a:pt x="195" y="964"/>
                  </a:lnTo>
                  <a:lnTo>
                    <a:pt x="193" y="964"/>
                  </a:lnTo>
                  <a:lnTo>
                    <a:pt x="193" y="966"/>
                  </a:lnTo>
                  <a:lnTo>
                    <a:pt x="191" y="966"/>
                  </a:lnTo>
                  <a:lnTo>
                    <a:pt x="191" y="966"/>
                  </a:lnTo>
                  <a:lnTo>
                    <a:pt x="191" y="966"/>
                  </a:lnTo>
                  <a:lnTo>
                    <a:pt x="189" y="966"/>
                  </a:lnTo>
                  <a:lnTo>
                    <a:pt x="187" y="966"/>
                  </a:lnTo>
                  <a:lnTo>
                    <a:pt x="185" y="968"/>
                  </a:lnTo>
                  <a:lnTo>
                    <a:pt x="185" y="968"/>
                  </a:lnTo>
                  <a:lnTo>
                    <a:pt x="182" y="970"/>
                  </a:lnTo>
                  <a:lnTo>
                    <a:pt x="180" y="970"/>
                  </a:lnTo>
                  <a:lnTo>
                    <a:pt x="180" y="970"/>
                  </a:lnTo>
                  <a:lnTo>
                    <a:pt x="178" y="970"/>
                  </a:lnTo>
                  <a:lnTo>
                    <a:pt x="176" y="970"/>
                  </a:lnTo>
                  <a:lnTo>
                    <a:pt x="176" y="970"/>
                  </a:lnTo>
                  <a:lnTo>
                    <a:pt x="178" y="972"/>
                  </a:lnTo>
                  <a:lnTo>
                    <a:pt x="178" y="974"/>
                  </a:lnTo>
                  <a:lnTo>
                    <a:pt x="178" y="974"/>
                  </a:lnTo>
                  <a:lnTo>
                    <a:pt x="178" y="975"/>
                  </a:lnTo>
                  <a:lnTo>
                    <a:pt x="176" y="975"/>
                  </a:lnTo>
                  <a:lnTo>
                    <a:pt x="174" y="975"/>
                  </a:lnTo>
                  <a:lnTo>
                    <a:pt x="174" y="974"/>
                  </a:lnTo>
                  <a:lnTo>
                    <a:pt x="172" y="975"/>
                  </a:lnTo>
                  <a:lnTo>
                    <a:pt x="172" y="977"/>
                  </a:lnTo>
                  <a:lnTo>
                    <a:pt x="172" y="977"/>
                  </a:lnTo>
                  <a:lnTo>
                    <a:pt x="172" y="979"/>
                  </a:lnTo>
                  <a:lnTo>
                    <a:pt x="174" y="979"/>
                  </a:lnTo>
                  <a:lnTo>
                    <a:pt x="176" y="981"/>
                  </a:lnTo>
                  <a:lnTo>
                    <a:pt x="174" y="981"/>
                  </a:lnTo>
                  <a:lnTo>
                    <a:pt x="174" y="981"/>
                  </a:lnTo>
                  <a:lnTo>
                    <a:pt x="174" y="983"/>
                  </a:lnTo>
                  <a:lnTo>
                    <a:pt x="174" y="985"/>
                  </a:lnTo>
                  <a:lnTo>
                    <a:pt x="174" y="985"/>
                  </a:lnTo>
                  <a:lnTo>
                    <a:pt x="172" y="987"/>
                  </a:lnTo>
                  <a:lnTo>
                    <a:pt x="172" y="987"/>
                  </a:lnTo>
                  <a:lnTo>
                    <a:pt x="170" y="987"/>
                  </a:lnTo>
                  <a:lnTo>
                    <a:pt x="167" y="987"/>
                  </a:lnTo>
                  <a:lnTo>
                    <a:pt x="167" y="985"/>
                  </a:lnTo>
                  <a:lnTo>
                    <a:pt x="170" y="985"/>
                  </a:lnTo>
                  <a:lnTo>
                    <a:pt x="170" y="985"/>
                  </a:lnTo>
                  <a:lnTo>
                    <a:pt x="172" y="983"/>
                  </a:lnTo>
                  <a:lnTo>
                    <a:pt x="170" y="983"/>
                  </a:lnTo>
                  <a:lnTo>
                    <a:pt x="170" y="981"/>
                  </a:lnTo>
                  <a:lnTo>
                    <a:pt x="170" y="979"/>
                  </a:lnTo>
                  <a:lnTo>
                    <a:pt x="170" y="977"/>
                  </a:lnTo>
                  <a:lnTo>
                    <a:pt x="172" y="977"/>
                  </a:lnTo>
                  <a:lnTo>
                    <a:pt x="170" y="975"/>
                  </a:lnTo>
                  <a:lnTo>
                    <a:pt x="170" y="975"/>
                  </a:lnTo>
                  <a:lnTo>
                    <a:pt x="167" y="975"/>
                  </a:lnTo>
                  <a:lnTo>
                    <a:pt x="165" y="975"/>
                  </a:lnTo>
                  <a:lnTo>
                    <a:pt x="163" y="975"/>
                  </a:lnTo>
                  <a:lnTo>
                    <a:pt x="163" y="977"/>
                  </a:lnTo>
                  <a:lnTo>
                    <a:pt x="161" y="977"/>
                  </a:lnTo>
                  <a:lnTo>
                    <a:pt x="159" y="977"/>
                  </a:lnTo>
                  <a:lnTo>
                    <a:pt x="159" y="977"/>
                  </a:lnTo>
                  <a:lnTo>
                    <a:pt x="157" y="975"/>
                  </a:lnTo>
                  <a:lnTo>
                    <a:pt x="157" y="975"/>
                  </a:lnTo>
                  <a:lnTo>
                    <a:pt x="157" y="974"/>
                  </a:lnTo>
                  <a:lnTo>
                    <a:pt x="157" y="972"/>
                  </a:lnTo>
                  <a:lnTo>
                    <a:pt x="157" y="972"/>
                  </a:lnTo>
                  <a:lnTo>
                    <a:pt x="159" y="970"/>
                  </a:lnTo>
                  <a:lnTo>
                    <a:pt x="159" y="968"/>
                  </a:lnTo>
                  <a:lnTo>
                    <a:pt x="159" y="968"/>
                  </a:lnTo>
                  <a:lnTo>
                    <a:pt x="161" y="968"/>
                  </a:lnTo>
                  <a:lnTo>
                    <a:pt x="163" y="966"/>
                  </a:lnTo>
                  <a:lnTo>
                    <a:pt x="161" y="964"/>
                  </a:lnTo>
                  <a:lnTo>
                    <a:pt x="161" y="964"/>
                  </a:lnTo>
                  <a:lnTo>
                    <a:pt x="161" y="962"/>
                  </a:lnTo>
                  <a:lnTo>
                    <a:pt x="163" y="960"/>
                  </a:lnTo>
                  <a:lnTo>
                    <a:pt x="163" y="958"/>
                  </a:lnTo>
                  <a:lnTo>
                    <a:pt x="163" y="956"/>
                  </a:lnTo>
                  <a:lnTo>
                    <a:pt x="161" y="954"/>
                  </a:lnTo>
                  <a:lnTo>
                    <a:pt x="161" y="952"/>
                  </a:lnTo>
                  <a:lnTo>
                    <a:pt x="161" y="952"/>
                  </a:lnTo>
                  <a:lnTo>
                    <a:pt x="159" y="950"/>
                  </a:lnTo>
                  <a:lnTo>
                    <a:pt x="157" y="948"/>
                  </a:lnTo>
                  <a:lnTo>
                    <a:pt x="157" y="948"/>
                  </a:lnTo>
                  <a:lnTo>
                    <a:pt x="155" y="948"/>
                  </a:lnTo>
                  <a:lnTo>
                    <a:pt x="152" y="948"/>
                  </a:lnTo>
                  <a:lnTo>
                    <a:pt x="152" y="950"/>
                  </a:lnTo>
                  <a:lnTo>
                    <a:pt x="152" y="950"/>
                  </a:lnTo>
                  <a:lnTo>
                    <a:pt x="150" y="950"/>
                  </a:lnTo>
                  <a:lnTo>
                    <a:pt x="150" y="950"/>
                  </a:lnTo>
                  <a:lnTo>
                    <a:pt x="150" y="948"/>
                  </a:lnTo>
                  <a:lnTo>
                    <a:pt x="150" y="946"/>
                  </a:lnTo>
                  <a:lnTo>
                    <a:pt x="150" y="944"/>
                  </a:lnTo>
                  <a:lnTo>
                    <a:pt x="148" y="944"/>
                  </a:lnTo>
                  <a:lnTo>
                    <a:pt x="146" y="942"/>
                  </a:lnTo>
                  <a:lnTo>
                    <a:pt x="146" y="942"/>
                  </a:lnTo>
                  <a:lnTo>
                    <a:pt x="146" y="940"/>
                  </a:lnTo>
                  <a:lnTo>
                    <a:pt x="146" y="940"/>
                  </a:lnTo>
                  <a:lnTo>
                    <a:pt x="146" y="938"/>
                  </a:lnTo>
                  <a:lnTo>
                    <a:pt x="146" y="936"/>
                  </a:lnTo>
                  <a:lnTo>
                    <a:pt x="144" y="936"/>
                  </a:lnTo>
                  <a:lnTo>
                    <a:pt x="144" y="934"/>
                  </a:lnTo>
                  <a:lnTo>
                    <a:pt x="144" y="932"/>
                  </a:lnTo>
                  <a:lnTo>
                    <a:pt x="144" y="930"/>
                  </a:lnTo>
                  <a:lnTo>
                    <a:pt x="144" y="928"/>
                  </a:lnTo>
                  <a:lnTo>
                    <a:pt x="144" y="926"/>
                  </a:lnTo>
                  <a:lnTo>
                    <a:pt x="146" y="926"/>
                  </a:lnTo>
                  <a:lnTo>
                    <a:pt x="146" y="924"/>
                  </a:lnTo>
                  <a:lnTo>
                    <a:pt x="146" y="922"/>
                  </a:lnTo>
                  <a:lnTo>
                    <a:pt x="146" y="920"/>
                  </a:lnTo>
                  <a:lnTo>
                    <a:pt x="146" y="918"/>
                  </a:lnTo>
                  <a:lnTo>
                    <a:pt x="146" y="916"/>
                  </a:lnTo>
                  <a:lnTo>
                    <a:pt x="144" y="916"/>
                  </a:lnTo>
                  <a:lnTo>
                    <a:pt x="144" y="914"/>
                  </a:lnTo>
                  <a:lnTo>
                    <a:pt x="142" y="914"/>
                  </a:lnTo>
                  <a:lnTo>
                    <a:pt x="140" y="912"/>
                  </a:lnTo>
                  <a:lnTo>
                    <a:pt x="137" y="914"/>
                  </a:lnTo>
                  <a:lnTo>
                    <a:pt x="135" y="914"/>
                  </a:lnTo>
                  <a:lnTo>
                    <a:pt x="135" y="912"/>
                  </a:lnTo>
                  <a:lnTo>
                    <a:pt x="133" y="912"/>
                  </a:lnTo>
                  <a:lnTo>
                    <a:pt x="133" y="910"/>
                  </a:lnTo>
                  <a:lnTo>
                    <a:pt x="133" y="910"/>
                  </a:lnTo>
                  <a:lnTo>
                    <a:pt x="133" y="908"/>
                  </a:lnTo>
                  <a:lnTo>
                    <a:pt x="131" y="908"/>
                  </a:lnTo>
                  <a:lnTo>
                    <a:pt x="129" y="908"/>
                  </a:lnTo>
                  <a:lnTo>
                    <a:pt x="127" y="906"/>
                  </a:lnTo>
                  <a:lnTo>
                    <a:pt x="124" y="906"/>
                  </a:lnTo>
                  <a:lnTo>
                    <a:pt x="122" y="906"/>
                  </a:lnTo>
                  <a:lnTo>
                    <a:pt x="120" y="906"/>
                  </a:lnTo>
                  <a:lnTo>
                    <a:pt x="120" y="906"/>
                  </a:lnTo>
                  <a:lnTo>
                    <a:pt x="118" y="906"/>
                  </a:lnTo>
                  <a:lnTo>
                    <a:pt x="116" y="908"/>
                  </a:lnTo>
                  <a:lnTo>
                    <a:pt x="114" y="908"/>
                  </a:lnTo>
                  <a:lnTo>
                    <a:pt x="112" y="908"/>
                  </a:lnTo>
                  <a:lnTo>
                    <a:pt x="109" y="908"/>
                  </a:lnTo>
                  <a:lnTo>
                    <a:pt x="109" y="910"/>
                  </a:lnTo>
                  <a:lnTo>
                    <a:pt x="109" y="908"/>
                  </a:lnTo>
                  <a:lnTo>
                    <a:pt x="109" y="910"/>
                  </a:lnTo>
                  <a:lnTo>
                    <a:pt x="107" y="910"/>
                  </a:lnTo>
                  <a:lnTo>
                    <a:pt x="105" y="912"/>
                  </a:lnTo>
                  <a:lnTo>
                    <a:pt x="105" y="912"/>
                  </a:lnTo>
                  <a:lnTo>
                    <a:pt x="105" y="914"/>
                  </a:lnTo>
                  <a:lnTo>
                    <a:pt x="105" y="916"/>
                  </a:lnTo>
                  <a:lnTo>
                    <a:pt x="107" y="916"/>
                  </a:lnTo>
                  <a:lnTo>
                    <a:pt x="107" y="914"/>
                  </a:lnTo>
                  <a:lnTo>
                    <a:pt x="107" y="912"/>
                  </a:lnTo>
                  <a:lnTo>
                    <a:pt x="109" y="912"/>
                  </a:lnTo>
                  <a:lnTo>
                    <a:pt x="107" y="914"/>
                  </a:lnTo>
                  <a:lnTo>
                    <a:pt x="107" y="916"/>
                  </a:lnTo>
                  <a:lnTo>
                    <a:pt x="107" y="918"/>
                  </a:lnTo>
                  <a:lnTo>
                    <a:pt x="105" y="920"/>
                  </a:lnTo>
                  <a:lnTo>
                    <a:pt x="105" y="922"/>
                  </a:lnTo>
                  <a:lnTo>
                    <a:pt x="103" y="922"/>
                  </a:lnTo>
                  <a:lnTo>
                    <a:pt x="103" y="924"/>
                  </a:lnTo>
                  <a:lnTo>
                    <a:pt x="103" y="926"/>
                  </a:lnTo>
                  <a:lnTo>
                    <a:pt x="103" y="928"/>
                  </a:lnTo>
                  <a:lnTo>
                    <a:pt x="103" y="930"/>
                  </a:lnTo>
                  <a:lnTo>
                    <a:pt x="103" y="932"/>
                  </a:lnTo>
                  <a:lnTo>
                    <a:pt x="103" y="934"/>
                  </a:lnTo>
                  <a:lnTo>
                    <a:pt x="103" y="934"/>
                  </a:lnTo>
                  <a:lnTo>
                    <a:pt x="103" y="936"/>
                  </a:lnTo>
                  <a:lnTo>
                    <a:pt x="103" y="938"/>
                  </a:lnTo>
                  <a:lnTo>
                    <a:pt x="101" y="940"/>
                  </a:lnTo>
                  <a:lnTo>
                    <a:pt x="101" y="940"/>
                  </a:lnTo>
                  <a:lnTo>
                    <a:pt x="101" y="942"/>
                  </a:lnTo>
                  <a:lnTo>
                    <a:pt x="101" y="944"/>
                  </a:lnTo>
                  <a:lnTo>
                    <a:pt x="101" y="944"/>
                  </a:lnTo>
                  <a:lnTo>
                    <a:pt x="99" y="946"/>
                  </a:lnTo>
                  <a:lnTo>
                    <a:pt x="99" y="946"/>
                  </a:lnTo>
                  <a:lnTo>
                    <a:pt x="99" y="948"/>
                  </a:lnTo>
                  <a:lnTo>
                    <a:pt x="97" y="948"/>
                  </a:lnTo>
                  <a:lnTo>
                    <a:pt x="94" y="948"/>
                  </a:lnTo>
                  <a:lnTo>
                    <a:pt x="92" y="948"/>
                  </a:lnTo>
                  <a:lnTo>
                    <a:pt x="92" y="948"/>
                  </a:lnTo>
                  <a:lnTo>
                    <a:pt x="90" y="950"/>
                  </a:lnTo>
                  <a:lnTo>
                    <a:pt x="90" y="950"/>
                  </a:lnTo>
                  <a:lnTo>
                    <a:pt x="88" y="950"/>
                  </a:lnTo>
                  <a:lnTo>
                    <a:pt x="88" y="948"/>
                  </a:lnTo>
                  <a:lnTo>
                    <a:pt x="86" y="946"/>
                  </a:lnTo>
                  <a:lnTo>
                    <a:pt x="86" y="946"/>
                  </a:lnTo>
                  <a:lnTo>
                    <a:pt x="86" y="944"/>
                  </a:lnTo>
                  <a:lnTo>
                    <a:pt x="86" y="942"/>
                  </a:lnTo>
                  <a:lnTo>
                    <a:pt x="84" y="942"/>
                  </a:lnTo>
                  <a:lnTo>
                    <a:pt x="84" y="942"/>
                  </a:lnTo>
                  <a:lnTo>
                    <a:pt x="84" y="940"/>
                  </a:lnTo>
                  <a:lnTo>
                    <a:pt x="84" y="938"/>
                  </a:lnTo>
                  <a:lnTo>
                    <a:pt x="84" y="938"/>
                  </a:lnTo>
                  <a:lnTo>
                    <a:pt x="84" y="936"/>
                  </a:lnTo>
                  <a:lnTo>
                    <a:pt x="82" y="936"/>
                  </a:lnTo>
                  <a:lnTo>
                    <a:pt x="82" y="934"/>
                  </a:lnTo>
                  <a:lnTo>
                    <a:pt x="82" y="932"/>
                  </a:lnTo>
                  <a:lnTo>
                    <a:pt x="79" y="932"/>
                  </a:lnTo>
                  <a:lnTo>
                    <a:pt x="79" y="930"/>
                  </a:lnTo>
                  <a:lnTo>
                    <a:pt x="79" y="930"/>
                  </a:lnTo>
                  <a:lnTo>
                    <a:pt x="79" y="928"/>
                  </a:lnTo>
                  <a:lnTo>
                    <a:pt x="79" y="928"/>
                  </a:lnTo>
                  <a:lnTo>
                    <a:pt x="79" y="928"/>
                  </a:lnTo>
                  <a:lnTo>
                    <a:pt x="77" y="928"/>
                  </a:lnTo>
                  <a:lnTo>
                    <a:pt x="77" y="926"/>
                  </a:lnTo>
                  <a:lnTo>
                    <a:pt x="75" y="924"/>
                  </a:lnTo>
                  <a:lnTo>
                    <a:pt x="75" y="924"/>
                  </a:lnTo>
                  <a:lnTo>
                    <a:pt x="77" y="922"/>
                  </a:lnTo>
                  <a:lnTo>
                    <a:pt x="75" y="922"/>
                  </a:lnTo>
                  <a:lnTo>
                    <a:pt x="75" y="922"/>
                  </a:lnTo>
                  <a:lnTo>
                    <a:pt x="73" y="920"/>
                  </a:lnTo>
                  <a:lnTo>
                    <a:pt x="73" y="918"/>
                  </a:lnTo>
                  <a:lnTo>
                    <a:pt x="73" y="916"/>
                  </a:lnTo>
                  <a:lnTo>
                    <a:pt x="73" y="916"/>
                  </a:lnTo>
                  <a:lnTo>
                    <a:pt x="73" y="914"/>
                  </a:lnTo>
                  <a:lnTo>
                    <a:pt x="71" y="912"/>
                  </a:lnTo>
                  <a:lnTo>
                    <a:pt x="73" y="912"/>
                  </a:lnTo>
                  <a:lnTo>
                    <a:pt x="71" y="910"/>
                  </a:lnTo>
                  <a:lnTo>
                    <a:pt x="71" y="908"/>
                  </a:lnTo>
                  <a:lnTo>
                    <a:pt x="71" y="906"/>
                  </a:lnTo>
                  <a:lnTo>
                    <a:pt x="71" y="904"/>
                  </a:lnTo>
                  <a:lnTo>
                    <a:pt x="69" y="902"/>
                  </a:lnTo>
                  <a:lnTo>
                    <a:pt x="69" y="902"/>
                  </a:lnTo>
                  <a:lnTo>
                    <a:pt x="69" y="900"/>
                  </a:lnTo>
                  <a:lnTo>
                    <a:pt x="69" y="898"/>
                  </a:lnTo>
                  <a:lnTo>
                    <a:pt x="69" y="898"/>
                  </a:lnTo>
                  <a:lnTo>
                    <a:pt x="71" y="898"/>
                  </a:lnTo>
                  <a:lnTo>
                    <a:pt x="71" y="896"/>
                  </a:lnTo>
                  <a:lnTo>
                    <a:pt x="71" y="894"/>
                  </a:lnTo>
                  <a:lnTo>
                    <a:pt x="71" y="894"/>
                  </a:lnTo>
                  <a:lnTo>
                    <a:pt x="69" y="892"/>
                  </a:lnTo>
                  <a:lnTo>
                    <a:pt x="71" y="890"/>
                  </a:lnTo>
                  <a:lnTo>
                    <a:pt x="71" y="892"/>
                  </a:lnTo>
                  <a:lnTo>
                    <a:pt x="73" y="890"/>
                  </a:lnTo>
                  <a:lnTo>
                    <a:pt x="73" y="888"/>
                  </a:lnTo>
                  <a:lnTo>
                    <a:pt x="73" y="888"/>
                  </a:lnTo>
                  <a:lnTo>
                    <a:pt x="73" y="888"/>
                  </a:lnTo>
                  <a:lnTo>
                    <a:pt x="75" y="886"/>
                  </a:lnTo>
                  <a:lnTo>
                    <a:pt x="75" y="886"/>
                  </a:lnTo>
                  <a:lnTo>
                    <a:pt x="77" y="886"/>
                  </a:lnTo>
                  <a:lnTo>
                    <a:pt x="77" y="888"/>
                  </a:lnTo>
                  <a:lnTo>
                    <a:pt x="77" y="890"/>
                  </a:lnTo>
                  <a:lnTo>
                    <a:pt x="79" y="890"/>
                  </a:lnTo>
                  <a:lnTo>
                    <a:pt x="82" y="892"/>
                  </a:lnTo>
                  <a:lnTo>
                    <a:pt x="82" y="890"/>
                  </a:lnTo>
                  <a:lnTo>
                    <a:pt x="84" y="890"/>
                  </a:lnTo>
                  <a:lnTo>
                    <a:pt x="86" y="890"/>
                  </a:lnTo>
                  <a:lnTo>
                    <a:pt x="88" y="890"/>
                  </a:lnTo>
                  <a:lnTo>
                    <a:pt x="88" y="890"/>
                  </a:lnTo>
                  <a:lnTo>
                    <a:pt x="90" y="890"/>
                  </a:lnTo>
                  <a:lnTo>
                    <a:pt x="92" y="888"/>
                  </a:lnTo>
                  <a:lnTo>
                    <a:pt x="94" y="888"/>
                  </a:lnTo>
                  <a:lnTo>
                    <a:pt x="94" y="888"/>
                  </a:lnTo>
                  <a:lnTo>
                    <a:pt x="94" y="890"/>
                  </a:lnTo>
                  <a:lnTo>
                    <a:pt x="97" y="890"/>
                  </a:lnTo>
                  <a:lnTo>
                    <a:pt x="97" y="890"/>
                  </a:lnTo>
                  <a:lnTo>
                    <a:pt x="97" y="892"/>
                  </a:lnTo>
                  <a:lnTo>
                    <a:pt x="99" y="894"/>
                  </a:lnTo>
                  <a:lnTo>
                    <a:pt x="101" y="894"/>
                  </a:lnTo>
                  <a:lnTo>
                    <a:pt x="101" y="896"/>
                  </a:lnTo>
                  <a:lnTo>
                    <a:pt x="103" y="896"/>
                  </a:lnTo>
                  <a:lnTo>
                    <a:pt x="105" y="898"/>
                  </a:lnTo>
                  <a:lnTo>
                    <a:pt x="105" y="898"/>
                  </a:lnTo>
                  <a:lnTo>
                    <a:pt x="105" y="900"/>
                  </a:lnTo>
                  <a:lnTo>
                    <a:pt x="105" y="902"/>
                  </a:lnTo>
                  <a:lnTo>
                    <a:pt x="107" y="904"/>
                  </a:lnTo>
                  <a:lnTo>
                    <a:pt x="105" y="904"/>
                  </a:lnTo>
                  <a:lnTo>
                    <a:pt x="107" y="906"/>
                  </a:lnTo>
                  <a:lnTo>
                    <a:pt x="107" y="908"/>
                  </a:lnTo>
                  <a:lnTo>
                    <a:pt x="109" y="908"/>
                  </a:lnTo>
                  <a:lnTo>
                    <a:pt x="114" y="906"/>
                  </a:lnTo>
                  <a:lnTo>
                    <a:pt x="114" y="904"/>
                  </a:lnTo>
                  <a:lnTo>
                    <a:pt x="114" y="904"/>
                  </a:lnTo>
                  <a:lnTo>
                    <a:pt x="114" y="902"/>
                  </a:lnTo>
                  <a:lnTo>
                    <a:pt x="116" y="900"/>
                  </a:lnTo>
                  <a:lnTo>
                    <a:pt x="116" y="898"/>
                  </a:lnTo>
                  <a:lnTo>
                    <a:pt x="116" y="898"/>
                  </a:lnTo>
                  <a:lnTo>
                    <a:pt x="116" y="896"/>
                  </a:lnTo>
                  <a:lnTo>
                    <a:pt x="116" y="896"/>
                  </a:lnTo>
                  <a:lnTo>
                    <a:pt x="114" y="898"/>
                  </a:lnTo>
                  <a:lnTo>
                    <a:pt x="116" y="896"/>
                  </a:lnTo>
                  <a:lnTo>
                    <a:pt x="116" y="896"/>
                  </a:lnTo>
                  <a:lnTo>
                    <a:pt x="114" y="894"/>
                  </a:lnTo>
                  <a:lnTo>
                    <a:pt x="114" y="894"/>
                  </a:lnTo>
                  <a:lnTo>
                    <a:pt x="112" y="894"/>
                  </a:lnTo>
                  <a:lnTo>
                    <a:pt x="114" y="892"/>
                  </a:lnTo>
                  <a:lnTo>
                    <a:pt x="112" y="892"/>
                  </a:lnTo>
                  <a:lnTo>
                    <a:pt x="112" y="890"/>
                  </a:lnTo>
                  <a:lnTo>
                    <a:pt x="112" y="890"/>
                  </a:lnTo>
                  <a:lnTo>
                    <a:pt x="112" y="888"/>
                  </a:lnTo>
                  <a:lnTo>
                    <a:pt x="112" y="886"/>
                  </a:lnTo>
                  <a:lnTo>
                    <a:pt x="109" y="884"/>
                  </a:lnTo>
                  <a:lnTo>
                    <a:pt x="109" y="884"/>
                  </a:lnTo>
                  <a:lnTo>
                    <a:pt x="107" y="882"/>
                  </a:lnTo>
                  <a:lnTo>
                    <a:pt x="107" y="882"/>
                  </a:lnTo>
                  <a:lnTo>
                    <a:pt x="105" y="884"/>
                  </a:lnTo>
                  <a:lnTo>
                    <a:pt x="103" y="884"/>
                  </a:lnTo>
                  <a:lnTo>
                    <a:pt x="101" y="884"/>
                  </a:lnTo>
                  <a:lnTo>
                    <a:pt x="99" y="884"/>
                  </a:lnTo>
                  <a:lnTo>
                    <a:pt x="99" y="886"/>
                  </a:lnTo>
                  <a:lnTo>
                    <a:pt x="99" y="884"/>
                  </a:lnTo>
                  <a:lnTo>
                    <a:pt x="99" y="882"/>
                  </a:lnTo>
                  <a:lnTo>
                    <a:pt x="99" y="882"/>
                  </a:lnTo>
                  <a:lnTo>
                    <a:pt x="99" y="880"/>
                  </a:lnTo>
                  <a:lnTo>
                    <a:pt x="97" y="878"/>
                  </a:lnTo>
                  <a:lnTo>
                    <a:pt x="99" y="876"/>
                  </a:lnTo>
                  <a:lnTo>
                    <a:pt x="99" y="874"/>
                  </a:lnTo>
                  <a:lnTo>
                    <a:pt x="99" y="874"/>
                  </a:lnTo>
                  <a:lnTo>
                    <a:pt x="99" y="872"/>
                  </a:lnTo>
                  <a:lnTo>
                    <a:pt x="99" y="870"/>
                  </a:lnTo>
                  <a:lnTo>
                    <a:pt x="99" y="868"/>
                  </a:lnTo>
                  <a:lnTo>
                    <a:pt x="99" y="868"/>
                  </a:lnTo>
                  <a:lnTo>
                    <a:pt x="97" y="866"/>
                  </a:lnTo>
                  <a:lnTo>
                    <a:pt x="97" y="864"/>
                  </a:lnTo>
                  <a:lnTo>
                    <a:pt x="94" y="864"/>
                  </a:lnTo>
                  <a:lnTo>
                    <a:pt x="92" y="862"/>
                  </a:lnTo>
                  <a:lnTo>
                    <a:pt x="92" y="862"/>
                  </a:lnTo>
                  <a:lnTo>
                    <a:pt x="90" y="860"/>
                  </a:lnTo>
                  <a:lnTo>
                    <a:pt x="90" y="862"/>
                  </a:lnTo>
                  <a:lnTo>
                    <a:pt x="90" y="864"/>
                  </a:lnTo>
                  <a:lnTo>
                    <a:pt x="90" y="864"/>
                  </a:lnTo>
                  <a:lnTo>
                    <a:pt x="88" y="862"/>
                  </a:lnTo>
                  <a:lnTo>
                    <a:pt x="88" y="864"/>
                  </a:lnTo>
                  <a:lnTo>
                    <a:pt x="90" y="866"/>
                  </a:lnTo>
                  <a:lnTo>
                    <a:pt x="90" y="866"/>
                  </a:lnTo>
                  <a:lnTo>
                    <a:pt x="90" y="868"/>
                  </a:lnTo>
                  <a:lnTo>
                    <a:pt x="90" y="868"/>
                  </a:lnTo>
                  <a:lnTo>
                    <a:pt x="90" y="866"/>
                  </a:lnTo>
                  <a:lnTo>
                    <a:pt x="88" y="864"/>
                  </a:lnTo>
                  <a:lnTo>
                    <a:pt x="88" y="864"/>
                  </a:lnTo>
                  <a:lnTo>
                    <a:pt x="88" y="862"/>
                  </a:lnTo>
                  <a:lnTo>
                    <a:pt x="88" y="860"/>
                  </a:lnTo>
                  <a:lnTo>
                    <a:pt x="88" y="858"/>
                  </a:lnTo>
                  <a:lnTo>
                    <a:pt x="86" y="856"/>
                  </a:lnTo>
                  <a:lnTo>
                    <a:pt x="86" y="854"/>
                  </a:lnTo>
                  <a:lnTo>
                    <a:pt x="86" y="852"/>
                  </a:lnTo>
                  <a:lnTo>
                    <a:pt x="86" y="852"/>
                  </a:lnTo>
                  <a:lnTo>
                    <a:pt x="86" y="850"/>
                  </a:lnTo>
                  <a:lnTo>
                    <a:pt x="86" y="850"/>
                  </a:lnTo>
                  <a:lnTo>
                    <a:pt x="84" y="850"/>
                  </a:lnTo>
                  <a:lnTo>
                    <a:pt x="84" y="850"/>
                  </a:lnTo>
                  <a:lnTo>
                    <a:pt x="84" y="848"/>
                  </a:lnTo>
                  <a:lnTo>
                    <a:pt x="84" y="850"/>
                  </a:lnTo>
                  <a:lnTo>
                    <a:pt x="82" y="850"/>
                  </a:lnTo>
                  <a:lnTo>
                    <a:pt x="79" y="850"/>
                  </a:lnTo>
                  <a:lnTo>
                    <a:pt x="79" y="848"/>
                  </a:lnTo>
                  <a:lnTo>
                    <a:pt x="77" y="848"/>
                  </a:lnTo>
                  <a:lnTo>
                    <a:pt x="77" y="846"/>
                  </a:lnTo>
                  <a:lnTo>
                    <a:pt x="77" y="846"/>
                  </a:lnTo>
                  <a:lnTo>
                    <a:pt x="75" y="844"/>
                  </a:lnTo>
                  <a:lnTo>
                    <a:pt x="75" y="842"/>
                  </a:lnTo>
                  <a:lnTo>
                    <a:pt x="75" y="842"/>
                  </a:lnTo>
                  <a:lnTo>
                    <a:pt x="75" y="840"/>
                  </a:lnTo>
                  <a:lnTo>
                    <a:pt x="75" y="838"/>
                  </a:lnTo>
                  <a:lnTo>
                    <a:pt x="77" y="836"/>
                  </a:lnTo>
                  <a:lnTo>
                    <a:pt x="77" y="836"/>
                  </a:lnTo>
                  <a:lnTo>
                    <a:pt x="79" y="834"/>
                  </a:lnTo>
                  <a:lnTo>
                    <a:pt x="79" y="832"/>
                  </a:lnTo>
                  <a:lnTo>
                    <a:pt x="82" y="832"/>
                  </a:lnTo>
                  <a:lnTo>
                    <a:pt x="84" y="830"/>
                  </a:lnTo>
                  <a:lnTo>
                    <a:pt x="84" y="830"/>
                  </a:lnTo>
                  <a:lnTo>
                    <a:pt x="86" y="828"/>
                  </a:lnTo>
                  <a:lnTo>
                    <a:pt x="86" y="826"/>
                  </a:lnTo>
                  <a:lnTo>
                    <a:pt x="88" y="826"/>
                  </a:lnTo>
                  <a:lnTo>
                    <a:pt x="90" y="824"/>
                  </a:lnTo>
                  <a:lnTo>
                    <a:pt x="90" y="822"/>
                  </a:lnTo>
                  <a:lnTo>
                    <a:pt x="92" y="822"/>
                  </a:lnTo>
                  <a:lnTo>
                    <a:pt x="94" y="822"/>
                  </a:lnTo>
                  <a:lnTo>
                    <a:pt x="94" y="820"/>
                  </a:lnTo>
                  <a:lnTo>
                    <a:pt x="97" y="818"/>
                  </a:lnTo>
                  <a:lnTo>
                    <a:pt x="97" y="816"/>
                  </a:lnTo>
                  <a:lnTo>
                    <a:pt x="99" y="816"/>
                  </a:lnTo>
                  <a:lnTo>
                    <a:pt x="99" y="814"/>
                  </a:lnTo>
                  <a:lnTo>
                    <a:pt x="99" y="812"/>
                  </a:lnTo>
                  <a:lnTo>
                    <a:pt x="99" y="810"/>
                  </a:lnTo>
                  <a:lnTo>
                    <a:pt x="99" y="808"/>
                  </a:lnTo>
                  <a:lnTo>
                    <a:pt x="99" y="806"/>
                  </a:lnTo>
                  <a:lnTo>
                    <a:pt x="99" y="804"/>
                  </a:lnTo>
                  <a:lnTo>
                    <a:pt x="97" y="804"/>
                  </a:lnTo>
                  <a:lnTo>
                    <a:pt x="97" y="802"/>
                  </a:lnTo>
                  <a:lnTo>
                    <a:pt x="97" y="800"/>
                  </a:lnTo>
                  <a:lnTo>
                    <a:pt x="94" y="800"/>
                  </a:lnTo>
                  <a:lnTo>
                    <a:pt x="94" y="800"/>
                  </a:lnTo>
                  <a:lnTo>
                    <a:pt x="92" y="798"/>
                  </a:lnTo>
                  <a:lnTo>
                    <a:pt x="92" y="798"/>
                  </a:lnTo>
                  <a:lnTo>
                    <a:pt x="94" y="796"/>
                  </a:lnTo>
                  <a:lnTo>
                    <a:pt x="94" y="794"/>
                  </a:lnTo>
                  <a:lnTo>
                    <a:pt x="92" y="794"/>
                  </a:lnTo>
                  <a:lnTo>
                    <a:pt x="90" y="792"/>
                  </a:lnTo>
                  <a:lnTo>
                    <a:pt x="90" y="792"/>
                  </a:lnTo>
                  <a:lnTo>
                    <a:pt x="88" y="792"/>
                  </a:lnTo>
                  <a:lnTo>
                    <a:pt x="86" y="792"/>
                  </a:lnTo>
                  <a:lnTo>
                    <a:pt x="86" y="792"/>
                  </a:lnTo>
                  <a:lnTo>
                    <a:pt x="84" y="790"/>
                  </a:lnTo>
                  <a:lnTo>
                    <a:pt x="84" y="790"/>
                  </a:lnTo>
                  <a:lnTo>
                    <a:pt x="86" y="788"/>
                  </a:lnTo>
                  <a:lnTo>
                    <a:pt x="84" y="788"/>
                  </a:lnTo>
                  <a:lnTo>
                    <a:pt x="82" y="786"/>
                  </a:lnTo>
                  <a:lnTo>
                    <a:pt x="82" y="786"/>
                  </a:lnTo>
                  <a:lnTo>
                    <a:pt x="82" y="786"/>
                  </a:lnTo>
                  <a:lnTo>
                    <a:pt x="82" y="784"/>
                  </a:lnTo>
                  <a:lnTo>
                    <a:pt x="82" y="782"/>
                  </a:lnTo>
                  <a:lnTo>
                    <a:pt x="84" y="782"/>
                  </a:lnTo>
                  <a:lnTo>
                    <a:pt x="82" y="780"/>
                  </a:lnTo>
                  <a:lnTo>
                    <a:pt x="79" y="780"/>
                  </a:lnTo>
                  <a:lnTo>
                    <a:pt x="79" y="780"/>
                  </a:lnTo>
                  <a:lnTo>
                    <a:pt x="77" y="778"/>
                  </a:lnTo>
                  <a:lnTo>
                    <a:pt x="77" y="778"/>
                  </a:lnTo>
                  <a:lnTo>
                    <a:pt x="79" y="776"/>
                  </a:lnTo>
                  <a:lnTo>
                    <a:pt x="79" y="778"/>
                  </a:lnTo>
                  <a:lnTo>
                    <a:pt x="79" y="776"/>
                  </a:lnTo>
                  <a:lnTo>
                    <a:pt x="79" y="774"/>
                  </a:lnTo>
                  <a:lnTo>
                    <a:pt x="79" y="774"/>
                  </a:lnTo>
                  <a:lnTo>
                    <a:pt x="82" y="772"/>
                  </a:lnTo>
                  <a:lnTo>
                    <a:pt x="82" y="770"/>
                  </a:lnTo>
                  <a:lnTo>
                    <a:pt x="82" y="768"/>
                  </a:lnTo>
                  <a:lnTo>
                    <a:pt x="84" y="768"/>
                  </a:lnTo>
                  <a:lnTo>
                    <a:pt x="84" y="768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88" y="764"/>
                  </a:lnTo>
                  <a:lnTo>
                    <a:pt x="88" y="764"/>
                  </a:lnTo>
                  <a:lnTo>
                    <a:pt x="88" y="762"/>
                  </a:lnTo>
                  <a:lnTo>
                    <a:pt x="90" y="760"/>
                  </a:lnTo>
                  <a:lnTo>
                    <a:pt x="90" y="758"/>
                  </a:lnTo>
                  <a:lnTo>
                    <a:pt x="90" y="758"/>
                  </a:lnTo>
                  <a:lnTo>
                    <a:pt x="92" y="756"/>
                  </a:lnTo>
                  <a:lnTo>
                    <a:pt x="92" y="754"/>
                  </a:lnTo>
                  <a:lnTo>
                    <a:pt x="90" y="752"/>
                  </a:lnTo>
                  <a:lnTo>
                    <a:pt x="90" y="750"/>
                  </a:lnTo>
                  <a:lnTo>
                    <a:pt x="90" y="750"/>
                  </a:lnTo>
                  <a:lnTo>
                    <a:pt x="88" y="748"/>
                  </a:lnTo>
                  <a:lnTo>
                    <a:pt x="84" y="748"/>
                  </a:lnTo>
                  <a:lnTo>
                    <a:pt x="84" y="748"/>
                  </a:lnTo>
                  <a:lnTo>
                    <a:pt x="84" y="746"/>
                  </a:lnTo>
                  <a:lnTo>
                    <a:pt x="84" y="744"/>
                  </a:lnTo>
                  <a:lnTo>
                    <a:pt x="82" y="744"/>
                  </a:lnTo>
                  <a:lnTo>
                    <a:pt x="79" y="744"/>
                  </a:lnTo>
                  <a:lnTo>
                    <a:pt x="82" y="744"/>
                  </a:lnTo>
                  <a:lnTo>
                    <a:pt x="82" y="742"/>
                  </a:lnTo>
                  <a:lnTo>
                    <a:pt x="82" y="742"/>
                  </a:lnTo>
                  <a:lnTo>
                    <a:pt x="82" y="740"/>
                  </a:lnTo>
                  <a:lnTo>
                    <a:pt x="82" y="740"/>
                  </a:lnTo>
                  <a:lnTo>
                    <a:pt x="82" y="738"/>
                  </a:lnTo>
                  <a:lnTo>
                    <a:pt x="82" y="736"/>
                  </a:lnTo>
                  <a:lnTo>
                    <a:pt x="84" y="736"/>
                  </a:lnTo>
                  <a:lnTo>
                    <a:pt x="84" y="734"/>
                  </a:lnTo>
                  <a:lnTo>
                    <a:pt x="86" y="734"/>
                  </a:lnTo>
                  <a:lnTo>
                    <a:pt x="86" y="732"/>
                  </a:lnTo>
                  <a:lnTo>
                    <a:pt x="86" y="732"/>
                  </a:lnTo>
                  <a:lnTo>
                    <a:pt x="88" y="730"/>
                  </a:lnTo>
                  <a:lnTo>
                    <a:pt x="90" y="730"/>
                  </a:lnTo>
                  <a:lnTo>
                    <a:pt x="90" y="728"/>
                  </a:lnTo>
                  <a:lnTo>
                    <a:pt x="92" y="726"/>
                  </a:lnTo>
                  <a:lnTo>
                    <a:pt x="92" y="724"/>
                  </a:lnTo>
                  <a:lnTo>
                    <a:pt x="94" y="724"/>
                  </a:lnTo>
                  <a:lnTo>
                    <a:pt x="94" y="722"/>
                  </a:lnTo>
                  <a:lnTo>
                    <a:pt x="97" y="720"/>
                  </a:lnTo>
                  <a:lnTo>
                    <a:pt x="97" y="718"/>
                  </a:lnTo>
                  <a:lnTo>
                    <a:pt x="99" y="718"/>
                  </a:lnTo>
                  <a:lnTo>
                    <a:pt x="99" y="716"/>
                  </a:lnTo>
                  <a:lnTo>
                    <a:pt x="101" y="714"/>
                  </a:lnTo>
                  <a:lnTo>
                    <a:pt x="101" y="712"/>
                  </a:lnTo>
                  <a:lnTo>
                    <a:pt x="103" y="710"/>
                  </a:lnTo>
                  <a:lnTo>
                    <a:pt x="103" y="710"/>
                  </a:lnTo>
                  <a:lnTo>
                    <a:pt x="105" y="708"/>
                  </a:lnTo>
                  <a:lnTo>
                    <a:pt x="105" y="706"/>
                  </a:lnTo>
                  <a:lnTo>
                    <a:pt x="105" y="704"/>
                  </a:lnTo>
                  <a:lnTo>
                    <a:pt x="105" y="702"/>
                  </a:lnTo>
                  <a:lnTo>
                    <a:pt x="105" y="702"/>
                  </a:lnTo>
                  <a:lnTo>
                    <a:pt x="105" y="700"/>
                  </a:lnTo>
                  <a:lnTo>
                    <a:pt x="107" y="698"/>
                  </a:lnTo>
                  <a:lnTo>
                    <a:pt x="107" y="696"/>
                  </a:lnTo>
                  <a:lnTo>
                    <a:pt x="109" y="694"/>
                  </a:lnTo>
                  <a:lnTo>
                    <a:pt x="109" y="694"/>
                  </a:lnTo>
                  <a:lnTo>
                    <a:pt x="109" y="692"/>
                  </a:lnTo>
                  <a:lnTo>
                    <a:pt x="109" y="690"/>
                  </a:lnTo>
                  <a:lnTo>
                    <a:pt x="109" y="688"/>
                  </a:lnTo>
                  <a:lnTo>
                    <a:pt x="109" y="688"/>
                  </a:lnTo>
                  <a:lnTo>
                    <a:pt x="112" y="686"/>
                  </a:lnTo>
                  <a:lnTo>
                    <a:pt x="112" y="684"/>
                  </a:lnTo>
                  <a:lnTo>
                    <a:pt x="112" y="682"/>
                  </a:lnTo>
                  <a:lnTo>
                    <a:pt x="109" y="682"/>
                  </a:lnTo>
                  <a:lnTo>
                    <a:pt x="109" y="680"/>
                  </a:lnTo>
                  <a:lnTo>
                    <a:pt x="109" y="678"/>
                  </a:lnTo>
                  <a:lnTo>
                    <a:pt x="109" y="678"/>
                  </a:lnTo>
                  <a:lnTo>
                    <a:pt x="107" y="676"/>
                  </a:lnTo>
                  <a:lnTo>
                    <a:pt x="107" y="676"/>
                  </a:lnTo>
                  <a:lnTo>
                    <a:pt x="105" y="676"/>
                  </a:lnTo>
                  <a:lnTo>
                    <a:pt x="105" y="674"/>
                  </a:lnTo>
                  <a:lnTo>
                    <a:pt x="105" y="672"/>
                  </a:lnTo>
                  <a:lnTo>
                    <a:pt x="105" y="670"/>
                  </a:lnTo>
                  <a:lnTo>
                    <a:pt x="105" y="670"/>
                  </a:lnTo>
                  <a:lnTo>
                    <a:pt x="105" y="668"/>
                  </a:lnTo>
                  <a:lnTo>
                    <a:pt x="105" y="666"/>
                  </a:lnTo>
                  <a:lnTo>
                    <a:pt x="105" y="666"/>
                  </a:lnTo>
                  <a:lnTo>
                    <a:pt x="105" y="664"/>
                  </a:lnTo>
                  <a:lnTo>
                    <a:pt x="105" y="662"/>
                  </a:lnTo>
                  <a:lnTo>
                    <a:pt x="105" y="660"/>
                  </a:lnTo>
                  <a:lnTo>
                    <a:pt x="105" y="660"/>
                  </a:lnTo>
                  <a:lnTo>
                    <a:pt x="107" y="658"/>
                  </a:lnTo>
                  <a:lnTo>
                    <a:pt x="107" y="656"/>
                  </a:lnTo>
                  <a:lnTo>
                    <a:pt x="107" y="656"/>
                  </a:lnTo>
                  <a:lnTo>
                    <a:pt x="105" y="654"/>
                  </a:lnTo>
                  <a:lnTo>
                    <a:pt x="105" y="654"/>
                  </a:lnTo>
                  <a:lnTo>
                    <a:pt x="103" y="652"/>
                  </a:lnTo>
                  <a:lnTo>
                    <a:pt x="103" y="652"/>
                  </a:lnTo>
                  <a:lnTo>
                    <a:pt x="103" y="652"/>
                  </a:lnTo>
                  <a:lnTo>
                    <a:pt x="103" y="650"/>
                  </a:lnTo>
                  <a:lnTo>
                    <a:pt x="103" y="648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5" y="646"/>
                  </a:lnTo>
                  <a:lnTo>
                    <a:pt x="105" y="644"/>
                  </a:lnTo>
                  <a:lnTo>
                    <a:pt x="107" y="642"/>
                  </a:lnTo>
                  <a:lnTo>
                    <a:pt x="107" y="640"/>
                  </a:lnTo>
                  <a:lnTo>
                    <a:pt x="107" y="638"/>
                  </a:lnTo>
                  <a:lnTo>
                    <a:pt x="105" y="638"/>
                  </a:lnTo>
                  <a:lnTo>
                    <a:pt x="105" y="638"/>
                  </a:lnTo>
                  <a:lnTo>
                    <a:pt x="103" y="638"/>
                  </a:lnTo>
                  <a:lnTo>
                    <a:pt x="103" y="636"/>
                  </a:lnTo>
                  <a:lnTo>
                    <a:pt x="105" y="634"/>
                  </a:lnTo>
                  <a:lnTo>
                    <a:pt x="105" y="634"/>
                  </a:lnTo>
                  <a:lnTo>
                    <a:pt x="105" y="632"/>
                  </a:lnTo>
                  <a:lnTo>
                    <a:pt x="105" y="630"/>
                  </a:lnTo>
                  <a:lnTo>
                    <a:pt x="103" y="630"/>
                  </a:lnTo>
                  <a:lnTo>
                    <a:pt x="103" y="628"/>
                  </a:lnTo>
                  <a:lnTo>
                    <a:pt x="105" y="628"/>
                  </a:lnTo>
                  <a:lnTo>
                    <a:pt x="105" y="626"/>
                  </a:lnTo>
                  <a:lnTo>
                    <a:pt x="103" y="626"/>
                  </a:lnTo>
                  <a:lnTo>
                    <a:pt x="103" y="624"/>
                  </a:lnTo>
                  <a:lnTo>
                    <a:pt x="103" y="622"/>
                  </a:lnTo>
                  <a:lnTo>
                    <a:pt x="103" y="620"/>
                  </a:lnTo>
                  <a:lnTo>
                    <a:pt x="103" y="618"/>
                  </a:lnTo>
                  <a:lnTo>
                    <a:pt x="105" y="618"/>
                  </a:lnTo>
                  <a:lnTo>
                    <a:pt x="105" y="616"/>
                  </a:lnTo>
                  <a:lnTo>
                    <a:pt x="105" y="615"/>
                  </a:lnTo>
                  <a:lnTo>
                    <a:pt x="107" y="615"/>
                  </a:lnTo>
                  <a:lnTo>
                    <a:pt x="107" y="615"/>
                  </a:lnTo>
                  <a:lnTo>
                    <a:pt x="109" y="616"/>
                  </a:lnTo>
                  <a:lnTo>
                    <a:pt x="109" y="618"/>
                  </a:lnTo>
                  <a:lnTo>
                    <a:pt x="112" y="620"/>
                  </a:lnTo>
                  <a:lnTo>
                    <a:pt x="112" y="620"/>
                  </a:lnTo>
                  <a:lnTo>
                    <a:pt x="112" y="622"/>
                  </a:lnTo>
                  <a:lnTo>
                    <a:pt x="114" y="624"/>
                  </a:lnTo>
                  <a:lnTo>
                    <a:pt x="114" y="626"/>
                  </a:lnTo>
                  <a:lnTo>
                    <a:pt x="116" y="628"/>
                  </a:lnTo>
                  <a:lnTo>
                    <a:pt x="116" y="628"/>
                  </a:lnTo>
                  <a:lnTo>
                    <a:pt x="118" y="630"/>
                  </a:lnTo>
                  <a:lnTo>
                    <a:pt x="118" y="632"/>
                  </a:lnTo>
                  <a:lnTo>
                    <a:pt x="120" y="632"/>
                  </a:lnTo>
                  <a:lnTo>
                    <a:pt x="122" y="632"/>
                  </a:lnTo>
                  <a:lnTo>
                    <a:pt x="124" y="630"/>
                  </a:lnTo>
                  <a:lnTo>
                    <a:pt x="127" y="628"/>
                  </a:lnTo>
                  <a:lnTo>
                    <a:pt x="127" y="628"/>
                  </a:lnTo>
                  <a:lnTo>
                    <a:pt x="129" y="626"/>
                  </a:lnTo>
                  <a:lnTo>
                    <a:pt x="129" y="624"/>
                  </a:lnTo>
                  <a:lnTo>
                    <a:pt x="131" y="622"/>
                  </a:lnTo>
                  <a:lnTo>
                    <a:pt x="131" y="622"/>
                  </a:lnTo>
                  <a:lnTo>
                    <a:pt x="133" y="620"/>
                  </a:lnTo>
                  <a:lnTo>
                    <a:pt x="133" y="618"/>
                  </a:lnTo>
                  <a:lnTo>
                    <a:pt x="135" y="616"/>
                  </a:lnTo>
                  <a:lnTo>
                    <a:pt x="135" y="615"/>
                  </a:lnTo>
                  <a:lnTo>
                    <a:pt x="137" y="615"/>
                  </a:lnTo>
                  <a:lnTo>
                    <a:pt x="135" y="613"/>
                  </a:lnTo>
                  <a:lnTo>
                    <a:pt x="133" y="615"/>
                  </a:lnTo>
                  <a:lnTo>
                    <a:pt x="133" y="616"/>
                  </a:lnTo>
                  <a:lnTo>
                    <a:pt x="131" y="618"/>
                  </a:lnTo>
                  <a:lnTo>
                    <a:pt x="131" y="618"/>
                  </a:lnTo>
                  <a:lnTo>
                    <a:pt x="129" y="620"/>
                  </a:lnTo>
                  <a:lnTo>
                    <a:pt x="129" y="620"/>
                  </a:lnTo>
                  <a:lnTo>
                    <a:pt x="127" y="620"/>
                  </a:lnTo>
                  <a:lnTo>
                    <a:pt x="129" y="620"/>
                  </a:lnTo>
                  <a:lnTo>
                    <a:pt x="129" y="618"/>
                  </a:lnTo>
                  <a:lnTo>
                    <a:pt x="131" y="616"/>
                  </a:lnTo>
                  <a:lnTo>
                    <a:pt x="133" y="616"/>
                  </a:lnTo>
                  <a:lnTo>
                    <a:pt x="133" y="615"/>
                  </a:lnTo>
                  <a:lnTo>
                    <a:pt x="133" y="613"/>
                  </a:lnTo>
                  <a:lnTo>
                    <a:pt x="135" y="611"/>
                  </a:lnTo>
                  <a:lnTo>
                    <a:pt x="135" y="609"/>
                  </a:lnTo>
                  <a:lnTo>
                    <a:pt x="137" y="607"/>
                  </a:lnTo>
                  <a:lnTo>
                    <a:pt x="137" y="607"/>
                  </a:lnTo>
                  <a:lnTo>
                    <a:pt x="137" y="605"/>
                  </a:lnTo>
                  <a:lnTo>
                    <a:pt x="137" y="603"/>
                  </a:lnTo>
                  <a:lnTo>
                    <a:pt x="140" y="601"/>
                  </a:lnTo>
                  <a:lnTo>
                    <a:pt x="140" y="599"/>
                  </a:lnTo>
                  <a:lnTo>
                    <a:pt x="140" y="597"/>
                  </a:lnTo>
                  <a:lnTo>
                    <a:pt x="140" y="595"/>
                  </a:lnTo>
                  <a:lnTo>
                    <a:pt x="140" y="593"/>
                  </a:lnTo>
                  <a:lnTo>
                    <a:pt x="140" y="591"/>
                  </a:lnTo>
                  <a:lnTo>
                    <a:pt x="140" y="589"/>
                  </a:lnTo>
                  <a:lnTo>
                    <a:pt x="142" y="587"/>
                  </a:lnTo>
                  <a:lnTo>
                    <a:pt x="142" y="587"/>
                  </a:lnTo>
                  <a:lnTo>
                    <a:pt x="142" y="585"/>
                  </a:lnTo>
                  <a:lnTo>
                    <a:pt x="142" y="583"/>
                  </a:lnTo>
                  <a:lnTo>
                    <a:pt x="142" y="581"/>
                  </a:lnTo>
                  <a:lnTo>
                    <a:pt x="142" y="579"/>
                  </a:lnTo>
                  <a:lnTo>
                    <a:pt x="140" y="577"/>
                  </a:lnTo>
                  <a:lnTo>
                    <a:pt x="140" y="575"/>
                  </a:lnTo>
                  <a:lnTo>
                    <a:pt x="140" y="573"/>
                  </a:lnTo>
                  <a:lnTo>
                    <a:pt x="137" y="571"/>
                  </a:lnTo>
                  <a:lnTo>
                    <a:pt x="137" y="569"/>
                  </a:lnTo>
                  <a:lnTo>
                    <a:pt x="135" y="569"/>
                  </a:lnTo>
                  <a:lnTo>
                    <a:pt x="137" y="567"/>
                  </a:lnTo>
                  <a:lnTo>
                    <a:pt x="137" y="567"/>
                  </a:lnTo>
                  <a:lnTo>
                    <a:pt x="135" y="567"/>
                  </a:lnTo>
                  <a:lnTo>
                    <a:pt x="135" y="565"/>
                  </a:lnTo>
                  <a:lnTo>
                    <a:pt x="133" y="563"/>
                  </a:lnTo>
                  <a:lnTo>
                    <a:pt x="133" y="561"/>
                  </a:lnTo>
                  <a:lnTo>
                    <a:pt x="131" y="561"/>
                  </a:lnTo>
                  <a:lnTo>
                    <a:pt x="129" y="559"/>
                  </a:lnTo>
                  <a:lnTo>
                    <a:pt x="127" y="559"/>
                  </a:lnTo>
                  <a:lnTo>
                    <a:pt x="124" y="559"/>
                  </a:lnTo>
                  <a:lnTo>
                    <a:pt x="124" y="559"/>
                  </a:lnTo>
                  <a:lnTo>
                    <a:pt x="122" y="559"/>
                  </a:lnTo>
                  <a:lnTo>
                    <a:pt x="120" y="559"/>
                  </a:lnTo>
                  <a:lnTo>
                    <a:pt x="120" y="559"/>
                  </a:lnTo>
                  <a:lnTo>
                    <a:pt x="120" y="557"/>
                  </a:lnTo>
                  <a:lnTo>
                    <a:pt x="120" y="555"/>
                  </a:lnTo>
                  <a:lnTo>
                    <a:pt x="122" y="555"/>
                  </a:lnTo>
                  <a:lnTo>
                    <a:pt x="122" y="555"/>
                  </a:lnTo>
                  <a:lnTo>
                    <a:pt x="120" y="555"/>
                  </a:lnTo>
                  <a:lnTo>
                    <a:pt x="118" y="555"/>
                  </a:lnTo>
                  <a:lnTo>
                    <a:pt x="120" y="557"/>
                  </a:lnTo>
                  <a:lnTo>
                    <a:pt x="120" y="559"/>
                  </a:lnTo>
                  <a:lnTo>
                    <a:pt x="118" y="559"/>
                  </a:lnTo>
                  <a:lnTo>
                    <a:pt x="116" y="559"/>
                  </a:lnTo>
                  <a:lnTo>
                    <a:pt x="114" y="559"/>
                  </a:lnTo>
                  <a:lnTo>
                    <a:pt x="112" y="559"/>
                  </a:lnTo>
                  <a:lnTo>
                    <a:pt x="112" y="559"/>
                  </a:lnTo>
                  <a:lnTo>
                    <a:pt x="109" y="559"/>
                  </a:lnTo>
                  <a:lnTo>
                    <a:pt x="112" y="559"/>
                  </a:lnTo>
                  <a:lnTo>
                    <a:pt x="112" y="559"/>
                  </a:lnTo>
                  <a:lnTo>
                    <a:pt x="112" y="559"/>
                  </a:lnTo>
                  <a:lnTo>
                    <a:pt x="114" y="559"/>
                  </a:lnTo>
                  <a:lnTo>
                    <a:pt x="114" y="557"/>
                  </a:lnTo>
                  <a:lnTo>
                    <a:pt x="116" y="557"/>
                  </a:lnTo>
                  <a:lnTo>
                    <a:pt x="116" y="557"/>
                  </a:lnTo>
                  <a:lnTo>
                    <a:pt x="116" y="559"/>
                  </a:lnTo>
                  <a:lnTo>
                    <a:pt x="118" y="557"/>
                  </a:lnTo>
                  <a:lnTo>
                    <a:pt x="116" y="555"/>
                  </a:lnTo>
                  <a:lnTo>
                    <a:pt x="114" y="555"/>
                  </a:lnTo>
                  <a:lnTo>
                    <a:pt x="114" y="557"/>
                  </a:lnTo>
                  <a:lnTo>
                    <a:pt x="112" y="557"/>
                  </a:lnTo>
                  <a:lnTo>
                    <a:pt x="109" y="557"/>
                  </a:lnTo>
                  <a:lnTo>
                    <a:pt x="107" y="557"/>
                  </a:lnTo>
                  <a:lnTo>
                    <a:pt x="107" y="557"/>
                  </a:lnTo>
                  <a:lnTo>
                    <a:pt x="105" y="559"/>
                  </a:lnTo>
                  <a:lnTo>
                    <a:pt x="103" y="559"/>
                  </a:lnTo>
                  <a:lnTo>
                    <a:pt x="103" y="559"/>
                  </a:lnTo>
                  <a:lnTo>
                    <a:pt x="103" y="561"/>
                  </a:lnTo>
                  <a:lnTo>
                    <a:pt x="101" y="563"/>
                  </a:lnTo>
                  <a:lnTo>
                    <a:pt x="101" y="565"/>
                  </a:lnTo>
                  <a:lnTo>
                    <a:pt x="103" y="565"/>
                  </a:lnTo>
                  <a:lnTo>
                    <a:pt x="105" y="563"/>
                  </a:lnTo>
                  <a:lnTo>
                    <a:pt x="105" y="565"/>
                  </a:lnTo>
                  <a:lnTo>
                    <a:pt x="105" y="565"/>
                  </a:lnTo>
                  <a:lnTo>
                    <a:pt x="107" y="563"/>
                  </a:lnTo>
                  <a:lnTo>
                    <a:pt x="109" y="563"/>
                  </a:lnTo>
                  <a:lnTo>
                    <a:pt x="109" y="561"/>
                  </a:lnTo>
                  <a:lnTo>
                    <a:pt x="112" y="561"/>
                  </a:lnTo>
                  <a:lnTo>
                    <a:pt x="112" y="561"/>
                  </a:lnTo>
                  <a:lnTo>
                    <a:pt x="109" y="563"/>
                  </a:lnTo>
                  <a:lnTo>
                    <a:pt x="109" y="563"/>
                  </a:lnTo>
                  <a:lnTo>
                    <a:pt x="107" y="565"/>
                  </a:lnTo>
                  <a:lnTo>
                    <a:pt x="105" y="565"/>
                  </a:lnTo>
                  <a:lnTo>
                    <a:pt x="105" y="567"/>
                  </a:lnTo>
                  <a:lnTo>
                    <a:pt x="103" y="569"/>
                  </a:lnTo>
                  <a:lnTo>
                    <a:pt x="103" y="571"/>
                  </a:lnTo>
                  <a:lnTo>
                    <a:pt x="103" y="573"/>
                  </a:lnTo>
                  <a:lnTo>
                    <a:pt x="101" y="573"/>
                  </a:lnTo>
                  <a:lnTo>
                    <a:pt x="103" y="575"/>
                  </a:lnTo>
                  <a:lnTo>
                    <a:pt x="101" y="577"/>
                  </a:lnTo>
                  <a:lnTo>
                    <a:pt x="101" y="579"/>
                  </a:lnTo>
                  <a:lnTo>
                    <a:pt x="99" y="577"/>
                  </a:lnTo>
                  <a:lnTo>
                    <a:pt x="99" y="575"/>
                  </a:lnTo>
                  <a:lnTo>
                    <a:pt x="101" y="575"/>
                  </a:lnTo>
                  <a:lnTo>
                    <a:pt x="101" y="573"/>
                  </a:lnTo>
                  <a:lnTo>
                    <a:pt x="101" y="571"/>
                  </a:lnTo>
                  <a:lnTo>
                    <a:pt x="101" y="571"/>
                  </a:lnTo>
                  <a:lnTo>
                    <a:pt x="101" y="569"/>
                  </a:lnTo>
                  <a:lnTo>
                    <a:pt x="99" y="567"/>
                  </a:lnTo>
                  <a:lnTo>
                    <a:pt x="99" y="565"/>
                  </a:lnTo>
                  <a:lnTo>
                    <a:pt x="97" y="563"/>
                  </a:lnTo>
                  <a:lnTo>
                    <a:pt x="94" y="563"/>
                  </a:lnTo>
                  <a:lnTo>
                    <a:pt x="94" y="563"/>
                  </a:lnTo>
                  <a:lnTo>
                    <a:pt x="92" y="561"/>
                  </a:lnTo>
                  <a:lnTo>
                    <a:pt x="90" y="561"/>
                  </a:lnTo>
                  <a:lnTo>
                    <a:pt x="88" y="561"/>
                  </a:lnTo>
                  <a:lnTo>
                    <a:pt x="88" y="559"/>
                  </a:lnTo>
                  <a:lnTo>
                    <a:pt x="88" y="557"/>
                  </a:lnTo>
                  <a:lnTo>
                    <a:pt x="88" y="557"/>
                  </a:lnTo>
                  <a:lnTo>
                    <a:pt x="88" y="557"/>
                  </a:lnTo>
                  <a:lnTo>
                    <a:pt x="88" y="555"/>
                  </a:lnTo>
                  <a:lnTo>
                    <a:pt x="88" y="553"/>
                  </a:lnTo>
                  <a:lnTo>
                    <a:pt x="88" y="551"/>
                  </a:lnTo>
                  <a:lnTo>
                    <a:pt x="88" y="549"/>
                  </a:lnTo>
                  <a:lnTo>
                    <a:pt x="88" y="547"/>
                  </a:lnTo>
                  <a:lnTo>
                    <a:pt x="88" y="545"/>
                  </a:lnTo>
                  <a:lnTo>
                    <a:pt x="88" y="543"/>
                  </a:lnTo>
                  <a:lnTo>
                    <a:pt x="88" y="541"/>
                  </a:lnTo>
                  <a:lnTo>
                    <a:pt x="88" y="541"/>
                  </a:lnTo>
                  <a:lnTo>
                    <a:pt x="88" y="539"/>
                  </a:lnTo>
                  <a:lnTo>
                    <a:pt x="88" y="537"/>
                  </a:lnTo>
                  <a:lnTo>
                    <a:pt x="88" y="535"/>
                  </a:lnTo>
                  <a:lnTo>
                    <a:pt x="88" y="533"/>
                  </a:lnTo>
                  <a:lnTo>
                    <a:pt x="88" y="531"/>
                  </a:lnTo>
                  <a:lnTo>
                    <a:pt x="86" y="531"/>
                  </a:lnTo>
                  <a:lnTo>
                    <a:pt x="86" y="529"/>
                  </a:lnTo>
                  <a:lnTo>
                    <a:pt x="88" y="527"/>
                  </a:lnTo>
                  <a:lnTo>
                    <a:pt x="88" y="527"/>
                  </a:lnTo>
                  <a:lnTo>
                    <a:pt x="88" y="525"/>
                  </a:lnTo>
                  <a:lnTo>
                    <a:pt x="90" y="523"/>
                  </a:lnTo>
                  <a:lnTo>
                    <a:pt x="90" y="523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2" y="517"/>
                  </a:lnTo>
                  <a:lnTo>
                    <a:pt x="92" y="515"/>
                  </a:lnTo>
                  <a:lnTo>
                    <a:pt x="92" y="515"/>
                  </a:lnTo>
                  <a:lnTo>
                    <a:pt x="94" y="513"/>
                  </a:lnTo>
                  <a:lnTo>
                    <a:pt x="92" y="511"/>
                  </a:lnTo>
                  <a:lnTo>
                    <a:pt x="92" y="511"/>
                  </a:lnTo>
                  <a:lnTo>
                    <a:pt x="92" y="509"/>
                  </a:lnTo>
                  <a:lnTo>
                    <a:pt x="90" y="507"/>
                  </a:lnTo>
                  <a:lnTo>
                    <a:pt x="88" y="507"/>
                  </a:lnTo>
                  <a:lnTo>
                    <a:pt x="86" y="507"/>
                  </a:lnTo>
                  <a:lnTo>
                    <a:pt x="86" y="507"/>
                  </a:lnTo>
                  <a:lnTo>
                    <a:pt x="84" y="507"/>
                  </a:lnTo>
                  <a:lnTo>
                    <a:pt x="82" y="507"/>
                  </a:lnTo>
                  <a:lnTo>
                    <a:pt x="82" y="507"/>
                  </a:lnTo>
                  <a:lnTo>
                    <a:pt x="82" y="505"/>
                  </a:lnTo>
                  <a:lnTo>
                    <a:pt x="82" y="505"/>
                  </a:lnTo>
                  <a:lnTo>
                    <a:pt x="82" y="503"/>
                  </a:lnTo>
                  <a:lnTo>
                    <a:pt x="84" y="501"/>
                  </a:lnTo>
                  <a:lnTo>
                    <a:pt x="84" y="501"/>
                  </a:lnTo>
                  <a:lnTo>
                    <a:pt x="86" y="503"/>
                  </a:lnTo>
                  <a:lnTo>
                    <a:pt x="88" y="501"/>
                  </a:lnTo>
                  <a:lnTo>
                    <a:pt x="88" y="501"/>
                  </a:lnTo>
                  <a:lnTo>
                    <a:pt x="88" y="499"/>
                  </a:lnTo>
                  <a:lnTo>
                    <a:pt x="90" y="499"/>
                  </a:lnTo>
                  <a:lnTo>
                    <a:pt x="90" y="501"/>
                  </a:lnTo>
                  <a:lnTo>
                    <a:pt x="92" y="503"/>
                  </a:lnTo>
                  <a:lnTo>
                    <a:pt x="94" y="503"/>
                  </a:lnTo>
                  <a:lnTo>
                    <a:pt x="94" y="503"/>
                  </a:lnTo>
                  <a:lnTo>
                    <a:pt x="97" y="501"/>
                  </a:lnTo>
                  <a:lnTo>
                    <a:pt x="99" y="501"/>
                  </a:lnTo>
                  <a:lnTo>
                    <a:pt x="101" y="499"/>
                  </a:lnTo>
                  <a:lnTo>
                    <a:pt x="101" y="499"/>
                  </a:lnTo>
                  <a:lnTo>
                    <a:pt x="103" y="499"/>
                  </a:lnTo>
                  <a:lnTo>
                    <a:pt x="103" y="499"/>
                  </a:lnTo>
                  <a:lnTo>
                    <a:pt x="105" y="499"/>
                  </a:lnTo>
                  <a:lnTo>
                    <a:pt x="107" y="499"/>
                  </a:lnTo>
                  <a:lnTo>
                    <a:pt x="109" y="497"/>
                  </a:lnTo>
                  <a:lnTo>
                    <a:pt x="109" y="497"/>
                  </a:lnTo>
                  <a:lnTo>
                    <a:pt x="112" y="495"/>
                  </a:lnTo>
                  <a:lnTo>
                    <a:pt x="114" y="493"/>
                  </a:lnTo>
                  <a:lnTo>
                    <a:pt x="114" y="493"/>
                  </a:lnTo>
                  <a:lnTo>
                    <a:pt x="116" y="491"/>
                  </a:lnTo>
                  <a:lnTo>
                    <a:pt x="116" y="489"/>
                  </a:lnTo>
                  <a:lnTo>
                    <a:pt x="118" y="489"/>
                  </a:lnTo>
                  <a:lnTo>
                    <a:pt x="120" y="487"/>
                  </a:lnTo>
                  <a:lnTo>
                    <a:pt x="120" y="485"/>
                  </a:lnTo>
                  <a:lnTo>
                    <a:pt x="120" y="485"/>
                  </a:lnTo>
                  <a:lnTo>
                    <a:pt x="120" y="483"/>
                  </a:lnTo>
                  <a:lnTo>
                    <a:pt x="120" y="483"/>
                  </a:lnTo>
                  <a:lnTo>
                    <a:pt x="120" y="481"/>
                  </a:lnTo>
                  <a:lnTo>
                    <a:pt x="118" y="481"/>
                  </a:lnTo>
                  <a:lnTo>
                    <a:pt x="118" y="479"/>
                  </a:lnTo>
                  <a:lnTo>
                    <a:pt x="118" y="479"/>
                  </a:lnTo>
                  <a:lnTo>
                    <a:pt x="120" y="477"/>
                  </a:lnTo>
                  <a:lnTo>
                    <a:pt x="118" y="477"/>
                  </a:lnTo>
                  <a:lnTo>
                    <a:pt x="118" y="475"/>
                  </a:lnTo>
                  <a:lnTo>
                    <a:pt x="118" y="475"/>
                  </a:lnTo>
                  <a:lnTo>
                    <a:pt x="118" y="473"/>
                  </a:lnTo>
                  <a:lnTo>
                    <a:pt x="118" y="473"/>
                  </a:lnTo>
                  <a:lnTo>
                    <a:pt x="118" y="471"/>
                  </a:lnTo>
                  <a:lnTo>
                    <a:pt x="116" y="469"/>
                  </a:lnTo>
                  <a:lnTo>
                    <a:pt x="116" y="467"/>
                  </a:lnTo>
                  <a:lnTo>
                    <a:pt x="114" y="467"/>
                  </a:lnTo>
                  <a:lnTo>
                    <a:pt x="114" y="465"/>
                  </a:lnTo>
                  <a:lnTo>
                    <a:pt x="112" y="463"/>
                  </a:lnTo>
                  <a:lnTo>
                    <a:pt x="112" y="461"/>
                  </a:lnTo>
                  <a:lnTo>
                    <a:pt x="112" y="459"/>
                  </a:lnTo>
                  <a:lnTo>
                    <a:pt x="109" y="459"/>
                  </a:lnTo>
                  <a:lnTo>
                    <a:pt x="109" y="457"/>
                  </a:lnTo>
                  <a:lnTo>
                    <a:pt x="109" y="455"/>
                  </a:lnTo>
                  <a:lnTo>
                    <a:pt x="109" y="453"/>
                  </a:lnTo>
                  <a:lnTo>
                    <a:pt x="109" y="451"/>
                  </a:lnTo>
                  <a:lnTo>
                    <a:pt x="109" y="451"/>
                  </a:lnTo>
                  <a:lnTo>
                    <a:pt x="109" y="449"/>
                  </a:lnTo>
                  <a:lnTo>
                    <a:pt x="109" y="447"/>
                  </a:lnTo>
                  <a:lnTo>
                    <a:pt x="107" y="447"/>
                  </a:lnTo>
                  <a:lnTo>
                    <a:pt x="109" y="445"/>
                  </a:lnTo>
                  <a:lnTo>
                    <a:pt x="109" y="443"/>
                  </a:lnTo>
                  <a:lnTo>
                    <a:pt x="109" y="443"/>
                  </a:lnTo>
                  <a:lnTo>
                    <a:pt x="112" y="441"/>
                  </a:lnTo>
                  <a:lnTo>
                    <a:pt x="112" y="439"/>
                  </a:lnTo>
                  <a:lnTo>
                    <a:pt x="112" y="439"/>
                  </a:lnTo>
                  <a:lnTo>
                    <a:pt x="112" y="437"/>
                  </a:lnTo>
                  <a:lnTo>
                    <a:pt x="112" y="435"/>
                  </a:lnTo>
                  <a:lnTo>
                    <a:pt x="109" y="433"/>
                  </a:lnTo>
                  <a:lnTo>
                    <a:pt x="109" y="431"/>
                  </a:lnTo>
                  <a:lnTo>
                    <a:pt x="112" y="431"/>
                  </a:lnTo>
                  <a:lnTo>
                    <a:pt x="112" y="429"/>
                  </a:lnTo>
                  <a:lnTo>
                    <a:pt x="112" y="427"/>
                  </a:lnTo>
                  <a:lnTo>
                    <a:pt x="112" y="425"/>
                  </a:lnTo>
                  <a:lnTo>
                    <a:pt x="109" y="425"/>
                  </a:lnTo>
                  <a:lnTo>
                    <a:pt x="112" y="425"/>
                  </a:lnTo>
                  <a:lnTo>
                    <a:pt x="112" y="423"/>
                  </a:lnTo>
                  <a:lnTo>
                    <a:pt x="114" y="421"/>
                  </a:lnTo>
                  <a:lnTo>
                    <a:pt x="114" y="421"/>
                  </a:lnTo>
                  <a:lnTo>
                    <a:pt x="114" y="419"/>
                  </a:lnTo>
                  <a:lnTo>
                    <a:pt x="114" y="417"/>
                  </a:lnTo>
                  <a:lnTo>
                    <a:pt x="116" y="415"/>
                  </a:lnTo>
                  <a:lnTo>
                    <a:pt x="116" y="413"/>
                  </a:lnTo>
                  <a:lnTo>
                    <a:pt x="116" y="411"/>
                  </a:lnTo>
                  <a:lnTo>
                    <a:pt x="116" y="411"/>
                  </a:lnTo>
                  <a:lnTo>
                    <a:pt x="116" y="409"/>
                  </a:lnTo>
                  <a:lnTo>
                    <a:pt x="118" y="407"/>
                  </a:lnTo>
                  <a:lnTo>
                    <a:pt x="118" y="405"/>
                  </a:lnTo>
                  <a:lnTo>
                    <a:pt x="118" y="403"/>
                  </a:lnTo>
                  <a:lnTo>
                    <a:pt x="118" y="401"/>
                  </a:lnTo>
                  <a:lnTo>
                    <a:pt x="116" y="401"/>
                  </a:lnTo>
                  <a:lnTo>
                    <a:pt x="114" y="401"/>
                  </a:lnTo>
                  <a:lnTo>
                    <a:pt x="114" y="401"/>
                  </a:lnTo>
                  <a:lnTo>
                    <a:pt x="114" y="401"/>
                  </a:lnTo>
                  <a:lnTo>
                    <a:pt x="114" y="399"/>
                  </a:lnTo>
                  <a:lnTo>
                    <a:pt x="114" y="399"/>
                  </a:lnTo>
                  <a:lnTo>
                    <a:pt x="114" y="397"/>
                  </a:lnTo>
                  <a:lnTo>
                    <a:pt x="112" y="397"/>
                  </a:lnTo>
                  <a:lnTo>
                    <a:pt x="112" y="395"/>
                  </a:lnTo>
                  <a:lnTo>
                    <a:pt x="112" y="393"/>
                  </a:lnTo>
                  <a:lnTo>
                    <a:pt x="112" y="393"/>
                  </a:lnTo>
                  <a:lnTo>
                    <a:pt x="112" y="391"/>
                  </a:lnTo>
                  <a:lnTo>
                    <a:pt x="112" y="389"/>
                  </a:lnTo>
                  <a:lnTo>
                    <a:pt x="109" y="389"/>
                  </a:lnTo>
                  <a:lnTo>
                    <a:pt x="109" y="387"/>
                  </a:lnTo>
                  <a:lnTo>
                    <a:pt x="107" y="387"/>
                  </a:lnTo>
                  <a:lnTo>
                    <a:pt x="107" y="387"/>
                  </a:lnTo>
                  <a:lnTo>
                    <a:pt x="105" y="387"/>
                  </a:lnTo>
                  <a:lnTo>
                    <a:pt x="103" y="387"/>
                  </a:lnTo>
                  <a:lnTo>
                    <a:pt x="103" y="387"/>
                  </a:lnTo>
                  <a:lnTo>
                    <a:pt x="103" y="387"/>
                  </a:lnTo>
                  <a:lnTo>
                    <a:pt x="101" y="385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99" y="381"/>
                  </a:lnTo>
                  <a:lnTo>
                    <a:pt x="99" y="381"/>
                  </a:lnTo>
                  <a:lnTo>
                    <a:pt x="97" y="381"/>
                  </a:lnTo>
                  <a:lnTo>
                    <a:pt x="94" y="381"/>
                  </a:lnTo>
                  <a:lnTo>
                    <a:pt x="92" y="381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88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6" y="381"/>
                  </a:lnTo>
                  <a:lnTo>
                    <a:pt x="84" y="379"/>
                  </a:lnTo>
                  <a:lnTo>
                    <a:pt x="84" y="377"/>
                  </a:lnTo>
                  <a:lnTo>
                    <a:pt x="86" y="377"/>
                  </a:lnTo>
                  <a:lnTo>
                    <a:pt x="84" y="375"/>
                  </a:lnTo>
                  <a:lnTo>
                    <a:pt x="84" y="375"/>
                  </a:lnTo>
                  <a:lnTo>
                    <a:pt x="84" y="373"/>
                  </a:lnTo>
                  <a:lnTo>
                    <a:pt x="84" y="371"/>
                  </a:lnTo>
                  <a:lnTo>
                    <a:pt x="84" y="371"/>
                  </a:lnTo>
                  <a:lnTo>
                    <a:pt x="84" y="371"/>
                  </a:lnTo>
                  <a:lnTo>
                    <a:pt x="84" y="369"/>
                  </a:lnTo>
                  <a:lnTo>
                    <a:pt x="86" y="369"/>
                  </a:lnTo>
                  <a:lnTo>
                    <a:pt x="86" y="367"/>
                  </a:lnTo>
                  <a:lnTo>
                    <a:pt x="86" y="367"/>
                  </a:lnTo>
                  <a:lnTo>
                    <a:pt x="86" y="365"/>
                  </a:lnTo>
                  <a:lnTo>
                    <a:pt x="86" y="365"/>
                  </a:lnTo>
                  <a:lnTo>
                    <a:pt x="86" y="363"/>
                  </a:lnTo>
                  <a:lnTo>
                    <a:pt x="88" y="361"/>
                  </a:lnTo>
                  <a:lnTo>
                    <a:pt x="88" y="361"/>
                  </a:lnTo>
                  <a:lnTo>
                    <a:pt x="88" y="359"/>
                  </a:lnTo>
                  <a:lnTo>
                    <a:pt x="88" y="357"/>
                  </a:lnTo>
                  <a:lnTo>
                    <a:pt x="88" y="357"/>
                  </a:lnTo>
                  <a:lnTo>
                    <a:pt x="90" y="355"/>
                  </a:lnTo>
                  <a:lnTo>
                    <a:pt x="90" y="353"/>
                  </a:lnTo>
                  <a:lnTo>
                    <a:pt x="90" y="351"/>
                  </a:lnTo>
                  <a:lnTo>
                    <a:pt x="90" y="349"/>
                  </a:lnTo>
                  <a:lnTo>
                    <a:pt x="90" y="347"/>
                  </a:lnTo>
                  <a:lnTo>
                    <a:pt x="90" y="347"/>
                  </a:lnTo>
                  <a:lnTo>
                    <a:pt x="90" y="345"/>
                  </a:lnTo>
                  <a:lnTo>
                    <a:pt x="90" y="343"/>
                  </a:lnTo>
                  <a:lnTo>
                    <a:pt x="88" y="341"/>
                  </a:lnTo>
                  <a:lnTo>
                    <a:pt x="88" y="339"/>
                  </a:lnTo>
                  <a:lnTo>
                    <a:pt x="88" y="337"/>
                  </a:lnTo>
                  <a:lnTo>
                    <a:pt x="88" y="337"/>
                  </a:lnTo>
                  <a:lnTo>
                    <a:pt x="86" y="335"/>
                  </a:lnTo>
                  <a:lnTo>
                    <a:pt x="86" y="333"/>
                  </a:lnTo>
                  <a:lnTo>
                    <a:pt x="86" y="331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84" y="327"/>
                  </a:lnTo>
                  <a:lnTo>
                    <a:pt x="84" y="325"/>
                  </a:lnTo>
                  <a:lnTo>
                    <a:pt x="84" y="323"/>
                  </a:lnTo>
                  <a:lnTo>
                    <a:pt x="82" y="321"/>
                  </a:lnTo>
                  <a:lnTo>
                    <a:pt x="82" y="319"/>
                  </a:lnTo>
                  <a:lnTo>
                    <a:pt x="82" y="317"/>
                  </a:lnTo>
                  <a:lnTo>
                    <a:pt x="82" y="317"/>
                  </a:lnTo>
                  <a:lnTo>
                    <a:pt x="79" y="315"/>
                  </a:lnTo>
                  <a:lnTo>
                    <a:pt x="77" y="315"/>
                  </a:lnTo>
                  <a:lnTo>
                    <a:pt x="77" y="313"/>
                  </a:lnTo>
                  <a:lnTo>
                    <a:pt x="75" y="313"/>
                  </a:lnTo>
                  <a:lnTo>
                    <a:pt x="73" y="313"/>
                  </a:lnTo>
                  <a:lnTo>
                    <a:pt x="73" y="311"/>
                  </a:lnTo>
                  <a:lnTo>
                    <a:pt x="71" y="313"/>
                  </a:lnTo>
                  <a:lnTo>
                    <a:pt x="69" y="313"/>
                  </a:lnTo>
                  <a:lnTo>
                    <a:pt x="69" y="311"/>
                  </a:lnTo>
                  <a:lnTo>
                    <a:pt x="69" y="309"/>
                  </a:lnTo>
                  <a:lnTo>
                    <a:pt x="69" y="309"/>
                  </a:lnTo>
                  <a:lnTo>
                    <a:pt x="69" y="307"/>
                  </a:lnTo>
                  <a:lnTo>
                    <a:pt x="66" y="305"/>
                  </a:lnTo>
                  <a:lnTo>
                    <a:pt x="66" y="305"/>
                  </a:lnTo>
                  <a:lnTo>
                    <a:pt x="66" y="303"/>
                  </a:lnTo>
                  <a:lnTo>
                    <a:pt x="66" y="301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4" y="297"/>
                  </a:lnTo>
                  <a:lnTo>
                    <a:pt x="64" y="295"/>
                  </a:lnTo>
                  <a:lnTo>
                    <a:pt x="64" y="295"/>
                  </a:lnTo>
                  <a:lnTo>
                    <a:pt x="62" y="293"/>
                  </a:lnTo>
                  <a:lnTo>
                    <a:pt x="62" y="293"/>
                  </a:lnTo>
                  <a:lnTo>
                    <a:pt x="62" y="291"/>
                  </a:lnTo>
                  <a:lnTo>
                    <a:pt x="62" y="289"/>
                  </a:lnTo>
                  <a:lnTo>
                    <a:pt x="60" y="289"/>
                  </a:lnTo>
                  <a:lnTo>
                    <a:pt x="60" y="287"/>
                  </a:lnTo>
                  <a:lnTo>
                    <a:pt x="62" y="287"/>
                  </a:lnTo>
                  <a:lnTo>
                    <a:pt x="62" y="285"/>
                  </a:lnTo>
                  <a:lnTo>
                    <a:pt x="62" y="283"/>
                  </a:lnTo>
                  <a:lnTo>
                    <a:pt x="62" y="281"/>
                  </a:lnTo>
                  <a:lnTo>
                    <a:pt x="60" y="281"/>
                  </a:lnTo>
                  <a:lnTo>
                    <a:pt x="60" y="279"/>
                  </a:lnTo>
                  <a:lnTo>
                    <a:pt x="58" y="277"/>
                  </a:lnTo>
                  <a:lnTo>
                    <a:pt x="58" y="275"/>
                  </a:lnTo>
                  <a:lnTo>
                    <a:pt x="56" y="275"/>
                  </a:lnTo>
                  <a:lnTo>
                    <a:pt x="54" y="273"/>
                  </a:lnTo>
                  <a:lnTo>
                    <a:pt x="51" y="273"/>
                  </a:lnTo>
                  <a:lnTo>
                    <a:pt x="54" y="273"/>
                  </a:lnTo>
                  <a:lnTo>
                    <a:pt x="56" y="273"/>
                  </a:lnTo>
                  <a:lnTo>
                    <a:pt x="58" y="275"/>
                  </a:lnTo>
                  <a:lnTo>
                    <a:pt x="60" y="275"/>
                  </a:lnTo>
                  <a:lnTo>
                    <a:pt x="60" y="277"/>
                  </a:lnTo>
                  <a:lnTo>
                    <a:pt x="60" y="275"/>
                  </a:lnTo>
                  <a:lnTo>
                    <a:pt x="60" y="275"/>
                  </a:lnTo>
                  <a:lnTo>
                    <a:pt x="58" y="275"/>
                  </a:lnTo>
                  <a:lnTo>
                    <a:pt x="58" y="273"/>
                  </a:lnTo>
                  <a:lnTo>
                    <a:pt x="58" y="271"/>
                  </a:lnTo>
                  <a:lnTo>
                    <a:pt x="56" y="273"/>
                  </a:lnTo>
                  <a:lnTo>
                    <a:pt x="56" y="271"/>
                  </a:lnTo>
                  <a:lnTo>
                    <a:pt x="54" y="271"/>
                  </a:lnTo>
                  <a:lnTo>
                    <a:pt x="54" y="269"/>
                  </a:lnTo>
                  <a:lnTo>
                    <a:pt x="54" y="269"/>
                  </a:lnTo>
                  <a:lnTo>
                    <a:pt x="54" y="269"/>
                  </a:lnTo>
                  <a:lnTo>
                    <a:pt x="54" y="271"/>
                  </a:lnTo>
                  <a:lnTo>
                    <a:pt x="51" y="273"/>
                  </a:lnTo>
                  <a:lnTo>
                    <a:pt x="51" y="275"/>
                  </a:lnTo>
                  <a:lnTo>
                    <a:pt x="49" y="275"/>
                  </a:lnTo>
                  <a:lnTo>
                    <a:pt x="49" y="275"/>
                  </a:lnTo>
                  <a:lnTo>
                    <a:pt x="47" y="275"/>
                  </a:lnTo>
                  <a:lnTo>
                    <a:pt x="45" y="275"/>
                  </a:lnTo>
                  <a:lnTo>
                    <a:pt x="45" y="277"/>
                  </a:lnTo>
                  <a:lnTo>
                    <a:pt x="45" y="279"/>
                  </a:lnTo>
                  <a:lnTo>
                    <a:pt x="43" y="279"/>
                  </a:lnTo>
                  <a:lnTo>
                    <a:pt x="43" y="277"/>
                  </a:lnTo>
                  <a:lnTo>
                    <a:pt x="41" y="279"/>
                  </a:lnTo>
                  <a:lnTo>
                    <a:pt x="39" y="279"/>
                  </a:lnTo>
                  <a:lnTo>
                    <a:pt x="39" y="279"/>
                  </a:lnTo>
                  <a:lnTo>
                    <a:pt x="39" y="281"/>
                  </a:lnTo>
                  <a:lnTo>
                    <a:pt x="39" y="283"/>
                  </a:lnTo>
                  <a:lnTo>
                    <a:pt x="36" y="283"/>
                  </a:lnTo>
                  <a:lnTo>
                    <a:pt x="36" y="283"/>
                  </a:lnTo>
                  <a:lnTo>
                    <a:pt x="34" y="283"/>
                  </a:lnTo>
                  <a:lnTo>
                    <a:pt x="34" y="283"/>
                  </a:lnTo>
                  <a:lnTo>
                    <a:pt x="32" y="283"/>
                  </a:lnTo>
                  <a:lnTo>
                    <a:pt x="30" y="283"/>
                  </a:lnTo>
                  <a:lnTo>
                    <a:pt x="28" y="283"/>
                  </a:lnTo>
                  <a:lnTo>
                    <a:pt x="26" y="283"/>
                  </a:lnTo>
                  <a:lnTo>
                    <a:pt x="24" y="285"/>
                  </a:lnTo>
                  <a:lnTo>
                    <a:pt x="24" y="283"/>
                  </a:lnTo>
                  <a:lnTo>
                    <a:pt x="21" y="283"/>
                  </a:lnTo>
                  <a:lnTo>
                    <a:pt x="21" y="281"/>
                  </a:lnTo>
                  <a:lnTo>
                    <a:pt x="24" y="279"/>
                  </a:lnTo>
                  <a:lnTo>
                    <a:pt x="24" y="279"/>
                  </a:lnTo>
                  <a:lnTo>
                    <a:pt x="26" y="277"/>
                  </a:lnTo>
                  <a:lnTo>
                    <a:pt x="26" y="275"/>
                  </a:lnTo>
                  <a:lnTo>
                    <a:pt x="24" y="275"/>
                  </a:lnTo>
                  <a:lnTo>
                    <a:pt x="26" y="273"/>
                  </a:lnTo>
                  <a:lnTo>
                    <a:pt x="28" y="275"/>
                  </a:lnTo>
                  <a:lnTo>
                    <a:pt x="28" y="273"/>
                  </a:lnTo>
                  <a:lnTo>
                    <a:pt x="30" y="271"/>
                  </a:lnTo>
                  <a:lnTo>
                    <a:pt x="30" y="269"/>
                  </a:lnTo>
                  <a:lnTo>
                    <a:pt x="28" y="269"/>
                  </a:lnTo>
                  <a:lnTo>
                    <a:pt x="28" y="267"/>
                  </a:lnTo>
                  <a:lnTo>
                    <a:pt x="26" y="265"/>
                  </a:lnTo>
                  <a:lnTo>
                    <a:pt x="24" y="265"/>
                  </a:lnTo>
                  <a:lnTo>
                    <a:pt x="24" y="263"/>
                  </a:lnTo>
                  <a:lnTo>
                    <a:pt x="21" y="263"/>
                  </a:lnTo>
                  <a:lnTo>
                    <a:pt x="19" y="265"/>
                  </a:lnTo>
                  <a:lnTo>
                    <a:pt x="19" y="267"/>
                  </a:lnTo>
                  <a:lnTo>
                    <a:pt x="19" y="269"/>
                  </a:lnTo>
                  <a:lnTo>
                    <a:pt x="17" y="269"/>
                  </a:lnTo>
                  <a:lnTo>
                    <a:pt x="17" y="271"/>
                  </a:lnTo>
                  <a:lnTo>
                    <a:pt x="17" y="273"/>
                  </a:lnTo>
                  <a:lnTo>
                    <a:pt x="15" y="273"/>
                  </a:lnTo>
                  <a:lnTo>
                    <a:pt x="13" y="273"/>
                  </a:lnTo>
                  <a:lnTo>
                    <a:pt x="13" y="275"/>
                  </a:lnTo>
                  <a:lnTo>
                    <a:pt x="13" y="275"/>
                  </a:lnTo>
                  <a:lnTo>
                    <a:pt x="13" y="277"/>
                  </a:lnTo>
                  <a:lnTo>
                    <a:pt x="13" y="279"/>
                  </a:lnTo>
                  <a:lnTo>
                    <a:pt x="13" y="279"/>
                  </a:lnTo>
                  <a:lnTo>
                    <a:pt x="11" y="277"/>
                  </a:lnTo>
                  <a:lnTo>
                    <a:pt x="11" y="279"/>
                  </a:lnTo>
                  <a:lnTo>
                    <a:pt x="11" y="281"/>
                  </a:lnTo>
                  <a:lnTo>
                    <a:pt x="11" y="283"/>
                  </a:lnTo>
                  <a:lnTo>
                    <a:pt x="11" y="283"/>
                  </a:lnTo>
                  <a:lnTo>
                    <a:pt x="11" y="285"/>
                  </a:lnTo>
                  <a:lnTo>
                    <a:pt x="11" y="287"/>
                  </a:lnTo>
                  <a:lnTo>
                    <a:pt x="11" y="287"/>
                  </a:lnTo>
                  <a:lnTo>
                    <a:pt x="11" y="287"/>
                  </a:lnTo>
                  <a:lnTo>
                    <a:pt x="8" y="285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1"/>
                  </a:lnTo>
                  <a:lnTo>
                    <a:pt x="6" y="279"/>
                  </a:lnTo>
                  <a:lnTo>
                    <a:pt x="6" y="279"/>
                  </a:lnTo>
                  <a:lnTo>
                    <a:pt x="6" y="277"/>
                  </a:lnTo>
                  <a:lnTo>
                    <a:pt x="6" y="277"/>
                  </a:lnTo>
                  <a:lnTo>
                    <a:pt x="6" y="275"/>
                  </a:lnTo>
                  <a:lnTo>
                    <a:pt x="4" y="273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7"/>
                  </a:lnTo>
                  <a:lnTo>
                    <a:pt x="4" y="265"/>
                  </a:lnTo>
                  <a:lnTo>
                    <a:pt x="4" y="263"/>
                  </a:lnTo>
                  <a:lnTo>
                    <a:pt x="4" y="263"/>
                  </a:lnTo>
                  <a:lnTo>
                    <a:pt x="4" y="261"/>
                  </a:lnTo>
                  <a:lnTo>
                    <a:pt x="6" y="261"/>
                  </a:lnTo>
                  <a:lnTo>
                    <a:pt x="8" y="261"/>
                  </a:lnTo>
                  <a:lnTo>
                    <a:pt x="11" y="259"/>
                  </a:lnTo>
                  <a:lnTo>
                    <a:pt x="11" y="259"/>
                  </a:lnTo>
                  <a:lnTo>
                    <a:pt x="11" y="257"/>
                  </a:lnTo>
                  <a:lnTo>
                    <a:pt x="11" y="257"/>
                  </a:lnTo>
                  <a:lnTo>
                    <a:pt x="13" y="257"/>
                  </a:lnTo>
                  <a:lnTo>
                    <a:pt x="15" y="257"/>
                  </a:lnTo>
                  <a:lnTo>
                    <a:pt x="17" y="257"/>
                  </a:lnTo>
                  <a:lnTo>
                    <a:pt x="17" y="256"/>
                  </a:lnTo>
                  <a:lnTo>
                    <a:pt x="17" y="256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2"/>
                  </a:lnTo>
                  <a:lnTo>
                    <a:pt x="19" y="250"/>
                  </a:lnTo>
                  <a:lnTo>
                    <a:pt x="19" y="250"/>
                  </a:lnTo>
                  <a:lnTo>
                    <a:pt x="19" y="248"/>
                  </a:lnTo>
                  <a:lnTo>
                    <a:pt x="19" y="248"/>
                  </a:lnTo>
                  <a:lnTo>
                    <a:pt x="21" y="246"/>
                  </a:lnTo>
                  <a:lnTo>
                    <a:pt x="21" y="246"/>
                  </a:lnTo>
                  <a:lnTo>
                    <a:pt x="21" y="244"/>
                  </a:lnTo>
                  <a:lnTo>
                    <a:pt x="21" y="242"/>
                  </a:lnTo>
                  <a:lnTo>
                    <a:pt x="21" y="242"/>
                  </a:lnTo>
                  <a:lnTo>
                    <a:pt x="21" y="240"/>
                  </a:lnTo>
                  <a:lnTo>
                    <a:pt x="24" y="240"/>
                  </a:lnTo>
                  <a:lnTo>
                    <a:pt x="26" y="238"/>
                  </a:lnTo>
                  <a:lnTo>
                    <a:pt x="26" y="238"/>
                  </a:lnTo>
                  <a:lnTo>
                    <a:pt x="24" y="236"/>
                  </a:lnTo>
                  <a:lnTo>
                    <a:pt x="21" y="236"/>
                  </a:lnTo>
                  <a:lnTo>
                    <a:pt x="21" y="234"/>
                  </a:lnTo>
                  <a:lnTo>
                    <a:pt x="19" y="234"/>
                  </a:lnTo>
                  <a:lnTo>
                    <a:pt x="19" y="234"/>
                  </a:lnTo>
                  <a:lnTo>
                    <a:pt x="17" y="234"/>
                  </a:lnTo>
                  <a:lnTo>
                    <a:pt x="15" y="234"/>
                  </a:lnTo>
                  <a:lnTo>
                    <a:pt x="15" y="232"/>
                  </a:lnTo>
                  <a:lnTo>
                    <a:pt x="15" y="230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1" y="226"/>
                  </a:lnTo>
                  <a:lnTo>
                    <a:pt x="11" y="224"/>
                  </a:lnTo>
                  <a:lnTo>
                    <a:pt x="8" y="224"/>
                  </a:lnTo>
                  <a:lnTo>
                    <a:pt x="8" y="224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4" y="220"/>
                  </a:lnTo>
                  <a:lnTo>
                    <a:pt x="4" y="220"/>
                  </a:lnTo>
                  <a:lnTo>
                    <a:pt x="2" y="220"/>
                  </a:lnTo>
                  <a:lnTo>
                    <a:pt x="2" y="218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4" y="214"/>
                  </a:lnTo>
                  <a:lnTo>
                    <a:pt x="6" y="214"/>
                  </a:lnTo>
                  <a:lnTo>
                    <a:pt x="4" y="212"/>
                  </a:lnTo>
                  <a:lnTo>
                    <a:pt x="6" y="212"/>
                  </a:lnTo>
                  <a:lnTo>
                    <a:pt x="6" y="212"/>
                  </a:lnTo>
                  <a:lnTo>
                    <a:pt x="8" y="210"/>
                  </a:lnTo>
                  <a:lnTo>
                    <a:pt x="8" y="210"/>
                  </a:lnTo>
                  <a:lnTo>
                    <a:pt x="8" y="208"/>
                  </a:lnTo>
                  <a:lnTo>
                    <a:pt x="8" y="206"/>
                  </a:lnTo>
                  <a:lnTo>
                    <a:pt x="11" y="206"/>
                  </a:lnTo>
                  <a:lnTo>
                    <a:pt x="11" y="204"/>
                  </a:lnTo>
                  <a:lnTo>
                    <a:pt x="13" y="204"/>
                  </a:lnTo>
                  <a:lnTo>
                    <a:pt x="11" y="202"/>
                  </a:lnTo>
                  <a:lnTo>
                    <a:pt x="13" y="200"/>
                  </a:lnTo>
                  <a:lnTo>
                    <a:pt x="11" y="200"/>
                  </a:lnTo>
                  <a:lnTo>
                    <a:pt x="13" y="198"/>
                  </a:lnTo>
                  <a:lnTo>
                    <a:pt x="13" y="198"/>
                  </a:lnTo>
                  <a:lnTo>
                    <a:pt x="11" y="196"/>
                  </a:lnTo>
                  <a:lnTo>
                    <a:pt x="11" y="196"/>
                  </a:lnTo>
                  <a:lnTo>
                    <a:pt x="11" y="194"/>
                  </a:lnTo>
                  <a:lnTo>
                    <a:pt x="11" y="194"/>
                  </a:lnTo>
                  <a:lnTo>
                    <a:pt x="11" y="192"/>
                  </a:lnTo>
                  <a:lnTo>
                    <a:pt x="13" y="192"/>
                  </a:lnTo>
                  <a:lnTo>
                    <a:pt x="13" y="190"/>
                  </a:lnTo>
                  <a:lnTo>
                    <a:pt x="13" y="190"/>
                  </a:lnTo>
                  <a:lnTo>
                    <a:pt x="15" y="188"/>
                  </a:lnTo>
                  <a:lnTo>
                    <a:pt x="17" y="188"/>
                  </a:lnTo>
                  <a:lnTo>
                    <a:pt x="17" y="186"/>
                  </a:lnTo>
                  <a:lnTo>
                    <a:pt x="17" y="184"/>
                  </a:lnTo>
                  <a:lnTo>
                    <a:pt x="19" y="184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21" y="180"/>
                  </a:lnTo>
                  <a:lnTo>
                    <a:pt x="21" y="180"/>
                  </a:lnTo>
                  <a:lnTo>
                    <a:pt x="21" y="178"/>
                  </a:lnTo>
                  <a:lnTo>
                    <a:pt x="21" y="176"/>
                  </a:lnTo>
                  <a:lnTo>
                    <a:pt x="21" y="176"/>
                  </a:lnTo>
                  <a:lnTo>
                    <a:pt x="21" y="176"/>
                  </a:lnTo>
                  <a:lnTo>
                    <a:pt x="24" y="174"/>
                  </a:lnTo>
                  <a:lnTo>
                    <a:pt x="24" y="172"/>
                  </a:lnTo>
                  <a:lnTo>
                    <a:pt x="24" y="172"/>
                  </a:lnTo>
                  <a:lnTo>
                    <a:pt x="26" y="170"/>
                  </a:lnTo>
                  <a:lnTo>
                    <a:pt x="26" y="168"/>
                  </a:lnTo>
                  <a:lnTo>
                    <a:pt x="28" y="168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30" y="162"/>
                  </a:lnTo>
                  <a:lnTo>
                    <a:pt x="30" y="160"/>
                  </a:lnTo>
                  <a:lnTo>
                    <a:pt x="30" y="158"/>
                  </a:lnTo>
                  <a:lnTo>
                    <a:pt x="30" y="158"/>
                  </a:lnTo>
                  <a:lnTo>
                    <a:pt x="30" y="156"/>
                  </a:lnTo>
                  <a:lnTo>
                    <a:pt x="30" y="156"/>
                  </a:lnTo>
                  <a:lnTo>
                    <a:pt x="32" y="154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0" y="150"/>
                  </a:lnTo>
                  <a:lnTo>
                    <a:pt x="30" y="150"/>
                  </a:lnTo>
                  <a:lnTo>
                    <a:pt x="30" y="150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28" y="148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6" y="146"/>
                  </a:lnTo>
                  <a:lnTo>
                    <a:pt x="26" y="144"/>
                  </a:lnTo>
                  <a:lnTo>
                    <a:pt x="24" y="144"/>
                  </a:lnTo>
                  <a:lnTo>
                    <a:pt x="21" y="142"/>
                  </a:lnTo>
                  <a:lnTo>
                    <a:pt x="21" y="142"/>
                  </a:lnTo>
                  <a:lnTo>
                    <a:pt x="19" y="140"/>
                  </a:lnTo>
                  <a:lnTo>
                    <a:pt x="21" y="140"/>
                  </a:lnTo>
                  <a:lnTo>
                    <a:pt x="21" y="138"/>
                  </a:lnTo>
                  <a:lnTo>
                    <a:pt x="19" y="138"/>
                  </a:lnTo>
                  <a:lnTo>
                    <a:pt x="19" y="136"/>
                  </a:lnTo>
                  <a:lnTo>
                    <a:pt x="17" y="136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7" y="132"/>
                  </a:lnTo>
                  <a:lnTo>
                    <a:pt x="19" y="132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19" y="126"/>
                  </a:lnTo>
                  <a:lnTo>
                    <a:pt x="21" y="126"/>
                  </a:lnTo>
                  <a:lnTo>
                    <a:pt x="21" y="124"/>
                  </a:lnTo>
                  <a:lnTo>
                    <a:pt x="21" y="124"/>
                  </a:lnTo>
                  <a:lnTo>
                    <a:pt x="24" y="124"/>
                  </a:lnTo>
                  <a:lnTo>
                    <a:pt x="24" y="122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6" y="120"/>
                  </a:lnTo>
                  <a:lnTo>
                    <a:pt x="26" y="118"/>
                  </a:lnTo>
                  <a:lnTo>
                    <a:pt x="26" y="120"/>
                  </a:lnTo>
                  <a:lnTo>
                    <a:pt x="28" y="120"/>
                  </a:lnTo>
                  <a:lnTo>
                    <a:pt x="28" y="122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4" y="126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6" y="128"/>
                  </a:lnTo>
                  <a:lnTo>
                    <a:pt x="36" y="128"/>
                  </a:lnTo>
                  <a:lnTo>
                    <a:pt x="36" y="130"/>
                  </a:lnTo>
                  <a:lnTo>
                    <a:pt x="34" y="130"/>
                  </a:lnTo>
                  <a:lnTo>
                    <a:pt x="34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4" y="134"/>
                  </a:lnTo>
                  <a:lnTo>
                    <a:pt x="32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4" y="136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36" y="144"/>
                  </a:lnTo>
                  <a:lnTo>
                    <a:pt x="36" y="146"/>
                  </a:lnTo>
                  <a:lnTo>
                    <a:pt x="39" y="148"/>
                  </a:lnTo>
                  <a:lnTo>
                    <a:pt x="39" y="150"/>
                  </a:lnTo>
                  <a:lnTo>
                    <a:pt x="41" y="150"/>
                  </a:lnTo>
                  <a:lnTo>
                    <a:pt x="41" y="152"/>
                  </a:lnTo>
                  <a:lnTo>
                    <a:pt x="43" y="154"/>
                  </a:lnTo>
                  <a:lnTo>
                    <a:pt x="43" y="156"/>
                  </a:lnTo>
                  <a:lnTo>
                    <a:pt x="45" y="156"/>
                  </a:lnTo>
                  <a:lnTo>
                    <a:pt x="45" y="158"/>
                  </a:lnTo>
                  <a:lnTo>
                    <a:pt x="47" y="160"/>
                  </a:lnTo>
                  <a:lnTo>
                    <a:pt x="49" y="160"/>
                  </a:lnTo>
                  <a:lnTo>
                    <a:pt x="49" y="162"/>
                  </a:lnTo>
                  <a:lnTo>
                    <a:pt x="51" y="164"/>
                  </a:lnTo>
                  <a:lnTo>
                    <a:pt x="54" y="164"/>
                  </a:lnTo>
                  <a:lnTo>
                    <a:pt x="54" y="166"/>
                  </a:lnTo>
                  <a:lnTo>
                    <a:pt x="56" y="168"/>
                  </a:lnTo>
                  <a:lnTo>
                    <a:pt x="58" y="168"/>
                  </a:lnTo>
                  <a:lnTo>
                    <a:pt x="60" y="170"/>
                  </a:lnTo>
                  <a:lnTo>
                    <a:pt x="60" y="170"/>
                  </a:lnTo>
                  <a:lnTo>
                    <a:pt x="62" y="172"/>
                  </a:lnTo>
                  <a:lnTo>
                    <a:pt x="64" y="172"/>
                  </a:lnTo>
                  <a:lnTo>
                    <a:pt x="66" y="172"/>
                  </a:lnTo>
                  <a:lnTo>
                    <a:pt x="69" y="172"/>
                  </a:lnTo>
                  <a:lnTo>
                    <a:pt x="69" y="172"/>
                  </a:lnTo>
                  <a:lnTo>
                    <a:pt x="71" y="172"/>
                  </a:lnTo>
                  <a:lnTo>
                    <a:pt x="73" y="174"/>
                  </a:lnTo>
                  <a:lnTo>
                    <a:pt x="75" y="174"/>
                  </a:lnTo>
                  <a:lnTo>
                    <a:pt x="77" y="174"/>
                  </a:lnTo>
                  <a:lnTo>
                    <a:pt x="77" y="174"/>
                  </a:lnTo>
                  <a:lnTo>
                    <a:pt x="79" y="174"/>
                  </a:lnTo>
                  <a:lnTo>
                    <a:pt x="82" y="174"/>
                  </a:lnTo>
                  <a:lnTo>
                    <a:pt x="84" y="174"/>
                  </a:lnTo>
                  <a:lnTo>
                    <a:pt x="86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4" y="174"/>
                  </a:lnTo>
                  <a:lnTo>
                    <a:pt x="94" y="174"/>
                  </a:lnTo>
                  <a:lnTo>
                    <a:pt x="97" y="174"/>
                  </a:lnTo>
                  <a:lnTo>
                    <a:pt x="97" y="174"/>
                  </a:lnTo>
                  <a:lnTo>
                    <a:pt x="97" y="174"/>
                  </a:lnTo>
                  <a:lnTo>
                    <a:pt x="99" y="176"/>
                  </a:lnTo>
                  <a:lnTo>
                    <a:pt x="101" y="176"/>
                  </a:lnTo>
                  <a:lnTo>
                    <a:pt x="101" y="176"/>
                  </a:lnTo>
                  <a:lnTo>
                    <a:pt x="103" y="178"/>
                  </a:lnTo>
                  <a:lnTo>
                    <a:pt x="105" y="180"/>
                  </a:lnTo>
                  <a:lnTo>
                    <a:pt x="105" y="180"/>
                  </a:lnTo>
                  <a:lnTo>
                    <a:pt x="107" y="182"/>
                  </a:lnTo>
                  <a:lnTo>
                    <a:pt x="109" y="182"/>
                  </a:lnTo>
                  <a:lnTo>
                    <a:pt x="112" y="182"/>
                  </a:lnTo>
                  <a:lnTo>
                    <a:pt x="114" y="182"/>
                  </a:lnTo>
                  <a:lnTo>
                    <a:pt x="116" y="182"/>
                  </a:lnTo>
                  <a:lnTo>
                    <a:pt x="118" y="182"/>
                  </a:lnTo>
                  <a:lnTo>
                    <a:pt x="120" y="182"/>
                  </a:lnTo>
                  <a:lnTo>
                    <a:pt x="122" y="182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7" y="182"/>
                  </a:lnTo>
                  <a:lnTo>
                    <a:pt x="129" y="180"/>
                  </a:lnTo>
                  <a:lnTo>
                    <a:pt x="131" y="180"/>
                  </a:lnTo>
                  <a:lnTo>
                    <a:pt x="133" y="180"/>
                  </a:lnTo>
                  <a:lnTo>
                    <a:pt x="135" y="180"/>
                  </a:lnTo>
                  <a:lnTo>
                    <a:pt x="137" y="180"/>
                  </a:lnTo>
                  <a:lnTo>
                    <a:pt x="140" y="180"/>
                  </a:lnTo>
                  <a:lnTo>
                    <a:pt x="142" y="178"/>
                  </a:lnTo>
                  <a:lnTo>
                    <a:pt x="144" y="178"/>
                  </a:lnTo>
                  <a:lnTo>
                    <a:pt x="146" y="178"/>
                  </a:lnTo>
                  <a:lnTo>
                    <a:pt x="146" y="176"/>
                  </a:lnTo>
                  <a:lnTo>
                    <a:pt x="148" y="176"/>
                  </a:lnTo>
                  <a:lnTo>
                    <a:pt x="150" y="176"/>
                  </a:lnTo>
                  <a:lnTo>
                    <a:pt x="152" y="174"/>
                  </a:lnTo>
                  <a:lnTo>
                    <a:pt x="155" y="174"/>
                  </a:lnTo>
                  <a:lnTo>
                    <a:pt x="157" y="172"/>
                  </a:lnTo>
                  <a:lnTo>
                    <a:pt x="157" y="172"/>
                  </a:lnTo>
                  <a:lnTo>
                    <a:pt x="159" y="170"/>
                  </a:lnTo>
                  <a:lnTo>
                    <a:pt x="161" y="170"/>
                  </a:lnTo>
                  <a:lnTo>
                    <a:pt x="161" y="168"/>
                  </a:lnTo>
                  <a:lnTo>
                    <a:pt x="163" y="168"/>
                  </a:lnTo>
                  <a:lnTo>
                    <a:pt x="165" y="166"/>
                  </a:lnTo>
                  <a:lnTo>
                    <a:pt x="167" y="164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0"/>
                  </a:lnTo>
                  <a:lnTo>
                    <a:pt x="170" y="158"/>
                  </a:lnTo>
                  <a:lnTo>
                    <a:pt x="170" y="156"/>
                  </a:lnTo>
                  <a:lnTo>
                    <a:pt x="172" y="156"/>
                  </a:lnTo>
                  <a:lnTo>
                    <a:pt x="172" y="156"/>
                  </a:lnTo>
                  <a:lnTo>
                    <a:pt x="174" y="154"/>
                  </a:lnTo>
                  <a:lnTo>
                    <a:pt x="176" y="152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5" y="144"/>
                  </a:lnTo>
                  <a:lnTo>
                    <a:pt x="195" y="142"/>
                  </a:lnTo>
                  <a:lnTo>
                    <a:pt x="197" y="142"/>
                  </a:lnTo>
                  <a:lnTo>
                    <a:pt x="197" y="142"/>
                  </a:lnTo>
                  <a:lnTo>
                    <a:pt x="200" y="144"/>
                  </a:lnTo>
                  <a:lnTo>
                    <a:pt x="202" y="144"/>
                  </a:lnTo>
                  <a:lnTo>
                    <a:pt x="202" y="144"/>
                  </a:lnTo>
                  <a:lnTo>
                    <a:pt x="204" y="142"/>
                  </a:lnTo>
                  <a:lnTo>
                    <a:pt x="206" y="142"/>
                  </a:lnTo>
                  <a:lnTo>
                    <a:pt x="206" y="142"/>
                  </a:lnTo>
                  <a:lnTo>
                    <a:pt x="208" y="142"/>
                  </a:lnTo>
                  <a:lnTo>
                    <a:pt x="210" y="142"/>
                  </a:lnTo>
                  <a:lnTo>
                    <a:pt x="213" y="142"/>
                  </a:lnTo>
                  <a:lnTo>
                    <a:pt x="215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9" y="142"/>
                  </a:lnTo>
                  <a:lnTo>
                    <a:pt x="221" y="140"/>
                  </a:lnTo>
                  <a:lnTo>
                    <a:pt x="223" y="140"/>
                  </a:lnTo>
                  <a:lnTo>
                    <a:pt x="225" y="138"/>
                  </a:lnTo>
                  <a:lnTo>
                    <a:pt x="225" y="138"/>
                  </a:lnTo>
                  <a:lnTo>
                    <a:pt x="228" y="136"/>
                  </a:lnTo>
                  <a:lnTo>
                    <a:pt x="230" y="134"/>
                  </a:lnTo>
                  <a:lnTo>
                    <a:pt x="230" y="134"/>
                  </a:lnTo>
                  <a:lnTo>
                    <a:pt x="232" y="132"/>
                  </a:lnTo>
                  <a:lnTo>
                    <a:pt x="234" y="130"/>
                  </a:lnTo>
                  <a:lnTo>
                    <a:pt x="234" y="130"/>
                  </a:lnTo>
                  <a:lnTo>
                    <a:pt x="236" y="128"/>
                  </a:lnTo>
                  <a:lnTo>
                    <a:pt x="236" y="126"/>
                  </a:lnTo>
                  <a:lnTo>
                    <a:pt x="238" y="126"/>
                  </a:lnTo>
                  <a:lnTo>
                    <a:pt x="240" y="124"/>
                  </a:lnTo>
                  <a:lnTo>
                    <a:pt x="240" y="122"/>
                  </a:lnTo>
                  <a:lnTo>
                    <a:pt x="243" y="120"/>
                  </a:lnTo>
                  <a:lnTo>
                    <a:pt x="243" y="120"/>
                  </a:lnTo>
                  <a:lnTo>
                    <a:pt x="245" y="118"/>
                  </a:lnTo>
                  <a:lnTo>
                    <a:pt x="245" y="116"/>
                  </a:lnTo>
                  <a:lnTo>
                    <a:pt x="247" y="116"/>
                  </a:lnTo>
                  <a:lnTo>
                    <a:pt x="249" y="114"/>
                  </a:lnTo>
                  <a:lnTo>
                    <a:pt x="249" y="112"/>
                  </a:lnTo>
                  <a:lnTo>
                    <a:pt x="251" y="110"/>
                  </a:lnTo>
                  <a:lnTo>
                    <a:pt x="251" y="108"/>
                  </a:lnTo>
                  <a:lnTo>
                    <a:pt x="251" y="108"/>
                  </a:lnTo>
                  <a:lnTo>
                    <a:pt x="251" y="106"/>
                  </a:lnTo>
                  <a:lnTo>
                    <a:pt x="251" y="106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49" y="102"/>
                  </a:lnTo>
                  <a:lnTo>
                    <a:pt x="251" y="102"/>
                  </a:lnTo>
                  <a:lnTo>
                    <a:pt x="253" y="100"/>
                  </a:lnTo>
                  <a:lnTo>
                    <a:pt x="253" y="102"/>
                  </a:lnTo>
                  <a:lnTo>
                    <a:pt x="255" y="102"/>
                  </a:lnTo>
                  <a:lnTo>
                    <a:pt x="255" y="100"/>
                  </a:lnTo>
                  <a:lnTo>
                    <a:pt x="255" y="100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5" y="96"/>
                  </a:lnTo>
                  <a:lnTo>
                    <a:pt x="258" y="98"/>
                  </a:lnTo>
                  <a:lnTo>
                    <a:pt x="258" y="96"/>
                  </a:lnTo>
                  <a:lnTo>
                    <a:pt x="260" y="96"/>
                  </a:lnTo>
                  <a:lnTo>
                    <a:pt x="260" y="94"/>
                  </a:lnTo>
                  <a:lnTo>
                    <a:pt x="262" y="94"/>
                  </a:lnTo>
                  <a:lnTo>
                    <a:pt x="262" y="94"/>
                  </a:lnTo>
                  <a:lnTo>
                    <a:pt x="262" y="94"/>
                  </a:lnTo>
                  <a:lnTo>
                    <a:pt x="264" y="94"/>
                  </a:lnTo>
                  <a:lnTo>
                    <a:pt x="266" y="94"/>
                  </a:lnTo>
                  <a:lnTo>
                    <a:pt x="266" y="94"/>
                  </a:lnTo>
                  <a:lnTo>
                    <a:pt x="266" y="92"/>
                  </a:lnTo>
                  <a:lnTo>
                    <a:pt x="268" y="92"/>
                  </a:lnTo>
                  <a:lnTo>
                    <a:pt x="268" y="90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271" y="88"/>
                  </a:lnTo>
                  <a:lnTo>
                    <a:pt x="271" y="88"/>
                  </a:lnTo>
                  <a:lnTo>
                    <a:pt x="273" y="88"/>
                  </a:lnTo>
                  <a:lnTo>
                    <a:pt x="273" y="86"/>
                  </a:lnTo>
                  <a:lnTo>
                    <a:pt x="275" y="86"/>
                  </a:lnTo>
                  <a:lnTo>
                    <a:pt x="275" y="84"/>
                  </a:lnTo>
                  <a:lnTo>
                    <a:pt x="277" y="84"/>
                  </a:lnTo>
                  <a:lnTo>
                    <a:pt x="277" y="82"/>
                  </a:lnTo>
                  <a:lnTo>
                    <a:pt x="279" y="80"/>
                  </a:lnTo>
                  <a:lnTo>
                    <a:pt x="279" y="80"/>
                  </a:lnTo>
                  <a:lnTo>
                    <a:pt x="281" y="78"/>
                  </a:lnTo>
                  <a:lnTo>
                    <a:pt x="281" y="78"/>
                  </a:lnTo>
                  <a:lnTo>
                    <a:pt x="281" y="76"/>
                  </a:lnTo>
                  <a:lnTo>
                    <a:pt x="283" y="76"/>
                  </a:lnTo>
                  <a:lnTo>
                    <a:pt x="286" y="74"/>
                  </a:lnTo>
                  <a:lnTo>
                    <a:pt x="286" y="74"/>
                  </a:lnTo>
                  <a:lnTo>
                    <a:pt x="286" y="74"/>
                  </a:lnTo>
                  <a:lnTo>
                    <a:pt x="286" y="72"/>
                  </a:lnTo>
                  <a:lnTo>
                    <a:pt x="288" y="72"/>
                  </a:lnTo>
                  <a:lnTo>
                    <a:pt x="286" y="72"/>
                  </a:lnTo>
                  <a:lnTo>
                    <a:pt x="288" y="70"/>
                  </a:lnTo>
                  <a:lnTo>
                    <a:pt x="288" y="70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90" y="66"/>
                  </a:lnTo>
                  <a:lnTo>
                    <a:pt x="292" y="64"/>
                  </a:lnTo>
                  <a:lnTo>
                    <a:pt x="294" y="64"/>
                  </a:lnTo>
                  <a:lnTo>
                    <a:pt x="292" y="64"/>
                  </a:lnTo>
                  <a:lnTo>
                    <a:pt x="294" y="62"/>
                  </a:lnTo>
                  <a:lnTo>
                    <a:pt x="294" y="60"/>
                  </a:lnTo>
                  <a:lnTo>
                    <a:pt x="294" y="60"/>
                  </a:lnTo>
                  <a:lnTo>
                    <a:pt x="296" y="58"/>
                  </a:lnTo>
                  <a:lnTo>
                    <a:pt x="296" y="56"/>
                  </a:lnTo>
                  <a:lnTo>
                    <a:pt x="298" y="56"/>
                  </a:lnTo>
                  <a:lnTo>
                    <a:pt x="298" y="56"/>
                  </a:lnTo>
                  <a:lnTo>
                    <a:pt x="301" y="56"/>
                  </a:lnTo>
                  <a:lnTo>
                    <a:pt x="303" y="56"/>
                  </a:lnTo>
                  <a:lnTo>
                    <a:pt x="303" y="54"/>
                  </a:lnTo>
                  <a:lnTo>
                    <a:pt x="305" y="54"/>
                  </a:lnTo>
                  <a:lnTo>
                    <a:pt x="305" y="52"/>
                  </a:lnTo>
                  <a:lnTo>
                    <a:pt x="307" y="52"/>
                  </a:lnTo>
                  <a:lnTo>
                    <a:pt x="307" y="52"/>
                  </a:lnTo>
                  <a:lnTo>
                    <a:pt x="309" y="52"/>
                  </a:lnTo>
                  <a:lnTo>
                    <a:pt x="311" y="52"/>
                  </a:lnTo>
                  <a:lnTo>
                    <a:pt x="311" y="54"/>
                  </a:lnTo>
                  <a:lnTo>
                    <a:pt x="313" y="54"/>
                  </a:lnTo>
                  <a:lnTo>
                    <a:pt x="313" y="56"/>
                  </a:lnTo>
                  <a:lnTo>
                    <a:pt x="316" y="56"/>
                  </a:lnTo>
                  <a:lnTo>
                    <a:pt x="318" y="54"/>
                  </a:lnTo>
                  <a:lnTo>
                    <a:pt x="320" y="56"/>
                  </a:lnTo>
                  <a:lnTo>
                    <a:pt x="320" y="56"/>
                  </a:lnTo>
                  <a:lnTo>
                    <a:pt x="322" y="54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6" y="52"/>
                  </a:lnTo>
                  <a:lnTo>
                    <a:pt x="328" y="52"/>
                  </a:lnTo>
                  <a:lnTo>
                    <a:pt x="331" y="52"/>
                  </a:lnTo>
                  <a:lnTo>
                    <a:pt x="331" y="50"/>
                  </a:lnTo>
                  <a:lnTo>
                    <a:pt x="333" y="50"/>
                  </a:lnTo>
                  <a:lnTo>
                    <a:pt x="335" y="48"/>
                  </a:lnTo>
                  <a:lnTo>
                    <a:pt x="335" y="46"/>
                  </a:lnTo>
                  <a:lnTo>
                    <a:pt x="333" y="46"/>
                  </a:lnTo>
                  <a:lnTo>
                    <a:pt x="333" y="44"/>
                  </a:lnTo>
                  <a:lnTo>
                    <a:pt x="335" y="44"/>
                  </a:lnTo>
                  <a:lnTo>
                    <a:pt x="335" y="44"/>
                  </a:lnTo>
                  <a:lnTo>
                    <a:pt x="337" y="44"/>
                  </a:lnTo>
                  <a:lnTo>
                    <a:pt x="339" y="44"/>
                  </a:lnTo>
                  <a:lnTo>
                    <a:pt x="339" y="44"/>
                  </a:lnTo>
                  <a:lnTo>
                    <a:pt x="341" y="44"/>
                  </a:lnTo>
                  <a:lnTo>
                    <a:pt x="344" y="44"/>
                  </a:lnTo>
                  <a:lnTo>
                    <a:pt x="346" y="44"/>
                  </a:lnTo>
                  <a:lnTo>
                    <a:pt x="346" y="42"/>
                  </a:lnTo>
                  <a:lnTo>
                    <a:pt x="348" y="42"/>
                  </a:lnTo>
                  <a:lnTo>
                    <a:pt x="348" y="40"/>
                  </a:lnTo>
                  <a:lnTo>
                    <a:pt x="350" y="38"/>
                  </a:lnTo>
                  <a:lnTo>
                    <a:pt x="350" y="36"/>
                  </a:lnTo>
                  <a:lnTo>
                    <a:pt x="350" y="36"/>
                  </a:lnTo>
                  <a:lnTo>
                    <a:pt x="350" y="34"/>
                  </a:lnTo>
                  <a:lnTo>
                    <a:pt x="350" y="34"/>
                  </a:lnTo>
                  <a:lnTo>
                    <a:pt x="348" y="32"/>
                  </a:lnTo>
                  <a:lnTo>
                    <a:pt x="348" y="32"/>
                  </a:lnTo>
                  <a:lnTo>
                    <a:pt x="346" y="32"/>
                  </a:lnTo>
                  <a:lnTo>
                    <a:pt x="348" y="30"/>
                  </a:lnTo>
                  <a:lnTo>
                    <a:pt x="348" y="30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6" y="26"/>
                  </a:lnTo>
                  <a:lnTo>
                    <a:pt x="346" y="24"/>
                  </a:lnTo>
                  <a:lnTo>
                    <a:pt x="348" y="24"/>
                  </a:lnTo>
                  <a:lnTo>
                    <a:pt x="348" y="22"/>
                  </a:lnTo>
                  <a:lnTo>
                    <a:pt x="348" y="22"/>
                  </a:lnTo>
                  <a:lnTo>
                    <a:pt x="348" y="20"/>
                  </a:lnTo>
                  <a:lnTo>
                    <a:pt x="348" y="20"/>
                  </a:lnTo>
                  <a:lnTo>
                    <a:pt x="348" y="18"/>
                  </a:lnTo>
                  <a:lnTo>
                    <a:pt x="350" y="18"/>
                  </a:lnTo>
                  <a:lnTo>
                    <a:pt x="348" y="16"/>
                  </a:lnTo>
                  <a:lnTo>
                    <a:pt x="350" y="14"/>
                  </a:lnTo>
                  <a:lnTo>
                    <a:pt x="350" y="12"/>
                  </a:lnTo>
                  <a:lnTo>
                    <a:pt x="348" y="12"/>
                  </a:lnTo>
                  <a:lnTo>
                    <a:pt x="346" y="10"/>
                  </a:lnTo>
                  <a:lnTo>
                    <a:pt x="346" y="12"/>
                  </a:lnTo>
                  <a:lnTo>
                    <a:pt x="344" y="12"/>
                  </a:lnTo>
                  <a:lnTo>
                    <a:pt x="341" y="12"/>
                  </a:lnTo>
                  <a:lnTo>
                    <a:pt x="341" y="12"/>
                  </a:lnTo>
                  <a:lnTo>
                    <a:pt x="341" y="10"/>
                  </a:lnTo>
                  <a:lnTo>
                    <a:pt x="339" y="10"/>
                  </a:lnTo>
                  <a:lnTo>
                    <a:pt x="339" y="8"/>
                  </a:lnTo>
                  <a:lnTo>
                    <a:pt x="341" y="8"/>
                  </a:lnTo>
                  <a:lnTo>
                    <a:pt x="341" y="6"/>
                  </a:lnTo>
                  <a:lnTo>
                    <a:pt x="341" y="6"/>
                  </a:lnTo>
                  <a:lnTo>
                    <a:pt x="344" y="8"/>
                  </a:lnTo>
                  <a:lnTo>
                    <a:pt x="344" y="6"/>
                  </a:lnTo>
                  <a:lnTo>
                    <a:pt x="346" y="8"/>
                  </a:lnTo>
                  <a:lnTo>
                    <a:pt x="346" y="8"/>
                  </a:lnTo>
                  <a:lnTo>
                    <a:pt x="348" y="8"/>
                  </a:lnTo>
                  <a:lnTo>
                    <a:pt x="346" y="10"/>
                  </a:lnTo>
                  <a:lnTo>
                    <a:pt x="348" y="10"/>
                  </a:lnTo>
                  <a:lnTo>
                    <a:pt x="350" y="10"/>
                  </a:lnTo>
                  <a:lnTo>
                    <a:pt x="350" y="8"/>
                  </a:lnTo>
                  <a:lnTo>
                    <a:pt x="352" y="8"/>
                  </a:lnTo>
                  <a:lnTo>
                    <a:pt x="352" y="6"/>
                  </a:lnTo>
                  <a:lnTo>
                    <a:pt x="352" y="6"/>
                  </a:lnTo>
                  <a:lnTo>
                    <a:pt x="354" y="6"/>
                  </a:lnTo>
                  <a:lnTo>
                    <a:pt x="356" y="6"/>
                  </a:lnTo>
                  <a:lnTo>
                    <a:pt x="356" y="6"/>
                  </a:lnTo>
                  <a:lnTo>
                    <a:pt x="359" y="6"/>
                  </a:lnTo>
                  <a:lnTo>
                    <a:pt x="359" y="8"/>
                  </a:lnTo>
                  <a:lnTo>
                    <a:pt x="359" y="8"/>
                  </a:lnTo>
                  <a:lnTo>
                    <a:pt x="359" y="10"/>
                  </a:lnTo>
                  <a:lnTo>
                    <a:pt x="359" y="10"/>
                  </a:lnTo>
                  <a:lnTo>
                    <a:pt x="359" y="8"/>
                  </a:lnTo>
                  <a:lnTo>
                    <a:pt x="361" y="8"/>
                  </a:lnTo>
                  <a:lnTo>
                    <a:pt x="361" y="6"/>
                  </a:lnTo>
                  <a:lnTo>
                    <a:pt x="363" y="4"/>
                  </a:lnTo>
                  <a:lnTo>
                    <a:pt x="363" y="4"/>
                  </a:lnTo>
                  <a:lnTo>
                    <a:pt x="365" y="6"/>
                  </a:lnTo>
                  <a:lnTo>
                    <a:pt x="365" y="4"/>
                  </a:lnTo>
                  <a:lnTo>
                    <a:pt x="365" y="4"/>
                  </a:lnTo>
                  <a:lnTo>
                    <a:pt x="367" y="2"/>
                  </a:lnTo>
                  <a:lnTo>
                    <a:pt x="367" y="2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71" y="2"/>
                  </a:lnTo>
                  <a:lnTo>
                    <a:pt x="371" y="2"/>
                  </a:lnTo>
                  <a:lnTo>
                    <a:pt x="371" y="4"/>
                  </a:lnTo>
                  <a:lnTo>
                    <a:pt x="371" y="4"/>
                  </a:lnTo>
                  <a:lnTo>
                    <a:pt x="374" y="6"/>
                  </a:lnTo>
                  <a:lnTo>
                    <a:pt x="374" y="6"/>
                  </a:lnTo>
                  <a:lnTo>
                    <a:pt x="376" y="6"/>
                  </a:lnTo>
                  <a:lnTo>
                    <a:pt x="376" y="8"/>
                  </a:lnTo>
                  <a:lnTo>
                    <a:pt x="378" y="8"/>
                  </a:lnTo>
                  <a:lnTo>
                    <a:pt x="378" y="8"/>
                  </a:lnTo>
                  <a:lnTo>
                    <a:pt x="380" y="8"/>
                  </a:lnTo>
                  <a:lnTo>
                    <a:pt x="380" y="8"/>
                  </a:lnTo>
                  <a:lnTo>
                    <a:pt x="382" y="10"/>
                  </a:lnTo>
                  <a:lnTo>
                    <a:pt x="382" y="8"/>
                  </a:lnTo>
                  <a:lnTo>
                    <a:pt x="384" y="10"/>
                  </a:lnTo>
                  <a:lnTo>
                    <a:pt x="384" y="10"/>
                  </a:lnTo>
                  <a:lnTo>
                    <a:pt x="384" y="12"/>
                  </a:lnTo>
                  <a:lnTo>
                    <a:pt x="386" y="12"/>
                  </a:lnTo>
                  <a:lnTo>
                    <a:pt x="386" y="14"/>
                  </a:lnTo>
                  <a:lnTo>
                    <a:pt x="386" y="14"/>
                  </a:lnTo>
                  <a:lnTo>
                    <a:pt x="386" y="16"/>
                  </a:lnTo>
                  <a:lnTo>
                    <a:pt x="386" y="18"/>
                  </a:lnTo>
                  <a:lnTo>
                    <a:pt x="386" y="18"/>
                  </a:lnTo>
                  <a:lnTo>
                    <a:pt x="386" y="20"/>
                  </a:lnTo>
                  <a:lnTo>
                    <a:pt x="386" y="22"/>
                  </a:lnTo>
                  <a:lnTo>
                    <a:pt x="384" y="24"/>
                  </a:lnTo>
                  <a:lnTo>
                    <a:pt x="384" y="24"/>
                  </a:lnTo>
                  <a:lnTo>
                    <a:pt x="382" y="26"/>
                  </a:lnTo>
                  <a:lnTo>
                    <a:pt x="384" y="26"/>
                  </a:lnTo>
                  <a:lnTo>
                    <a:pt x="384" y="26"/>
                  </a:lnTo>
                  <a:lnTo>
                    <a:pt x="386" y="28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6" y="24"/>
                  </a:lnTo>
                  <a:lnTo>
                    <a:pt x="386" y="24"/>
                  </a:lnTo>
                  <a:lnTo>
                    <a:pt x="389" y="22"/>
                  </a:lnTo>
                  <a:lnTo>
                    <a:pt x="389" y="20"/>
                  </a:lnTo>
                  <a:lnTo>
                    <a:pt x="391" y="20"/>
                  </a:lnTo>
                  <a:lnTo>
                    <a:pt x="389" y="18"/>
                  </a:lnTo>
                  <a:lnTo>
                    <a:pt x="389" y="18"/>
                  </a:lnTo>
                  <a:lnTo>
                    <a:pt x="391" y="18"/>
                  </a:lnTo>
                  <a:lnTo>
                    <a:pt x="391" y="20"/>
                  </a:lnTo>
                  <a:lnTo>
                    <a:pt x="393" y="20"/>
                  </a:lnTo>
                  <a:lnTo>
                    <a:pt x="393" y="22"/>
                  </a:lnTo>
                  <a:lnTo>
                    <a:pt x="393" y="22"/>
                  </a:lnTo>
                  <a:lnTo>
                    <a:pt x="393" y="24"/>
                  </a:lnTo>
                  <a:lnTo>
                    <a:pt x="393" y="24"/>
                  </a:lnTo>
                  <a:lnTo>
                    <a:pt x="391" y="26"/>
                  </a:lnTo>
                  <a:lnTo>
                    <a:pt x="391" y="26"/>
                  </a:lnTo>
                  <a:lnTo>
                    <a:pt x="391" y="28"/>
                  </a:lnTo>
                  <a:lnTo>
                    <a:pt x="391" y="28"/>
                  </a:lnTo>
                  <a:lnTo>
                    <a:pt x="393" y="28"/>
                  </a:lnTo>
                  <a:lnTo>
                    <a:pt x="395" y="28"/>
                  </a:lnTo>
                  <a:lnTo>
                    <a:pt x="397" y="28"/>
                  </a:lnTo>
                  <a:lnTo>
                    <a:pt x="399" y="28"/>
                  </a:lnTo>
                  <a:lnTo>
                    <a:pt x="399" y="26"/>
                  </a:lnTo>
                  <a:lnTo>
                    <a:pt x="399" y="26"/>
                  </a:lnTo>
                  <a:lnTo>
                    <a:pt x="399" y="24"/>
                  </a:lnTo>
                  <a:lnTo>
                    <a:pt x="402" y="24"/>
                  </a:lnTo>
                  <a:lnTo>
                    <a:pt x="402" y="26"/>
                  </a:lnTo>
                  <a:lnTo>
                    <a:pt x="399" y="28"/>
                  </a:lnTo>
                  <a:lnTo>
                    <a:pt x="402" y="28"/>
                  </a:lnTo>
                  <a:lnTo>
                    <a:pt x="404" y="30"/>
                  </a:lnTo>
                  <a:lnTo>
                    <a:pt x="404" y="30"/>
                  </a:lnTo>
                  <a:lnTo>
                    <a:pt x="406" y="30"/>
                  </a:lnTo>
                  <a:lnTo>
                    <a:pt x="408" y="30"/>
                  </a:lnTo>
                  <a:lnTo>
                    <a:pt x="408" y="28"/>
                  </a:lnTo>
                  <a:lnTo>
                    <a:pt x="408" y="28"/>
                  </a:lnTo>
                  <a:lnTo>
                    <a:pt x="406" y="28"/>
                  </a:lnTo>
                  <a:lnTo>
                    <a:pt x="404" y="28"/>
                  </a:lnTo>
                  <a:lnTo>
                    <a:pt x="406" y="26"/>
                  </a:lnTo>
                  <a:lnTo>
                    <a:pt x="406" y="26"/>
                  </a:lnTo>
                  <a:lnTo>
                    <a:pt x="406" y="24"/>
                  </a:lnTo>
                  <a:lnTo>
                    <a:pt x="406" y="24"/>
                  </a:lnTo>
                  <a:lnTo>
                    <a:pt x="408" y="22"/>
                  </a:lnTo>
                  <a:lnTo>
                    <a:pt x="410" y="22"/>
                  </a:lnTo>
                  <a:lnTo>
                    <a:pt x="410" y="22"/>
                  </a:lnTo>
                  <a:lnTo>
                    <a:pt x="412" y="24"/>
                  </a:lnTo>
                  <a:lnTo>
                    <a:pt x="412" y="24"/>
                  </a:lnTo>
                  <a:lnTo>
                    <a:pt x="414" y="22"/>
                  </a:lnTo>
                  <a:lnTo>
                    <a:pt x="414" y="22"/>
                  </a:lnTo>
                  <a:lnTo>
                    <a:pt x="417" y="24"/>
                  </a:lnTo>
                  <a:lnTo>
                    <a:pt x="417" y="26"/>
                  </a:lnTo>
                  <a:lnTo>
                    <a:pt x="417" y="28"/>
                  </a:lnTo>
                  <a:lnTo>
                    <a:pt x="417" y="28"/>
                  </a:lnTo>
                  <a:lnTo>
                    <a:pt x="417" y="30"/>
                  </a:lnTo>
                  <a:lnTo>
                    <a:pt x="417" y="32"/>
                  </a:lnTo>
                  <a:lnTo>
                    <a:pt x="419" y="32"/>
                  </a:lnTo>
                  <a:lnTo>
                    <a:pt x="421" y="30"/>
                  </a:lnTo>
                  <a:lnTo>
                    <a:pt x="421" y="30"/>
                  </a:lnTo>
                  <a:lnTo>
                    <a:pt x="423" y="32"/>
                  </a:lnTo>
                  <a:lnTo>
                    <a:pt x="423" y="34"/>
                  </a:lnTo>
                  <a:lnTo>
                    <a:pt x="423" y="34"/>
                  </a:lnTo>
                  <a:lnTo>
                    <a:pt x="423" y="34"/>
                  </a:lnTo>
                  <a:lnTo>
                    <a:pt x="425" y="32"/>
                  </a:lnTo>
                  <a:lnTo>
                    <a:pt x="427" y="34"/>
                  </a:lnTo>
                  <a:lnTo>
                    <a:pt x="427" y="34"/>
                  </a:lnTo>
                  <a:lnTo>
                    <a:pt x="429" y="36"/>
                  </a:lnTo>
                  <a:lnTo>
                    <a:pt x="429" y="36"/>
                  </a:lnTo>
                  <a:lnTo>
                    <a:pt x="429" y="34"/>
                  </a:lnTo>
                  <a:lnTo>
                    <a:pt x="432" y="34"/>
                  </a:lnTo>
                  <a:lnTo>
                    <a:pt x="434" y="34"/>
                  </a:lnTo>
                  <a:lnTo>
                    <a:pt x="436" y="34"/>
                  </a:lnTo>
                  <a:lnTo>
                    <a:pt x="436" y="36"/>
                  </a:lnTo>
                  <a:lnTo>
                    <a:pt x="436" y="38"/>
                  </a:lnTo>
                  <a:lnTo>
                    <a:pt x="436" y="38"/>
                  </a:lnTo>
                  <a:lnTo>
                    <a:pt x="434" y="40"/>
                  </a:lnTo>
                  <a:lnTo>
                    <a:pt x="432" y="40"/>
                  </a:lnTo>
                  <a:lnTo>
                    <a:pt x="432" y="42"/>
                  </a:lnTo>
                  <a:lnTo>
                    <a:pt x="429" y="42"/>
                  </a:lnTo>
                  <a:lnTo>
                    <a:pt x="429" y="44"/>
                  </a:lnTo>
                  <a:lnTo>
                    <a:pt x="432" y="44"/>
                  </a:lnTo>
                  <a:lnTo>
                    <a:pt x="434" y="44"/>
                  </a:lnTo>
                  <a:lnTo>
                    <a:pt x="436" y="44"/>
                  </a:lnTo>
                  <a:lnTo>
                    <a:pt x="438" y="44"/>
                  </a:lnTo>
                  <a:lnTo>
                    <a:pt x="438" y="44"/>
                  </a:lnTo>
                  <a:lnTo>
                    <a:pt x="438" y="46"/>
                  </a:lnTo>
                  <a:lnTo>
                    <a:pt x="438" y="48"/>
                  </a:lnTo>
                  <a:lnTo>
                    <a:pt x="438" y="48"/>
                  </a:lnTo>
                  <a:lnTo>
                    <a:pt x="440" y="50"/>
                  </a:lnTo>
                  <a:lnTo>
                    <a:pt x="440" y="50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2" y="52"/>
                  </a:lnTo>
                  <a:lnTo>
                    <a:pt x="442" y="54"/>
                  </a:lnTo>
                  <a:lnTo>
                    <a:pt x="442" y="54"/>
                  </a:lnTo>
                  <a:lnTo>
                    <a:pt x="440" y="56"/>
                  </a:lnTo>
                  <a:lnTo>
                    <a:pt x="442" y="58"/>
                  </a:lnTo>
                  <a:lnTo>
                    <a:pt x="440" y="60"/>
                  </a:lnTo>
                  <a:lnTo>
                    <a:pt x="440" y="62"/>
                  </a:lnTo>
                  <a:lnTo>
                    <a:pt x="442" y="62"/>
                  </a:lnTo>
                  <a:lnTo>
                    <a:pt x="440" y="64"/>
                  </a:lnTo>
                  <a:lnTo>
                    <a:pt x="442" y="66"/>
                  </a:lnTo>
                  <a:lnTo>
                    <a:pt x="444" y="66"/>
                  </a:lnTo>
                  <a:lnTo>
                    <a:pt x="444" y="64"/>
                  </a:lnTo>
                  <a:lnTo>
                    <a:pt x="444" y="62"/>
                  </a:lnTo>
                  <a:lnTo>
                    <a:pt x="447" y="62"/>
                  </a:lnTo>
                  <a:lnTo>
                    <a:pt x="447" y="60"/>
                  </a:lnTo>
                  <a:lnTo>
                    <a:pt x="449" y="58"/>
                  </a:lnTo>
                  <a:lnTo>
                    <a:pt x="449" y="56"/>
                  </a:lnTo>
                  <a:lnTo>
                    <a:pt x="449" y="56"/>
                  </a:lnTo>
                  <a:lnTo>
                    <a:pt x="451" y="56"/>
                  </a:lnTo>
                  <a:lnTo>
                    <a:pt x="451" y="54"/>
                  </a:lnTo>
                  <a:lnTo>
                    <a:pt x="451" y="54"/>
                  </a:lnTo>
                  <a:lnTo>
                    <a:pt x="453" y="52"/>
                  </a:lnTo>
                  <a:lnTo>
                    <a:pt x="451" y="52"/>
                  </a:lnTo>
                  <a:lnTo>
                    <a:pt x="449" y="52"/>
                  </a:lnTo>
                  <a:lnTo>
                    <a:pt x="449" y="50"/>
                  </a:lnTo>
                  <a:lnTo>
                    <a:pt x="451" y="48"/>
                  </a:lnTo>
                  <a:lnTo>
                    <a:pt x="451" y="50"/>
                  </a:lnTo>
                  <a:lnTo>
                    <a:pt x="453" y="48"/>
                  </a:lnTo>
                  <a:lnTo>
                    <a:pt x="453" y="48"/>
                  </a:lnTo>
                  <a:lnTo>
                    <a:pt x="455" y="50"/>
                  </a:lnTo>
                  <a:lnTo>
                    <a:pt x="455" y="48"/>
                  </a:lnTo>
                  <a:lnTo>
                    <a:pt x="457" y="48"/>
                  </a:lnTo>
                  <a:lnTo>
                    <a:pt x="457" y="48"/>
                  </a:lnTo>
                  <a:lnTo>
                    <a:pt x="459" y="50"/>
                  </a:lnTo>
                  <a:lnTo>
                    <a:pt x="459" y="50"/>
                  </a:lnTo>
                  <a:lnTo>
                    <a:pt x="459" y="50"/>
                  </a:lnTo>
                  <a:lnTo>
                    <a:pt x="459" y="48"/>
                  </a:lnTo>
                  <a:lnTo>
                    <a:pt x="462" y="48"/>
                  </a:lnTo>
                  <a:lnTo>
                    <a:pt x="462" y="48"/>
                  </a:lnTo>
                  <a:lnTo>
                    <a:pt x="464" y="48"/>
                  </a:lnTo>
                  <a:lnTo>
                    <a:pt x="464" y="50"/>
                  </a:lnTo>
                  <a:lnTo>
                    <a:pt x="466" y="50"/>
                  </a:lnTo>
                  <a:lnTo>
                    <a:pt x="466" y="48"/>
                  </a:lnTo>
                  <a:lnTo>
                    <a:pt x="468" y="48"/>
                  </a:lnTo>
                  <a:lnTo>
                    <a:pt x="468" y="48"/>
                  </a:lnTo>
                  <a:lnTo>
                    <a:pt x="466" y="46"/>
                  </a:lnTo>
                  <a:lnTo>
                    <a:pt x="466" y="46"/>
                  </a:lnTo>
                  <a:lnTo>
                    <a:pt x="466" y="44"/>
                  </a:lnTo>
                  <a:lnTo>
                    <a:pt x="466" y="44"/>
                  </a:lnTo>
                  <a:lnTo>
                    <a:pt x="466" y="44"/>
                  </a:lnTo>
                  <a:lnTo>
                    <a:pt x="466" y="44"/>
                  </a:lnTo>
                  <a:lnTo>
                    <a:pt x="468" y="42"/>
                  </a:lnTo>
                  <a:lnTo>
                    <a:pt x="470" y="44"/>
                  </a:lnTo>
                  <a:lnTo>
                    <a:pt x="470" y="44"/>
                  </a:lnTo>
                  <a:lnTo>
                    <a:pt x="470" y="46"/>
                  </a:lnTo>
                  <a:lnTo>
                    <a:pt x="470" y="46"/>
                  </a:lnTo>
                  <a:lnTo>
                    <a:pt x="470" y="48"/>
                  </a:lnTo>
                  <a:lnTo>
                    <a:pt x="472" y="48"/>
                  </a:lnTo>
                  <a:lnTo>
                    <a:pt x="475" y="50"/>
                  </a:lnTo>
                  <a:lnTo>
                    <a:pt x="472" y="50"/>
                  </a:lnTo>
                  <a:lnTo>
                    <a:pt x="470" y="50"/>
                  </a:lnTo>
                  <a:lnTo>
                    <a:pt x="472" y="52"/>
                  </a:lnTo>
                  <a:lnTo>
                    <a:pt x="470" y="52"/>
                  </a:lnTo>
                  <a:lnTo>
                    <a:pt x="470" y="52"/>
                  </a:lnTo>
                  <a:lnTo>
                    <a:pt x="470" y="52"/>
                  </a:lnTo>
                  <a:lnTo>
                    <a:pt x="472" y="52"/>
                  </a:lnTo>
                  <a:lnTo>
                    <a:pt x="472" y="52"/>
                  </a:lnTo>
                  <a:lnTo>
                    <a:pt x="475" y="52"/>
                  </a:lnTo>
                  <a:lnTo>
                    <a:pt x="477" y="52"/>
                  </a:lnTo>
                  <a:lnTo>
                    <a:pt x="477" y="54"/>
                  </a:lnTo>
                  <a:lnTo>
                    <a:pt x="475" y="54"/>
                  </a:lnTo>
                  <a:lnTo>
                    <a:pt x="475" y="56"/>
                  </a:lnTo>
                  <a:lnTo>
                    <a:pt x="475" y="58"/>
                  </a:lnTo>
                  <a:lnTo>
                    <a:pt x="475" y="58"/>
                  </a:lnTo>
                  <a:lnTo>
                    <a:pt x="475" y="60"/>
                  </a:lnTo>
                  <a:lnTo>
                    <a:pt x="477" y="60"/>
                  </a:lnTo>
                  <a:lnTo>
                    <a:pt x="477" y="60"/>
                  </a:lnTo>
                  <a:lnTo>
                    <a:pt x="479" y="58"/>
                  </a:lnTo>
                  <a:lnTo>
                    <a:pt x="481" y="58"/>
                  </a:lnTo>
                  <a:lnTo>
                    <a:pt x="481" y="58"/>
                  </a:lnTo>
                  <a:lnTo>
                    <a:pt x="483" y="58"/>
                  </a:lnTo>
                  <a:lnTo>
                    <a:pt x="483" y="60"/>
                  </a:lnTo>
                  <a:lnTo>
                    <a:pt x="483" y="62"/>
                  </a:lnTo>
                  <a:lnTo>
                    <a:pt x="485" y="62"/>
                  </a:lnTo>
                  <a:lnTo>
                    <a:pt x="483" y="64"/>
                  </a:lnTo>
                  <a:lnTo>
                    <a:pt x="483" y="64"/>
                  </a:lnTo>
                  <a:lnTo>
                    <a:pt x="483" y="66"/>
                  </a:lnTo>
                  <a:lnTo>
                    <a:pt x="485" y="66"/>
                  </a:lnTo>
                  <a:lnTo>
                    <a:pt x="485" y="66"/>
                  </a:lnTo>
                  <a:lnTo>
                    <a:pt x="483" y="68"/>
                  </a:lnTo>
                  <a:lnTo>
                    <a:pt x="483" y="68"/>
                  </a:lnTo>
                  <a:lnTo>
                    <a:pt x="483" y="70"/>
                  </a:lnTo>
                  <a:lnTo>
                    <a:pt x="483" y="72"/>
                  </a:lnTo>
                  <a:lnTo>
                    <a:pt x="483" y="72"/>
                  </a:lnTo>
                  <a:lnTo>
                    <a:pt x="481" y="74"/>
                  </a:lnTo>
                  <a:lnTo>
                    <a:pt x="479" y="74"/>
                  </a:lnTo>
                  <a:lnTo>
                    <a:pt x="479" y="74"/>
                  </a:lnTo>
                  <a:lnTo>
                    <a:pt x="477" y="74"/>
                  </a:lnTo>
                  <a:lnTo>
                    <a:pt x="477" y="74"/>
                  </a:lnTo>
                  <a:lnTo>
                    <a:pt x="475" y="74"/>
                  </a:lnTo>
                  <a:lnTo>
                    <a:pt x="477" y="72"/>
                  </a:lnTo>
                  <a:lnTo>
                    <a:pt x="477" y="70"/>
                  </a:lnTo>
                  <a:lnTo>
                    <a:pt x="475" y="70"/>
                  </a:lnTo>
                  <a:lnTo>
                    <a:pt x="475" y="72"/>
                  </a:lnTo>
                  <a:lnTo>
                    <a:pt x="472" y="74"/>
                  </a:lnTo>
                  <a:lnTo>
                    <a:pt x="472" y="76"/>
                  </a:lnTo>
                  <a:lnTo>
                    <a:pt x="472" y="76"/>
                  </a:lnTo>
                  <a:lnTo>
                    <a:pt x="470" y="78"/>
                  </a:lnTo>
                  <a:lnTo>
                    <a:pt x="472" y="80"/>
                  </a:lnTo>
                  <a:lnTo>
                    <a:pt x="472" y="80"/>
                  </a:lnTo>
                  <a:lnTo>
                    <a:pt x="475" y="80"/>
                  </a:lnTo>
                  <a:lnTo>
                    <a:pt x="475" y="82"/>
                  </a:lnTo>
                  <a:lnTo>
                    <a:pt x="475" y="82"/>
                  </a:lnTo>
                  <a:lnTo>
                    <a:pt x="472" y="82"/>
                  </a:lnTo>
                  <a:lnTo>
                    <a:pt x="472" y="84"/>
                  </a:lnTo>
                  <a:lnTo>
                    <a:pt x="472" y="84"/>
                  </a:lnTo>
                  <a:lnTo>
                    <a:pt x="470" y="84"/>
                  </a:lnTo>
                  <a:lnTo>
                    <a:pt x="470" y="86"/>
                  </a:lnTo>
                  <a:lnTo>
                    <a:pt x="470" y="86"/>
                  </a:lnTo>
                  <a:lnTo>
                    <a:pt x="470" y="88"/>
                  </a:lnTo>
                  <a:lnTo>
                    <a:pt x="470" y="90"/>
                  </a:lnTo>
                  <a:lnTo>
                    <a:pt x="470" y="90"/>
                  </a:lnTo>
                  <a:lnTo>
                    <a:pt x="468" y="92"/>
                  </a:lnTo>
                  <a:lnTo>
                    <a:pt x="470" y="94"/>
                  </a:lnTo>
                  <a:lnTo>
                    <a:pt x="468" y="96"/>
                  </a:lnTo>
                  <a:lnTo>
                    <a:pt x="468" y="96"/>
                  </a:lnTo>
                  <a:lnTo>
                    <a:pt x="466" y="98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4" y="102"/>
                  </a:lnTo>
                  <a:lnTo>
                    <a:pt x="464" y="102"/>
                  </a:lnTo>
                  <a:lnTo>
                    <a:pt x="464" y="104"/>
                  </a:lnTo>
                  <a:lnTo>
                    <a:pt x="464" y="104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8" y="104"/>
                  </a:lnTo>
                  <a:lnTo>
                    <a:pt x="470" y="102"/>
                  </a:lnTo>
                  <a:lnTo>
                    <a:pt x="470" y="100"/>
                  </a:lnTo>
                  <a:lnTo>
                    <a:pt x="470" y="100"/>
                  </a:lnTo>
                  <a:lnTo>
                    <a:pt x="470" y="100"/>
                  </a:lnTo>
                  <a:lnTo>
                    <a:pt x="470" y="98"/>
                  </a:lnTo>
                  <a:lnTo>
                    <a:pt x="470" y="98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2" y="96"/>
                  </a:lnTo>
                  <a:lnTo>
                    <a:pt x="475" y="96"/>
                  </a:lnTo>
                  <a:lnTo>
                    <a:pt x="475" y="96"/>
                  </a:lnTo>
                  <a:lnTo>
                    <a:pt x="477" y="96"/>
                  </a:lnTo>
                  <a:lnTo>
                    <a:pt x="477" y="96"/>
                  </a:lnTo>
                  <a:lnTo>
                    <a:pt x="477" y="94"/>
                  </a:lnTo>
                  <a:lnTo>
                    <a:pt x="479" y="94"/>
                  </a:lnTo>
                  <a:lnTo>
                    <a:pt x="479" y="94"/>
                  </a:lnTo>
                  <a:lnTo>
                    <a:pt x="481" y="92"/>
                  </a:lnTo>
                  <a:lnTo>
                    <a:pt x="481" y="92"/>
                  </a:lnTo>
                  <a:lnTo>
                    <a:pt x="483" y="92"/>
                  </a:lnTo>
                  <a:lnTo>
                    <a:pt x="483" y="94"/>
                  </a:lnTo>
                  <a:lnTo>
                    <a:pt x="481" y="94"/>
                  </a:lnTo>
                  <a:lnTo>
                    <a:pt x="481" y="96"/>
                  </a:lnTo>
                  <a:lnTo>
                    <a:pt x="483" y="96"/>
                  </a:lnTo>
                  <a:lnTo>
                    <a:pt x="481" y="98"/>
                  </a:lnTo>
                  <a:lnTo>
                    <a:pt x="481" y="98"/>
                  </a:lnTo>
                  <a:lnTo>
                    <a:pt x="481" y="100"/>
                  </a:lnTo>
                  <a:lnTo>
                    <a:pt x="481" y="102"/>
                  </a:lnTo>
                  <a:lnTo>
                    <a:pt x="479" y="104"/>
                  </a:lnTo>
                  <a:lnTo>
                    <a:pt x="479" y="106"/>
                  </a:lnTo>
                  <a:lnTo>
                    <a:pt x="481" y="106"/>
                  </a:lnTo>
                  <a:lnTo>
                    <a:pt x="483" y="106"/>
                  </a:lnTo>
                  <a:lnTo>
                    <a:pt x="483" y="104"/>
                  </a:lnTo>
                  <a:lnTo>
                    <a:pt x="485" y="104"/>
                  </a:lnTo>
                  <a:lnTo>
                    <a:pt x="485" y="104"/>
                  </a:lnTo>
                  <a:lnTo>
                    <a:pt x="485" y="106"/>
                  </a:lnTo>
                  <a:lnTo>
                    <a:pt x="485" y="104"/>
                  </a:lnTo>
                  <a:lnTo>
                    <a:pt x="485" y="104"/>
                  </a:lnTo>
                  <a:lnTo>
                    <a:pt x="487" y="106"/>
                  </a:lnTo>
                  <a:lnTo>
                    <a:pt x="487" y="106"/>
                  </a:lnTo>
                  <a:lnTo>
                    <a:pt x="487" y="104"/>
                  </a:lnTo>
                  <a:lnTo>
                    <a:pt x="487" y="102"/>
                  </a:lnTo>
                  <a:lnTo>
                    <a:pt x="487" y="102"/>
                  </a:lnTo>
                  <a:lnTo>
                    <a:pt x="487" y="102"/>
                  </a:lnTo>
                  <a:lnTo>
                    <a:pt x="490" y="102"/>
                  </a:lnTo>
                  <a:lnTo>
                    <a:pt x="492" y="102"/>
                  </a:lnTo>
                  <a:lnTo>
                    <a:pt x="492" y="102"/>
                  </a:lnTo>
                  <a:lnTo>
                    <a:pt x="492" y="100"/>
                  </a:lnTo>
                  <a:lnTo>
                    <a:pt x="494" y="100"/>
                  </a:lnTo>
                  <a:lnTo>
                    <a:pt x="494" y="98"/>
                  </a:lnTo>
                  <a:lnTo>
                    <a:pt x="494" y="100"/>
                  </a:lnTo>
                  <a:lnTo>
                    <a:pt x="496" y="98"/>
                  </a:lnTo>
                  <a:lnTo>
                    <a:pt x="496" y="100"/>
                  </a:lnTo>
                  <a:lnTo>
                    <a:pt x="498" y="100"/>
                  </a:lnTo>
                  <a:lnTo>
                    <a:pt x="498" y="102"/>
                  </a:lnTo>
                  <a:lnTo>
                    <a:pt x="498" y="102"/>
                  </a:lnTo>
                  <a:lnTo>
                    <a:pt x="500" y="102"/>
                  </a:lnTo>
                  <a:lnTo>
                    <a:pt x="500" y="104"/>
                  </a:lnTo>
                  <a:lnTo>
                    <a:pt x="502" y="104"/>
                  </a:lnTo>
                  <a:lnTo>
                    <a:pt x="502" y="106"/>
                  </a:lnTo>
                  <a:lnTo>
                    <a:pt x="505" y="106"/>
                  </a:lnTo>
                  <a:lnTo>
                    <a:pt x="505" y="106"/>
                  </a:lnTo>
                  <a:lnTo>
                    <a:pt x="507" y="106"/>
                  </a:lnTo>
                  <a:lnTo>
                    <a:pt x="509" y="106"/>
                  </a:lnTo>
                  <a:lnTo>
                    <a:pt x="511" y="106"/>
                  </a:lnTo>
                  <a:lnTo>
                    <a:pt x="513" y="106"/>
                  </a:lnTo>
                  <a:lnTo>
                    <a:pt x="515" y="106"/>
                  </a:lnTo>
                  <a:lnTo>
                    <a:pt x="515" y="108"/>
                  </a:lnTo>
                  <a:lnTo>
                    <a:pt x="517" y="108"/>
                  </a:lnTo>
                  <a:lnTo>
                    <a:pt x="515" y="110"/>
                  </a:lnTo>
                  <a:lnTo>
                    <a:pt x="515" y="110"/>
                  </a:lnTo>
                  <a:lnTo>
                    <a:pt x="513" y="112"/>
                  </a:lnTo>
                  <a:lnTo>
                    <a:pt x="513" y="114"/>
                  </a:lnTo>
                  <a:lnTo>
                    <a:pt x="511" y="114"/>
                  </a:lnTo>
                  <a:lnTo>
                    <a:pt x="511" y="112"/>
                  </a:lnTo>
                  <a:lnTo>
                    <a:pt x="509" y="112"/>
                  </a:lnTo>
                  <a:lnTo>
                    <a:pt x="507" y="112"/>
                  </a:lnTo>
                  <a:lnTo>
                    <a:pt x="505" y="112"/>
                  </a:lnTo>
                  <a:lnTo>
                    <a:pt x="505" y="110"/>
                  </a:lnTo>
                  <a:lnTo>
                    <a:pt x="502" y="110"/>
                  </a:lnTo>
                  <a:lnTo>
                    <a:pt x="502" y="108"/>
                  </a:lnTo>
                  <a:lnTo>
                    <a:pt x="502" y="106"/>
                  </a:lnTo>
                  <a:lnTo>
                    <a:pt x="500" y="106"/>
                  </a:lnTo>
                  <a:lnTo>
                    <a:pt x="498" y="106"/>
                  </a:lnTo>
                  <a:lnTo>
                    <a:pt x="498" y="108"/>
                  </a:lnTo>
                  <a:lnTo>
                    <a:pt x="498" y="108"/>
                  </a:lnTo>
                  <a:lnTo>
                    <a:pt x="496" y="108"/>
                  </a:lnTo>
                  <a:lnTo>
                    <a:pt x="494" y="110"/>
                  </a:lnTo>
                  <a:lnTo>
                    <a:pt x="494" y="110"/>
                  </a:lnTo>
                  <a:lnTo>
                    <a:pt x="494" y="112"/>
                  </a:lnTo>
                  <a:lnTo>
                    <a:pt x="494" y="112"/>
                  </a:lnTo>
                  <a:lnTo>
                    <a:pt x="492" y="112"/>
                  </a:lnTo>
                  <a:lnTo>
                    <a:pt x="492" y="112"/>
                  </a:lnTo>
                  <a:lnTo>
                    <a:pt x="490" y="114"/>
                  </a:lnTo>
                  <a:lnTo>
                    <a:pt x="490" y="114"/>
                  </a:lnTo>
                  <a:lnTo>
                    <a:pt x="490" y="114"/>
                  </a:lnTo>
                  <a:lnTo>
                    <a:pt x="490" y="116"/>
                  </a:lnTo>
                  <a:lnTo>
                    <a:pt x="490" y="116"/>
                  </a:lnTo>
                  <a:lnTo>
                    <a:pt x="490" y="118"/>
                  </a:lnTo>
                  <a:lnTo>
                    <a:pt x="492" y="118"/>
                  </a:lnTo>
                  <a:lnTo>
                    <a:pt x="492" y="120"/>
                  </a:lnTo>
                  <a:lnTo>
                    <a:pt x="494" y="120"/>
                  </a:lnTo>
                  <a:lnTo>
                    <a:pt x="492" y="122"/>
                  </a:lnTo>
                  <a:lnTo>
                    <a:pt x="492" y="122"/>
                  </a:lnTo>
                  <a:lnTo>
                    <a:pt x="492" y="124"/>
                  </a:lnTo>
                  <a:lnTo>
                    <a:pt x="490" y="124"/>
                  </a:lnTo>
                  <a:lnTo>
                    <a:pt x="487" y="124"/>
                  </a:lnTo>
                  <a:lnTo>
                    <a:pt x="490" y="126"/>
                  </a:lnTo>
                  <a:lnTo>
                    <a:pt x="487" y="126"/>
                  </a:lnTo>
                  <a:lnTo>
                    <a:pt x="487" y="128"/>
                  </a:lnTo>
                  <a:lnTo>
                    <a:pt x="487" y="130"/>
                  </a:lnTo>
                  <a:lnTo>
                    <a:pt x="485" y="130"/>
                  </a:lnTo>
                  <a:lnTo>
                    <a:pt x="485" y="130"/>
                  </a:lnTo>
                  <a:lnTo>
                    <a:pt x="485" y="132"/>
                  </a:lnTo>
                  <a:lnTo>
                    <a:pt x="485" y="134"/>
                  </a:lnTo>
                  <a:lnTo>
                    <a:pt x="485" y="134"/>
                  </a:lnTo>
                  <a:lnTo>
                    <a:pt x="487" y="136"/>
                  </a:lnTo>
                  <a:lnTo>
                    <a:pt x="487" y="136"/>
                  </a:lnTo>
                  <a:lnTo>
                    <a:pt x="485" y="138"/>
                  </a:lnTo>
                  <a:lnTo>
                    <a:pt x="483" y="138"/>
                  </a:lnTo>
                  <a:lnTo>
                    <a:pt x="483" y="138"/>
                  </a:lnTo>
                  <a:lnTo>
                    <a:pt x="481" y="138"/>
                  </a:lnTo>
                  <a:lnTo>
                    <a:pt x="481" y="136"/>
                  </a:lnTo>
                  <a:lnTo>
                    <a:pt x="479" y="138"/>
                  </a:lnTo>
                  <a:lnTo>
                    <a:pt x="477" y="138"/>
                  </a:lnTo>
                  <a:lnTo>
                    <a:pt x="475" y="138"/>
                  </a:lnTo>
                  <a:lnTo>
                    <a:pt x="475" y="136"/>
                  </a:lnTo>
                  <a:lnTo>
                    <a:pt x="472" y="134"/>
                  </a:lnTo>
                  <a:lnTo>
                    <a:pt x="470" y="134"/>
                  </a:lnTo>
                  <a:lnTo>
                    <a:pt x="470" y="134"/>
                  </a:lnTo>
                  <a:lnTo>
                    <a:pt x="470" y="136"/>
                  </a:lnTo>
                  <a:lnTo>
                    <a:pt x="470" y="134"/>
                  </a:lnTo>
                  <a:lnTo>
                    <a:pt x="468" y="134"/>
                  </a:lnTo>
                  <a:lnTo>
                    <a:pt x="468" y="136"/>
                  </a:lnTo>
                  <a:lnTo>
                    <a:pt x="468" y="136"/>
                  </a:lnTo>
                  <a:lnTo>
                    <a:pt x="466" y="136"/>
                  </a:lnTo>
                  <a:lnTo>
                    <a:pt x="466" y="138"/>
                  </a:lnTo>
                  <a:lnTo>
                    <a:pt x="464" y="136"/>
                  </a:lnTo>
                  <a:lnTo>
                    <a:pt x="462" y="138"/>
                  </a:lnTo>
                  <a:lnTo>
                    <a:pt x="464" y="138"/>
                  </a:lnTo>
                  <a:lnTo>
                    <a:pt x="466" y="138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6" y="140"/>
                  </a:lnTo>
                  <a:lnTo>
                    <a:pt x="466" y="140"/>
                  </a:lnTo>
                  <a:lnTo>
                    <a:pt x="464" y="140"/>
                  </a:lnTo>
                  <a:lnTo>
                    <a:pt x="464" y="140"/>
                  </a:lnTo>
                  <a:lnTo>
                    <a:pt x="464" y="140"/>
                  </a:lnTo>
                  <a:lnTo>
                    <a:pt x="462" y="140"/>
                  </a:lnTo>
                  <a:lnTo>
                    <a:pt x="462" y="140"/>
                  </a:lnTo>
                  <a:lnTo>
                    <a:pt x="459" y="142"/>
                  </a:lnTo>
                  <a:lnTo>
                    <a:pt x="462" y="142"/>
                  </a:lnTo>
                  <a:lnTo>
                    <a:pt x="464" y="142"/>
                  </a:lnTo>
                  <a:lnTo>
                    <a:pt x="462" y="144"/>
                  </a:lnTo>
                  <a:lnTo>
                    <a:pt x="462" y="144"/>
                  </a:lnTo>
                  <a:lnTo>
                    <a:pt x="464" y="142"/>
                  </a:lnTo>
                  <a:lnTo>
                    <a:pt x="464" y="144"/>
                  </a:lnTo>
                  <a:lnTo>
                    <a:pt x="464" y="144"/>
                  </a:lnTo>
                  <a:lnTo>
                    <a:pt x="466" y="144"/>
                  </a:lnTo>
                  <a:lnTo>
                    <a:pt x="468" y="144"/>
                  </a:lnTo>
                  <a:lnTo>
                    <a:pt x="468" y="142"/>
                  </a:lnTo>
                  <a:lnTo>
                    <a:pt x="470" y="142"/>
                  </a:lnTo>
                  <a:lnTo>
                    <a:pt x="470" y="142"/>
                  </a:lnTo>
                  <a:lnTo>
                    <a:pt x="472" y="144"/>
                  </a:lnTo>
                  <a:lnTo>
                    <a:pt x="475" y="142"/>
                  </a:lnTo>
                  <a:lnTo>
                    <a:pt x="475" y="142"/>
                  </a:lnTo>
                  <a:lnTo>
                    <a:pt x="477" y="140"/>
                  </a:lnTo>
                  <a:lnTo>
                    <a:pt x="479" y="140"/>
                  </a:lnTo>
                  <a:lnTo>
                    <a:pt x="479" y="140"/>
                  </a:lnTo>
                  <a:lnTo>
                    <a:pt x="481" y="142"/>
                  </a:lnTo>
                  <a:lnTo>
                    <a:pt x="483" y="140"/>
                  </a:lnTo>
                  <a:lnTo>
                    <a:pt x="483" y="142"/>
                  </a:lnTo>
                  <a:lnTo>
                    <a:pt x="483" y="142"/>
                  </a:lnTo>
                  <a:lnTo>
                    <a:pt x="485" y="144"/>
                  </a:lnTo>
                  <a:lnTo>
                    <a:pt x="487" y="144"/>
                  </a:lnTo>
                  <a:lnTo>
                    <a:pt x="487" y="142"/>
                  </a:lnTo>
                  <a:lnTo>
                    <a:pt x="487" y="144"/>
                  </a:lnTo>
                  <a:lnTo>
                    <a:pt x="485" y="144"/>
                  </a:lnTo>
                  <a:lnTo>
                    <a:pt x="485" y="146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2" y="148"/>
                  </a:lnTo>
                  <a:lnTo>
                    <a:pt x="494" y="148"/>
                  </a:lnTo>
                  <a:lnTo>
                    <a:pt x="494" y="146"/>
                  </a:lnTo>
                  <a:lnTo>
                    <a:pt x="494" y="146"/>
                  </a:lnTo>
                  <a:lnTo>
                    <a:pt x="496" y="146"/>
                  </a:lnTo>
                  <a:lnTo>
                    <a:pt x="498" y="144"/>
                  </a:lnTo>
                  <a:lnTo>
                    <a:pt x="498" y="142"/>
                  </a:lnTo>
                  <a:lnTo>
                    <a:pt x="498" y="142"/>
                  </a:lnTo>
                  <a:lnTo>
                    <a:pt x="500" y="140"/>
                  </a:lnTo>
                  <a:lnTo>
                    <a:pt x="500" y="142"/>
                  </a:lnTo>
                  <a:lnTo>
                    <a:pt x="500" y="140"/>
                  </a:lnTo>
                  <a:lnTo>
                    <a:pt x="502" y="140"/>
                  </a:lnTo>
                  <a:lnTo>
                    <a:pt x="502" y="140"/>
                  </a:lnTo>
                  <a:lnTo>
                    <a:pt x="502" y="140"/>
                  </a:lnTo>
                  <a:lnTo>
                    <a:pt x="505" y="140"/>
                  </a:lnTo>
                  <a:lnTo>
                    <a:pt x="507" y="142"/>
                  </a:lnTo>
                  <a:lnTo>
                    <a:pt x="507" y="140"/>
                  </a:lnTo>
                  <a:lnTo>
                    <a:pt x="509" y="140"/>
                  </a:lnTo>
                  <a:lnTo>
                    <a:pt x="511" y="140"/>
                  </a:lnTo>
                  <a:lnTo>
                    <a:pt x="509" y="142"/>
                  </a:lnTo>
                  <a:lnTo>
                    <a:pt x="509" y="144"/>
                  </a:lnTo>
                  <a:lnTo>
                    <a:pt x="507" y="144"/>
                  </a:lnTo>
                  <a:lnTo>
                    <a:pt x="507" y="146"/>
                  </a:lnTo>
                  <a:lnTo>
                    <a:pt x="507" y="148"/>
                  </a:lnTo>
                  <a:lnTo>
                    <a:pt x="505" y="148"/>
                  </a:lnTo>
                  <a:lnTo>
                    <a:pt x="505" y="150"/>
                  </a:lnTo>
                  <a:lnTo>
                    <a:pt x="502" y="150"/>
                  </a:lnTo>
                  <a:lnTo>
                    <a:pt x="502" y="150"/>
                  </a:lnTo>
                  <a:lnTo>
                    <a:pt x="500" y="152"/>
                  </a:lnTo>
                  <a:lnTo>
                    <a:pt x="500" y="154"/>
                  </a:lnTo>
                  <a:lnTo>
                    <a:pt x="502" y="152"/>
                  </a:lnTo>
                  <a:lnTo>
                    <a:pt x="505" y="154"/>
                  </a:lnTo>
                  <a:lnTo>
                    <a:pt x="505" y="154"/>
                  </a:lnTo>
                  <a:lnTo>
                    <a:pt x="505" y="156"/>
                  </a:lnTo>
                  <a:lnTo>
                    <a:pt x="507" y="156"/>
                  </a:lnTo>
                  <a:lnTo>
                    <a:pt x="507" y="156"/>
                  </a:lnTo>
                  <a:lnTo>
                    <a:pt x="509" y="158"/>
                  </a:lnTo>
                  <a:lnTo>
                    <a:pt x="509" y="158"/>
                  </a:lnTo>
                  <a:lnTo>
                    <a:pt x="509" y="160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1" y="158"/>
                  </a:lnTo>
                  <a:lnTo>
                    <a:pt x="511" y="156"/>
                  </a:lnTo>
                  <a:lnTo>
                    <a:pt x="513" y="156"/>
                  </a:lnTo>
                  <a:lnTo>
                    <a:pt x="513" y="158"/>
                  </a:lnTo>
                  <a:lnTo>
                    <a:pt x="515" y="158"/>
                  </a:lnTo>
                  <a:lnTo>
                    <a:pt x="515" y="160"/>
                  </a:lnTo>
                  <a:lnTo>
                    <a:pt x="513" y="160"/>
                  </a:lnTo>
                  <a:lnTo>
                    <a:pt x="513" y="162"/>
                  </a:lnTo>
                  <a:lnTo>
                    <a:pt x="513" y="164"/>
                  </a:lnTo>
                  <a:lnTo>
                    <a:pt x="513" y="164"/>
                  </a:lnTo>
                  <a:lnTo>
                    <a:pt x="515" y="166"/>
                  </a:lnTo>
                  <a:lnTo>
                    <a:pt x="515" y="166"/>
                  </a:lnTo>
                  <a:lnTo>
                    <a:pt x="517" y="168"/>
                  </a:lnTo>
                  <a:lnTo>
                    <a:pt x="517" y="168"/>
                  </a:lnTo>
                  <a:lnTo>
                    <a:pt x="520" y="166"/>
                  </a:lnTo>
                  <a:lnTo>
                    <a:pt x="522" y="164"/>
                  </a:lnTo>
                  <a:lnTo>
                    <a:pt x="522" y="164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6" y="168"/>
                  </a:lnTo>
                  <a:lnTo>
                    <a:pt x="526" y="170"/>
                  </a:lnTo>
                  <a:lnTo>
                    <a:pt x="528" y="170"/>
                  </a:lnTo>
                  <a:lnTo>
                    <a:pt x="528" y="170"/>
                  </a:lnTo>
                  <a:lnTo>
                    <a:pt x="530" y="170"/>
                  </a:lnTo>
                  <a:lnTo>
                    <a:pt x="530" y="172"/>
                  </a:lnTo>
                  <a:lnTo>
                    <a:pt x="533" y="172"/>
                  </a:lnTo>
                  <a:lnTo>
                    <a:pt x="533" y="172"/>
                  </a:lnTo>
                  <a:lnTo>
                    <a:pt x="535" y="172"/>
                  </a:lnTo>
                  <a:lnTo>
                    <a:pt x="537" y="174"/>
                  </a:lnTo>
                  <a:lnTo>
                    <a:pt x="537" y="172"/>
                  </a:lnTo>
                  <a:lnTo>
                    <a:pt x="539" y="172"/>
                  </a:lnTo>
                  <a:lnTo>
                    <a:pt x="539" y="172"/>
                  </a:lnTo>
                  <a:lnTo>
                    <a:pt x="537" y="174"/>
                  </a:lnTo>
                  <a:lnTo>
                    <a:pt x="537" y="174"/>
                  </a:lnTo>
                  <a:lnTo>
                    <a:pt x="535" y="176"/>
                  </a:lnTo>
                  <a:lnTo>
                    <a:pt x="533" y="176"/>
                  </a:lnTo>
                  <a:lnTo>
                    <a:pt x="533" y="176"/>
                  </a:lnTo>
                  <a:lnTo>
                    <a:pt x="530" y="176"/>
                  </a:lnTo>
                  <a:lnTo>
                    <a:pt x="528" y="176"/>
                  </a:lnTo>
                  <a:lnTo>
                    <a:pt x="528" y="174"/>
                  </a:lnTo>
                  <a:lnTo>
                    <a:pt x="528" y="174"/>
                  </a:lnTo>
                  <a:lnTo>
                    <a:pt x="526" y="174"/>
                  </a:lnTo>
                  <a:lnTo>
                    <a:pt x="524" y="176"/>
                  </a:lnTo>
                  <a:lnTo>
                    <a:pt x="526" y="176"/>
                  </a:lnTo>
                  <a:lnTo>
                    <a:pt x="524" y="178"/>
                  </a:lnTo>
                  <a:lnTo>
                    <a:pt x="524" y="178"/>
                  </a:lnTo>
                  <a:lnTo>
                    <a:pt x="522" y="180"/>
                  </a:lnTo>
                  <a:lnTo>
                    <a:pt x="524" y="182"/>
                  </a:lnTo>
                  <a:lnTo>
                    <a:pt x="526" y="182"/>
                  </a:lnTo>
                  <a:lnTo>
                    <a:pt x="526" y="184"/>
                  </a:lnTo>
                  <a:lnTo>
                    <a:pt x="526" y="186"/>
                  </a:lnTo>
                  <a:lnTo>
                    <a:pt x="526" y="186"/>
                  </a:lnTo>
                  <a:lnTo>
                    <a:pt x="524" y="188"/>
                  </a:lnTo>
                  <a:lnTo>
                    <a:pt x="524" y="186"/>
                  </a:lnTo>
                  <a:lnTo>
                    <a:pt x="522" y="186"/>
                  </a:lnTo>
                  <a:lnTo>
                    <a:pt x="520" y="188"/>
                  </a:lnTo>
                  <a:lnTo>
                    <a:pt x="520" y="190"/>
                  </a:lnTo>
                  <a:lnTo>
                    <a:pt x="520" y="192"/>
                  </a:lnTo>
                  <a:lnTo>
                    <a:pt x="520" y="194"/>
                  </a:lnTo>
                  <a:lnTo>
                    <a:pt x="520" y="196"/>
                  </a:lnTo>
                  <a:lnTo>
                    <a:pt x="522" y="198"/>
                  </a:lnTo>
                  <a:lnTo>
                    <a:pt x="522" y="198"/>
                  </a:lnTo>
                  <a:lnTo>
                    <a:pt x="522" y="200"/>
                  </a:lnTo>
                  <a:lnTo>
                    <a:pt x="524" y="202"/>
                  </a:lnTo>
                  <a:lnTo>
                    <a:pt x="524" y="204"/>
                  </a:lnTo>
                  <a:lnTo>
                    <a:pt x="526" y="204"/>
                  </a:lnTo>
                  <a:lnTo>
                    <a:pt x="526" y="204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30" y="208"/>
                  </a:lnTo>
                  <a:lnTo>
                    <a:pt x="530" y="208"/>
                  </a:lnTo>
                  <a:lnTo>
                    <a:pt x="533" y="208"/>
                  </a:lnTo>
                  <a:lnTo>
                    <a:pt x="535" y="210"/>
                  </a:lnTo>
                  <a:lnTo>
                    <a:pt x="535" y="210"/>
                  </a:lnTo>
                  <a:lnTo>
                    <a:pt x="535" y="212"/>
                  </a:lnTo>
                  <a:lnTo>
                    <a:pt x="535" y="212"/>
                  </a:lnTo>
                  <a:lnTo>
                    <a:pt x="535" y="214"/>
                  </a:lnTo>
                  <a:lnTo>
                    <a:pt x="533" y="216"/>
                  </a:lnTo>
                  <a:lnTo>
                    <a:pt x="535" y="216"/>
                  </a:lnTo>
                  <a:lnTo>
                    <a:pt x="535" y="218"/>
                  </a:lnTo>
                  <a:lnTo>
                    <a:pt x="537" y="220"/>
                  </a:lnTo>
                  <a:lnTo>
                    <a:pt x="535" y="220"/>
                  </a:lnTo>
                  <a:lnTo>
                    <a:pt x="535" y="222"/>
                  </a:lnTo>
                  <a:lnTo>
                    <a:pt x="535" y="224"/>
                  </a:lnTo>
                  <a:lnTo>
                    <a:pt x="535" y="226"/>
                  </a:lnTo>
                  <a:lnTo>
                    <a:pt x="535" y="228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9" y="232"/>
                  </a:lnTo>
                  <a:lnTo>
                    <a:pt x="539" y="232"/>
                  </a:lnTo>
                  <a:lnTo>
                    <a:pt x="541" y="234"/>
                  </a:lnTo>
                  <a:lnTo>
                    <a:pt x="543" y="232"/>
                  </a:lnTo>
                  <a:lnTo>
                    <a:pt x="543" y="234"/>
                  </a:lnTo>
                  <a:lnTo>
                    <a:pt x="545" y="236"/>
                  </a:lnTo>
                  <a:lnTo>
                    <a:pt x="545" y="236"/>
                  </a:lnTo>
                  <a:lnTo>
                    <a:pt x="545" y="238"/>
                  </a:lnTo>
                  <a:lnTo>
                    <a:pt x="548" y="240"/>
                  </a:lnTo>
                  <a:lnTo>
                    <a:pt x="548" y="242"/>
                  </a:lnTo>
                  <a:lnTo>
                    <a:pt x="548" y="242"/>
                  </a:lnTo>
                  <a:lnTo>
                    <a:pt x="548" y="244"/>
                  </a:lnTo>
                  <a:lnTo>
                    <a:pt x="545" y="246"/>
                  </a:lnTo>
                  <a:lnTo>
                    <a:pt x="545" y="248"/>
                  </a:lnTo>
                  <a:lnTo>
                    <a:pt x="548" y="250"/>
                  </a:lnTo>
                  <a:lnTo>
                    <a:pt x="545" y="250"/>
                  </a:lnTo>
                  <a:lnTo>
                    <a:pt x="545" y="252"/>
                  </a:lnTo>
                  <a:lnTo>
                    <a:pt x="543" y="254"/>
                  </a:lnTo>
                  <a:lnTo>
                    <a:pt x="543" y="256"/>
                  </a:lnTo>
                  <a:lnTo>
                    <a:pt x="543" y="257"/>
                  </a:lnTo>
                  <a:lnTo>
                    <a:pt x="543" y="259"/>
                  </a:lnTo>
                  <a:lnTo>
                    <a:pt x="545" y="261"/>
                  </a:lnTo>
                  <a:lnTo>
                    <a:pt x="545" y="263"/>
                  </a:lnTo>
                  <a:lnTo>
                    <a:pt x="548" y="263"/>
                  </a:lnTo>
                  <a:lnTo>
                    <a:pt x="548" y="265"/>
                  </a:lnTo>
                  <a:lnTo>
                    <a:pt x="548" y="267"/>
                  </a:lnTo>
                  <a:lnTo>
                    <a:pt x="548" y="269"/>
                  </a:lnTo>
                  <a:lnTo>
                    <a:pt x="548" y="269"/>
                  </a:lnTo>
                  <a:lnTo>
                    <a:pt x="548" y="271"/>
                  </a:lnTo>
                  <a:lnTo>
                    <a:pt x="550" y="273"/>
                  </a:lnTo>
                  <a:lnTo>
                    <a:pt x="550" y="275"/>
                  </a:lnTo>
                  <a:lnTo>
                    <a:pt x="552" y="277"/>
                  </a:lnTo>
                  <a:lnTo>
                    <a:pt x="552" y="277"/>
                  </a:lnTo>
                  <a:lnTo>
                    <a:pt x="554" y="279"/>
                  </a:lnTo>
                  <a:lnTo>
                    <a:pt x="556" y="279"/>
                  </a:lnTo>
                  <a:lnTo>
                    <a:pt x="558" y="279"/>
                  </a:lnTo>
                  <a:lnTo>
                    <a:pt x="558" y="281"/>
                  </a:lnTo>
                  <a:lnTo>
                    <a:pt x="560" y="283"/>
                  </a:lnTo>
                  <a:lnTo>
                    <a:pt x="560" y="283"/>
                  </a:lnTo>
                  <a:lnTo>
                    <a:pt x="560" y="285"/>
                  </a:lnTo>
                  <a:lnTo>
                    <a:pt x="563" y="287"/>
                  </a:lnTo>
                  <a:lnTo>
                    <a:pt x="563" y="289"/>
                  </a:lnTo>
                  <a:lnTo>
                    <a:pt x="563" y="291"/>
                  </a:lnTo>
                  <a:lnTo>
                    <a:pt x="560" y="291"/>
                  </a:lnTo>
                  <a:lnTo>
                    <a:pt x="563" y="293"/>
                  </a:lnTo>
                  <a:lnTo>
                    <a:pt x="563" y="295"/>
                  </a:lnTo>
                  <a:lnTo>
                    <a:pt x="565" y="295"/>
                  </a:lnTo>
                  <a:lnTo>
                    <a:pt x="567" y="297"/>
                  </a:lnTo>
                  <a:lnTo>
                    <a:pt x="569" y="297"/>
                  </a:lnTo>
                  <a:lnTo>
                    <a:pt x="569" y="297"/>
                  </a:lnTo>
                  <a:lnTo>
                    <a:pt x="571" y="299"/>
                  </a:lnTo>
                  <a:lnTo>
                    <a:pt x="573" y="299"/>
                  </a:lnTo>
                  <a:lnTo>
                    <a:pt x="573" y="301"/>
                  </a:lnTo>
                  <a:lnTo>
                    <a:pt x="573" y="303"/>
                  </a:lnTo>
                  <a:lnTo>
                    <a:pt x="573" y="305"/>
                  </a:lnTo>
                  <a:lnTo>
                    <a:pt x="573" y="305"/>
                  </a:lnTo>
                  <a:lnTo>
                    <a:pt x="573" y="307"/>
                  </a:lnTo>
                  <a:lnTo>
                    <a:pt x="573" y="309"/>
                  </a:lnTo>
                  <a:lnTo>
                    <a:pt x="571" y="311"/>
                  </a:lnTo>
                  <a:lnTo>
                    <a:pt x="571" y="311"/>
                  </a:lnTo>
                  <a:lnTo>
                    <a:pt x="571" y="313"/>
                  </a:lnTo>
                  <a:lnTo>
                    <a:pt x="571" y="315"/>
                  </a:lnTo>
                  <a:lnTo>
                    <a:pt x="571" y="317"/>
                  </a:lnTo>
                  <a:lnTo>
                    <a:pt x="569" y="319"/>
                  </a:lnTo>
                  <a:lnTo>
                    <a:pt x="569" y="319"/>
                  </a:lnTo>
                  <a:lnTo>
                    <a:pt x="569" y="321"/>
                  </a:lnTo>
                  <a:lnTo>
                    <a:pt x="567" y="323"/>
                  </a:lnTo>
                  <a:lnTo>
                    <a:pt x="567" y="325"/>
                  </a:lnTo>
                  <a:lnTo>
                    <a:pt x="567" y="327"/>
                  </a:lnTo>
                  <a:lnTo>
                    <a:pt x="565" y="329"/>
                  </a:lnTo>
                  <a:lnTo>
                    <a:pt x="565" y="331"/>
                  </a:lnTo>
                  <a:lnTo>
                    <a:pt x="565" y="331"/>
                  </a:lnTo>
                  <a:lnTo>
                    <a:pt x="563" y="333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3" y="337"/>
                  </a:lnTo>
                  <a:lnTo>
                    <a:pt x="560" y="337"/>
                  </a:lnTo>
                  <a:lnTo>
                    <a:pt x="558" y="337"/>
                  </a:lnTo>
                  <a:lnTo>
                    <a:pt x="558" y="339"/>
                  </a:lnTo>
                  <a:lnTo>
                    <a:pt x="558" y="341"/>
                  </a:lnTo>
                  <a:lnTo>
                    <a:pt x="556" y="341"/>
                  </a:lnTo>
                  <a:lnTo>
                    <a:pt x="556" y="343"/>
                  </a:lnTo>
                  <a:lnTo>
                    <a:pt x="556" y="345"/>
                  </a:lnTo>
                  <a:lnTo>
                    <a:pt x="556" y="345"/>
                  </a:lnTo>
                  <a:lnTo>
                    <a:pt x="556" y="347"/>
                  </a:lnTo>
                  <a:lnTo>
                    <a:pt x="556" y="349"/>
                  </a:lnTo>
                  <a:lnTo>
                    <a:pt x="556" y="351"/>
                  </a:lnTo>
                  <a:lnTo>
                    <a:pt x="554" y="353"/>
                  </a:lnTo>
                  <a:lnTo>
                    <a:pt x="554" y="353"/>
                  </a:lnTo>
                  <a:lnTo>
                    <a:pt x="554" y="355"/>
                  </a:lnTo>
                  <a:lnTo>
                    <a:pt x="554" y="357"/>
                  </a:lnTo>
                  <a:lnTo>
                    <a:pt x="552" y="357"/>
                  </a:lnTo>
                  <a:lnTo>
                    <a:pt x="552" y="359"/>
                  </a:lnTo>
                  <a:lnTo>
                    <a:pt x="550" y="361"/>
                  </a:lnTo>
                  <a:lnTo>
                    <a:pt x="548" y="361"/>
                  </a:lnTo>
                  <a:lnTo>
                    <a:pt x="545" y="361"/>
                  </a:lnTo>
                  <a:lnTo>
                    <a:pt x="545" y="361"/>
                  </a:lnTo>
                  <a:lnTo>
                    <a:pt x="543" y="363"/>
                  </a:lnTo>
                  <a:lnTo>
                    <a:pt x="541" y="365"/>
                  </a:lnTo>
                  <a:lnTo>
                    <a:pt x="541" y="365"/>
                  </a:lnTo>
                  <a:lnTo>
                    <a:pt x="539" y="367"/>
                  </a:lnTo>
                  <a:lnTo>
                    <a:pt x="537" y="367"/>
                  </a:lnTo>
                  <a:lnTo>
                    <a:pt x="537" y="369"/>
                  </a:lnTo>
                  <a:lnTo>
                    <a:pt x="535" y="371"/>
                  </a:lnTo>
                  <a:lnTo>
                    <a:pt x="533" y="371"/>
                  </a:lnTo>
                  <a:lnTo>
                    <a:pt x="533" y="373"/>
                  </a:lnTo>
                  <a:lnTo>
                    <a:pt x="530" y="375"/>
                  </a:lnTo>
                  <a:lnTo>
                    <a:pt x="528" y="375"/>
                  </a:lnTo>
                  <a:lnTo>
                    <a:pt x="528" y="377"/>
                  </a:lnTo>
                  <a:lnTo>
                    <a:pt x="526" y="379"/>
                  </a:lnTo>
                  <a:lnTo>
                    <a:pt x="526" y="381"/>
                  </a:lnTo>
                  <a:lnTo>
                    <a:pt x="524" y="381"/>
                  </a:lnTo>
                  <a:lnTo>
                    <a:pt x="524" y="383"/>
                  </a:lnTo>
                  <a:lnTo>
                    <a:pt x="524" y="385"/>
                  </a:lnTo>
                  <a:lnTo>
                    <a:pt x="522" y="385"/>
                  </a:lnTo>
                  <a:lnTo>
                    <a:pt x="520" y="387"/>
                  </a:lnTo>
                  <a:lnTo>
                    <a:pt x="520" y="387"/>
                  </a:lnTo>
                  <a:lnTo>
                    <a:pt x="520" y="389"/>
                  </a:lnTo>
                  <a:lnTo>
                    <a:pt x="517" y="391"/>
                  </a:lnTo>
                  <a:lnTo>
                    <a:pt x="517" y="393"/>
                  </a:lnTo>
                  <a:lnTo>
                    <a:pt x="515" y="395"/>
                  </a:lnTo>
                  <a:lnTo>
                    <a:pt x="515" y="395"/>
                  </a:lnTo>
                  <a:lnTo>
                    <a:pt x="513" y="397"/>
                  </a:lnTo>
                  <a:lnTo>
                    <a:pt x="513" y="399"/>
                  </a:lnTo>
                  <a:lnTo>
                    <a:pt x="511" y="401"/>
                  </a:lnTo>
                  <a:lnTo>
                    <a:pt x="511" y="403"/>
                  </a:lnTo>
                  <a:lnTo>
                    <a:pt x="509" y="403"/>
                  </a:lnTo>
                  <a:lnTo>
                    <a:pt x="509" y="405"/>
                  </a:lnTo>
                  <a:lnTo>
                    <a:pt x="509" y="405"/>
                  </a:lnTo>
                  <a:lnTo>
                    <a:pt x="507" y="407"/>
                  </a:lnTo>
                  <a:lnTo>
                    <a:pt x="507" y="409"/>
                  </a:lnTo>
                  <a:lnTo>
                    <a:pt x="507" y="411"/>
                  </a:lnTo>
                  <a:lnTo>
                    <a:pt x="507" y="413"/>
                  </a:lnTo>
                  <a:lnTo>
                    <a:pt x="507" y="415"/>
                  </a:lnTo>
                  <a:lnTo>
                    <a:pt x="505" y="417"/>
                  </a:lnTo>
                  <a:lnTo>
                    <a:pt x="505" y="419"/>
                  </a:lnTo>
                  <a:lnTo>
                    <a:pt x="505" y="419"/>
                  </a:lnTo>
                  <a:lnTo>
                    <a:pt x="505" y="421"/>
                  </a:lnTo>
                  <a:lnTo>
                    <a:pt x="507" y="423"/>
                  </a:lnTo>
                  <a:lnTo>
                    <a:pt x="507" y="425"/>
                  </a:lnTo>
                  <a:lnTo>
                    <a:pt x="507" y="427"/>
                  </a:lnTo>
                  <a:lnTo>
                    <a:pt x="507" y="429"/>
                  </a:lnTo>
                  <a:lnTo>
                    <a:pt x="507" y="429"/>
                  </a:lnTo>
                  <a:lnTo>
                    <a:pt x="507" y="431"/>
                  </a:lnTo>
                  <a:lnTo>
                    <a:pt x="507" y="433"/>
                  </a:lnTo>
                  <a:lnTo>
                    <a:pt x="507" y="435"/>
                  </a:lnTo>
                  <a:lnTo>
                    <a:pt x="507" y="437"/>
                  </a:lnTo>
                  <a:lnTo>
                    <a:pt x="507" y="439"/>
                  </a:lnTo>
                  <a:lnTo>
                    <a:pt x="507" y="441"/>
                  </a:lnTo>
                  <a:lnTo>
                    <a:pt x="509" y="441"/>
                  </a:lnTo>
                  <a:lnTo>
                    <a:pt x="509" y="443"/>
                  </a:lnTo>
                  <a:lnTo>
                    <a:pt x="509" y="445"/>
                  </a:lnTo>
                  <a:lnTo>
                    <a:pt x="511" y="447"/>
                  </a:lnTo>
                  <a:lnTo>
                    <a:pt x="511" y="447"/>
                  </a:lnTo>
                  <a:lnTo>
                    <a:pt x="513" y="449"/>
                  </a:lnTo>
                  <a:lnTo>
                    <a:pt x="513" y="451"/>
                  </a:lnTo>
                  <a:lnTo>
                    <a:pt x="513" y="453"/>
                  </a:lnTo>
                  <a:lnTo>
                    <a:pt x="515" y="453"/>
                  </a:lnTo>
                  <a:lnTo>
                    <a:pt x="515" y="455"/>
                  </a:lnTo>
                  <a:lnTo>
                    <a:pt x="515" y="457"/>
                  </a:lnTo>
                  <a:lnTo>
                    <a:pt x="515" y="459"/>
                  </a:lnTo>
                  <a:lnTo>
                    <a:pt x="515" y="459"/>
                  </a:lnTo>
                  <a:lnTo>
                    <a:pt x="517" y="461"/>
                  </a:lnTo>
                  <a:lnTo>
                    <a:pt x="517" y="461"/>
                  </a:lnTo>
                  <a:lnTo>
                    <a:pt x="520" y="463"/>
                  </a:lnTo>
                  <a:lnTo>
                    <a:pt x="520" y="465"/>
                  </a:lnTo>
                  <a:lnTo>
                    <a:pt x="522" y="465"/>
                  </a:lnTo>
                  <a:lnTo>
                    <a:pt x="522" y="467"/>
                  </a:lnTo>
                  <a:lnTo>
                    <a:pt x="524" y="469"/>
                  </a:lnTo>
                  <a:lnTo>
                    <a:pt x="524" y="469"/>
                  </a:lnTo>
                  <a:lnTo>
                    <a:pt x="526" y="471"/>
                  </a:lnTo>
                  <a:lnTo>
                    <a:pt x="526" y="473"/>
                  </a:lnTo>
                  <a:lnTo>
                    <a:pt x="526" y="473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30" y="477"/>
                  </a:lnTo>
                  <a:lnTo>
                    <a:pt x="533" y="477"/>
                  </a:lnTo>
                  <a:lnTo>
                    <a:pt x="535" y="477"/>
                  </a:lnTo>
                  <a:lnTo>
                    <a:pt x="537" y="479"/>
                  </a:lnTo>
                  <a:lnTo>
                    <a:pt x="537" y="481"/>
                  </a:lnTo>
                  <a:lnTo>
                    <a:pt x="539" y="481"/>
                  </a:lnTo>
                  <a:lnTo>
                    <a:pt x="541" y="481"/>
                  </a:lnTo>
                  <a:lnTo>
                    <a:pt x="543" y="483"/>
                  </a:lnTo>
                  <a:lnTo>
                    <a:pt x="543" y="485"/>
                  </a:lnTo>
                  <a:lnTo>
                    <a:pt x="543" y="485"/>
                  </a:lnTo>
                  <a:lnTo>
                    <a:pt x="543" y="487"/>
                  </a:lnTo>
                  <a:lnTo>
                    <a:pt x="543" y="487"/>
                  </a:lnTo>
                  <a:lnTo>
                    <a:pt x="543" y="489"/>
                  </a:lnTo>
                  <a:lnTo>
                    <a:pt x="543" y="489"/>
                  </a:lnTo>
                  <a:lnTo>
                    <a:pt x="541" y="491"/>
                  </a:lnTo>
                  <a:lnTo>
                    <a:pt x="541" y="493"/>
                  </a:lnTo>
                  <a:lnTo>
                    <a:pt x="541" y="495"/>
                  </a:lnTo>
                  <a:lnTo>
                    <a:pt x="541" y="495"/>
                  </a:lnTo>
                  <a:lnTo>
                    <a:pt x="539" y="497"/>
                  </a:lnTo>
                  <a:lnTo>
                    <a:pt x="539" y="499"/>
                  </a:lnTo>
                  <a:lnTo>
                    <a:pt x="539" y="501"/>
                  </a:lnTo>
                  <a:lnTo>
                    <a:pt x="537" y="501"/>
                  </a:lnTo>
                  <a:lnTo>
                    <a:pt x="537" y="503"/>
                  </a:lnTo>
                  <a:lnTo>
                    <a:pt x="535" y="503"/>
                  </a:lnTo>
                  <a:lnTo>
                    <a:pt x="535" y="505"/>
                  </a:lnTo>
                  <a:lnTo>
                    <a:pt x="535" y="507"/>
                  </a:lnTo>
                  <a:lnTo>
                    <a:pt x="535" y="509"/>
                  </a:lnTo>
                  <a:lnTo>
                    <a:pt x="533" y="509"/>
                  </a:lnTo>
                  <a:lnTo>
                    <a:pt x="533" y="511"/>
                  </a:lnTo>
                  <a:lnTo>
                    <a:pt x="533" y="513"/>
                  </a:lnTo>
                  <a:lnTo>
                    <a:pt x="533" y="515"/>
                  </a:lnTo>
                  <a:lnTo>
                    <a:pt x="533" y="517"/>
                  </a:lnTo>
                  <a:lnTo>
                    <a:pt x="533" y="519"/>
                  </a:lnTo>
                  <a:lnTo>
                    <a:pt x="533" y="519"/>
                  </a:lnTo>
                  <a:lnTo>
                    <a:pt x="530" y="521"/>
                  </a:lnTo>
                  <a:lnTo>
                    <a:pt x="530" y="523"/>
                  </a:lnTo>
                  <a:lnTo>
                    <a:pt x="530" y="523"/>
                  </a:lnTo>
                  <a:lnTo>
                    <a:pt x="528" y="525"/>
                  </a:lnTo>
                  <a:lnTo>
                    <a:pt x="528" y="527"/>
                  </a:lnTo>
                  <a:lnTo>
                    <a:pt x="528" y="529"/>
                  </a:lnTo>
                  <a:lnTo>
                    <a:pt x="528" y="531"/>
                  </a:lnTo>
                  <a:lnTo>
                    <a:pt x="528" y="533"/>
                  </a:lnTo>
                  <a:lnTo>
                    <a:pt x="528" y="535"/>
                  </a:lnTo>
                  <a:lnTo>
                    <a:pt x="528" y="535"/>
                  </a:lnTo>
                  <a:lnTo>
                    <a:pt x="528" y="537"/>
                  </a:lnTo>
                  <a:lnTo>
                    <a:pt x="528" y="539"/>
                  </a:lnTo>
                  <a:lnTo>
                    <a:pt x="528" y="541"/>
                  </a:lnTo>
                  <a:lnTo>
                    <a:pt x="528" y="543"/>
                  </a:lnTo>
                  <a:lnTo>
                    <a:pt x="530" y="545"/>
                  </a:lnTo>
                  <a:lnTo>
                    <a:pt x="533" y="545"/>
                  </a:lnTo>
                  <a:lnTo>
                    <a:pt x="533" y="545"/>
                  </a:lnTo>
                  <a:lnTo>
                    <a:pt x="535" y="545"/>
                  </a:lnTo>
                  <a:lnTo>
                    <a:pt x="535" y="545"/>
                  </a:lnTo>
                  <a:lnTo>
                    <a:pt x="537" y="545"/>
                  </a:lnTo>
                  <a:lnTo>
                    <a:pt x="537" y="547"/>
                  </a:lnTo>
                  <a:lnTo>
                    <a:pt x="537" y="547"/>
                  </a:lnTo>
                  <a:lnTo>
                    <a:pt x="539" y="549"/>
                  </a:lnTo>
                  <a:lnTo>
                    <a:pt x="537" y="551"/>
                  </a:lnTo>
                  <a:lnTo>
                    <a:pt x="537" y="551"/>
                  </a:lnTo>
                  <a:lnTo>
                    <a:pt x="537" y="551"/>
                  </a:lnTo>
                  <a:lnTo>
                    <a:pt x="535" y="551"/>
                  </a:lnTo>
                  <a:lnTo>
                    <a:pt x="535" y="553"/>
                  </a:lnTo>
                  <a:lnTo>
                    <a:pt x="533" y="553"/>
                  </a:lnTo>
                  <a:lnTo>
                    <a:pt x="533" y="553"/>
                  </a:lnTo>
                  <a:lnTo>
                    <a:pt x="530" y="553"/>
                  </a:lnTo>
                  <a:lnTo>
                    <a:pt x="528" y="555"/>
                  </a:lnTo>
                  <a:lnTo>
                    <a:pt x="528" y="557"/>
                  </a:lnTo>
                  <a:lnTo>
                    <a:pt x="526" y="557"/>
                  </a:lnTo>
                  <a:lnTo>
                    <a:pt x="526" y="559"/>
                  </a:lnTo>
                  <a:lnTo>
                    <a:pt x="526" y="561"/>
                  </a:lnTo>
                  <a:lnTo>
                    <a:pt x="526" y="563"/>
                  </a:lnTo>
                  <a:lnTo>
                    <a:pt x="526" y="565"/>
                  </a:lnTo>
                  <a:lnTo>
                    <a:pt x="526" y="567"/>
                  </a:lnTo>
                  <a:lnTo>
                    <a:pt x="526" y="567"/>
                  </a:lnTo>
                  <a:lnTo>
                    <a:pt x="526" y="569"/>
                  </a:lnTo>
                  <a:lnTo>
                    <a:pt x="528" y="571"/>
                  </a:lnTo>
                  <a:lnTo>
                    <a:pt x="526" y="571"/>
                  </a:lnTo>
                  <a:lnTo>
                    <a:pt x="526" y="573"/>
                  </a:lnTo>
                  <a:lnTo>
                    <a:pt x="528" y="575"/>
                  </a:lnTo>
                  <a:lnTo>
                    <a:pt x="528" y="575"/>
                  </a:lnTo>
                  <a:lnTo>
                    <a:pt x="530" y="577"/>
                  </a:lnTo>
                  <a:lnTo>
                    <a:pt x="530" y="577"/>
                  </a:lnTo>
                  <a:lnTo>
                    <a:pt x="530" y="579"/>
                  </a:lnTo>
                  <a:lnTo>
                    <a:pt x="533" y="581"/>
                  </a:lnTo>
                  <a:lnTo>
                    <a:pt x="530" y="583"/>
                  </a:lnTo>
                  <a:lnTo>
                    <a:pt x="530" y="583"/>
                  </a:lnTo>
                  <a:lnTo>
                    <a:pt x="528" y="585"/>
                  </a:lnTo>
                  <a:lnTo>
                    <a:pt x="528" y="587"/>
                  </a:lnTo>
                  <a:lnTo>
                    <a:pt x="526" y="587"/>
                  </a:lnTo>
                  <a:lnTo>
                    <a:pt x="526" y="589"/>
                  </a:lnTo>
                  <a:lnTo>
                    <a:pt x="526" y="591"/>
                  </a:lnTo>
                  <a:lnTo>
                    <a:pt x="526" y="593"/>
                  </a:lnTo>
                  <a:lnTo>
                    <a:pt x="524" y="593"/>
                  </a:lnTo>
                  <a:lnTo>
                    <a:pt x="524" y="595"/>
                  </a:lnTo>
                  <a:lnTo>
                    <a:pt x="524" y="597"/>
                  </a:lnTo>
                  <a:lnTo>
                    <a:pt x="524" y="599"/>
                  </a:lnTo>
                  <a:lnTo>
                    <a:pt x="524" y="601"/>
                  </a:lnTo>
                  <a:lnTo>
                    <a:pt x="524" y="603"/>
                  </a:lnTo>
                  <a:lnTo>
                    <a:pt x="524" y="605"/>
                  </a:lnTo>
                  <a:lnTo>
                    <a:pt x="524" y="607"/>
                  </a:lnTo>
                  <a:lnTo>
                    <a:pt x="522" y="609"/>
                  </a:lnTo>
                  <a:lnTo>
                    <a:pt x="522" y="611"/>
                  </a:lnTo>
                  <a:lnTo>
                    <a:pt x="522" y="613"/>
                  </a:lnTo>
                  <a:lnTo>
                    <a:pt x="522" y="613"/>
                  </a:lnTo>
                  <a:lnTo>
                    <a:pt x="522" y="615"/>
                  </a:lnTo>
                  <a:lnTo>
                    <a:pt x="524" y="616"/>
                  </a:lnTo>
                  <a:lnTo>
                    <a:pt x="524" y="618"/>
                  </a:lnTo>
                  <a:lnTo>
                    <a:pt x="524" y="620"/>
                  </a:lnTo>
                  <a:lnTo>
                    <a:pt x="524" y="620"/>
                  </a:lnTo>
                  <a:lnTo>
                    <a:pt x="524" y="622"/>
                  </a:lnTo>
                  <a:lnTo>
                    <a:pt x="524" y="624"/>
                  </a:lnTo>
                  <a:lnTo>
                    <a:pt x="524" y="624"/>
                  </a:lnTo>
                  <a:lnTo>
                    <a:pt x="524" y="626"/>
                  </a:lnTo>
                  <a:lnTo>
                    <a:pt x="524" y="628"/>
                  </a:lnTo>
                  <a:lnTo>
                    <a:pt x="524" y="630"/>
                  </a:lnTo>
                  <a:lnTo>
                    <a:pt x="524" y="630"/>
                  </a:lnTo>
                  <a:lnTo>
                    <a:pt x="524" y="632"/>
                  </a:lnTo>
                  <a:lnTo>
                    <a:pt x="524" y="634"/>
                  </a:lnTo>
                  <a:lnTo>
                    <a:pt x="526" y="636"/>
                  </a:lnTo>
                  <a:lnTo>
                    <a:pt x="526" y="638"/>
                  </a:lnTo>
                  <a:lnTo>
                    <a:pt x="524" y="640"/>
                  </a:lnTo>
                  <a:lnTo>
                    <a:pt x="524" y="640"/>
                  </a:lnTo>
                  <a:lnTo>
                    <a:pt x="524" y="642"/>
                  </a:lnTo>
                  <a:lnTo>
                    <a:pt x="522" y="642"/>
                  </a:lnTo>
                  <a:lnTo>
                    <a:pt x="520" y="644"/>
                  </a:lnTo>
                  <a:lnTo>
                    <a:pt x="520" y="644"/>
                  </a:lnTo>
                  <a:lnTo>
                    <a:pt x="520" y="646"/>
                  </a:lnTo>
                  <a:lnTo>
                    <a:pt x="520" y="648"/>
                  </a:lnTo>
                  <a:lnTo>
                    <a:pt x="522" y="650"/>
                  </a:lnTo>
                  <a:lnTo>
                    <a:pt x="520" y="652"/>
                  </a:lnTo>
                  <a:lnTo>
                    <a:pt x="520" y="652"/>
                  </a:lnTo>
                  <a:lnTo>
                    <a:pt x="520" y="654"/>
                  </a:lnTo>
                  <a:lnTo>
                    <a:pt x="520" y="656"/>
                  </a:lnTo>
                  <a:lnTo>
                    <a:pt x="517" y="656"/>
                  </a:lnTo>
                  <a:lnTo>
                    <a:pt x="517" y="658"/>
                  </a:lnTo>
                  <a:lnTo>
                    <a:pt x="515" y="660"/>
                  </a:lnTo>
                  <a:lnTo>
                    <a:pt x="515" y="662"/>
                  </a:lnTo>
                  <a:lnTo>
                    <a:pt x="515" y="662"/>
                  </a:lnTo>
                  <a:lnTo>
                    <a:pt x="515" y="664"/>
                  </a:lnTo>
                  <a:lnTo>
                    <a:pt x="515" y="666"/>
                  </a:lnTo>
                  <a:lnTo>
                    <a:pt x="517" y="668"/>
                  </a:lnTo>
                  <a:lnTo>
                    <a:pt x="517" y="670"/>
                  </a:lnTo>
                  <a:lnTo>
                    <a:pt x="517" y="672"/>
                  </a:lnTo>
                  <a:lnTo>
                    <a:pt x="517" y="674"/>
                  </a:lnTo>
                  <a:lnTo>
                    <a:pt x="517" y="674"/>
                  </a:lnTo>
                  <a:lnTo>
                    <a:pt x="517" y="676"/>
                  </a:lnTo>
                  <a:lnTo>
                    <a:pt x="517" y="678"/>
                  </a:lnTo>
                  <a:lnTo>
                    <a:pt x="517" y="680"/>
                  </a:lnTo>
                  <a:lnTo>
                    <a:pt x="520" y="682"/>
                  </a:lnTo>
                  <a:lnTo>
                    <a:pt x="520" y="684"/>
                  </a:lnTo>
                  <a:lnTo>
                    <a:pt x="520" y="686"/>
                  </a:lnTo>
                  <a:lnTo>
                    <a:pt x="520" y="688"/>
                  </a:lnTo>
                  <a:lnTo>
                    <a:pt x="520" y="688"/>
                  </a:lnTo>
                  <a:lnTo>
                    <a:pt x="520" y="690"/>
                  </a:lnTo>
                  <a:lnTo>
                    <a:pt x="520" y="692"/>
                  </a:lnTo>
                  <a:lnTo>
                    <a:pt x="517" y="694"/>
                  </a:lnTo>
                  <a:lnTo>
                    <a:pt x="517" y="696"/>
                  </a:lnTo>
                  <a:lnTo>
                    <a:pt x="517" y="698"/>
                  </a:lnTo>
                  <a:lnTo>
                    <a:pt x="517" y="698"/>
                  </a:lnTo>
                  <a:lnTo>
                    <a:pt x="517" y="700"/>
                  </a:lnTo>
                  <a:lnTo>
                    <a:pt x="517" y="702"/>
                  </a:lnTo>
                  <a:lnTo>
                    <a:pt x="517" y="704"/>
                  </a:lnTo>
                  <a:lnTo>
                    <a:pt x="517" y="704"/>
                  </a:lnTo>
                  <a:lnTo>
                    <a:pt x="515" y="706"/>
                  </a:lnTo>
                  <a:lnTo>
                    <a:pt x="515" y="706"/>
                  </a:lnTo>
                  <a:lnTo>
                    <a:pt x="513" y="708"/>
                  </a:lnTo>
                  <a:lnTo>
                    <a:pt x="513" y="708"/>
                  </a:lnTo>
                  <a:lnTo>
                    <a:pt x="513" y="710"/>
                  </a:lnTo>
                  <a:lnTo>
                    <a:pt x="513" y="712"/>
                  </a:lnTo>
                  <a:lnTo>
                    <a:pt x="511" y="714"/>
                  </a:lnTo>
                  <a:lnTo>
                    <a:pt x="511" y="716"/>
                  </a:lnTo>
                  <a:lnTo>
                    <a:pt x="511" y="718"/>
                  </a:lnTo>
                  <a:lnTo>
                    <a:pt x="511" y="720"/>
                  </a:lnTo>
                  <a:lnTo>
                    <a:pt x="511" y="722"/>
                  </a:lnTo>
                  <a:lnTo>
                    <a:pt x="511" y="724"/>
                  </a:lnTo>
                  <a:lnTo>
                    <a:pt x="511" y="726"/>
                  </a:lnTo>
                  <a:lnTo>
                    <a:pt x="511" y="728"/>
                  </a:lnTo>
                  <a:lnTo>
                    <a:pt x="513" y="728"/>
                  </a:lnTo>
                  <a:lnTo>
                    <a:pt x="515" y="728"/>
                  </a:lnTo>
                  <a:lnTo>
                    <a:pt x="515" y="730"/>
                  </a:lnTo>
                  <a:lnTo>
                    <a:pt x="513" y="732"/>
                  </a:lnTo>
                  <a:lnTo>
                    <a:pt x="515" y="734"/>
                  </a:lnTo>
                  <a:lnTo>
                    <a:pt x="515" y="734"/>
                  </a:lnTo>
                  <a:lnTo>
                    <a:pt x="515" y="736"/>
                  </a:lnTo>
                  <a:lnTo>
                    <a:pt x="515" y="738"/>
                  </a:lnTo>
                  <a:lnTo>
                    <a:pt x="515" y="740"/>
                  </a:lnTo>
                  <a:lnTo>
                    <a:pt x="515" y="742"/>
                  </a:lnTo>
                  <a:lnTo>
                    <a:pt x="515" y="742"/>
                  </a:lnTo>
                  <a:lnTo>
                    <a:pt x="513" y="744"/>
                  </a:lnTo>
                  <a:lnTo>
                    <a:pt x="513" y="746"/>
                  </a:lnTo>
                  <a:lnTo>
                    <a:pt x="515" y="748"/>
                  </a:lnTo>
                  <a:lnTo>
                    <a:pt x="513" y="750"/>
                  </a:lnTo>
                  <a:lnTo>
                    <a:pt x="513" y="750"/>
                  </a:lnTo>
                  <a:lnTo>
                    <a:pt x="511" y="752"/>
                  </a:lnTo>
                  <a:lnTo>
                    <a:pt x="511" y="752"/>
                  </a:lnTo>
                  <a:lnTo>
                    <a:pt x="509" y="754"/>
                  </a:lnTo>
                  <a:lnTo>
                    <a:pt x="509" y="756"/>
                  </a:lnTo>
                  <a:lnTo>
                    <a:pt x="509" y="758"/>
                  </a:lnTo>
                  <a:lnTo>
                    <a:pt x="509" y="758"/>
                  </a:lnTo>
                  <a:lnTo>
                    <a:pt x="507" y="760"/>
                  </a:lnTo>
                  <a:lnTo>
                    <a:pt x="507" y="762"/>
                  </a:lnTo>
                  <a:lnTo>
                    <a:pt x="507" y="764"/>
                  </a:lnTo>
                  <a:lnTo>
                    <a:pt x="505" y="766"/>
                  </a:lnTo>
                  <a:lnTo>
                    <a:pt x="505" y="766"/>
                  </a:lnTo>
                  <a:lnTo>
                    <a:pt x="505" y="768"/>
                  </a:lnTo>
                  <a:lnTo>
                    <a:pt x="502" y="770"/>
                  </a:lnTo>
                  <a:lnTo>
                    <a:pt x="502" y="772"/>
                  </a:lnTo>
                  <a:lnTo>
                    <a:pt x="502" y="774"/>
                  </a:lnTo>
                  <a:lnTo>
                    <a:pt x="502" y="776"/>
                  </a:lnTo>
                  <a:lnTo>
                    <a:pt x="500" y="778"/>
                  </a:lnTo>
                  <a:lnTo>
                    <a:pt x="500" y="780"/>
                  </a:lnTo>
                  <a:lnTo>
                    <a:pt x="500" y="780"/>
                  </a:lnTo>
                  <a:lnTo>
                    <a:pt x="500" y="782"/>
                  </a:lnTo>
                  <a:lnTo>
                    <a:pt x="500" y="784"/>
                  </a:lnTo>
                  <a:lnTo>
                    <a:pt x="500" y="786"/>
                  </a:lnTo>
                  <a:lnTo>
                    <a:pt x="500" y="788"/>
                  </a:lnTo>
                  <a:lnTo>
                    <a:pt x="500" y="790"/>
                  </a:lnTo>
                  <a:lnTo>
                    <a:pt x="498" y="792"/>
                  </a:lnTo>
                  <a:lnTo>
                    <a:pt x="500" y="794"/>
                  </a:lnTo>
                  <a:lnTo>
                    <a:pt x="500" y="796"/>
                  </a:lnTo>
                  <a:lnTo>
                    <a:pt x="500" y="796"/>
                  </a:lnTo>
                  <a:lnTo>
                    <a:pt x="500" y="798"/>
                  </a:lnTo>
                  <a:lnTo>
                    <a:pt x="502" y="800"/>
                  </a:lnTo>
                  <a:lnTo>
                    <a:pt x="502" y="802"/>
                  </a:lnTo>
                  <a:lnTo>
                    <a:pt x="505" y="802"/>
                  </a:lnTo>
                  <a:lnTo>
                    <a:pt x="505" y="804"/>
                  </a:lnTo>
                  <a:lnTo>
                    <a:pt x="507" y="804"/>
                  </a:lnTo>
                  <a:lnTo>
                    <a:pt x="507" y="804"/>
                  </a:lnTo>
                  <a:lnTo>
                    <a:pt x="509" y="806"/>
                  </a:lnTo>
                  <a:lnTo>
                    <a:pt x="509" y="806"/>
                  </a:lnTo>
                  <a:lnTo>
                    <a:pt x="511" y="806"/>
                  </a:lnTo>
                  <a:lnTo>
                    <a:pt x="511" y="808"/>
                  </a:lnTo>
                  <a:lnTo>
                    <a:pt x="511" y="808"/>
                  </a:lnTo>
                  <a:lnTo>
                    <a:pt x="511" y="810"/>
                  </a:lnTo>
                  <a:lnTo>
                    <a:pt x="511" y="810"/>
                  </a:lnTo>
                  <a:lnTo>
                    <a:pt x="509" y="810"/>
                  </a:lnTo>
                  <a:lnTo>
                    <a:pt x="507" y="810"/>
                  </a:lnTo>
                  <a:lnTo>
                    <a:pt x="505" y="810"/>
                  </a:lnTo>
                  <a:lnTo>
                    <a:pt x="505" y="810"/>
                  </a:lnTo>
                  <a:lnTo>
                    <a:pt x="502" y="810"/>
                  </a:lnTo>
                  <a:lnTo>
                    <a:pt x="502" y="812"/>
                  </a:lnTo>
                  <a:lnTo>
                    <a:pt x="500" y="812"/>
                  </a:lnTo>
                  <a:lnTo>
                    <a:pt x="498" y="814"/>
                  </a:lnTo>
                  <a:lnTo>
                    <a:pt x="498" y="816"/>
                  </a:lnTo>
                  <a:lnTo>
                    <a:pt x="496" y="818"/>
                  </a:lnTo>
                  <a:lnTo>
                    <a:pt x="496" y="818"/>
                  </a:lnTo>
                  <a:lnTo>
                    <a:pt x="496" y="820"/>
                  </a:lnTo>
                  <a:lnTo>
                    <a:pt x="494" y="822"/>
                  </a:lnTo>
                  <a:lnTo>
                    <a:pt x="494" y="824"/>
                  </a:lnTo>
                  <a:lnTo>
                    <a:pt x="494" y="826"/>
                  </a:lnTo>
                  <a:lnTo>
                    <a:pt x="492" y="828"/>
                  </a:lnTo>
                  <a:lnTo>
                    <a:pt x="492" y="830"/>
                  </a:lnTo>
                  <a:lnTo>
                    <a:pt x="490" y="830"/>
                  </a:lnTo>
                  <a:lnTo>
                    <a:pt x="490" y="832"/>
                  </a:lnTo>
                  <a:lnTo>
                    <a:pt x="490" y="834"/>
                  </a:lnTo>
                  <a:lnTo>
                    <a:pt x="490" y="836"/>
                  </a:lnTo>
                  <a:lnTo>
                    <a:pt x="490" y="838"/>
                  </a:lnTo>
                  <a:lnTo>
                    <a:pt x="490" y="840"/>
                  </a:lnTo>
                  <a:lnTo>
                    <a:pt x="490" y="840"/>
                  </a:lnTo>
                  <a:lnTo>
                    <a:pt x="490" y="842"/>
                  </a:lnTo>
                  <a:lnTo>
                    <a:pt x="490" y="844"/>
                  </a:lnTo>
                  <a:lnTo>
                    <a:pt x="490" y="846"/>
                  </a:lnTo>
                  <a:lnTo>
                    <a:pt x="490" y="846"/>
                  </a:lnTo>
                  <a:lnTo>
                    <a:pt x="487" y="848"/>
                  </a:lnTo>
                  <a:lnTo>
                    <a:pt x="487" y="850"/>
                  </a:lnTo>
                  <a:lnTo>
                    <a:pt x="487" y="852"/>
                  </a:lnTo>
                  <a:lnTo>
                    <a:pt x="487" y="854"/>
                  </a:lnTo>
                  <a:lnTo>
                    <a:pt x="490" y="854"/>
                  </a:lnTo>
                  <a:lnTo>
                    <a:pt x="492" y="854"/>
                  </a:lnTo>
                  <a:lnTo>
                    <a:pt x="492" y="856"/>
                  </a:lnTo>
                  <a:lnTo>
                    <a:pt x="492" y="858"/>
                  </a:lnTo>
                  <a:lnTo>
                    <a:pt x="494" y="858"/>
                  </a:lnTo>
                  <a:lnTo>
                    <a:pt x="492" y="860"/>
                  </a:lnTo>
                  <a:lnTo>
                    <a:pt x="492" y="862"/>
                  </a:lnTo>
                  <a:lnTo>
                    <a:pt x="490" y="862"/>
                  </a:lnTo>
                  <a:lnTo>
                    <a:pt x="490" y="864"/>
                  </a:lnTo>
                  <a:lnTo>
                    <a:pt x="490" y="864"/>
                  </a:lnTo>
                  <a:lnTo>
                    <a:pt x="490" y="866"/>
                  </a:lnTo>
                  <a:lnTo>
                    <a:pt x="490" y="868"/>
                  </a:lnTo>
                  <a:lnTo>
                    <a:pt x="490" y="868"/>
                  </a:lnTo>
                  <a:lnTo>
                    <a:pt x="490" y="870"/>
                  </a:lnTo>
                  <a:lnTo>
                    <a:pt x="490" y="872"/>
                  </a:lnTo>
                  <a:lnTo>
                    <a:pt x="487" y="874"/>
                  </a:lnTo>
                  <a:lnTo>
                    <a:pt x="487" y="876"/>
                  </a:lnTo>
                  <a:lnTo>
                    <a:pt x="485" y="876"/>
                  </a:lnTo>
                  <a:lnTo>
                    <a:pt x="485" y="878"/>
                  </a:lnTo>
                  <a:lnTo>
                    <a:pt x="485" y="876"/>
                  </a:lnTo>
                  <a:lnTo>
                    <a:pt x="483" y="876"/>
                  </a:lnTo>
                  <a:lnTo>
                    <a:pt x="483" y="878"/>
                  </a:lnTo>
                  <a:lnTo>
                    <a:pt x="481" y="878"/>
                  </a:lnTo>
                  <a:lnTo>
                    <a:pt x="479" y="878"/>
                  </a:lnTo>
                  <a:lnTo>
                    <a:pt x="479" y="878"/>
                  </a:lnTo>
                  <a:lnTo>
                    <a:pt x="477" y="878"/>
                  </a:lnTo>
                  <a:lnTo>
                    <a:pt x="477" y="880"/>
                  </a:lnTo>
                  <a:lnTo>
                    <a:pt x="475" y="882"/>
                  </a:lnTo>
                  <a:lnTo>
                    <a:pt x="475" y="884"/>
                  </a:lnTo>
                  <a:lnTo>
                    <a:pt x="472" y="884"/>
                  </a:lnTo>
                  <a:lnTo>
                    <a:pt x="472" y="886"/>
                  </a:lnTo>
                  <a:lnTo>
                    <a:pt x="475" y="888"/>
                  </a:lnTo>
                  <a:lnTo>
                    <a:pt x="472" y="888"/>
                  </a:lnTo>
                  <a:lnTo>
                    <a:pt x="472" y="890"/>
                  </a:lnTo>
                  <a:lnTo>
                    <a:pt x="475" y="894"/>
                  </a:lnTo>
                  <a:lnTo>
                    <a:pt x="472" y="892"/>
                  </a:lnTo>
                  <a:lnTo>
                    <a:pt x="472" y="892"/>
                  </a:lnTo>
                  <a:lnTo>
                    <a:pt x="470" y="890"/>
                  </a:lnTo>
                  <a:lnTo>
                    <a:pt x="470" y="888"/>
                  </a:lnTo>
                  <a:lnTo>
                    <a:pt x="468" y="888"/>
                  </a:lnTo>
                  <a:lnTo>
                    <a:pt x="466" y="888"/>
                  </a:lnTo>
                  <a:lnTo>
                    <a:pt x="468" y="886"/>
                  </a:lnTo>
                  <a:lnTo>
                    <a:pt x="468" y="884"/>
                  </a:lnTo>
                  <a:lnTo>
                    <a:pt x="468" y="884"/>
                  </a:lnTo>
                  <a:lnTo>
                    <a:pt x="470" y="882"/>
                  </a:lnTo>
                  <a:lnTo>
                    <a:pt x="470" y="882"/>
                  </a:lnTo>
                  <a:lnTo>
                    <a:pt x="468" y="880"/>
                  </a:lnTo>
                  <a:lnTo>
                    <a:pt x="468" y="878"/>
                  </a:lnTo>
                  <a:lnTo>
                    <a:pt x="466" y="878"/>
                  </a:lnTo>
                  <a:lnTo>
                    <a:pt x="464" y="878"/>
                  </a:lnTo>
                  <a:lnTo>
                    <a:pt x="462" y="876"/>
                  </a:lnTo>
                  <a:lnTo>
                    <a:pt x="459" y="876"/>
                  </a:lnTo>
                  <a:lnTo>
                    <a:pt x="459" y="878"/>
                  </a:lnTo>
                  <a:lnTo>
                    <a:pt x="457" y="878"/>
                  </a:lnTo>
                  <a:lnTo>
                    <a:pt x="455" y="878"/>
                  </a:lnTo>
                  <a:lnTo>
                    <a:pt x="455" y="880"/>
                  </a:lnTo>
                  <a:lnTo>
                    <a:pt x="453" y="880"/>
                  </a:lnTo>
                  <a:lnTo>
                    <a:pt x="451" y="878"/>
                  </a:lnTo>
                  <a:lnTo>
                    <a:pt x="449" y="878"/>
                  </a:lnTo>
                  <a:lnTo>
                    <a:pt x="449" y="880"/>
                  </a:lnTo>
                  <a:lnTo>
                    <a:pt x="447" y="880"/>
                  </a:lnTo>
                  <a:lnTo>
                    <a:pt x="444" y="880"/>
                  </a:lnTo>
                  <a:lnTo>
                    <a:pt x="444" y="882"/>
                  </a:lnTo>
                  <a:lnTo>
                    <a:pt x="444" y="880"/>
                  </a:lnTo>
                  <a:lnTo>
                    <a:pt x="442" y="878"/>
                  </a:lnTo>
                  <a:lnTo>
                    <a:pt x="442" y="878"/>
                  </a:lnTo>
                  <a:lnTo>
                    <a:pt x="440" y="876"/>
                  </a:lnTo>
                  <a:lnTo>
                    <a:pt x="440" y="878"/>
                  </a:lnTo>
                  <a:lnTo>
                    <a:pt x="438" y="876"/>
                  </a:lnTo>
                  <a:lnTo>
                    <a:pt x="436" y="876"/>
                  </a:lnTo>
                  <a:lnTo>
                    <a:pt x="436" y="874"/>
                  </a:lnTo>
                  <a:lnTo>
                    <a:pt x="434" y="874"/>
                  </a:lnTo>
                  <a:lnTo>
                    <a:pt x="432" y="872"/>
                  </a:lnTo>
                  <a:lnTo>
                    <a:pt x="432" y="874"/>
                  </a:lnTo>
                  <a:lnTo>
                    <a:pt x="429" y="874"/>
                  </a:lnTo>
                  <a:lnTo>
                    <a:pt x="429" y="872"/>
                  </a:lnTo>
                  <a:lnTo>
                    <a:pt x="429" y="870"/>
                  </a:lnTo>
                  <a:lnTo>
                    <a:pt x="429" y="870"/>
                  </a:lnTo>
                  <a:lnTo>
                    <a:pt x="429" y="868"/>
                  </a:lnTo>
                  <a:lnTo>
                    <a:pt x="427" y="868"/>
                  </a:lnTo>
                  <a:lnTo>
                    <a:pt x="425" y="8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6" name="Freeform 2">
              <a:extLst>
                <a:ext uri="{FF2B5EF4-FFF2-40B4-BE49-F238E27FC236}">
                  <a16:creationId xmlns:a16="http://schemas.microsoft.com/office/drawing/2014/main" id="{720009D9-F935-4A23-812A-E7485398B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834" y="1542914"/>
              <a:ext cx="4824316" cy="4023397"/>
            </a:xfrm>
            <a:custGeom>
              <a:avLst/>
              <a:gdLst/>
              <a:ahLst/>
              <a:cxnLst>
                <a:cxn ang="0">
                  <a:pos x="3421" y="2662"/>
                </a:cxn>
                <a:cxn ang="0">
                  <a:pos x="3320" y="2952"/>
                </a:cxn>
                <a:cxn ang="0">
                  <a:pos x="3543" y="3123"/>
                </a:cxn>
                <a:cxn ang="0">
                  <a:pos x="3470" y="3279"/>
                </a:cxn>
                <a:cxn ang="0">
                  <a:pos x="3348" y="3534"/>
                </a:cxn>
                <a:cxn ang="0">
                  <a:pos x="3116" y="3720"/>
                </a:cxn>
                <a:cxn ang="0">
                  <a:pos x="3159" y="3482"/>
                </a:cxn>
                <a:cxn ang="0">
                  <a:pos x="3236" y="3289"/>
                </a:cxn>
                <a:cxn ang="0">
                  <a:pos x="3090" y="3000"/>
                </a:cxn>
                <a:cxn ang="0">
                  <a:pos x="2938" y="2874"/>
                </a:cxn>
                <a:cxn ang="0">
                  <a:pos x="2783" y="2732"/>
                </a:cxn>
                <a:cxn ang="0">
                  <a:pos x="2573" y="2647"/>
                </a:cxn>
                <a:cxn ang="0">
                  <a:pos x="2506" y="2555"/>
                </a:cxn>
                <a:cxn ang="0">
                  <a:pos x="2384" y="2443"/>
                </a:cxn>
                <a:cxn ang="0">
                  <a:pos x="2135" y="2393"/>
                </a:cxn>
                <a:cxn ang="0">
                  <a:pos x="1886" y="2242"/>
                </a:cxn>
                <a:cxn ang="0">
                  <a:pos x="1664" y="2066"/>
                </a:cxn>
                <a:cxn ang="0">
                  <a:pos x="1439" y="1950"/>
                </a:cxn>
                <a:cxn ang="0">
                  <a:pos x="1312" y="1781"/>
                </a:cxn>
                <a:cxn ang="0">
                  <a:pos x="1235" y="1587"/>
                </a:cxn>
                <a:cxn ang="0">
                  <a:pos x="1155" y="1388"/>
                </a:cxn>
                <a:cxn ang="0">
                  <a:pos x="1014" y="1264"/>
                </a:cxn>
                <a:cxn ang="0">
                  <a:pos x="814" y="1159"/>
                </a:cxn>
                <a:cxn ang="0">
                  <a:pos x="642" y="1133"/>
                </a:cxn>
                <a:cxn ang="0">
                  <a:pos x="464" y="1324"/>
                </a:cxn>
                <a:cxn ang="0">
                  <a:pos x="290" y="1312"/>
                </a:cxn>
                <a:cxn ang="0">
                  <a:pos x="176" y="1219"/>
                </a:cxn>
                <a:cxn ang="0">
                  <a:pos x="101" y="1031"/>
                </a:cxn>
                <a:cxn ang="0">
                  <a:pos x="13" y="862"/>
                </a:cxn>
                <a:cxn ang="0">
                  <a:pos x="170" y="728"/>
                </a:cxn>
                <a:cxn ang="0">
                  <a:pos x="86" y="526"/>
                </a:cxn>
                <a:cxn ang="0">
                  <a:pos x="326" y="479"/>
                </a:cxn>
                <a:cxn ang="0">
                  <a:pos x="475" y="347"/>
                </a:cxn>
                <a:cxn ang="0">
                  <a:pos x="618" y="405"/>
                </a:cxn>
                <a:cxn ang="0">
                  <a:pos x="758" y="532"/>
                </a:cxn>
                <a:cxn ang="0">
                  <a:pos x="833" y="311"/>
                </a:cxn>
                <a:cxn ang="0">
                  <a:pos x="975" y="323"/>
                </a:cxn>
                <a:cxn ang="0">
                  <a:pos x="1082" y="293"/>
                </a:cxn>
                <a:cxn ang="0">
                  <a:pos x="1175" y="203"/>
                </a:cxn>
                <a:cxn ang="0">
                  <a:pos x="1338" y="144"/>
                </a:cxn>
                <a:cxn ang="0">
                  <a:pos x="1561" y="46"/>
                </a:cxn>
                <a:cxn ang="0">
                  <a:pos x="1724" y="88"/>
                </a:cxn>
                <a:cxn ang="0">
                  <a:pos x="1954" y="191"/>
                </a:cxn>
                <a:cxn ang="0">
                  <a:pos x="2173" y="247"/>
                </a:cxn>
                <a:cxn ang="0">
                  <a:pos x="2158" y="395"/>
                </a:cxn>
                <a:cxn ang="0">
                  <a:pos x="2259" y="564"/>
                </a:cxn>
                <a:cxn ang="0">
                  <a:pos x="2156" y="518"/>
                </a:cxn>
                <a:cxn ang="0">
                  <a:pos x="2004" y="592"/>
                </a:cxn>
                <a:cxn ang="0">
                  <a:pos x="1782" y="772"/>
                </a:cxn>
                <a:cxn ang="0">
                  <a:pos x="1780" y="937"/>
                </a:cxn>
                <a:cxn ang="0">
                  <a:pos x="1840" y="1197"/>
                </a:cxn>
                <a:cxn ang="0">
                  <a:pos x="2100" y="1374"/>
                </a:cxn>
                <a:cxn ang="0">
                  <a:pos x="2298" y="1568"/>
                </a:cxn>
                <a:cxn ang="0">
                  <a:pos x="2435" y="1851"/>
                </a:cxn>
                <a:cxn ang="0">
                  <a:pos x="2659" y="2030"/>
                </a:cxn>
                <a:cxn ang="0">
                  <a:pos x="2983" y="2072"/>
                </a:cxn>
                <a:cxn ang="0">
                  <a:pos x="3084" y="2164"/>
                </a:cxn>
                <a:cxn ang="0">
                  <a:pos x="3238" y="2321"/>
                </a:cxn>
                <a:cxn ang="0">
                  <a:pos x="3485" y="2397"/>
                </a:cxn>
                <a:cxn ang="0">
                  <a:pos x="3698" y="2501"/>
                </a:cxn>
                <a:cxn ang="0">
                  <a:pos x="3894" y="2617"/>
                </a:cxn>
                <a:cxn ang="0">
                  <a:pos x="3962" y="2836"/>
                </a:cxn>
                <a:cxn ang="0">
                  <a:pos x="3805" y="2740"/>
                </a:cxn>
              </a:cxnLst>
              <a:rect l="0" t="0" r="r" b="b"/>
              <a:pathLst>
                <a:path w="3992" h="3722">
                  <a:moveTo>
                    <a:pt x="3625" y="2686"/>
                  </a:moveTo>
                  <a:lnTo>
                    <a:pt x="3623" y="2686"/>
                  </a:lnTo>
                  <a:lnTo>
                    <a:pt x="3621" y="2686"/>
                  </a:lnTo>
                  <a:lnTo>
                    <a:pt x="3621" y="2684"/>
                  </a:lnTo>
                  <a:lnTo>
                    <a:pt x="3619" y="2682"/>
                  </a:lnTo>
                  <a:lnTo>
                    <a:pt x="3619" y="2680"/>
                  </a:lnTo>
                  <a:lnTo>
                    <a:pt x="3616" y="2680"/>
                  </a:lnTo>
                  <a:lnTo>
                    <a:pt x="3614" y="2680"/>
                  </a:lnTo>
                  <a:lnTo>
                    <a:pt x="3612" y="2680"/>
                  </a:lnTo>
                  <a:lnTo>
                    <a:pt x="3610" y="2680"/>
                  </a:lnTo>
                  <a:lnTo>
                    <a:pt x="3608" y="2680"/>
                  </a:lnTo>
                  <a:lnTo>
                    <a:pt x="3606" y="2680"/>
                  </a:lnTo>
                  <a:lnTo>
                    <a:pt x="3606" y="2680"/>
                  </a:lnTo>
                  <a:lnTo>
                    <a:pt x="3604" y="2680"/>
                  </a:lnTo>
                  <a:lnTo>
                    <a:pt x="3601" y="2680"/>
                  </a:lnTo>
                  <a:lnTo>
                    <a:pt x="3599" y="2680"/>
                  </a:lnTo>
                  <a:lnTo>
                    <a:pt x="3599" y="2680"/>
                  </a:lnTo>
                  <a:lnTo>
                    <a:pt x="3597" y="2678"/>
                  </a:lnTo>
                  <a:lnTo>
                    <a:pt x="3597" y="2678"/>
                  </a:lnTo>
                  <a:lnTo>
                    <a:pt x="3595" y="2678"/>
                  </a:lnTo>
                  <a:lnTo>
                    <a:pt x="3595" y="2678"/>
                  </a:lnTo>
                  <a:lnTo>
                    <a:pt x="3593" y="2676"/>
                  </a:lnTo>
                  <a:lnTo>
                    <a:pt x="3593" y="2674"/>
                  </a:lnTo>
                  <a:lnTo>
                    <a:pt x="3591" y="2674"/>
                  </a:lnTo>
                  <a:lnTo>
                    <a:pt x="3591" y="2674"/>
                  </a:lnTo>
                  <a:lnTo>
                    <a:pt x="3589" y="2674"/>
                  </a:lnTo>
                  <a:lnTo>
                    <a:pt x="3589" y="2674"/>
                  </a:lnTo>
                  <a:lnTo>
                    <a:pt x="3586" y="2672"/>
                  </a:lnTo>
                  <a:lnTo>
                    <a:pt x="3586" y="2674"/>
                  </a:lnTo>
                  <a:lnTo>
                    <a:pt x="3584" y="2672"/>
                  </a:lnTo>
                  <a:lnTo>
                    <a:pt x="3584" y="2672"/>
                  </a:lnTo>
                  <a:lnTo>
                    <a:pt x="3582" y="2672"/>
                  </a:lnTo>
                  <a:lnTo>
                    <a:pt x="3580" y="2672"/>
                  </a:lnTo>
                  <a:lnTo>
                    <a:pt x="3580" y="2670"/>
                  </a:lnTo>
                  <a:lnTo>
                    <a:pt x="3578" y="2670"/>
                  </a:lnTo>
                  <a:lnTo>
                    <a:pt x="3576" y="2670"/>
                  </a:lnTo>
                  <a:lnTo>
                    <a:pt x="3576" y="2670"/>
                  </a:lnTo>
                  <a:lnTo>
                    <a:pt x="3574" y="2670"/>
                  </a:lnTo>
                  <a:lnTo>
                    <a:pt x="3571" y="2670"/>
                  </a:lnTo>
                  <a:lnTo>
                    <a:pt x="3569" y="2668"/>
                  </a:lnTo>
                  <a:lnTo>
                    <a:pt x="3569" y="2668"/>
                  </a:lnTo>
                  <a:lnTo>
                    <a:pt x="3567" y="2666"/>
                  </a:lnTo>
                  <a:lnTo>
                    <a:pt x="3567" y="2668"/>
                  </a:lnTo>
                  <a:lnTo>
                    <a:pt x="3567" y="2666"/>
                  </a:lnTo>
                  <a:lnTo>
                    <a:pt x="3565" y="2666"/>
                  </a:lnTo>
                  <a:lnTo>
                    <a:pt x="3565" y="2664"/>
                  </a:lnTo>
                  <a:lnTo>
                    <a:pt x="3563" y="2664"/>
                  </a:lnTo>
                  <a:lnTo>
                    <a:pt x="3561" y="2664"/>
                  </a:lnTo>
                  <a:lnTo>
                    <a:pt x="3558" y="2664"/>
                  </a:lnTo>
                  <a:lnTo>
                    <a:pt x="3558" y="2664"/>
                  </a:lnTo>
                  <a:lnTo>
                    <a:pt x="3556" y="2662"/>
                  </a:lnTo>
                  <a:lnTo>
                    <a:pt x="3556" y="2662"/>
                  </a:lnTo>
                  <a:lnTo>
                    <a:pt x="3554" y="2662"/>
                  </a:lnTo>
                  <a:lnTo>
                    <a:pt x="3554" y="2660"/>
                  </a:lnTo>
                  <a:lnTo>
                    <a:pt x="3552" y="2660"/>
                  </a:lnTo>
                  <a:lnTo>
                    <a:pt x="3550" y="2660"/>
                  </a:lnTo>
                  <a:lnTo>
                    <a:pt x="3550" y="2658"/>
                  </a:lnTo>
                  <a:lnTo>
                    <a:pt x="3548" y="2658"/>
                  </a:lnTo>
                  <a:lnTo>
                    <a:pt x="3546" y="2658"/>
                  </a:lnTo>
                  <a:lnTo>
                    <a:pt x="3546" y="2658"/>
                  </a:lnTo>
                  <a:lnTo>
                    <a:pt x="3543" y="2658"/>
                  </a:lnTo>
                  <a:lnTo>
                    <a:pt x="3543" y="2657"/>
                  </a:lnTo>
                  <a:lnTo>
                    <a:pt x="3541" y="2657"/>
                  </a:lnTo>
                  <a:lnTo>
                    <a:pt x="3539" y="2657"/>
                  </a:lnTo>
                  <a:lnTo>
                    <a:pt x="3539" y="2655"/>
                  </a:lnTo>
                  <a:lnTo>
                    <a:pt x="3537" y="2655"/>
                  </a:lnTo>
                  <a:lnTo>
                    <a:pt x="3535" y="2655"/>
                  </a:lnTo>
                  <a:lnTo>
                    <a:pt x="3533" y="2655"/>
                  </a:lnTo>
                  <a:lnTo>
                    <a:pt x="3531" y="2655"/>
                  </a:lnTo>
                  <a:lnTo>
                    <a:pt x="3531" y="2655"/>
                  </a:lnTo>
                  <a:lnTo>
                    <a:pt x="3531" y="2653"/>
                  </a:lnTo>
                  <a:lnTo>
                    <a:pt x="3531" y="2651"/>
                  </a:lnTo>
                  <a:lnTo>
                    <a:pt x="3533" y="2651"/>
                  </a:lnTo>
                  <a:lnTo>
                    <a:pt x="3533" y="2649"/>
                  </a:lnTo>
                  <a:lnTo>
                    <a:pt x="3535" y="2649"/>
                  </a:lnTo>
                  <a:lnTo>
                    <a:pt x="3537" y="2649"/>
                  </a:lnTo>
                  <a:lnTo>
                    <a:pt x="3539" y="2649"/>
                  </a:lnTo>
                  <a:lnTo>
                    <a:pt x="3541" y="2647"/>
                  </a:lnTo>
                  <a:lnTo>
                    <a:pt x="3541" y="2647"/>
                  </a:lnTo>
                  <a:lnTo>
                    <a:pt x="3541" y="2645"/>
                  </a:lnTo>
                  <a:lnTo>
                    <a:pt x="3543" y="2645"/>
                  </a:lnTo>
                  <a:lnTo>
                    <a:pt x="3543" y="2643"/>
                  </a:lnTo>
                  <a:lnTo>
                    <a:pt x="3543" y="2641"/>
                  </a:lnTo>
                  <a:lnTo>
                    <a:pt x="3546" y="2639"/>
                  </a:lnTo>
                  <a:lnTo>
                    <a:pt x="3546" y="2639"/>
                  </a:lnTo>
                  <a:lnTo>
                    <a:pt x="3546" y="2637"/>
                  </a:lnTo>
                  <a:lnTo>
                    <a:pt x="3546" y="2635"/>
                  </a:lnTo>
                  <a:lnTo>
                    <a:pt x="3543" y="2633"/>
                  </a:lnTo>
                  <a:lnTo>
                    <a:pt x="3543" y="2631"/>
                  </a:lnTo>
                  <a:lnTo>
                    <a:pt x="3541" y="2631"/>
                  </a:lnTo>
                  <a:lnTo>
                    <a:pt x="3541" y="2629"/>
                  </a:lnTo>
                  <a:lnTo>
                    <a:pt x="3539" y="2629"/>
                  </a:lnTo>
                  <a:lnTo>
                    <a:pt x="3537" y="2627"/>
                  </a:lnTo>
                  <a:lnTo>
                    <a:pt x="3537" y="2627"/>
                  </a:lnTo>
                  <a:lnTo>
                    <a:pt x="3535" y="2627"/>
                  </a:lnTo>
                  <a:lnTo>
                    <a:pt x="3535" y="2625"/>
                  </a:lnTo>
                  <a:lnTo>
                    <a:pt x="3535" y="2625"/>
                  </a:lnTo>
                  <a:lnTo>
                    <a:pt x="3533" y="2627"/>
                  </a:lnTo>
                  <a:lnTo>
                    <a:pt x="3533" y="2627"/>
                  </a:lnTo>
                  <a:lnTo>
                    <a:pt x="3531" y="2625"/>
                  </a:lnTo>
                  <a:lnTo>
                    <a:pt x="3533" y="2627"/>
                  </a:lnTo>
                  <a:lnTo>
                    <a:pt x="3531" y="2627"/>
                  </a:lnTo>
                  <a:lnTo>
                    <a:pt x="3531" y="2627"/>
                  </a:lnTo>
                  <a:lnTo>
                    <a:pt x="3531" y="2629"/>
                  </a:lnTo>
                  <a:lnTo>
                    <a:pt x="3531" y="2627"/>
                  </a:lnTo>
                  <a:lnTo>
                    <a:pt x="3528" y="2625"/>
                  </a:lnTo>
                  <a:lnTo>
                    <a:pt x="3528" y="2627"/>
                  </a:lnTo>
                  <a:lnTo>
                    <a:pt x="3528" y="2629"/>
                  </a:lnTo>
                  <a:lnTo>
                    <a:pt x="3528" y="2627"/>
                  </a:lnTo>
                  <a:lnTo>
                    <a:pt x="3526" y="2627"/>
                  </a:lnTo>
                  <a:lnTo>
                    <a:pt x="3526" y="2627"/>
                  </a:lnTo>
                  <a:lnTo>
                    <a:pt x="3524" y="2627"/>
                  </a:lnTo>
                  <a:lnTo>
                    <a:pt x="3524" y="2627"/>
                  </a:lnTo>
                  <a:lnTo>
                    <a:pt x="3522" y="2627"/>
                  </a:lnTo>
                  <a:lnTo>
                    <a:pt x="3522" y="2627"/>
                  </a:lnTo>
                  <a:lnTo>
                    <a:pt x="3520" y="2627"/>
                  </a:lnTo>
                  <a:lnTo>
                    <a:pt x="3520" y="2625"/>
                  </a:lnTo>
                  <a:lnTo>
                    <a:pt x="3520" y="2623"/>
                  </a:lnTo>
                  <a:lnTo>
                    <a:pt x="3520" y="2621"/>
                  </a:lnTo>
                  <a:lnTo>
                    <a:pt x="3520" y="2619"/>
                  </a:lnTo>
                  <a:lnTo>
                    <a:pt x="3518" y="2619"/>
                  </a:lnTo>
                  <a:lnTo>
                    <a:pt x="3516" y="2617"/>
                  </a:lnTo>
                  <a:lnTo>
                    <a:pt x="3513" y="2617"/>
                  </a:lnTo>
                  <a:lnTo>
                    <a:pt x="3513" y="2617"/>
                  </a:lnTo>
                  <a:lnTo>
                    <a:pt x="3511" y="2615"/>
                  </a:lnTo>
                  <a:lnTo>
                    <a:pt x="3509" y="2615"/>
                  </a:lnTo>
                  <a:lnTo>
                    <a:pt x="3507" y="2615"/>
                  </a:lnTo>
                  <a:lnTo>
                    <a:pt x="3505" y="2615"/>
                  </a:lnTo>
                  <a:lnTo>
                    <a:pt x="3503" y="2613"/>
                  </a:lnTo>
                  <a:lnTo>
                    <a:pt x="3501" y="2613"/>
                  </a:lnTo>
                  <a:lnTo>
                    <a:pt x="3498" y="2613"/>
                  </a:lnTo>
                  <a:lnTo>
                    <a:pt x="3496" y="2613"/>
                  </a:lnTo>
                  <a:lnTo>
                    <a:pt x="3496" y="2613"/>
                  </a:lnTo>
                  <a:lnTo>
                    <a:pt x="3494" y="2613"/>
                  </a:lnTo>
                  <a:lnTo>
                    <a:pt x="3492" y="2613"/>
                  </a:lnTo>
                  <a:lnTo>
                    <a:pt x="3490" y="2613"/>
                  </a:lnTo>
                  <a:lnTo>
                    <a:pt x="3488" y="2613"/>
                  </a:lnTo>
                  <a:lnTo>
                    <a:pt x="3485" y="2613"/>
                  </a:lnTo>
                  <a:lnTo>
                    <a:pt x="3483" y="2613"/>
                  </a:lnTo>
                  <a:lnTo>
                    <a:pt x="3481" y="2613"/>
                  </a:lnTo>
                  <a:lnTo>
                    <a:pt x="3479" y="2615"/>
                  </a:lnTo>
                  <a:lnTo>
                    <a:pt x="3477" y="2615"/>
                  </a:lnTo>
                  <a:lnTo>
                    <a:pt x="3477" y="2615"/>
                  </a:lnTo>
                  <a:lnTo>
                    <a:pt x="3475" y="2617"/>
                  </a:lnTo>
                  <a:lnTo>
                    <a:pt x="3473" y="2617"/>
                  </a:lnTo>
                  <a:lnTo>
                    <a:pt x="3470" y="2617"/>
                  </a:lnTo>
                  <a:lnTo>
                    <a:pt x="3468" y="2619"/>
                  </a:lnTo>
                  <a:lnTo>
                    <a:pt x="3466" y="2619"/>
                  </a:lnTo>
                  <a:lnTo>
                    <a:pt x="3464" y="2621"/>
                  </a:lnTo>
                  <a:lnTo>
                    <a:pt x="3464" y="2621"/>
                  </a:lnTo>
                  <a:lnTo>
                    <a:pt x="3462" y="2623"/>
                  </a:lnTo>
                  <a:lnTo>
                    <a:pt x="3460" y="2623"/>
                  </a:lnTo>
                  <a:lnTo>
                    <a:pt x="3458" y="2625"/>
                  </a:lnTo>
                  <a:lnTo>
                    <a:pt x="3458" y="2625"/>
                  </a:lnTo>
                  <a:lnTo>
                    <a:pt x="3455" y="2627"/>
                  </a:lnTo>
                  <a:lnTo>
                    <a:pt x="3453" y="2627"/>
                  </a:lnTo>
                  <a:lnTo>
                    <a:pt x="3451" y="2629"/>
                  </a:lnTo>
                  <a:lnTo>
                    <a:pt x="3451" y="2631"/>
                  </a:lnTo>
                  <a:lnTo>
                    <a:pt x="3449" y="2631"/>
                  </a:lnTo>
                  <a:lnTo>
                    <a:pt x="3447" y="2633"/>
                  </a:lnTo>
                  <a:lnTo>
                    <a:pt x="3447" y="2633"/>
                  </a:lnTo>
                  <a:lnTo>
                    <a:pt x="3445" y="2635"/>
                  </a:lnTo>
                  <a:lnTo>
                    <a:pt x="3443" y="2637"/>
                  </a:lnTo>
                  <a:lnTo>
                    <a:pt x="3443" y="2637"/>
                  </a:lnTo>
                  <a:lnTo>
                    <a:pt x="3440" y="2639"/>
                  </a:lnTo>
                  <a:lnTo>
                    <a:pt x="3438" y="2641"/>
                  </a:lnTo>
                  <a:lnTo>
                    <a:pt x="3438" y="2641"/>
                  </a:lnTo>
                  <a:lnTo>
                    <a:pt x="3436" y="2643"/>
                  </a:lnTo>
                  <a:lnTo>
                    <a:pt x="3434" y="2645"/>
                  </a:lnTo>
                  <a:lnTo>
                    <a:pt x="3434" y="2645"/>
                  </a:lnTo>
                  <a:lnTo>
                    <a:pt x="3432" y="2647"/>
                  </a:lnTo>
                  <a:lnTo>
                    <a:pt x="3432" y="2649"/>
                  </a:lnTo>
                  <a:lnTo>
                    <a:pt x="3430" y="2651"/>
                  </a:lnTo>
                  <a:lnTo>
                    <a:pt x="3427" y="2651"/>
                  </a:lnTo>
                  <a:lnTo>
                    <a:pt x="3427" y="2653"/>
                  </a:lnTo>
                  <a:lnTo>
                    <a:pt x="3425" y="2655"/>
                  </a:lnTo>
                  <a:lnTo>
                    <a:pt x="3425" y="2657"/>
                  </a:lnTo>
                  <a:lnTo>
                    <a:pt x="3423" y="2657"/>
                  </a:lnTo>
                  <a:lnTo>
                    <a:pt x="3423" y="2658"/>
                  </a:lnTo>
                  <a:lnTo>
                    <a:pt x="3421" y="2660"/>
                  </a:lnTo>
                  <a:lnTo>
                    <a:pt x="3421" y="2662"/>
                  </a:lnTo>
                  <a:lnTo>
                    <a:pt x="3419" y="2662"/>
                  </a:lnTo>
                  <a:lnTo>
                    <a:pt x="3419" y="2664"/>
                  </a:lnTo>
                  <a:lnTo>
                    <a:pt x="3417" y="2666"/>
                  </a:lnTo>
                  <a:lnTo>
                    <a:pt x="3417" y="2668"/>
                  </a:lnTo>
                  <a:lnTo>
                    <a:pt x="3415" y="2670"/>
                  </a:lnTo>
                  <a:lnTo>
                    <a:pt x="3415" y="2672"/>
                  </a:lnTo>
                  <a:lnTo>
                    <a:pt x="3415" y="2674"/>
                  </a:lnTo>
                  <a:lnTo>
                    <a:pt x="3415" y="2676"/>
                  </a:lnTo>
                  <a:lnTo>
                    <a:pt x="3412" y="2678"/>
                  </a:lnTo>
                  <a:lnTo>
                    <a:pt x="3412" y="2678"/>
                  </a:lnTo>
                  <a:lnTo>
                    <a:pt x="3412" y="2680"/>
                  </a:lnTo>
                  <a:lnTo>
                    <a:pt x="3410" y="2682"/>
                  </a:lnTo>
                  <a:lnTo>
                    <a:pt x="3410" y="2684"/>
                  </a:lnTo>
                  <a:lnTo>
                    <a:pt x="3408" y="2686"/>
                  </a:lnTo>
                  <a:lnTo>
                    <a:pt x="3408" y="2686"/>
                  </a:lnTo>
                  <a:lnTo>
                    <a:pt x="3406" y="2688"/>
                  </a:lnTo>
                  <a:lnTo>
                    <a:pt x="3406" y="2690"/>
                  </a:lnTo>
                  <a:lnTo>
                    <a:pt x="3406" y="2692"/>
                  </a:lnTo>
                  <a:lnTo>
                    <a:pt x="3404" y="2694"/>
                  </a:lnTo>
                  <a:lnTo>
                    <a:pt x="3404" y="2696"/>
                  </a:lnTo>
                  <a:lnTo>
                    <a:pt x="3402" y="2696"/>
                  </a:lnTo>
                  <a:lnTo>
                    <a:pt x="3402" y="2698"/>
                  </a:lnTo>
                  <a:lnTo>
                    <a:pt x="3400" y="2698"/>
                  </a:lnTo>
                  <a:lnTo>
                    <a:pt x="3400" y="2700"/>
                  </a:lnTo>
                  <a:lnTo>
                    <a:pt x="3397" y="2702"/>
                  </a:lnTo>
                  <a:lnTo>
                    <a:pt x="3397" y="2704"/>
                  </a:lnTo>
                  <a:lnTo>
                    <a:pt x="3395" y="2706"/>
                  </a:lnTo>
                  <a:lnTo>
                    <a:pt x="3395" y="2706"/>
                  </a:lnTo>
                  <a:lnTo>
                    <a:pt x="3393" y="2708"/>
                  </a:lnTo>
                  <a:lnTo>
                    <a:pt x="3393" y="2710"/>
                  </a:lnTo>
                  <a:lnTo>
                    <a:pt x="3393" y="2712"/>
                  </a:lnTo>
                  <a:lnTo>
                    <a:pt x="3391" y="2714"/>
                  </a:lnTo>
                  <a:lnTo>
                    <a:pt x="3391" y="2714"/>
                  </a:lnTo>
                  <a:lnTo>
                    <a:pt x="3391" y="2716"/>
                  </a:lnTo>
                  <a:lnTo>
                    <a:pt x="3391" y="2718"/>
                  </a:lnTo>
                  <a:lnTo>
                    <a:pt x="3389" y="2720"/>
                  </a:lnTo>
                  <a:lnTo>
                    <a:pt x="3389" y="2722"/>
                  </a:lnTo>
                  <a:lnTo>
                    <a:pt x="3387" y="2724"/>
                  </a:lnTo>
                  <a:lnTo>
                    <a:pt x="3387" y="2726"/>
                  </a:lnTo>
                  <a:lnTo>
                    <a:pt x="3387" y="2728"/>
                  </a:lnTo>
                  <a:lnTo>
                    <a:pt x="3385" y="2728"/>
                  </a:lnTo>
                  <a:lnTo>
                    <a:pt x="3385" y="2730"/>
                  </a:lnTo>
                  <a:lnTo>
                    <a:pt x="3382" y="2732"/>
                  </a:lnTo>
                  <a:lnTo>
                    <a:pt x="3382" y="2734"/>
                  </a:lnTo>
                  <a:lnTo>
                    <a:pt x="3382" y="2736"/>
                  </a:lnTo>
                  <a:lnTo>
                    <a:pt x="3382" y="2738"/>
                  </a:lnTo>
                  <a:lnTo>
                    <a:pt x="3382" y="2740"/>
                  </a:lnTo>
                  <a:lnTo>
                    <a:pt x="3380" y="2742"/>
                  </a:lnTo>
                  <a:lnTo>
                    <a:pt x="3380" y="2744"/>
                  </a:lnTo>
                  <a:lnTo>
                    <a:pt x="3380" y="2744"/>
                  </a:lnTo>
                  <a:lnTo>
                    <a:pt x="3380" y="2746"/>
                  </a:lnTo>
                  <a:lnTo>
                    <a:pt x="3380" y="2748"/>
                  </a:lnTo>
                  <a:lnTo>
                    <a:pt x="3380" y="2750"/>
                  </a:lnTo>
                  <a:lnTo>
                    <a:pt x="3380" y="2750"/>
                  </a:lnTo>
                  <a:lnTo>
                    <a:pt x="3380" y="2752"/>
                  </a:lnTo>
                  <a:lnTo>
                    <a:pt x="3378" y="2754"/>
                  </a:lnTo>
                  <a:lnTo>
                    <a:pt x="3378" y="2754"/>
                  </a:lnTo>
                  <a:lnTo>
                    <a:pt x="3376" y="2756"/>
                  </a:lnTo>
                  <a:lnTo>
                    <a:pt x="3376" y="2758"/>
                  </a:lnTo>
                  <a:lnTo>
                    <a:pt x="3374" y="2760"/>
                  </a:lnTo>
                  <a:lnTo>
                    <a:pt x="3374" y="2762"/>
                  </a:lnTo>
                  <a:lnTo>
                    <a:pt x="3372" y="2762"/>
                  </a:lnTo>
                  <a:lnTo>
                    <a:pt x="3372" y="2764"/>
                  </a:lnTo>
                  <a:lnTo>
                    <a:pt x="3369" y="2766"/>
                  </a:lnTo>
                  <a:lnTo>
                    <a:pt x="3369" y="2768"/>
                  </a:lnTo>
                  <a:lnTo>
                    <a:pt x="3369" y="2770"/>
                  </a:lnTo>
                  <a:lnTo>
                    <a:pt x="3367" y="2770"/>
                  </a:lnTo>
                  <a:lnTo>
                    <a:pt x="3367" y="2772"/>
                  </a:lnTo>
                  <a:lnTo>
                    <a:pt x="3367" y="2774"/>
                  </a:lnTo>
                  <a:lnTo>
                    <a:pt x="3367" y="2776"/>
                  </a:lnTo>
                  <a:lnTo>
                    <a:pt x="3367" y="2778"/>
                  </a:lnTo>
                  <a:lnTo>
                    <a:pt x="3365" y="2778"/>
                  </a:lnTo>
                  <a:lnTo>
                    <a:pt x="3365" y="2778"/>
                  </a:lnTo>
                  <a:lnTo>
                    <a:pt x="3365" y="2780"/>
                  </a:lnTo>
                  <a:lnTo>
                    <a:pt x="3363" y="2780"/>
                  </a:lnTo>
                  <a:lnTo>
                    <a:pt x="3361" y="2782"/>
                  </a:lnTo>
                  <a:lnTo>
                    <a:pt x="3361" y="2782"/>
                  </a:lnTo>
                  <a:lnTo>
                    <a:pt x="3359" y="2784"/>
                  </a:lnTo>
                  <a:lnTo>
                    <a:pt x="3357" y="2786"/>
                  </a:lnTo>
                  <a:lnTo>
                    <a:pt x="3357" y="2786"/>
                  </a:lnTo>
                  <a:lnTo>
                    <a:pt x="3354" y="2788"/>
                  </a:lnTo>
                  <a:lnTo>
                    <a:pt x="3352" y="2790"/>
                  </a:lnTo>
                  <a:lnTo>
                    <a:pt x="3350" y="2792"/>
                  </a:lnTo>
                  <a:lnTo>
                    <a:pt x="3350" y="2794"/>
                  </a:lnTo>
                  <a:lnTo>
                    <a:pt x="3348" y="2794"/>
                  </a:lnTo>
                  <a:lnTo>
                    <a:pt x="3346" y="2796"/>
                  </a:lnTo>
                  <a:lnTo>
                    <a:pt x="3346" y="2798"/>
                  </a:lnTo>
                  <a:lnTo>
                    <a:pt x="3346" y="2798"/>
                  </a:lnTo>
                  <a:lnTo>
                    <a:pt x="3344" y="2800"/>
                  </a:lnTo>
                  <a:lnTo>
                    <a:pt x="3342" y="2802"/>
                  </a:lnTo>
                  <a:lnTo>
                    <a:pt x="3342" y="2804"/>
                  </a:lnTo>
                  <a:lnTo>
                    <a:pt x="3342" y="2806"/>
                  </a:lnTo>
                  <a:lnTo>
                    <a:pt x="3339" y="2808"/>
                  </a:lnTo>
                  <a:lnTo>
                    <a:pt x="3339" y="2808"/>
                  </a:lnTo>
                  <a:lnTo>
                    <a:pt x="3339" y="2810"/>
                  </a:lnTo>
                  <a:lnTo>
                    <a:pt x="3339" y="2812"/>
                  </a:lnTo>
                  <a:lnTo>
                    <a:pt x="3339" y="2814"/>
                  </a:lnTo>
                  <a:lnTo>
                    <a:pt x="3339" y="2816"/>
                  </a:lnTo>
                  <a:lnTo>
                    <a:pt x="3339" y="2818"/>
                  </a:lnTo>
                  <a:lnTo>
                    <a:pt x="3339" y="2820"/>
                  </a:lnTo>
                  <a:lnTo>
                    <a:pt x="3339" y="2822"/>
                  </a:lnTo>
                  <a:lnTo>
                    <a:pt x="3339" y="2824"/>
                  </a:lnTo>
                  <a:lnTo>
                    <a:pt x="3339" y="2826"/>
                  </a:lnTo>
                  <a:lnTo>
                    <a:pt x="3339" y="2826"/>
                  </a:lnTo>
                  <a:lnTo>
                    <a:pt x="3342" y="2828"/>
                  </a:lnTo>
                  <a:lnTo>
                    <a:pt x="3342" y="2830"/>
                  </a:lnTo>
                  <a:lnTo>
                    <a:pt x="3342" y="2832"/>
                  </a:lnTo>
                  <a:lnTo>
                    <a:pt x="3344" y="2834"/>
                  </a:lnTo>
                  <a:lnTo>
                    <a:pt x="3344" y="2836"/>
                  </a:lnTo>
                  <a:lnTo>
                    <a:pt x="3344" y="2838"/>
                  </a:lnTo>
                  <a:lnTo>
                    <a:pt x="3344" y="2838"/>
                  </a:lnTo>
                  <a:lnTo>
                    <a:pt x="3346" y="2840"/>
                  </a:lnTo>
                  <a:lnTo>
                    <a:pt x="3346" y="2842"/>
                  </a:lnTo>
                  <a:lnTo>
                    <a:pt x="3346" y="2844"/>
                  </a:lnTo>
                  <a:lnTo>
                    <a:pt x="3346" y="2846"/>
                  </a:lnTo>
                  <a:lnTo>
                    <a:pt x="3348" y="2848"/>
                  </a:lnTo>
                  <a:lnTo>
                    <a:pt x="3348" y="2850"/>
                  </a:lnTo>
                  <a:lnTo>
                    <a:pt x="3350" y="2850"/>
                  </a:lnTo>
                  <a:lnTo>
                    <a:pt x="3350" y="2852"/>
                  </a:lnTo>
                  <a:lnTo>
                    <a:pt x="3352" y="2854"/>
                  </a:lnTo>
                  <a:lnTo>
                    <a:pt x="3352" y="2856"/>
                  </a:lnTo>
                  <a:lnTo>
                    <a:pt x="3352" y="2858"/>
                  </a:lnTo>
                  <a:lnTo>
                    <a:pt x="3352" y="2858"/>
                  </a:lnTo>
                  <a:lnTo>
                    <a:pt x="3350" y="2860"/>
                  </a:lnTo>
                  <a:lnTo>
                    <a:pt x="3348" y="2862"/>
                  </a:lnTo>
                  <a:lnTo>
                    <a:pt x="3348" y="2864"/>
                  </a:lnTo>
                  <a:lnTo>
                    <a:pt x="3348" y="2864"/>
                  </a:lnTo>
                  <a:lnTo>
                    <a:pt x="3346" y="2866"/>
                  </a:lnTo>
                  <a:lnTo>
                    <a:pt x="3346" y="2868"/>
                  </a:lnTo>
                  <a:lnTo>
                    <a:pt x="3346" y="2870"/>
                  </a:lnTo>
                  <a:lnTo>
                    <a:pt x="3344" y="2872"/>
                  </a:lnTo>
                  <a:lnTo>
                    <a:pt x="3342" y="2872"/>
                  </a:lnTo>
                  <a:lnTo>
                    <a:pt x="3342" y="2874"/>
                  </a:lnTo>
                  <a:lnTo>
                    <a:pt x="3339" y="2876"/>
                  </a:lnTo>
                  <a:lnTo>
                    <a:pt x="3339" y="2878"/>
                  </a:lnTo>
                  <a:lnTo>
                    <a:pt x="3337" y="2880"/>
                  </a:lnTo>
                  <a:lnTo>
                    <a:pt x="3337" y="2880"/>
                  </a:lnTo>
                  <a:lnTo>
                    <a:pt x="3335" y="2882"/>
                  </a:lnTo>
                  <a:lnTo>
                    <a:pt x="3333" y="2882"/>
                  </a:lnTo>
                  <a:lnTo>
                    <a:pt x="3333" y="2884"/>
                  </a:lnTo>
                  <a:lnTo>
                    <a:pt x="3331" y="2886"/>
                  </a:lnTo>
                  <a:lnTo>
                    <a:pt x="3331" y="2888"/>
                  </a:lnTo>
                  <a:lnTo>
                    <a:pt x="3329" y="2890"/>
                  </a:lnTo>
                  <a:lnTo>
                    <a:pt x="3329" y="2890"/>
                  </a:lnTo>
                  <a:lnTo>
                    <a:pt x="3327" y="2892"/>
                  </a:lnTo>
                  <a:lnTo>
                    <a:pt x="3327" y="2894"/>
                  </a:lnTo>
                  <a:lnTo>
                    <a:pt x="3324" y="2896"/>
                  </a:lnTo>
                  <a:lnTo>
                    <a:pt x="3324" y="2898"/>
                  </a:lnTo>
                  <a:lnTo>
                    <a:pt x="3324" y="2898"/>
                  </a:lnTo>
                  <a:lnTo>
                    <a:pt x="3322" y="2900"/>
                  </a:lnTo>
                  <a:lnTo>
                    <a:pt x="3322" y="2902"/>
                  </a:lnTo>
                  <a:lnTo>
                    <a:pt x="3322" y="2904"/>
                  </a:lnTo>
                  <a:lnTo>
                    <a:pt x="3320" y="2906"/>
                  </a:lnTo>
                  <a:lnTo>
                    <a:pt x="3320" y="2908"/>
                  </a:lnTo>
                  <a:lnTo>
                    <a:pt x="3318" y="2908"/>
                  </a:lnTo>
                  <a:lnTo>
                    <a:pt x="3318" y="2910"/>
                  </a:lnTo>
                  <a:lnTo>
                    <a:pt x="3316" y="2912"/>
                  </a:lnTo>
                  <a:lnTo>
                    <a:pt x="3316" y="2914"/>
                  </a:lnTo>
                  <a:lnTo>
                    <a:pt x="3314" y="2916"/>
                  </a:lnTo>
                  <a:lnTo>
                    <a:pt x="3314" y="2916"/>
                  </a:lnTo>
                  <a:lnTo>
                    <a:pt x="3314" y="2918"/>
                  </a:lnTo>
                  <a:lnTo>
                    <a:pt x="3312" y="2920"/>
                  </a:lnTo>
                  <a:lnTo>
                    <a:pt x="3312" y="2922"/>
                  </a:lnTo>
                  <a:lnTo>
                    <a:pt x="3312" y="2924"/>
                  </a:lnTo>
                  <a:lnTo>
                    <a:pt x="3312" y="2926"/>
                  </a:lnTo>
                  <a:lnTo>
                    <a:pt x="3312" y="2928"/>
                  </a:lnTo>
                  <a:lnTo>
                    <a:pt x="3312" y="2930"/>
                  </a:lnTo>
                  <a:lnTo>
                    <a:pt x="3309" y="2932"/>
                  </a:lnTo>
                  <a:lnTo>
                    <a:pt x="3309" y="2934"/>
                  </a:lnTo>
                  <a:lnTo>
                    <a:pt x="3312" y="2934"/>
                  </a:lnTo>
                  <a:lnTo>
                    <a:pt x="3312" y="2936"/>
                  </a:lnTo>
                  <a:lnTo>
                    <a:pt x="3312" y="2938"/>
                  </a:lnTo>
                  <a:lnTo>
                    <a:pt x="3312" y="2940"/>
                  </a:lnTo>
                  <a:lnTo>
                    <a:pt x="3312" y="2942"/>
                  </a:lnTo>
                  <a:lnTo>
                    <a:pt x="3312" y="2944"/>
                  </a:lnTo>
                  <a:lnTo>
                    <a:pt x="3314" y="2946"/>
                  </a:lnTo>
                  <a:lnTo>
                    <a:pt x="3314" y="2948"/>
                  </a:lnTo>
                  <a:lnTo>
                    <a:pt x="3316" y="2948"/>
                  </a:lnTo>
                  <a:lnTo>
                    <a:pt x="3316" y="2950"/>
                  </a:lnTo>
                  <a:lnTo>
                    <a:pt x="3318" y="2952"/>
                  </a:lnTo>
                  <a:lnTo>
                    <a:pt x="3320" y="2952"/>
                  </a:lnTo>
                  <a:lnTo>
                    <a:pt x="3322" y="2954"/>
                  </a:lnTo>
                  <a:lnTo>
                    <a:pt x="3322" y="2954"/>
                  </a:lnTo>
                  <a:lnTo>
                    <a:pt x="3324" y="2956"/>
                  </a:lnTo>
                  <a:lnTo>
                    <a:pt x="3327" y="2956"/>
                  </a:lnTo>
                  <a:lnTo>
                    <a:pt x="3329" y="2958"/>
                  </a:lnTo>
                  <a:lnTo>
                    <a:pt x="3327" y="2960"/>
                  </a:lnTo>
                  <a:lnTo>
                    <a:pt x="3327" y="2962"/>
                  </a:lnTo>
                  <a:lnTo>
                    <a:pt x="3327" y="2964"/>
                  </a:lnTo>
                  <a:lnTo>
                    <a:pt x="3327" y="2966"/>
                  </a:lnTo>
                  <a:lnTo>
                    <a:pt x="3327" y="2966"/>
                  </a:lnTo>
                  <a:lnTo>
                    <a:pt x="3327" y="2968"/>
                  </a:lnTo>
                  <a:lnTo>
                    <a:pt x="3327" y="2970"/>
                  </a:lnTo>
                  <a:lnTo>
                    <a:pt x="3327" y="2972"/>
                  </a:lnTo>
                  <a:lnTo>
                    <a:pt x="3327" y="2974"/>
                  </a:lnTo>
                  <a:lnTo>
                    <a:pt x="3327" y="2976"/>
                  </a:lnTo>
                  <a:lnTo>
                    <a:pt x="3329" y="2978"/>
                  </a:lnTo>
                  <a:lnTo>
                    <a:pt x="3329" y="2978"/>
                  </a:lnTo>
                  <a:lnTo>
                    <a:pt x="3329" y="2980"/>
                  </a:lnTo>
                  <a:lnTo>
                    <a:pt x="3331" y="2982"/>
                  </a:lnTo>
                  <a:lnTo>
                    <a:pt x="3333" y="2984"/>
                  </a:lnTo>
                  <a:lnTo>
                    <a:pt x="3333" y="2984"/>
                  </a:lnTo>
                  <a:lnTo>
                    <a:pt x="3335" y="2986"/>
                  </a:lnTo>
                  <a:lnTo>
                    <a:pt x="3337" y="2986"/>
                  </a:lnTo>
                  <a:lnTo>
                    <a:pt x="3339" y="2988"/>
                  </a:lnTo>
                  <a:lnTo>
                    <a:pt x="3339" y="2988"/>
                  </a:lnTo>
                  <a:lnTo>
                    <a:pt x="3342" y="2990"/>
                  </a:lnTo>
                  <a:lnTo>
                    <a:pt x="3344" y="2990"/>
                  </a:lnTo>
                  <a:lnTo>
                    <a:pt x="3346" y="2990"/>
                  </a:lnTo>
                  <a:lnTo>
                    <a:pt x="3348" y="2992"/>
                  </a:lnTo>
                  <a:lnTo>
                    <a:pt x="3350" y="2992"/>
                  </a:lnTo>
                  <a:lnTo>
                    <a:pt x="3350" y="2994"/>
                  </a:lnTo>
                  <a:lnTo>
                    <a:pt x="3352" y="2994"/>
                  </a:lnTo>
                  <a:lnTo>
                    <a:pt x="3354" y="2994"/>
                  </a:lnTo>
                  <a:lnTo>
                    <a:pt x="3357" y="2996"/>
                  </a:lnTo>
                  <a:lnTo>
                    <a:pt x="3359" y="2996"/>
                  </a:lnTo>
                  <a:lnTo>
                    <a:pt x="3361" y="2996"/>
                  </a:lnTo>
                  <a:lnTo>
                    <a:pt x="3363" y="2996"/>
                  </a:lnTo>
                  <a:lnTo>
                    <a:pt x="3365" y="2996"/>
                  </a:lnTo>
                  <a:lnTo>
                    <a:pt x="3367" y="2998"/>
                  </a:lnTo>
                  <a:lnTo>
                    <a:pt x="3369" y="2998"/>
                  </a:lnTo>
                  <a:lnTo>
                    <a:pt x="3369" y="2996"/>
                  </a:lnTo>
                  <a:lnTo>
                    <a:pt x="3372" y="2996"/>
                  </a:lnTo>
                  <a:lnTo>
                    <a:pt x="3374" y="2996"/>
                  </a:lnTo>
                  <a:lnTo>
                    <a:pt x="3376" y="2996"/>
                  </a:lnTo>
                  <a:lnTo>
                    <a:pt x="3378" y="2996"/>
                  </a:lnTo>
                  <a:lnTo>
                    <a:pt x="3380" y="2996"/>
                  </a:lnTo>
                  <a:lnTo>
                    <a:pt x="3382" y="2996"/>
                  </a:lnTo>
                  <a:lnTo>
                    <a:pt x="3385" y="2996"/>
                  </a:lnTo>
                  <a:lnTo>
                    <a:pt x="3387" y="2994"/>
                  </a:lnTo>
                  <a:lnTo>
                    <a:pt x="3389" y="2994"/>
                  </a:lnTo>
                  <a:lnTo>
                    <a:pt x="3391" y="2996"/>
                  </a:lnTo>
                  <a:lnTo>
                    <a:pt x="3393" y="2996"/>
                  </a:lnTo>
                  <a:lnTo>
                    <a:pt x="3393" y="2996"/>
                  </a:lnTo>
                  <a:lnTo>
                    <a:pt x="3395" y="2996"/>
                  </a:lnTo>
                  <a:lnTo>
                    <a:pt x="3397" y="2996"/>
                  </a:lnTo>
                  <a:lnTo>
                    <a:pt x="3400" y="2996"/>
                  </a:lnTo>
                  <a:lnTo>
                    <a:pt x="3402" y="2996"/>
                  </a:lnTo>
                  <a:lnTo>
                    <a:pt x="3404" y="2994"/>
                  </a:lnTo>
                  <a:lnTo>
                    <a:pt x="3406" y="2994"/>
                  </a:lnTo>
                  <a:lnTo>
                    <a:pt x="3408" y="2992"/>
                  </a:lnTo>
                  <a:lnTo>
                    <a:pt x="3408" y="2992"/>
                  </a:lnTo>
                  <a:lnTo>
                    <a:pt x="3410" y="2992"/>
                  </a:lnTo>
                  <a:lnTo>
                    <a:pt x="3412" y="2992"/>
                  </a:lnTo>
                  <a:lnTo>
                    <a:pt x="3415" y="2992"/>
                  </a:lnTo>
                  <a:lnTo>
                    <a:pt x="3417" y="2994"/>
                  </a:lnTo>
                  <a:lnTo>
                    <a:pt x="3417" y="2994"/>
                  </a:lnTo>
                  <a:lnTo>
                    <a:pt x="3419" y="2996"/>
                  </a:lnTo>
                  <a:lnTo>
                    <a:pt x="3421" y="2998"/>
                  </a:lnTo>
                  <a:lnTo>
                    <a:pt x="3421" y="2998"/>
                  </a:lnTo>
                  <a:lnTo>
                    <a:pt x="3423" y="3000"/>
                  </a:lnTo>
                  <a:lnTo>
                    <a:pt x="3425" y="3000"/>
                  </a:lnTo>
                  <a:lnTo>
                    <a:pt x="3427" y="3002"/>
                  </a:lnTo>
                  <a:lnTo>
                    <a:pt x="3430" y="3002"/>
                  </a:lnTo>
                  <a:lnTo>
                    <a:pt x="3430" y="3004"/>
                  </a:lnTo>
                  <a:lnTo>
                    <a:pt x="3432" y="3006"/>
                  </a:lnTo>
                  <a:lnTo>
                    <a:pt x="3432" y="3006"/>
                  </a:lnTo>
                  <a:lnTo>
                    <a:pt x="3434" y="3008"/>
                  </a:lnTo>
                  <a:lnTo>
                    <a:pt x="3434" y="3010"/>
                  </a:lnTo>
                  <a:lnTo>
                    <a:pt x="3434" y="3012"/>
                  </a:lnTo>
                  <a:lnTo>
                    <a:pt x="3436" y="3014"/>
                  </a:lnTo>
                  <a:lnTo>
                    <a:pt x="3438" y="3014"/>
                  </a:lnTo>
                  <a:lnTo>
                    <a:pt x="3438" y="3016"/>
                  </a:lnTo>
                  <a:lnTo>
                    <a:pt x="3440" y="3017"/>
                  </a:lnTo>
                  <a:lnTo>
                    <a:pt x="3443" y="3017"/>
                  </a:lnTo>
                  <a:lnTo>
                    <a:pt x="3443" y="3019"/>
                  </a:lnTo>
                  <a:lnTo>
                    <a:pt x="3445" y="3019"/>
                  </a:lnTo>
                  <a:lnTo>
                    <a:pt x="3447" y="3021"/>
                  </a:lnTo>
                  <a:lnTo>
                    <a:pt x="3449" y="3021"/>
                  </a:lnTo>
                  <a:lnTo>
                    <a:pt x="3449" y="3023"/>
                  </a:lnTo>
                  <a:lnTo>
                    <a:pt x="3451" y="3023"/>
                  </a:lnTo>
                  <a:lnTo>
                    <a:pt x="3453" y="3025"/>
                  </a:lnTo>
                  <a:lnTo>
                    <a:pt x="3455" y="3025"/>
                  </a:lnTo>
                  <a:lnTo>
                    <a:pt x="3458" y="3025"/>
                  </a:lnTo>
                  <a:lnTo>
                    <a:pt x="3460" y="3027"/>
                  </a:lnTo>
                  <a:lnTo>
                    <a:pt x="3460" y="3027"/>
                  </a:lnTo>
                  <a:lnTo>
                    <a:pt x="3462" y="3027"/>
                  </a:lnTo>
                  <a:lnTo>
                    <a:pt x="3464" y="3029"/>
                  </a:lnTo>
                  <a:lnTo>
                    <a:pt x="3466" y="3029"/>
                  </a:lnTo>
                  <a:lnTo>
                    <a:pt x="3468" y="3031"/>
                  </a:lnTo>
                  <a:lnTo>
                    <a:pt x="3468" y="3031"/>
                  </a:lnTo>
                  <a:lnTo>
                    <a:pt x="3470" y="3031"/>
                  </a:lnTo>
                  <a:lnTo>
                    <a:pt x="3473" y="3033"/>
                  </a:lnTo>
                  <a:lnTo>
                    <a:pt x="3475" y="3033"/>
                  </a:lnTo>
                  <a:lnTo>
                    <a:pt x="3477" y="3033"/>
                  </a:lnTo>
                  <a:lnTo>
                    <a:pt x="3477" y="3035"/>
                  </a:lnTo>
                  <a:lnTo>
                    <a:pt x="3479" y="3037"/>
                  </a:lnTo>
                  <a:lnTo>
                    <a:pt x="3481" y="3037"/>
                  </a:lnTo>
                  <a:lnTo>
                    <a:pt x="3483" y="3037"/>
                  </a:lnTo>
                  <a:lnTo>
                    <a:pt x="3485" y="3039"/>
                  </a:lnTo>
                  <a:lnTo>
                    <a:pt x="3488" y="3039"/>
                  </a:lnTo>
                  <a:lnTo>
                    <a:pt x="3490" y="3039"/>
                  </a:lnTo>
                  <a:lnTo>
                    <a:pt x="3490" y="3039"/>
                  </a:lnTo>
                  <a:lnTo>
                    <a:pt x="3492" y="3039"/>
                  </a:lnTo>
                  <a:lnTo>
                    <a:pt x="3494" y="3039"/>
                  </a:lnTo>
                  <a:lnTo>
                    <a:pt x="3496" y="3039"/>
                  </a:lnTo>
                  <a:lnTo>
                    <a:pt x="3498" y="3041"/>
                  </a:lnTo>
                  <a:lnTo>
                    <a:pt x="3501" y="3041"/>
                  </a:lnTo>
                  <a:lnTo>
                    <a:pt x="3503" y="3041"/>
                  </a:lnTo>
                  <a:lnTo>
                    <a:pt x="3505" y="3041"/>
                  </a:lnTo>
                  <a:lnTo>
                    <a:pt x="3507" y="3041"/>
                  </a:lnTo>
                  <a:lnTo>
                    <a:pt x="3507" y="3043"/>
                  </a:lnTo>
                  <a:lnTo>
                    <a:pt x="3509" y="3045"/>
                  </a:lnTo>
                  <a:lnTo>
                    <a:pt x="3509" y="3045"/>
                  </a:lnTo>
                  <a:lnTo>
                    <a:pt x="3511" y="3047"/>
                  </a:lnTo>
                  <a:lnTo>
                    <a:pt x="3511" y="3049"/>
                  </a:lnTo>
                  <a:lnTo>
                    <a:pt x="3511" y="3051"/>
                  </a:lnTo>
                  <a:lnTo>
                    <a:pt x="3513" y="3053"/>
                  </a:lnTo>
                  <a:lnTo>
                    <a:pt x="3513" y="3055"/>
                  </a:lnTo>
                  <a:lnTo>
                    <a:pt x="3516" y="3055"/>
                  </a:lnTo>
                  <a:lnTo>
                    <a:pt x="3516" y="3057"/>
                  </a:lnTo>
                  <a:lnTo>
                    <a:pt x="3518" y="3059"/>
                  </a:lnTo>
                  <a:lnTo>
                    <a:pt x="3520" y="3059"/>
                  </a:lnTo>
                  <a:lnTo>
                    <a:pt x="3522" y="3061"/>
                  </a:lnTo>
                  <a:lnTo>
                    <a:pt x="3522" y="3061"/>
                  </a:lnTo>
                  <a:lnTo>
                    <a:pt x="3524" y="3063"/>
                  </a:lnTo>
                  <a:lnTo>
                    <a:pt x="3526" y="3063"/>
                  </a:lnTo>
                  <a:lnTo>
                    <a:pt x="3528" y="3065"/>
                  </a:lnTo>
                  <a:lnTo>
                    <a:pt x="3528" y="3065"/>
                  </a:lnTo>
                  <a:lnTo>
                    <a:pt x="3531" y="3067"/>
                  </a:lnTo>
                  <a:lnTo>
                    <a:pt x="3533" y="3067"/>
                  </a:lnTo>
                  <a:lnTo>
                    <a:pt x="3535" y="3067"/>
                  </a:lnTo>
                  <a:lnTo>
                    <a:pt x="3537" y="3069"/>
                  </a:lnTo>
                  <a:lnTo>
                    <a:pt x="3539" y="3069"/>
                  </a:lnTo>
                  <a:lnTo>
                    <a:pt x="3539" y="3069"/>
                  </a:lnTo>
                  <a:lnTo>
                    <a:pt x="3541" y="3071"/>
                  </a:lnTo>
                  <a:lnTo>
                    <a:pt x="3543" y="3071"/>
                  </a:lnTo>
                  <a:lnTo>
                    <a:pt x="3546" y="3071"/>
                  </a:lnTo>
                  <a:lnTo>
                    <a:pt x="3548" y="3071"/>
                  </a:lnTo>
                  <a:lnTo>
                    <a:pt x="3550" y="3073"/>
                  </a:lnTo>
                  <a:lnTo>
                    <a:pt x="3552" y="3073"/>
                  </a:lnTo>
                  <a:lnTo>
                    <a:pt x="3554" y="3071"/>
                  </a:lnTo>
                  <a:lnTo>
                    <a:pt x="3556" y="3071"/>
                  </a:lnTo>
                  <a:lnTo>
                    <a:pt x="3556" y="3073"/>
                  </a:lnTo>
                  <a:lnTo>
                    <a:pt x="3554" y="3075"/>
                  </a:lnTo>
                  <a:lnTo>
                    <a:pt x="3554" y="3077"/>
                  </a:lnTo>
                  <a:lnTo>
                    <a:pt x="3554" y="3077"/>
                  </a:lnTo>
                  <a:lnTo>
                    <a:pt x="3552" y="3079"/>
                  </a:lnTo>
                  <a:lnTo>
                    <a:pt x="3552" y="3081"/>
                  </a:lnTo>
                  <a:lnTo>
                    <a:pt x="3550" y="3083"/>
                  </a:lnTo>
                  <a:lnTo>
                    <a:pt x="3550" y="3085"/>
                  </a:lnTo>
                  <a:lnTo>
                    <a:pt x="3550" y="3087"/>
                  </a:lnTo>
                  <a:lnTo>
                    <a:pt x="3550" y="3089"/>
                  </a:lnTo>
                  <a:lnTo>
                    <a:pt x="3550" y="3089"/>
                  </a:lnTo>
                  <a:lnTo>
                    <a:pt x="3550" y="3091"/>
                  </a:lnTo>
                  <a:lnTo>
                    <a:pt x="3548" y="3093"/>
                  </a:lnTo>
                  <a:lnTo>
                    <a:pt x="3548" y="3095"/>
                  </a:lnTo>
                  <a:lnTo>
                    <a:pt x="3548" y="3097"/>
                  </a:lnTo>
                  <a:lnTo>
                    <a:pt x="3548" y="3099"/>
                  </a:lnTo>
                  <a:lnTo>
                    <a:pt x="3546" y="3101"/>
                  </a:lnTo>
                  <a:lnTo>
                    <a:pt x="3546" y="3103"/>
                  </a:lnTo>
                  <a:lnTo>
                    <a:pt x="3546" y="3105"/>
                  </a:lnTo>
                  <a:lnTo>
                    <a:pt x="3543" y="3105"/>
                  </a:lnTo>
                  <a:lnTo>
                    <a:pt x="3543" y="3107"/>
                  </a:lnTo>
                  <a:lnTo>
                    <a:pt x="3543" y="3109"/>
                  </a:lnTo>
                  <a:lnTo>
                    <a:pt x="3543" y="3111"/>
                  </a:lnTo>
                  <a:lnTo>
                    <a:pt x="3543" y="3113"/>
                  </a:lnTo>
                  <a:lnTo>
                    <a:pt x="3543" y="3115"/>
                  </a:lnTo>
                  <a:lnTo>
                    <a:pt x="3543" y="3117"/>
                  </a:lnTo>
                  <a:lnTo>
                    <a:pt x="3543" y="3119"/>
                  </a:lnTo>
                  <a:lnTo>
                    <a:pt x="3546" y="3121"/>
                  </a:lnTo>
                  <a:lnTo>
                    <a:pt x="3543" y="3123"/>
                  </a:lnTo>
                  <a:lnTo>
                    <a:pt x="3543" y="3125"/>
                  </a:lnTo>
                  <a:lnTo>
                    <a:pt x="3543" y="3127"/>
                  </a:lnTo>
                  <a:lnTo>
                    <a:pt x="3543" y="3127"/>
                  </a:lnTo>
                  <a:lnTo>
                    <a:pt x="3543" y="3129"/>
                  </a:lnTo>
                  <a:lnTo>
                    <a:pt x="3543" y="3131"/>
                  </a:lnTo>
                  <a:lnTo>
                    <a:pt x="3543" y="3133"/>
                  </a:lnTo>
                  <a:lnTo>
                    <a:pt x="3546" y="3135"/>
                  </a:lnTo>
                  <a:lnTo>
                    <a:pt x="3546" y="3137"/>
                  </a:lnTo>
                  <a:lnTo>
                    <a:pt x="3548" y="3139"/>
                  </a:lnTo>
                  <a:lnTo>
                    <a:pt x="3548" y="3139"/>
                  </a:lnTo>
                  <a:lnTo>
                    <a:pt x="3550" y="3141"/>
                  </a:lnTo>
                  <a:lnTo>
                    <a:pt x="3550" y="3143"/>
                  </a:lnTo>
                  <a:lnTo>
                    <a:pt x="3552" y="3145"/>
                  </a:lnTo>
                  <a:lnTo>
                    <a:pt x="3552" y="3145"/>
                  </a:lnTo>
                  <a:lnTo>
                    <a:pt x="3554" y="3147"/>
                  </a:lnTo>
                  <a:lnTo>
                    <a:pt x="3556" y="3147"/>
                  </a:lnTo>
                  <a:lnTo>
                    <a:pt x="3558" y="3149"/>
                  </a:lnTo>
                  <a:lnTo>
                    <a:pt x="3558" y="3151"/>
                  </a:lnTo>
                  <a:lnTo>
                    <a:pt x="3561" y="3151"/>
                  </a:lnTo>
                  <a:lnTo>
                    <a:pt x="3561" y="3153"/>
                  </a:lnTo>
                  <a:lnTo>
                    <a:pt x="3561" y="3155"/>
                  </a:lnTo>
                  <a:lnTo>
                    <a:pt x="3561" y="3157"/>
                  </a:lnTo>
                  <a:lnTo>
                    <a:pt x="3561" y="3159"/>
                  </a:lnTo>
                  <a:lnTo>
                    <a:pt x="3558" y="3161"/>
                  </a:lnTo>
                  <a:lnTo>
                    <a:pt x="3558" y="3163"/>
                  </a:lnTo>
                  <a:lnTo>
                    <a:pt x="3558" y="3163"/>
                  </a:lnTo>
                  <a:lnTo>
                    <a:pt x="3556" y="3165"/>
                  </a:lnTo>
                  <a:lnTo>
                    <a:pt x="3556" y="3167"/>
                  </a:lnTo>
                  <a:lnTo>
                    <a:pt x="3556" y="3169"/>
                  </a:lnTo>
                  <a:lnTo>
                    <a:pt x="3554" y="3171"/>
                  </a:lnTo>
                  <a:lnTo>
                    <a:pt x="3554" y="3173"/>
                  </a:lnTo>
                  <a:lnTo>
                    <a:pt x="3554" y="3175"/>
                  </a:lnTo>
                  <a:lnTo>
                    <a:pt x="3552" y="3177"/>
                  </a:lnTo>
                  <a:lnTo>
                    <a:pt x="3552" y="3177"/>
                  </a:lnTo>
                  <a:lnTo>
                    <a:pt x="3552" y="3179"/>
                  </a:lnTo>
                  <a:lnTo>
                    <a:pt x="3552" y="3181"/>
                  </a:lnTo>
                  <a:lnTo>
                    <a:pt x="3552" y="3183"/>
                  </a:lnTo>
                  <a:lnTo>
                    <a:pt x="3552" y="3185"/>
                  </a:lnTo>
                  <a:lnTo>
                    <a:pt x="3552" y="3187"/>
                  </a:lnTo>
                  <a:lnTo>
                    <a:pt x="3552" y="3189"/>
                  </a:lnTo>
                  <a:lnTo>
                    <a:pt x="3552" y="3191"/>
                  </a:lnTo>
                  <a:lnTo>
                    <a:pt x="3552" y="3193"/>
                  </a:lnTo>
                  <a:lnTo>
                    <a:pt x="3552" y="3195"/>
                  </a:lnTo>
                  <a:lnTo>
                    <a:pt x="3552" y="3197"/>
                  </a:lnTo>
                  <a:lnTo>
                    <a:pt x="3552" y="3199"/>
                  </a:lnTo>
                  <a:lnTo>
                    <a:pt x="3552" y="3199"/>
                  </a:lnTo>
                  <a:lnTo>
                    <a:pt x="3554" y="3201"/>
                  </a:lnTo>
                  <a:lnTo>
                    <a:pt x="3554" y="3203"/>
                  </a:lnTo>
                  <a:lnTo>
                    <a:pt x="3556" y="3203"/>
                  </a:lnTo>
                  <a:lnTo>
                    <a:pt x="3558" y="3205"/>
                  </a:lnTo>
                  <a:lnTo>
                    <a:pt x="3561" y="3203"/>
                  </a:lnTo>
                  <a:lnTo>
                    <a:pt x="3561" y="3203"/>
                  </a:lnTo>
                  <a:lnTo>
                    <a:pt x="3561" y="3203"/>
                  </a:lnTo>
                  <a:lnTo>
                    <a:pt x="3561" y="3201"/>
                  </a:lnTo>
                  <a:lnTo>
                    <a:pt x="3561" y="3203"/>
                  </a:lnTo>
                  <a:lnTo>
                    <a:pt x="3561" y="3203"/>
                  </a:lnTo>
                  <a:lnTo>
                    <a:pt x="3563" y="3205"/>
                  </a:lnTo>
                  <a:lnTo>
                    <a:pt x="3563" y="3205"/>
                  </a:lnTo>
                  <a:lnTo>
                    <a:pt x="3561" y="3205"/>
                  </a:lnTo>
                  <a:lnTo>
                    <a:pt x="3561" y="3207"/>
                  </a:lnTo>
                  <a:lnTo>
                    <a:pt x="3561" y="3207"/>
                  </a:lnTo>
                  <a:lnTo>
                    <a:pt x="3561" y="3209"/>
                  </a:lnTo>
                  <a:lnTo>
                    <a:pt x="3561" y="3211"/>
                  </a:lnTo>
                  <a:lnTo>
                    <a:pt x="3561" y="3213"/>
                  </a:lnTo>
                  <a:lnTo>
                    <a:pt x="3563" y="3215"/>
                  </a:lnTo>
                  <a:lnTo>
                    <a:pt x="3563" y="3215"/>
                  </a:lnTo>
                  <a:lnTo>
                    <a:pt x="3565" y="3217"/>
                  </a:lnTo>
                  <a:lnTo>
                    <a:pt x="3567" y="3217"/>
                  </a:lnTo>
                  <a:lnTo>
                    <a:pt x="3567" y="3219"/>
                  </a:lnTo>
                  <a:lnTo>
                    <a:pt x="3569" y="3221"/>
                  </a:lnTo>
                  <a:lnTo>
                    <a:pt x="3569" y="3221"/>
                  </a:lnTo>
                  <a:lnTo>
                    <a:pt x="3571" y="3221"/>
                  </a:lnTo>
                  <a:lnTo>
                    <a:pt x="3574" y="3223"/>
                  </a:lnTo>
                  <a:lnTo>
                    <a:pt x="3576" y="3223"/>
                  </a:lnTo>
                  <a:lnTo>
                    <a:pt x="3578" y="3225"/>
                  </a:lnTo>
                  <a:lnTo>
                    <a:pt x="3580" y="3225"/>
                  </a:lnTo>
                  <a:lnTo>
                    <a:pt x="3580" y="3225"/>
                  </a:lnTo>
                  <a:lnTo>
                    <a:pt x="3582" y="3225"/>
                  </a:lnTo>
                  <a:lnTo>
                    <a:pt x="3584" y="3225"/>
                  </a:lnTo>
                  <a:lnTo>
                    <a:pt x="3586" y="3225"/>
                  </a:lnTo>
                  <a:lnTo>
                    <a:pt x="3586" y="3227"/>
                  </a:lnTo>
                  <a:lnTo>
                    <a:pt x="3586" y="3229"/>
                  </a:lnTo>
                  <a:lnTo>
                    <a:pt x="3584" y="3229"/>
                  </a:lnTo>
                  <a:lnTo>
                    <a:pt x="3582" y="3229"/>
                  </a:lnTo>
                  <a:lnTo>
                    <a:pt x="3582" y="3229"/>
                  </a:lnTo>
                  <a:lnTo>
                    <a:pt x="3582" y="3231"/>
                  </a:lnTo>
                  <a:lnTo>
                    <a:pt x="3580" y="3231"/>
                  </a:lnTo>
                  <a:lnTo>
                    <a:pt x="3580" y="3233"/>
                  </a:lnTo>
                  <a:lnTo>
                    <a:pt x="3578" y="3235"/>
                  </a:lnTo>
                  <a:lnTo>
                    <a:pt x="3578" y="3237"/>
                  </a:lnTo>
                  <a:lnTo>
                    <a:pt x="3576" y="3237"/>
                  </a:lnTo>
                  <a:lnTo>
                    <a:pt x="3576" y="3239"/>
                  </a:lnTo>
                  <a:lnTo>
                    <a:pt x="3576" y="3241"/>
                  </a:lnTo>
                  <a:lnTo>
                    <a:pt x="3574" y="3243"/>
                  </a:lnTo>
                  <a:lnTo>
                    <a:pt x="3574" y="3245"/>
                  </a:lnTo>
                  <a:lnTo>
                    <a:pt x="3574" y="3245"/>
                  </a:lnTo>
                  <a:lnTo>
                    <a:pt x="3574" y="3247"/>
                  </a:lnTo>
                  <a:lnTo>
                    <a:pt x="3574" y="3249"/>
                  </a:lnTo>
                  <a:lnTo>
                    <a:pt x="3576" y="3251"/>
                  </a:lnTo>
                  <a:lnTo>
                    <a:pt x="3576" y="3253"/>
                  </a:lnTo>
                  <a:lnTo>
                    <a:pt x="3578" y="3253"/>
                  </a:lnTo>
                  <a:lnTo>
                    <a:pt x="3578" y="3255"/>
                  </a:lnTo>
                  <a:lnTo>
                    <a:pt x="3578" y="3255"/>
                  </a:lnTo>
                  <a:lnTo>
                    <a:pt x="3578" y="3257"/>
                  </a:lnTo>
                  <a:lnTo>
                    <a:pt x="3578" y="3257"/>
                  </a:lnTo>
                  <a:lnTo>
                    <a:pt x="3576" y="3259"/>
                  </a:lnTo>
                  <a:lnTo>
                    <a:pt x="3576" y="3259"/>
                  </a:lnTo>
                  <a:lnTo>
                    <a:pt x="3574" y="3259"/>
                  </a:lnTo>
                  <a:lnTo>
                    <a:pt x="3571" y="3261"/>
                  </a:lnTo>
                  <a:lnTo>
                    <a:pt x="3571" y="3263"/>
                  </a:lnTo>
                  <a:lnTo>
                    <a:pt x="3569" y="3263"/>
                  </a:lnTo>
                  <a:lnTo>
                    <a:pt x="3569" y="3265"/>
                  </a:lnTo>
                  <a:lnTo>
                    <a:pt x="3567" y="3267"/>
                  </a:lnTo>
                  <a:lnTo>
                    <a:pt x="3567" y="3269"/>
                  </a:lnTo>
                  <a:lnTo>
                    <a:pt x="3565" y="3269"/>
                  </a:lnTo>
                  <a:lnTo>
                    <a:pt x="3565" y="3271"/>
                  </a:lnTo>
                  <a:lnTo>
                    <a:pt x="3563" y="3273"/>
                  </a:lnTo>
                  <a:lnTo>
                    <a:pt x="3563" y="3273"/>
                  </a:lnTo>
                  <a:lnTo>
                    <a:pt x="3561" y="3275"/>
                  </a:lnTo>
                  <a:lnTo>
                    <a:pt x="3561" y="3277"/>
                  </a:lnTo>
                  <a:lnTo>
                    <a:pt x="3558" y="3277"/>
                  </a:lnTo>
                  <a:lnTo>
                    <a:pt x="3556" y="3279"/>
                  </a:lnTo>
                  <a:lnTo>
                    <a:pt x="3556" y="3281"/>
                  </a:lnTo>
                  <a:lnTo>
                    <a:pt x="3556" y="3281"/>
                  </a:lnTo>
                  <a:lnTo>
                    <a:pt x="3554" y="3281"/>
                  </a:lnTo>
                  <a:lnTo>
                    <a:pt x="3556" y="3283"/>
                  </a:lnTo>
                  <a:lnTo>
                    <a:pt x="3554" y="3285"/>
                  </a:lnTo>
                  <a:lnTo>
                    <a:pt x="3552" y="3283"/>
                  </a:lnTo>
                  <a:lnTo>
                    <a:pt x="3554" y="3281"/>
                  </a:lnTo>
                  <a:lnTo>
                    <a:pt x="3554" y="3279"/>
                  </a:lnTo>
                  <a:lnTo>
                    <a:pt x="3552" y="3277"/>
                  </a:lnTo>
                  <a:lnTo>
                    <a:pt x="3552" y="3277"/>
                  </a:lnTo>
                  <a:lnTo>
                    <a:pt x="3550" y="3277"/>
                  </a:lnTo>
                  <a:lnTo>
                    <a:pt x="3548" y="3277"/>
                  </a:lnTo>
                  <a:lnTo>
                    <a:pt x="3546" y="3275"/>
                  </a:lnTo>
                  <a:lnTo>
                    <a:pt x="3546" y="3275"/>
                  </a:lnTo>
                  <a:lnTo>
                    <a:pt x="3543" y="3275"/>
                  </a:lnTo>
                  <a:lnTo>
                    <a:pt x="3541" y="3275"/>
                  </a:lnTo>
                  <a:lnTo>
                    <a:pt x="3539" y="3275"/>
                  </a:lnTo>
                  <a:lnTo>
                    <a:pt x="3537" y="3275"/>
                  </a:lnTo>
                  <a:lnTo>
                    <a:pt x="3535" y="3275"/>
                  </a:lnTo>
                  <a:lnTo>
                    <a:pt x="3533" y="3275"/>
                  </a:lnTo>
                  <a:lnTo>
                    <a:pt x="3531" y="3277"/>
                  </a:lnTo>
                  <a:lnTo>
                    <a:pt x="3531" y="3279"/>
                  </a:lnTo>
                  <a:lnTo>
                    <a:pt x="3531" y="3279"/>
                  </a:lnTo>
                  <a:lnTo>
                    <a:pt x="3531" y="3281"/>
                  </a:lnTo>
                  <a:lnTo>
                    <a:pt x="3528" y="3281"/>
                  </a:lnTo>
                  <a:lnTo>
                    <a:pt x="3528" y="3279"/>
                  </a:lnTo>
                  <a:lnTo>
                    <a:pt x="3526" y="3279"/>
                  </a:lnTo>
                  <a:lnTo>
                    <a:pt x="3524" y="3279"/>
                  </a:lnTo>
                  <a:lnTo>
                    <a:pt x="3524" y="3277"/>
                  </a:lnTo>
                  <a:lnTo>
                    <a:pt x="3522" y="3275"/>
                  </a:lnTo>
                  <a:lnTo>
                    <a:pt x="3522" y="3275"/>
                  </a:lnTo>
                  <a:lnTo>
                    <a:pt x="3520" y="3273"/>
                  </a:lnTo>
                  <a:lnTo>
                    <a:pt x="3520" y="3271"/>
                  </a:lnTo>
                  <a:lnTo>
                    <a:pt x="3518" y="3271"/>
                  </a:lnTo>
                  <a:lnTo>
                    <a:pt x="3516" y="3269"/>
                  </a:lnTo>
                  <a:lnTo>
                    <a:pt x="3516" y="3269"/>
                  </a:lnTo>
                  <a:lnTo>
                    <a:pt x="3513" y="3269"/>
                  </a:lnTo>
                  <a:lnTo>
                    <a:pt x="3511" y="3269"/>
                  </a:lnTo>
                  <a:lnTo>
                    <a:pt x="3509" y="3269"/>
                  </a:lnTo>
                  <a:lnTo>
                    <a:pt x="3507" y="3269"/>
                  </a:lnTo>
                  <a:lnTo>
                    <a:pt x="3505" y="3269"/>
                  </a:lnTo>
                  <a:lnTo>
                    <a:pt x="3503" y="3269"/>
                  </a:lnTo>
                  <a:lnTo>
                    <a:pt x="3501" y="3271"/>
                  </a:lnTo>
                  <a:lnTo>
                    <a:pt x="3498" y="3271"/>
                  </a:lnTo>
                  <a:lnTo>
                    <a:pt x="3498" y="3271"/>
                  </a:lnTo>
                  <a:lnTo>
                    <a:pt x="3496" y="3271"/>
                  </a:lnTo>
                  <a:lnTo>
                    <a:pt x="3494" y="3273"/>
                  </a:lnTo>
                  <a:lnTo>
                    <a:pt x="3492" y="3273"/>
                  </a:lnTo>
                  <a:lnTo>
                    <a:pt x="3490" y="3273"/>
                  </a:lnTo>
                  <a:lnTo>
                    <a:pt x="3488" y="3273"/>
                  </a:lnTo>
                  <a:lnTo>
                    <a:pt x="3485" y="3275"/>
                  </a:lnTo>
                  <a:lnTo>
                    <a:pt x="3483" y="3275"/>
                  </a:lnTo>
                  <a:lnTo>
                    <a:pt x="3481" y="3275"/>
                  </a:lnTo>
                  <a:lnTo>
                    <a:pt x="3481" y="3277"/>
                  </a:lnTo>
                  <a:lnTo>
                    <a:pt x="3479" y="3277"/>
                  </a:lnTo>
                  <a:lnTo>
                    <a:pt x="3477" y="3277"/>
                  </a:lnTo>
                  <a:lnTo>
                    <a:pt x="3475" y="3279"/>
                  </a:lnTo>
                  <a:lnTo>
                    <a:pt x="3473" y="3279"/>
                  </a:lnTo>
                  <a:lnTo>
                    <a:pt x="3470" y="3279"/>
                  </a:lnTo>
                  <a:lnTo>
                    <a:pt x="3468" y="3281"/>
                  </a:lnTo>
                  <a:lnTo>
                    <a:pt x="3468" y="3281"/>
                  </a:lnTo>
                  <a:lnTo>
                    <a:pt x="3466" y="3281"/>
                  </a:lnTo>
                  <a:lnTo>
                    <a:pt x="3464" y="3283"/>
                  </a:lnTo>
                  <a:lnTo>
                    <a:pt x="3462" y="3283"/>
                  </a:lnTo>
                  <a:lnTo>
                    <a:pt x="3460" y="3285"/>
                  </a:lnTo>
                  <a:lnTo>
                    <a:pt x="3458" y="3285"/>
                  </a:lnTo>
                  <a:lnTo>
                    <a:pt x="3455" y="3285"/>
                  </a:lnTo>
                  <a:lnTo>
                    <a:pt x="3455" y="3287"/>
                  </a:lnTo>
                  <a:lnTo>
                    <a:pt x="3453" y="3287"/>
                  </a:lnTo>
                  <a:lnTo>
                    <a:pt x="3451" y="3289"/>
                  </a:lnTo>
                  <a:lnTo>
                    <a:pt x="3449" y="3289"/>
                  </a:lnTo>
                  <a:lnTo>
                    <a:pt x="3447" y="3291"/>
                  </a:lnTo>
                  <a:lnTo>
                    <a:pt x="3447" y="3291"/>
                  </a:lnTo>
                  <a:lnTo>
                    <a:pt x="3445" y="3291"/>
                  </a:lnTo>
                  <a:lnTo>
                    <a:pt x="3443" y="3293"/>
                  </a:lnTo>
                  <a:lnTo>
                    <a:pt x="3440" y="3295"/>
                  </a:lnTo>
                  <a:lnTo>
                    <a:pt x="3438" y="3295"/>
                  </a:lnTo>
                  <a:lnTo>
                    <a:pt x="3438" y="3297"/>
                  </a:lnTo>
                  <a:lnTo>
                    <a:pt x="3436" y="3297"/>
                  </a:lnTo>
                  <a:lnTo>
                    <a:pt x="3434" y="3299"/>
                  </a:lnTo>
                  <a:lnTo>
                    <a:pt x="3432" y="3299"/>
                  </a:lnTo>
                  <a:lnTo>
                    <a:pt x="3432" y="3301"/>
                  </a:lnTo>
                  <a:lnTo>
                    <a:pt x="3430" y="3301"/>
                  </a:lnTo>
                  <a:lnTo>
                    <a:pt x="3427" y="3303"/>
                  </a:lnTo>
                  <a:lnTo>
                    <a:pt x="3425" y="3303"/>
                  </a:lnTo>
                  <a:lnTo>
                    <a:pt x="3425" y="3305"/>
                  </a:lnTo>
                  <a:lnTo>
                    <a:pt x="3423" y="3307"/>
                  </a:lnTo>
                  <a:lnTo>
                    <a:pt x="3421" y="3307"/>
                  </a:lnTo>
                  <a:lnTo>
                    <a:pt x="3421" y="3309"/>
                  </a:lnTo>
                  <a:lnTo>
                    <a:pt x="3419" y="3309"/>
                  </a:lnTo>
                  <a:lnTo>
                    <a:pt x="3417" y="3311"/>
                  </a:lnTo>
                  <a:lnTo>
                    <a:pt x="3415" y="3313"/>
                  </a:lnTo>
                  <a:lnTo>
                    <a:pt x="3415" y="3313"/>
                  </a:lnTo>
                  <a:lnTo>
                    <a:pt x="3412" y="3315"/>
                  </a:lnTo>
                  <a:lnTo>
                    <a:pt x="3410" y="3315"/>
                  </a:lnTo>
                  <a:lnTo>
                    <a:pt x="3410" y="3317"/>
                  </a:lnTo>
                  <a:lnTo>
                    <a:pt x="3408" y="3319"/>
                  </a:lnTo>
                  <a:lnTo>
                    <a:pt x="3406" y="3319"/>
                  </a:lnTo>
                  <a:lnTo>
                    <a:pt x="3404" y="3321"/>
                  </a:lnTo>
                  <a:lnTo>
                    <a:pt x="3404" y="3321"/>
                  </a:lnTo>
                  <a:lnTo>
                    <a:pt x="3402" y="3323"/>
                  </a:lnTo>
                  <a:lnTo>
                    <a:pt x="3400" y="3323"/>
                  </a:lnTo>
                  <a:lnTo>
                    <a:pt x="3397" y="3323"/>
                  </a:lnTo>
                  <a:lnTo>
                    <a:pt x="3397" y="3325"/>
                  </a:lnTo>
                  <a:lnTo>
                    <a:pt x="3397" y="3325"/>
                  </a:lnTo>
                  <a:lnTo>
                    <a:pt x="3395" y="3325"/>
                  </a:lnTo>
                  <a:lnTo>
                    <a:pt x="3395" y="3325"/>
                  </a:lnTo>
                  <a:lnTo>
                    <a:pt x="3395" y="3325"/>
                  </a:lnTo>
                  <a:lnTo>
                    <a:pt x="3393" y="3327"/>
                  </a:lnTo>
                  <a:lnTo>
                    <a:pt x="3391" y="3327"/>
                  </a:lnTo>
                  <a:lnTo>
                    <a:pt x="3391" y="3329"/>
                  </a:lnTo>
                  <a:lnTo>
                    <a:pt x="3389" y="3331"/>
                  </a:lnTo>
                  <a:lnTo>
                    <a:pt x="3389" y="3331"/>
                  </a:lnTo>
                  <a:lnTo>
                    <a:pt x="3387" y="3333"/>
                  </a:lnTo>
                  <a:lnTo>
                    <a:pt x="3387" y="3335"/>
                  </a:lnTo>
                  <a:lnTo>
                    <a:pt x="3385" y="3337"/>
                  </a:lnTo>
                  <a:lnTo>
                    <a:pt x="3385" y="3339"/>
                  </a:lnTo>
                  <a:lnTo>
                    <a:pt x="3385" y="3339"/>
                  </a:lnTo>
                  <a:lnTo>
                    <a:pt x="3382" y="3341"/>
                  </a:lnTo>
                  <a:lnTo>
                    <a:pt x="3380" y="3343"/>
                  </a:lnTo>
                  <a:lnTo>
                    <a:pt x="3380" y="3345"/>
                  </a:lnTo>
                  <a:lnTo>
                    <a:pt x="3378" y="3347"/>
                  </a:lnTo>
                  <a:lnTo>
                    <a:pt x="3378" y="3347"/>
                  </a:lnTo>
                  <a:lnTo>
                    <a:pt x="3378" y="3349"/>
                  </a:lnTo>
                  <a:lnTo>
                    <a:pt x="3376" y="3351"/>
                  </a:lnTo>
                  <a:lnTo>
                    <a:pt x="3376" y="3353"/>
                  </a:lnTo>
                  <a:lnTo>
                    <a:pt x="3378" y="3353"/>
                  </a:lnTo>
                  <a:lnTo>
                    <a:pt x="3378" y="3355"/>
                  </a:lnTo>
                  <a:lnTo>
                    <a:pt x="3378" y="3357"/>
                  </a:lnTo>
                  <a:lnTo>
                    <a:pt x="3376" y="3357"/>
                  </a:lnTo>
                  <a:lnTo>
                    <a:pt x="3374" y="3359"/>
                  </a:lnTo>
                  <a:lnTo>
                    <a:pt x="3374" y="3359"/>
                  </a:lnTo>
                  <a:lnTo>
                    <a:pt x="3374" y="3361"/>
                  </a:lnTo>
                  <a:lnTo>
                    <a:pt x="3374" y="3363"/>
                  </a:lnTo>
                  <a:lnTo>
                    <a:pt x="3372" y="3365"/>
                  </a:lnTo>
                  <a:lnTo>
                    <a:pt x="3372" y="3365"/>
                  </a:lnTo>
                  <a:lnTo>
                    <a:pt x="3369" y="3367"/>
                  </a:lnTo>
                  <a:lnTo>
                    <a:pt x="3369" y="3369"/>
                  </a:lnTo>
                  <a:lnTo>
                    <a:pt x="3367" y="3371"/>
                  </a:lnTo>
                  <a:lnTo>
                    <a:pt x="3367" y="3373"/>
                  </a:lnTo>
                  <a:lnTo>
                    <a:pt x="3367" y="3373"/>
                  </a:lnTo>
                  <a:lnTo>
                    <a:pt x="3367" y="3375"/>
                  </a:lnTo>
                  <a:lnTo>
                    <a:pt x="3367" y="3376"/>
                  </a:lnTo>
                  <a:lnTo>
                    <a:pt x="3369" y="3378"/>
                  </a:lnTo>
                  <a:lnTo>
                    <a:pt x="3369" y="3380"/>
                  </a:lnTo>
                  <a:lnTo>
                    <a:pt x="3372" y="3380"/>
                  </a:lnTo>
                  <a:lnTo>
                    <a:pt x="3374" y="3382"/>
                  </a:lnTo>
                  <a:lnTo>
                    <a:pt x="3374" y="3382"/>
                  </a:lnTo>
                  <a:lnTo>
                    <a:pt x="3376" y="3384"/>
                  </a:lnTo>
                  <a:lnTo>
                    <a:pt x="3376" y="3386"/>
                  </a:lnTo>
                  <a:lnTo>
                    <a:pt x="3376" y="3388"/>
                  </a:lnTo>
                  <a:lnTo>
                    <a:pt x="3376" y="3390"/>
                  </a:lnTo>
                  <a:lnTo>
                    <a:pt x="3376" y="3392"/>
                  </a:lnTo>
                  <a:lnTo>
                    <a:pt x="3376" y="3392"/>
                  </a:lnTo>
                  <a:lnTo>
                    <a:pt x="3376" y="3394"/>
                  </a:lnTo>
                  <a:lnTo>
                    <a:pt x="3376" y="3396"/>
                  </a:lnTo>
                  <a:lnTo>
                    <a:pt x="3376" y="3398"/>
                  </a:lnTo>
                  <a:lnTo>
                    <a:pt x="3378" y="3400"/>
                  </a:lnTo>
                  <a:lnTo>
                    <a:pt x="3378" y="3402"/>
                  </a:lnTo>
                  <a:lnTo>
                    <a:pt x="3378" y="3404"/>
                  </a:lnTo>
                  <a:lnTo>
                    <a:pt x="3378" y="3406"/>
                  </a:lnTo>
                  <a:lnTo>
                    <a:pt x="3378" y="3408"/>
                  </a:lnTo>
                  <a:lnTo>
                    <a:pt x="3378" y="3410"/>
                  </a:lnTo>
                  <a:lnTo>
                    <a:pt x="3378" y="3412"/>
                  </a:lnTo>
                  <a:lnTo>
                    <a:pt x="3380" y="3414"/>
                  </a:lnTo>
                  <a:lnTo>
                    <a:pt x="3380" y="3414"/>
                  </a:lnTo>
                  <a:lnTo>
                    <a:pt x="3380" y="3416"/>
                  </a:lnTo>
                  <a:lnTo>
                    <a:pt x="3382" y="3418"/>
                  </a:lnTo>
                  <a:lnTo>
                    <a:pt x="3382" y="3420"/>
                  </a:lnTo>
                  <a:lnTo>
                    <a:pt x="3382" y="3422"/>
                  </a:lnTo>
                  <a:lnTo>
                    <a:pt x="3382" y="3424"/>
                  </a:lnTo>
                  <a:lnTo>
                    <a:pt x="3382" y="3426"/>
                  </a:lnTo>
                  <a:lnTo>
                    <a:pt x="3385" y="3428"/>
                  </a:lnTo>
                  <a:lnTo>
                    <a:pt x="3385" y="3430"/>
                  </a:lnTo>
                  <a:lnTo>
                    <a:pt x="3385" y="3430"/>
                  </a:lnTo>
                  <a:lnTo>
                    <a:pt x="3387" y="3432"/>
                  </a:lnTo>
                  <a:lnTo>
                    <a:pt x="3387" y="3434"/>
                  </a:lnTo>
                  <a:lnTo>
                    <a:pt x="3387" y="3436"/>
                  </a:lnTo>
                  <a:lnTo>
                    <a:pt x="3387" y="3438"/>
                  </a:lnTo>
                  <a:lnTo>
                    <a:pt x="3387" y="3440"/>
                  </a:lnTo>
                  <a:lnTo>
                    <a:pt x="3387" y="3442"/>
                  </a:lnTo>
                  <a:lnTo>
                    <a:pt x="3387" y="3444"/>
                  </a:lnTo>
                  <a:lnTo>
                    <a:pt x="3387" y="3446"/>
                  </a:lnTo>
                  <a:lnTo>
                    <a:pt x="3387" y="3448"/>
                  </a:lnTo>
                  <a:lnTo>
                    <a:pt x="3387" y="3450"/>
                  </a:lnTo>
                  <a:lnTo>
                    <a:pt x="3387" y="3450"/>
                  </a:lnTo>
                  <a:lnTo>
                    <a:pt x="3389" y="3452"/>
                  </a:lnTo>
                  <a:lnTo>
                    <a:pt x="3389" y="3454"/>
                  </a:lnTo>
                  <a:lnTo>
                    <a:pt x="3389" y="3456"/>
                  </a:lnTo>
                  <a:lnTo>
                    <a:pt x="3389" y="3458"/>
                  </a:lnTo>
                  <a:lnTo>
                    <a:pt x="3391" y="3460"/>
                  </a:lnTo>
                  <a:lnTo>
                    <a:pt x="3391" y="3462"/>
                  </a:lnTo>
                  <a:lnTo>
                    <a:pt x="3391" y="3464"/>
                  </a:lnTo>
                  <a:lnTo>
                    <a:pt x="3391" y="3466"/>
                  </a:lnTo>
                  <a:lnTo>
                    <a:pt x="3391" y="3468"/>
                  </a:lnTo>
                  <a:lnTo>
                    <a:pt x="3391" y="3468"/>
                  </a:lnTo>
                  <a:lnTo>
                    <a:pt x="3391" y="3470"/>
                  </a:lnTo>
                  <a:lnTo>
                    <a:pt x="3393" y="3472"/>
                  </a:lnTo>
                  <a:lnTo>
                    <a:pt x="3393" y="3474"/>
                  </a:lnTo>
                  <a:lnTo>
                    <a:pt x="3393" y="3476"/>
                  </a:lnTo>
                  <a:lnTo>
                    <a:pt x="3393" y="3478"/>
                  </a:lnTo>
                  <a:lnTo>
                    <a:pt x="3393" y="3480"/>
                  </a:lnTo>
                  <a:lnTo>
                    <a:pt x="3393" y="3482"/>
                  </a:lnTo>
                  <a:lnTo>
                    <a:pt x="3393" y="3484"/>
                  </a:lnTo>
                  <a:lnTo>
                    <a:pt x="3391" y="3486"/>
                  </a:lnTo>
                  <a:lnTo>
                    <a:pt x="3391" y="3488"/>
                  </a:lnTo>
                  <a:lnTo>
                    <a:pt x="3391" y="3490"/>
                  </a:lnTo>
                  <a:lnTo>
                    <a:pt x="3391" y="3490"/>
                  </a:lnTo>
                  <a:lnTo>
                    <a:pt x="3389" y="3492"/>
                  </a:lnTo>
                  <a:lnTo>
                    <a:pt x="3389" y="3494"/>
                  </a:lnTo>
                  <a:lnTo>
                    <a:pt x="3387" y="3496"/>
                  </a:lnTo>
                  <a:lnTo>
                    <a:pt x="3387" y="3498"/>
                  </a:lnTo>
                  <a:lnTo>
                    <a:pt x="3385" y="3498"/>
                  </a:lnTo>
                  <a:lnTo>
                    <a:pt x="3385" y="3500"/>
                  </a:lnTo>
                  <a:lnTo>
                    <a:pt x="3382" y="3502"/>
                  </a:lnTo>
                  <a:lnTo>
                    <a:pt x="3380" y="3502"/>
                  </a:lnTo>
                  <a:lnTo>
                    <a:pt x="3380" y="3504"/>
                  </a:lnTo>
                  <a:lnTo>
                    <a:pt x="3378" y="3506"/>
                  </a:lnTo>
                  <a:lnTo>
                    <a:pt x="3378" y="3508"/>
                  </a:lnTo>
                  <a:lnTo>
                    <a:pt x="3376" y="3508"/>
                  </a:lnTo>
                  <a:lnTo>
                    <a:pt x="3376" y="3510"/>
                  </a:lnTo>
                  <a:lnTo>
                    <a:pt x="3374" y="3512"/>
                  </a:lnTo>
                  <a:lnTo>
                    <a:pt x="3372" y="3514"/>
                  </a:lnTo>
                  <a:lnTo>
                    <a:pt x="3372" y="3514"/>
                  </a:lnTo>
                  <a:lnTo>
                    <a:pt x="3369" y="3516"/>
                  </a:lnTo>
                  <a:lnTo>
                    <a:pt x="3369" y="3518"/>
                  </a:lnTo>
                  <a:lnTo>
                    <a:pt x="3367" y="3518"/>
                  </a:lnTo>
                  <a:lnTo>
                    <a:pt x="3367" y="3520"/>
                  </a:lnTo>
                  <a:lnTo>
                    <a:pt x="3365" y="3522"/>
                  </a:lnTo>
                  <a:lnTo>
                    <a:pt x="3363" y="3524"/>
                  </a:lnTo>
                  <a:lnTo>
                    <a:pt x="3363" y="3524"/>
                  </a:lnTo>
                  <a:lnTo>
                    <a:pt x="3361" y="3526"/>
                  </a:lnTo>
                  <a:lnTo>
                    <a:pt x="3361" y="3528"/>
                  </a:lnTo>
                  <a:lnTo>
                    <a:pt x="3359" y="3528"/>
                  </a:lnTo>
                  <a:lnTo>
                    <a:pt x="3357" y="3530"/>
                  </a:lnTo>
                  <a:lnTo>
                    <a:pt x="3354" y="3530"/>
                  </a:lnTo>
                  <a:lnTo>
                    <a:pt x="3354" y="3532"/>
                  </a:lnTo>
                  <a:lnTo>
                    <a:pt x="3352" y="3532"/>
                  </a:lnTo>
                  <a:lnTo>
                    <a:pt x="3350" y="3534"/>
                  </a:lnTo>
                  <a:lnTo>
                    <a:pt x="3348" y="3534"/>
                  </a:lnTo>
                  <a:lnTo>
                    <a:pt x="3346" y="3534"/>
                  </a:lnTo>
                  <a:lnTo>
                    <a:pt x="3344" y="3536"/>
                  </a:lnTo>
                  <a:lnTo>
                    <a:pt x="3342" y="3536"/>
                  </a:lnTo>
                  <a:lnTo>
                    <a:pt x="3342" y="3536"/>
                  </a:lnTo>
                  <a:lnTo>
                    <a:pt x="3339" y="3538"/>
                  </a:lnTo>
                  <a:lnTo>
                    <a:pt x="3337" y="3538"/>
                  </a:lnTo>
                  <a:lnTo>
                    <a:pt x="3335" y="3540"/>
                  </a:lnTo>
                  <a:lnTo>
                    <a:pt x="3333" y="3540"/>
                  </a:lnTo>
                  <a:lnTo>
                    <a:pt x="3331" y="3542"/>
                  </a:lnTo>
                  <a:lnTo>
                    <a:pt x="3331" y="3542"/>
                  </a:lnTo>
                  <a:lnTo>
                    <a:pt x="3329" y="3542"/>
                  </a:lnTo>
                  <a:lnTo>
                    <a:pt x="3327" y="3544"/>
                  </a:lnTo>
                  <a:lnTo>
                    <a:pt x="3324" y="3544"/>
                  </a:lnTo>
                  <a:lnTo>
                    <a:pt x="3322" y="3546"/>
                  </a:lnTo>
                  <a:lnTo>
                    <a:pt x="3320" y="3546"/>
                  </a:lnTo>
                  <a:lnTo>
                    <a:pt x="3320" y="3546"/>
                  </a:lnTo>
                  <a:lnTo>
                    <a:pt x="3318" y="3548"/>
                  </a:lnTo>
                  <a:lnTo>
                    <a:pt x="3316" y="3548"/>
                  </a:lnTo>
                  <a:lnTo>
                    <a:pt x="3314" y="3548"/>
                  </a:lnTo>
                  <a:lnTo>
                    <a:pt x="3312" y="3550"/>
                  </a:lnTo>
                  <a:lnTo>
                    <a:pt x="3309" y="3550"/>
                  </a:lnTo>
                  <a:lnTo>
                    <a:pt x="3309" y="3552"/>
                  </a:lnTo>
                  <a:lnTo>
                    <a:pt x="3307" y="3554"/>
                  </a:lnTo>
                  <a:lnTo>
                    <a:pt x="3307" y="3554"/>
                  </a:lnTo>
                  <a:lnTo>
                    <a:pt x="3305" y="3556"/>
                  </a:lnTo>
                  <a:lnTo>
                    <a:pt x="3305" y="3558"/>
                  </a:lnTo>
                  <a:lnTo>
                    <a:pt x="3305" y="3560"/>
                  </a:lnTo>
                  <a:lnTo>
                    <a:pt x="3303" y="3562"/>
                  </a:lnTo>
                  <a:lnTo>
                    <a:pt x="3301" y="3564"/>
                  </a:lnTo>
                  <a:lnTo>
                    <a:pt x="3301" y="3564"/>
                  </a:lnTo>
                  <a:lnTo>
                    <a:pt x="3299" y="3566"/>
                  </a:lnTo>
                  <a:lnTo>
                    <a:pt x="3296" y="3568"/>
                  </a:lnTo>
                  <a:lnTo>
                    <a:pt x="3296" y="3568"/>
                  </a:lnTo>
                  <a:lnTo>
                    <a:pt x="3296" y="3570"/>
                  </a:lnTo>
                  <a:lnTo>
                    <a:pt x="3294" y="3572"/>
                  </a:lnTo>
                  <a:lnTo>
                    <a:pt x="3294" y="3574"/>
                  </a:lnTo>
                  <a:lnTo>
                    <a:pt x="3292" y="3576"/>
                  </a:lnTo>
                  <a:lnTo>
                    <a:pt x="3292" y="3576"/>
                  </a:lnTo>
                  <a:lnTo>
                    <a:pt x="3290" y="3578"/>
                  </a:lnTo>
                  <a:lnTo>
                    <a:pt x="3290" y="3580"/>
                  </a:lnTo>
                  <a:lnTo>
                    <a:pt x="3288" y="3582"/>
                  </a:lnTo>
                  <a:lnTo>
                    <a:pt x="3288" y="3584"/>
                  </a:lnTo>
                  <a:lnTo>
                    <a:pt x="3286" y="3584"/>
                  </a:lnTo>
                  <a:lnTo>
                    <a:pt x="3286" y="3586"/>
                  </a:lnTo>
                  <a:lnTo>
                    <a:pt x="3284" y="3588"/>
                  </a:lnTo>
                  <a:lnTo>
                    <a:pt x="3284" y="3590"/>
                  </a:lnTo>
                  <a:lnTo>
                    <a:pt x="3281" y="3590"/>
                  </a:lnTo>
                  <a:lnTo>
                    <a:pt x="3281" y="3592"/>
                  </a:lnTo>
                  <a:lnTo>
                    <a:pt x="3279" y="3594"/>
                  </a:lnTo>
                  <a:lnTo>
                    <a:pt x="3279" y="3596"/>
                  </a:lnTo>
                  <a:lnTo>
                    <a:pt x="3277" y="3596"/>
                  </a:lnTo>
                  <a:lnTo>
                    <a:pt x="3277" y="3598"/>
                  </a:lnTo>
                  <a:lnTo>
                    <a:pt x="3275" y="3600"/>
                  </a:lnTo>
                  <a:lnTo>
                    <a:pt x="3275" y="3602"/>
                  </a:lnTo>
                  <a:lnTo>
                    <a:pt x="3273" y="3604"/>
                  </a:lnTo>
                  <a:lnTo>
                    <a:pt x="3273" y="3604"/>
                  </a:lnTo>
                  <a:lnTo>
                    <a:pt x="3271" y="3606"/>
                  </a:lnTo>
                  <a:lnTo>
                    <a:pt x="3271" y="3608"/>
                  </a:lnTo>
                  <a:lnTo>
                    <a:pt x="3269" y="3610"/>
                  </a:lnTo>
                  <a:lnTo>
                    <a:pt x="3269" y="3612"/>
                  </a:lnTo>
                  <a:lnTo>
                    <a:pt x="3266" y="3612"/>
                  </a:lnTo>
                  <a:lnTo>
                    <a:pt x="3266" y="3614"/>
                  </a:lnTo>
                  <a:lnTo>
                    <a:pt x="3264" y="3616"/>
                  </a:lnTo>
                  <a:lnTo>
                    <a:pt x="3262" y="3616"/>
                  </a:lnTo>
                  <a:lnTo>
                    <a:pt x="3262" y="3618"/>
                  </a:lnTo>
                  <a:lnTo>
                    <a:pt x="3260" y="3620"/>
                  </a:lnTo>
                  <a:lnTo>
                    <a:pt x="3260" y="3622"/>
                  </a:lnTo>
                  <a:lnTo>
                    <a:pt x="3258" y="3622"/>
                  </a:lnTo>
                  <a:lnTo>
                    <a:pt x="3258" y="3624"/>
                  </a:lnTo>
                  <a:lnTo>
                    <a:pt x="3258" y="3626"/>
                  </a:lnTo>
                  <a:lnTo>
                    <a:pt x="3258" y="3628"/>
                  </a:lnTo>
                  <a:lnTo>
                    <a:pt x="3258" y="3630"/>
                  </a:lnTo>
                  <a:lnTo>
                    <a:pt x="3258" y="3632"/>
                  </a:lnTo>
                  <a:lnTo>
                    <a:pt x="3258" y="3634"/>
                  </a:lnTo>
                  <a:lnTo>
                    <a:pt x="3258" y="3636"/>
                  </a:lnTo>
                  <a:lnTo>
                    <a:pt x="3258" y="3638"/>
                  </a:lnTo>
                  <a:lnTo>
                    <a:pt x="3256" y="3640"/>
                  </a:lnTo>
                  <a:lnTo>
                    <a:pt x="3256" y="3642"/>
                  </a:lnTo>
                  <a:lnTo>
                    <a:pt x="3256" y="3642"/>
                  </a:lnTo>
                  <a:lnTo>
                    <a:pt x="3256" y="3644"/>
                  </a:lnTo>
                  <a:lnTo>
                    <a:pt x="3256" y="3646"/>
                  </a:lnTo>
                  <a:lnTo>
                    <a:pt x="3256" y="3648"/>
                  </a:lnTo>
                  <a:lnTo>
                    <a:pt x="3256" y="3650"/>
                  </a:lnTo>
                  <a:lnTo>
                    <a:pt x="3256" y="3652"/>
                  </a:lnTo>
                  <a:lnTo>
                    <a:pt x="3256" y="3654"/>
                  </a:lnTo>
                  <a:lnTo>
                    <a:pt x="3256" y="3656"/>
                  </a:lnTo>
                  <a:lnTo>
                    <a:pt x="3254" y="3658"/>
                  </a:lnTo>
                  <a:lnTo>
                    <a:pt x="3254" y="3660"/>
                  </a:lnTo>
                  <a:lnTo>
                    <a:pt x="3254" y="3662"/>
                  </a:lnTo>
                  <a:lnTo>
                    <a:pt x="3254" y="3662"/>
                  </a:lnTo>
                  <a:lnTo>
                    <a:pt x="3254" y="3664"/>
                  </a:lnTo>
                  <a:lnTo>
                    <a:pt x="3254" y="3666"/>
                  </a:lnTo>
                  <a:lnTo>
                    <a:pt x="3254" y="3668"/>
                  </a:lnTo>
                  <a:lnTo>
                    <a:pt x="3254" y="3670"/>
                  </a:lnTo>
                  <a:lnTo>
                    <a:pt x="3251" y="3672"/>
                  </a:lnTo>
                  <a:lnTo>
                    <a:pt x="3251" y="3674"/>
                  </a:lnTo>
                  <a:lnTo>
                    <a:pt x="3251" y="3674"/>
                  </a:lnTo>
                  <a:lnTo>
                    <a:pt x="3249" y="3676"/>
                  </a:lnTo>
                  <a:lnTo>
                    <a:pt x="3249" y="3678"/>
                  </a:lnTo>
                  <a:lnTo>
                    <a:pt x="3249" y="3680"/>
                  </a:lnTo>
                  <a:lnTo>
                    <a:pt x="3247" y="3682"/>
                  </a:lnTo>
                  <a:lnTo>
                    <a:pt x="3247" y="3684"/>
                  </a:lnTo>
                  <a:lnTo>
                    <a:pt x="3247" y="3686"/>
                  </a:lnTo>
                  <a:lnTo>
                    <a:pt x="3247" y="3688"/>
                  </a:lnTo>
                  <a:lnTo>
                    <a:pt x="3245" y="3688"/>
                  </a:lnTo>
                  <a:lnTo>
                    <a:pt x="3245" y="3690"/>
                  </a:lnTo>
                  <a:lnTo>
                    <a:pt x="3243" y="3692"/>
                  </a:lnTo>
                  <a:lnTo>
                    <a:pt x="3243" y="3694"/>
                  </a:lnTo>
                  <a:lnTo>
                    <a:pt x="3243" y="3696"/>
                  </a:lnTo>
                  <a:lnTo>
                    <a:pt x="3241" y="3698"/>
                  </a:lnTo>
                  <a:lnTo>
                    <a:pt x="3241" y="3698"/>
                  </a:lnTo>
                  <a:lnTo>
                    <a:pt x="3238" y="3700"/>
                  </a:lnTo>
                  <a:lnTo>
                    <a:pt x="3238" y="3702"/>
                  </a:lnTo>
                  <a:lnTo>
                    <a:pt x="3236" y="3704"/>
                  </a:lnTo>
                  <a:lnTo>
                    <a:pt x="3236" y="3704"/>
                  </a:lnTo>
                  <a:lnTo>
                    <a:pt x="3234" y="3706"/>
                  </a:lnTo>
                  <a:lnTo>
                    <a:pt x="3234" y="3708"/>
                  </a:lnTo>
                  <a:lnTo>
                    <a:pt x="3232" y="3710"/>
                  </a:lnTo>
                  <a:lnTo>
                    <a:pt x="3230" y="3710"/>
                  </a:lnTo>
                  <a:lnTo>
                    <a:pt x="3230" y="3712"/>
                  </a:lnTo>
                  <a:lnTo>
                    <a:pt x="3228" y="3712"/>
                  </a:lnTo>
                  <a:lnTo>
                    <a:pt x="3226" y="3712"/>
                  </a:lnTo>
                  <a:lnTo>
                    <a:pt x="3223" y="3714"/>
                  </a:lnTo>
                  <a:lnTo>
                    <a:pt x="3221" y="3714"/>
                  </a:lnTo>
                  <a:lnTo>
                    <a:pt x="3221" y="3712"/>
                  </a:lnTo>
                  <a:lnTo>
                    <a:pt x="3219" y="3714"/>
                  </a:lnTo>
                  <a:lnTo>
                    <a:pt x="3217" y="3714"/>
                  </a:lnTo>
                  <a:lnTo>
                    <a:pt x="3215" y="3714"/>
                  </a:lnTo>
                  <a:lnTo>
                    <a:pt x="3213" y="3714"/>
                  </a:lnTo>
                  <a:lnTo>
                    <a:pt x="3211" y="3716"/>
                  </a:lnTo>
                  <a:lnTo>
                    <a:pt x="3208" y="3716"/>
                  </a:lnTo>
                  <a:lnTo>
                    <a:pt x="3208" y="3718"/>
                  </a:lnTo>
                  <a:lnTo>
                    <a:pt x="3206" y="3716"/>
                  </a:lnTo>
                  <a:lnTo>
                    <a:pt x="3204" y="3716"/>
                  </a:lnTo>
                  <a:lnTo>
                    <a:pt x="3202" y="3718"/>
                  </a:lnTo>
                  <a:lnTo>
                    <a:pt x="3200" y="3716"/>
                  </a:lnTo>
                  <a:lnTo>
                    <a:pt x="3198" y="3716"/>
                  </a:lnTo>
                  <a:lnTo>
                    <a:pt x="3196" y="3716"/>
                  </a:lnTo>
                  <a:lnTo>
                    <a:pt x="3193" y="3716"/>
                  </a:lnTo>
                  <a:lnTo>
                    <a:pt x="3191" y="3716"/>
                  </a:lnTo>
                  <a:lnTo>
                    <a:pt x="3191" y="3716"/>
                  </a:lnTo>
                  <a:lnTo>
                    <a:pt x="3189" y="3716"/>
                  </a:lnTo>
                  <a:lnTo>
                    <a:pt x="3187" y="3716"/>
                  </a:lnTo>
                  <a:lnTo>
                    <a:pt x="3185" y="3714"/>
                  </a:lnTo>
                  <a:lnTo>
                    <a:pt x="3183" y="3714"/>
                  </a:lnTo>
                  <a:lnTo>
                    <a:pt x="3181" y="3714"/>
                  </a:lnTo>
                  <a:lnTo>
                    <a:pt x="3178" y="3714"/>
                  </a:lnTo>
                  <a:lnTo>
                    <a:pt x="3176" y="3714"/>
                  </a:lnTo>
                  <a:lnTo>
                    <a:pt x="3176" y="3714"/>
                  </a:lnTo>
                  <a:lnTo>
                    <a:pt x="3174" y="3714"/>
                  </a:lnTo>
                  <a:lnTo>
                    <a:pt x="3172" y="3716"/>
                  </a:lnTo>
                  <a:lnTo>
                    <a:pt x="3170" y="3716"/>
                  </a:lnTo>
                  <a:lnTo>
                    <a:pt x="3168" y="3716"/>
                  </a:lnTo>
                  <a:lnTo>
                    <a:pt x="3165" y="3716"/>
                  </a:lnTo>
                  <a:lnTo>
                    <a:pt x="3165" y="3716"/>
                  </a:lnTo>
                  <a:lnTo>
                    <a:pt x="3163" y="3716"/>
                  </a:lnTo>
                  <a:lnTo>
                    <a:pt x="3161" y="3716"/>
                  </a:lnTo>
                  <a:lnTo>
                    <a:pt x="3159" y="3718"/>
                  </a:lnTo>
                  <a:lnTo>
                    <a:pt x="3157" y="3718"/>
                  </a:lnTo>
                  <a:lnTo>
                    <a:pt x="3155" y="3718"/>
                  </a:lnTo>
                  <a:lnTo>
                    <a:pt x="3153" y="3718"/>
                  </a:lnTo>
                  <a:lnTo>
                    <a:pt x="3153" y="3720"/>
                  </a:lnTo>
                  <a:lnTo>
                    <a:pt x="3150" y="3720"/>
                  </a:lnTo>
                  <a:lnTo>
                    <a:pt x="3148" y="3720"/>
                  </a:lnTo>
                  <a:lnTo>
                    <a:pt x="3146" y="3720"/>
                  </a:lnTo>
                  <a:lnTo>
                    <a:pt x="3144" y="3720"/>
                  </a:lnTo>
                  <a:lnTo>
                    <a:pt x="3142" y="3720"/>
                  </a:lnTo>
                  <a:lnTo>
                    <a:pt x="3140" y="3720"/>
                  </a:lnTo>
                  <a:lnTo>
                    <a:pt x="3138" y="3720"/>
                  </a:lnTo>
                  <a:lnTo>
                    <a:pt x="3135" y="3722"/>
                  </a:lnTo>
                  <a:lnTo>
                    <a:pt x="3135" y="3722"/>
                  </a:lnTo>
                  <a:lnTo>
                    <a:pt x="3133" y="3722"/>
                  </a:lnTo>
                  <a:lnTo>
                    <a:pt x="3131" y="3722"/>
                  </a:lnTo>
                  <a:lnTo>
                    <a:pt x="3129" y="3722"/>
                  </a:lnTo>
                  <a:lnTo>
                    <a:pt x="3127" y="3722"/>
                  </a:lnTo>
                  <a:lnTo>
                    <a:pt x="3125" y="3722"/>
                  </a:lnTo>
                  <a:lnTo>
                    <a:pt x="3123" y="3722"/>
                  </a:lnTo>
                  <a:lnTo>
                    <a:pt x="3120" y="3722"/>
                  </a:lnTo>
                  <a:lnTo>
                    <a:pt x="3120" y="3720"/>
                  </a:lnTo>
                  <a:lnTo>
                    <a:pt x="3118" y="3720"/>
                  </a:lnTo>
                  <a:lnTo>
                    <a:pt x="3116" y="3720"/>
                  </a:lnTo>
                  <a:lnTo>
                    <a:pt x="3114" y="3718"/>
                  </a:lnTo>
                  <a:lnTo>
                    <a:pt x="3112" y="3718"/>
                  </a:lnTo>
                  <a:lnTo>
                    <a:pt x="3110" y="3718"/>
                  </a:lnTo>
                  <a:lnTo>
                    <a:pt x="3107" y="3716"/>
                  </a:lnTo>
                  <a:lnTo>
                    <a:pt x="3107" y="3716"/>
                  </a:lnTo>
                  <a:lnTo>
                    <a:pt x="3105" y="3716"/>
                  </a:lnTo>
                  <a:lnTo>
                    <a:pt x="3103" y="3714"/>
                  </a:lnTo>
                  <a:lnTo>
                    <a:pt x="3101" y="3714"/>
                  </a:lnTo>
                  <a:lnTo>
                    <a:pt x="3101" y="3712"/>
                  </a:lnTo>
                  <a:lnTo>
                    <a:pt x="3099" y="3710"/>
                  </a:lnTo>
                  <a:lnTo>
                    <a:pt x="3097" y="3710"/>
                  </a:lnTo>
                  <a:lnTo>
                    <a:pt x="3095" y="3710"/>
                  </a:lnTo>
                  <a:lnTo>
                    <a:pt x="3092" y="3710"/>
                  </a:lnTo>
                  <a:lnTo>
                    <a:pt x="3092" y="3708"/>
                  </a:lnTo>
                  <a:lnTo>
                    <a:pt x="3090" y="3706"/>
                  </a:lnTo>
                  <a:lnTo>
                    <a:pt x="3090" y="3704"/>
                  </a:lnTo>
                  <a:lnTo>
                    <a:pt x="3088" y="3704"/>
                  </a:lnTo>
                  <a:lnTo>
                    <a:pt x="3086" y="3702"/>
                  </a:lnTo>
                  <a:lnTo>
                    <a:pt x="3086" y="3700"/>
                  </a:lnTo>
                  <a:lnTo>
                    <a:pt x="3084" y="3700"/>
                  </a:lnTo>
                  <a:lnTo>
                    <a:pt x="3084" y="3698"/>
                  </a:lnTo>
                  <a:lnTo>
                    <a:pt x="3082" y="3696"/>
                  </a:lnTo>
                  <a:lnTo>
                    <a:pt x="3082" y="3694"/>
                  </a:lnTo>
                  <a:lnTo>
                    <a:pt x="3080" y="3694"/>
                  </a:lnTo>
                  <a:lnTo>
                    <a:pt x="3080" y="3692"/>
                  </a:lnTo>
                  <a:lnTo>
                    <a:pt x="3077" y="3690"/>
                  </a:lnTo>
                  <a:lnTo>
                    <a:pt x="3077" y="3688"/>
                  </a:lnTo>
                  <a:lnTo>
                    <a:pt x="3075" y="3686"/>
                  </a:lnTo>
                  <a:lnTo>
                    <a:pt x="3075" y="3684"/>
                  </a:lnTo>
                  <a:lnTo>
                    <a:pt x="3075" y="3684"/>
                  </a:lnTo>
                  <a:lnTo>
                    <a:pt x="3077" y="3682"/>
                  </a:lnTo>
                  <a:lnTo>
                    <a:pt x="3080" y="3682"/>
                  </a:lnTo>
                  <a:lnTo>
                    <a:pt x="3080" y="3680"/>
                  </a:lnTo>
                  <a:lnTo>
                    <a:pt x="3082" y="3678"/>
                  </a:lnTo>
                  <a:lnTo>
                    <a:pt x="3082" y="3676"/>
                  </a:lnTo>
                  <a:lnTo>
                    <a:pt x="3082" y="3676"/>
                  </a:lnTo>
                  <a:lnTo>
                    <a:pt x="3082" y="3674"/>
                  </a:lnTo>
                  <a:lnTo>
                    <a:pt x="3082" y="3672"/>
                  </a:lnTo>
                  <a:lnTo>
                    <a:pt x="3080" y="3670"/>
                  </a:lnTo>
                  <a:lnTo>
                    <a:pt x="3080" y="3668"/>
                  </a:lnTo>
                  <a:lnTo>
                    <a:pt x="3080" y="3666"/>
                  </a:lnTo>
                  <a:lnTo>
                    <a:pt x="3080" y="3664"/>
                  </a:lnTo>
                  <a:lnTo>
                    <a:pt x="3080" y="3662"/>
                  </a:lnTo>
                  <a:lnTo>
                    <a:pt x="3077" y="3662"/>
                  </a:lnTo>
                  <a:lnTo>
                    <a:pt x="3075" y="3660"/>
                  </a:lnTo>
                  <a:lnTo>
                    <a:pt x="3075" y="3660"/>
                  </a:lnTo>
                  <a:lnTo>
                    <a:pt x="3073" y="3658"/>
                  </a:lnTo>
                  <a:lnTo>
                    <a:pt x="3073" y="3656"/>
                  </a:lnTo>
                  <a:lnTo>
                    <a:pt x="3073" y="3654"/>
                  </a:lnTo>
                  <a:lnTo>
                    <a:pt x="3073" y="3652"/>
                  </a:lnTo>
                  <a:lnTo>
                    <a:pt x="3071" y="3652"/>
                  </a:lnTo>
                  <a:lnTo>
                    <a:pt x="3071" y="3650"/>
                  </a:lnTo>
                  <a:lnTo>
                    <a:pt x="3073" y="3648"/>
                  </a:lnTo>
                  <a:lnTo>
                    <a:pt x="3073" y="3646"/>
                  </a:lnTo>
                  <a:lnTo>
                    <a:pt x="3075" y="3646"/>
                  </a:lnTo>
                  <a:lnTo>
                    <a:pt x="3077" y="3644"/>
                  </a:lnTo>
                  <a:lnTo>
                    <a:pt x="3077" y="3642"/>
                  </a:lnTo>
                  <a:lnTo>
                    <a:pt x="3077" y="3640"/>
                  </a:lnTo>
                  <a:lnTo>
                    <a:pt x="3077" y="3638"/>
                  </a:lnTo>
                  <a:lnTo>
                    <a:pt x="3077" y="3640"/>
                  </a:lnTo>
                  <a:lnTo>
                    <a:pt x="3077" y="3640"/>
                  </a:lnTo>
                  <a:lnTo>
                    <a:pt x="3077" y="3640"/>
                  </a:lnTo>
                  <a:lnTo>
                    <a:pt x="3077" y="3638"/>
                  </a:lnTo>
                  <a:lnTo>
                    <a:pt x="3080" y="3636"/>
                  </a:lnTo>
                  <a:lnTo>
                    <a:pt x="3080" y="3634"/>
                  </a:lnTo>
                  <a:lnTo>
                    <a:pt x="3080" y="3632"/>
                  </a:lnTo>
                  <a:lnTo>
                    <a:pt x="3077" y="3632"/>
                  </a:lnTo>
                  <a:lnTo>
                    <a:pt x="3077" y="3630"/>
                  </a:lnTo>
                  <a:lnTo>
                    <a:pt x="3080" y="3628"/>
                  </a:lnTo>
                  <a:lnTo>
                    <a:pt x="3077" y="3626"/>
                  </a:lnTo>
                  <a:lnTo>
                    <a:pt x="3077" y="3624"/>
                  </a:lnTo>
                  <a:lnTo>
                    <a:pt x="3075" y="3624"/>
                  </a:lnTo>
                  <a:lnTo>
                    <a:pt x="3075" y="3622"/>
                  </a:lnTo>
                  <a:lnTo>
                    <a:pt x="3073" y="3622"/>
                  </a:lnTo>
                  <a:lnTo>
                    <a:pt x="3073" y="3620"/>
                  </a:lnTo>
                  <a:lnTo>
                    <a:pt x="3073" y="3618"/>
                  </a:lnTo>
                  <a:lnTo>
                    <a:pt x="3073" y="3616"/>
                  </a:lnTo>
                  <a:lnTo>
                    <a:pt x="3071" y="3614"/>
                  </a:lnTo>
                  <a:lnTo>
                    <a:pt x="3071" y="3614"/>
                  </a:lnTo>
                  <a:lnTo>
                    <a:pt x="3069" y="3612"/>
                  </a:lnTo>
                  <a:lnTo>
                    <a:pt x="3069" y="3610"/>
                  </a:lnTo>
                  <a:lnTo>
                    <a:pt x="3069" y="3608"/>
                  </a:lnTo>
                  <a:lnTo>
                    <a:pt x="3069" y="3606"/>
                  </a:lnTo>
                  <a:lnTo>
                    <a:pt x="3069" y="3604"/>
                  </a:lnTo>
                  <a:lnTo>
                    <a:pt x="3069" y="3602"/>
                  </a:lnTo>
                  <a:lnTo>
                    <a:pt x="3069" y="3602"/>
                  </a:lnTo>
                  <a:lnTo>
                    <a:pt x="3069" y="3600"/>
                  </a:lnTo>
                  <a:lnTo>
                    <a:pt x="3069" y="3598"/>
                  </a:lnTo>
                  <a:lnTo>
                    <a:pt x="3069" y="3596"/>
                  </a:lnTo>
                  <a:lnTo>
                    <a:pt x="3069" y="3596"/>
                  </a:lnTo>
                  <a:lnTo>
                    <a:pt x="3071" y="3594"/>
                  </a:lnTo>
                  <a:lnTo>
                    <a:pt x="3073" y="3594"/>
                  </a:lnTo>
                  <a:lnTo>
                    <a:pt x="3075" y="3594"/>
                  </a:lnTo>
                  <a:lnTo>
                    <a:pt x="3077" y="3592"/>
                  </a:lnTo>
                  <a:lnTo>
                    <a:pt x="3080" y="3592"/>
                  </a:lnTo>
                  <a:lnTo>
                    <a:pt x="3080" y="3592"/>
                  </a:lnTo>
                  <a:lnTo>
                    <a:pt x="3082" y="3590"/>
                  </a:lnTo>
                  <a:lnTo>
                    <a:pt x="3084" y="3588"/>
                  </a:lnTo>
                  <a:lnTo>
                    <a:pt x="3084" y="3588"/>
                  </a:lnTo>
                  <a:lnTo>
                    <a:pt x="3086" y="3588"/>
                  </a:lnTo>
                  <a:lnTo>
                    <a:pt x="3088" y="3586"/>
                  </a:lnTo>
                  <a:lnTo>
                    <a:pt x="3090" y="3586"/>
                  </a:lnTo>
                  <a:lnTo>
                    <a:pt x="3092" y="3584"/>
                  </a:lnTo>
                  <a:lnTo>
                    <a:pt x="3092" y="3586"/>
                  </a:lnTo>
                  <a:lnTo>
                    <a:pt x="3095" y="3584"/>
                  </a:lnTo>
                  <a:lnTo>
                    <a:pt x="3097" y="3584"/>
                  </a:lnTo>
                  <a:lnTo>
                    <a:pt x="3097" y="3584"/>
                  </a:lnTo>
                  <a:lnTo>
                    <a:pt x="3099" y="3584"/>
                  </a:lnTo>
                  <a:lnTo>
                    <a:pt x="3101" y="3584"/>
                  </a:lnTo>
                  <a:lnTo>
                    <a:pt x="3101" y="3584"/>
                  </a:lnTo>
                  <a:lnTo>
                    <a:pt x="3103" y="3584"/>
                  </a:lnTo>
                  <a:lnTo>
                    <a:pt x="3105" y="3582"/>
                  </a:lnTo>
                  <a:lnTo>
                    <a:pt x="3107" y="3582"/>
                  </a:lnTo>
                  <a:lnTo>
                    <a:pt x="3110" y="3582"/>
                  </a:lnTo>
                  <a:lnTo>
                    <a:pt x="3110" y="3580"/>
                  </a:lnTo>
                  <a:lnTo>
                    <a:pt x="3112" y="3580"/>
                  </a:lnTo>
                  <a:lnTo>
                    <a:pt x="3114" y="3578"/>
                  </a:lnTo>
                  <a:lnTo>
                    <a:pt x="3116" y="3576"/>
                  </a:lnTo>
                  <a:lnTo>
                    <a:pt x="3116" y="3576"/>
                  </a:lnTo>
                  <a:lnTo>
                    <a:pt x="3118" y="3574"/>
                  </a:lnTo>
                  <a:lnTo>
                    <a:pt x="3120" y="3574"/>
                  </a:lnTo>
                  <a:lnTo>
                    <a:pt x="3123" y="3572"/>
                  </a:lnTo>
                  <a:lnTo>
                    <a:pt x="3123" y="3572"/>
                  </a:lnTo>
                  <a:lnTo>
                    <a:pt x="3125" y="3570"/>
                  </a:lnTo>
                  <a:lnTo>
                    <a:pt x="3125" y="3568"/>
                  </a:lnTo>
                  <a:lnTo>
                    <a:pt x="3127" y="3566"/>
                  </a:lnTo>
                  <a:lnTo>
                    <a:pt x="3129" y="3566"/>
                  </a:lnTo>
                  <a:lnTo>
                    <a:pt x="3129" y="3564"/>
                  </a:lnTo>
                  <a:lnTo>
                    <a:pt x="3131" y="3562"/>
                  </a:lnTo>
                  <a:lnTo>
                    <a:pt x="3131" y="3562"/>
                  </a:lnTo>
                  <a:lnTo>
                    <a:pt x="3131" y="3560"/>
                  </a:lnTo>
                  <a:lnTo>
                    <a:pt x="3131" y="3558"/>
                  </a:lnTo>
                  <a:lnTo>
                    <a:pt x="3131" y="3558"/>
                  </a:lnTo>
                  <a:lnTo>
                    <a:pt x="3133" y="3556"/>
                  </a:lnTo>
                  <a:lnTo>
                    <a:pt x="3133" y="3554"/>
                  </a:lnTo>
                  <a:lnTo>
                    <a:pt x="3133" y="3554"/>
                  </a:lnTo>
                  <a:lnTo>
                    <a:pt x="3133" y="3552"/>
                  </a:lnTo>
                  <a:lnTo>
                    <a:pt x="3133" y="3550"/>
                  </a:lnTo>
                  <a:lnTo>
                    <a:pt x="3133" y="3548"/>
                  </a:lnTo>
                  <a:lnTo>
                    <a:pt x="3133" y="3548"/>
                  </a:lnTo>
                  <a:lnTo>
                    <a:pt x="3133" y="3546"/>
                  </a:lnTo>
                  <a:lnTo>
                    <a:pt x="3133" y="3544"/>
                  </a:lnTo>
                  <a:lnTo>
                    <a:pt x="3133" y="3542"/>
                  </a:lnTo>
                  <a:lnTo>
                    <a:pt x="3135" y="3542"/>
                  </a:lnTo>
                  <a:lnTo>
                    <a:pt x="3135" y="3540"/>
                  </a:lnTo>
                  <a:lnTo>
                    <a:pt x="3133" y="3538"/>
                  </a:lnTo>
                  <a:lnTo>
                    <a:pt x="3135" y="3538"/>
                  </a:lnTo>
                  <a:lnTo>
                    <a:pt x="3135" y="3536"/>
                  </a:lnTo>
                  <a:lnTo>
                    <a:pt x="3138" y="3536"/>
                  </a:lnTo>
                  <a:lnTo>
                    <a:pt x="3138" y="3534"/>
                  </a:lnTo>
                  <a:lnTo>
                    <a:pt x="3140" y="3532"/>
                  </a:lnTo>
                  <a:lnTo>
                    <a:pt x="3140" y="3530"/>
                  </a:lnTo>
                  <a:lnTo>
                    <a:pt x="3142" y="3530"/>
                  </a:lnTo>
                  <a:lnTo>
                    <a:pt x="3142" y="3528"/>
                  </a:lnTo>
                  <a:lnTo>
                    <a:pt x="3142" y="3528"/>
                  </a:lnTo>
                  <a:lnTo>
                    <a:pt x="3144" y="3526"/>
                  </a:lnTo>
                  <a:lnTo>
                    <a:pt x="3144" y="3524"/>
                  </a:lnTo>
                  <a:lnTo>
                    <a:pt x="3144" y="3522"/>
                  </a:lnTo>
                  <a:lnTo>
                    <a:pt x="3144" y="3520"/>
                  </a:lnTo>
                  <a:lnTo>
                    <a:pt x="3144" y="3518"/>
                  </a:lnTo>
                  <a:lnTo>
                    <a:pt x="3146" y="3516"/>
                  </a:lnTo>
                  <a:lnTo>
                    <a:pt x="3146" y="3514"/>
                  </a:lnTo>
                  <a:lnTo>
                    <a:pt x="3146" y="3512"/>
                  </a:lnTo>
                  <a:lnTo>
                    <a:pt x="3146" y="3512"/>
                  </a:lnTo>
                  <a:lnTo>
                    <a:pt x="3146" y="3510"/>
                  </a:lnTo>
                  <a:lnTo>
                    <a:pt x="3148" y="3508"/>
                  </a:lnTo>
                  <a:lnTo>
                    <a:pt x="3150" y="3506"/>
                  </a:lnTo>
                  <a:lnTo>
                    <a:pt x="3150" y="3504"/>
                  </a:lnTo>
                  <a:lnTo>
                    <a:pt x="3153" y="3504"/>
                  </a:lnTo>
                  <a:lnTo>
                    <a:pt x="3153" y="3502"/>
                  </a:lnTo>
                  <a:lnTo>
                    <a:pt x="3153" y="3500"/>
                  </a:lnTo>
                  <a:lnTo>
                    <a:pt x="3155" y="3498"/>
                  </a:lnTo>
                  <a:lnTo>
                    <a:pt x="3155" y="3496"/>
                  </a:lnTo>
                  <a:lnTo>
                    <a:pt x="3155" y="3494"/>
                  </a:lnTo>
                  <a:lnTo>
                    <a:pt x="3157" y="3494"/>
                  </a:lnTo>
                  <a:lnTo>
                    <a:pt x="3157" y="3492"/>
                  </a:lnTo>
                  <a:lnTo>
                    <a:pt x="3157" y="3490"/>
                  </a:lnTo>
                  <a:lnTo>
                    <a:pt x="3157" y="3488"/>
                  </a:lnTo>
                  <a:lnTo>
                    <a:pt x="3157" y="3486"/>
                  </a:lnTo>
                  <a:lnTo>
                    <a:pt x="3159" y="3484"/>
                  </a:lnTo>
                  <a:lnTo>
                    <a:pt x="3159" y="3482"/>
                  </a:lnTo>
                  <a:lnTo>
                    <a:pt x="3159" y="3480"/>
                  </a:lnTo>
                  <a:lnTo>
                    <a:pt x="3159" y="3478"/>
                  </a:lnTo>
                  <a:lnTo>
                    <a:pt x="3159" y="3476"/>
                  </a:lnTo>
                  <a:lnTo>
                    <a:pt x="3159" y="3474"/>
                  </a:lnTo>
                  <a:lnTo>
                    <a:pt x="3159" y="3474"/>
                  </a:lnTo>
                  <a:lnTo>
                    <a:pt x="3159" y="3472"/>
                  </a:lnTo>
                  <a:lnTo>
                    <a:pt x="3161" y="3470"/>
                  </a:lnTo>
                  <a:lnTo>
                    <a:pt x="3161" y="3468"/>
                  </a:lnTo>
                  <a:lnTo>
                    <a:pt x="3161" y="3466"/>
                  </a:lnTo>
                  <a:lnTo>
                    <a:pt x="3161" y="3464"/>
                  </a:lnTo>
                  <a:lnTo>
                    <a:pt x="3163" y="3462"/>
                  </a:lnTo>
                  <a:lnTo>
                    <a:pt x="3163" y="3460"/>
                  </a:lnTo>
                  <a:lnTo>
                    <a:pt x="3163" y="3458"/>
                  </a:lnTo>
                  <a:lnTo>
                    <a:pt x="3161" y="3456"/>
                  </a:lnTo>
                  <a:lnTo>
                    <a:pt x="3161" y="3456"/>
                  </a:lnTo>
                  <a:lnTo>
                    <a:pt x="3159" y="3456"/>
                  </a:lnTo>
                  <a:lnTo>
                    <a:pt x="3157" y="3454"/>
                  </a:lnTo>
                  <a:lnTo>
                    <a:pt x="3155" y="3454"/>
                  </a:lnTo>
                  <a:lnTo>
                    <a:pt x="3153" y="3452"/>
                  </a:lnTo>
                  <a:lnTo>
                    <a:pt x="3153" y="3452"/>
                  </a:lnTo>
                  <a:lnTo>
                    <a:pt x="3150" y="3450"/>
                  </a:lnTo>
                  <a:lnTo>
                    <a:pt x="3150" y="3448"/>
                  </a:lnTo>
                  <a:lnTo>
                    <a:pt x="3148" y="3446"/>
                  </a:lnTo>
                  <a:lnTo>
                    <a:pt x="3148" y="3446"/>
                  </a:lnTo>
                  <a:lnTo>
                    <a:pt x="3146" y="3446"/>
                  </a:lnTo>
                  <a:lnTo>
                    <a:pt x="3144" y="3444"/>
                  </a:lnTo>
                  <a:lnTo>
                    <a:pt x="3144" y="3442"/>
                  </a:lnTo>
                  <a:lnTo>
                    <a:pt x="3142" y="3442"/>
                  </a:lnTo>
                  <a:lnTo>
                    <a:pt x="3140" y="3440"/>
                  </a:lnTo>
                  <a:lnTo>
                    <a:pt x="3138" y="3440"/>
                  </a:lnTo>
                  <a:lnTo>
                    <a:pt x="3138" y="3438"/>
                  </a:lnTo>
                  <a:lnTo>
                    <a:pt x="3135" y="3438"/>
                  </a:lnTo>
                  <a:lnTo>
                    <a:pt x="3135" y="3436"/>
                  </a:lnTo>
                  <a:lnTo>
                    <a:pt x="3133" y="3436"/>
                  </a:lnTo>
                  <a:lnTo>
                    <a:pt x="3131" y="3434"/>
                  </a:lnTo>
                  <a:lnTo>
                    <a:pt x="3131" y="3432"/>
                  </a:lnTo>
                  <a:lnTo>
                    <a:pt x="3129" y="3432"/>
                  </a:lnTo>
                  <a:lnTo>
                    <a:pt x="3129" y="3432"/>
                  </a:lnTo>
                  <a:lnTo>
                    <a:pt x="3127" y="3430"/>
                  </a:lnTo>
                  <a:lnTo>
                    <a:pt x="3125" y="3430"/>
                  </a:lnTo>
                  <a:lnTo>
                    <a:pt x="3125" y="3430"/>
                  </a:lnTo>
                  <a:lnTo>
                    <a:pt x="3123" y="3428"/>
                  </a:lnTo>
                  <a:lnTo>
                    <a:pt x="3125" y="3426"/>
                  </a:lnTo>
                  <a:lnTo>
                    <a:pt x="3125" y="3424"/>
                  </a:lnTo>
                  <a:lnTo>
                    <a:pt x="3125" y="3422"/>
                  </a:lnTo>
                  <a:lnTo>
                    <a:pt x="3125" y="3422"/>
                  </a:lnTo>
                  <a:lnTo>
                    <a:pt x="3125" y="3420"/>
                  </a:lnTo>
                  <a:lnTo>
                    <a:pt x="3127" y="3418"/>
                  </a:lnTo>
                  <a:lnTo>
                    <a:pt x="3127" y="3416"/>
                  </a:lnTo>
                  <a:lnTo>
                    <a:pt x="3129" y="3414"/>
                  </a:lnTo>
                  <a:lnTo>
                    <a:pt x="3129" y="3412"/>
                  </a:lnTo>
                  <a:lnTo>
                    <a:pt x="3131" y="3412"/>
                  </a:lnTo>
                  <a:lnTo>
                    <a:pt x="3133" y="3410"/>
                  </a:lnTo>
                  <a:lnTo>
                    <a:pt x="3135" y="3410"/>
                  </a:lnTo>
                  <a:lnTo>
                    <a:pt x="3135" y="3408"/>
                  </a:lnTo>
                  <a:lnTo>
                    <a:pt x="3138" y="3408"/>
                  </a:lnTo>
                  <a:lnTo>
                    <a:pt x="3138" y="3406"/>
                  </a:lnTo>
                  <a:lnTo>
                    <a:pt x="3140" y="3406"/>
                  </a:lnTo>
                  <a:lnTo>
                    <a:pt x="3142" y="3406"/>
                  </a:lnTo>
                  <a:lnTo>
                    <a:pt x="3144" y="3404"/>
                  </a:lnTo>
                  <a:lnTo>
                    <a:pt x="3146" y="3404"/>
                  </a:lnTo>
                  <a:lnTo>
                    <a:pt x="3146" y="3402"/>
                  </a:lnTo>
                  <a:lnTo>
                    <a:pt x="3148" y="3402"/>
                  </a:lnTo>
                  <a:lnTo>
                    <a:pt x="3150" y="3402"/>
                  </a:lnTo>
                  <a:lnTo>
                    <a:pt x="3150" y="3402"/>
                  </a:lnTo>
                  <a:lnTo>
                    <a:pt x="3153" y="3400"/>
                  </a:lnTo>
                  <a:lnTo>
                    <a:pt x="3155" y="3400"/>
                  </a:lnTo>
                  <a:lnTo>
                    <a:pt x="3157" y="3400"/>
                  </a:lnTo>
                  <a:lnTo>
                    <a:pt x="3159" y="3398"/>
                  </a:lnTo>
                  <a:lnTo>
                    <a:pt x="3159" y="3398"/>
                  </a:lnTo>
                  <a:lnTo>
                    <a:pt x="3161" y="3398"/>
                  </a:lnTo>
                  <a:lnTo>
                    <a:pt x="3163" y="3398"/>
                  </a:lnTo>
                  <a:lnTo>
                    <a:pt x="3165" y="3396"/>
                  </a:lnTo>
                  <a:lnTo>
                    <a:pt x="3165" y="3394"/>
                  </a:lnTo>
                  <a:lnTo>
                    <a:pt x="3168" y="3394"/>
                  </a:lnTo>
                  <a:lnTo>
                    <a:pt x="3168" y="3392"/>
                  </a:lnTo>
                  <a:lnTo>
                    <a:pt x="3170" y="3390"/>
                  </a:lnTo>
                  <a:lnTo>
                    <a:pt x="3170" y="3388"/>
                  </a:lnTo>
                  <a:lnTo>
                    <a:pt x="3172" y="3388"/>
                  </a:lnTo>
                  <a:lnTo>
                    <a:pt x="3172" y="3386"/>
                  </a:lnTo>
                  <a:lnTo>
                    <a:pt x="3174" y="3384"/>
                  </a:lnTo>
                  <a:lnTo>
                    <a:pt x="3176" y="3384"/>
                  </a:lnTo>
                  <a:lnTo>
                    <a:pt x="3178" y="3382"/>
                  </a:lnTo>
                  <a:lnTo>
                    <a:pt x="3181" y="3382"/>
                  </a:lnTo>
                  <a:lnTo>
                    <a:pt x="3181" y="3382"/>
                  </a:lnTo>
                  <a:lnTo>
                    <a:pt x="3183" y="3384"/>
                  </a:lnTo>
                  <a:lnTo>
                    <a:pt x="3185" y="3382"/>
                  </a:lnTo>
                  <a:lnTo>
                    <a:pt x="3187" y="3382"/>
                  </a:lnTo>
                  <a:lnTo>
                    <a:pt x="3187" y="3382"/>
                  </a:lnTo>
                  <a:lnTo>
                    <a:pt x="3189" y="3380"/>
                  </a:lnTo>
                  <a:lnTo>
                    <a:pt x="3191" y="3380"/>
                  </a:lnTo>
                  <a:lnTo>
                    <a:pt x="3193" y="3380"/>
                  </a:lnTo>
                  <a:lnTo>
                    <a:pt x="3196" y="3380"/>
                  </a:lnTo>
                  <a:lnTo>
                    <a:pt x="3198" y="3382"/>
                  </a:lnTo>
                  <a:lnTo>
                    <a:pt x="3200" y="3380"/>
                  </a:lnTo>
                  <a:lnTo>
                    <a:pt x="3200" y="3382"/>
                  </a:lnTo>
                  <a:lnTo>
                    <a:pt x="3202" y="3382"/>
                  </a:lnTo>
                  <a:lnTo>
                    <a:pt x="3204" y="3382"/>
                  </a:lnTo>
                  <a:lnTo>
                    <a:pt x="3206" y="3382"/>
                  </a:lnTo>
                  <a:lnTo>
                    <a:pt x="3208" y="3382"/>
                  </a:lnTo>
                  <a:lnTo>
                    <a:pt x="3208" y="3384"/>
                  </a:lnTo>
                  <a:lnTo>
                    <a:pt x="3211" y="3384"/>
                  </a:lnTo>
                  <a:lnTo>
                    <a:pt x="3213" y="3384"/>
                  </a:lnTo>
                  <a:lnTo>
                    <a:pt x="3215" y="3384"/>
                  </a:lnTo>
                  <a:lnTo>
                    <a:pt x="3217" y="3384"/>
                  </a:lnTo>
                  <a:lnTo>
                    <a:pt x="3219" y="3384"/>
                  </a:lnTo>
                  <a:lnTo>
                    <a:pt x="3221" y="3384"/>
                  </a:lnTo>
                  <a:lnTo>
                    <a:pt x="3221" y="3382"/>
                  </a:lnTo>
                  <a:lnTo>
                    <a:pt x="3223" y="3380"/>
                  </a:lnTo>
                  <a:lnTo>
                    <a:pt x="3223" y="3380"/>
                  </a:lnTo>
                  <a:lnTo>
                    <a:pt x="3223" y="3380"/>
                  </a:lnTo>
                  <a:lnTo>
                    <a:pt x="3223" y="3382"/>
                  </a:lnTo>
                  <a:lnTo>
                    <a:pt x="3223" y="3382"/>
                  </a:lnTo>
                  <a:lnTo>
                    <a:pt x="3226" y="3382"/>
                  </a:lnTo>
                  <a:lnTo>
                    <a:pt x="3226" y="3380"/>
                  </a:lnTo>
                  <a:lnTo>
                    <a:pt x="3226" y="3382"/>
                  </a:lnTo>
                  <a:lnTo>
                    <a:pt x="3228" y="3382"/>
                  </a:lnTo>
                  <a:lnTo>
                    <a:pt x="3230" y="3380"/>
                  </a:lnTo>
                  <a:lnTo>
                    <a:pt x="3232" y="3378"/>
                  </a:lnTo>
                  <a:lnTo>
                    <a:pt x="3232" y="3378"/>
                  </a:lnTo>
                  <a:lnTo>
                    <a:pt x="3234" y="3376"/>
                  </a:lnTo>
                  <a:lnTo>
                    <a:pt x="3234" y="3375"/>
                  </a:lnTo>
                  <a:lnTo>
                    <a:pt x="3236" y="3375"/>
                  </a:lnTo>
                  <a:lnTo>
                    <a:pt x="3236" y="3373"/>
                  </a:lnTo>
                  <a:lnTo>
                    <a:pt x="3238" y="3373"/>
                  </a:lnTo>
                  <a:lnTo>
                    <a:pt x="3241" y="3371"/>
                  </a:lnTo>
                  <a:lnTo>
                    <a:pt x="3243" y="3369"/>
                  </a:lnTo>
                  <a:lnTo>
                    <a:pt x="3243" y="3369"/>
                  </a:lnTo>
                  <a:lnTo>
                    <a:pt x="3245" y="3367"/>
                  </a:lnTo>
                  <a:lnTo>
                    <a:pt x="3245" y="3365"/>
                  </a:lnTo>
                  <a:lnTo>
                    <a:pt x="3245" y="3363"/>
                  </a:lnTo>
                  <a:lnTo>
                    <a:pt x="3245" y="3361"/>
                  </a:lnTo>
                  <a:lnTo>
                    <a:pt x="3247" y="3359"/>
                  </a:lnTo>
                  <a:lnTo>
                    <a:pt x="3247" y="3357"/>
                  </a:lnTo>
                  <a:lnTo>
                    <a:pt x="3247" y="3357"/>
                  </a:lnTo>
                  <a:lnTo>
                    <a:pt x="3249" y="3355"/>
                  </a:lnTo>
                  <a:lnTo>
                    <a:pt x="3249" y="3353"/>
                  </a:lnTo>
                  <a:lnTo>
                    <a:pt x="3249" y="3351"/>
                  </a:lnTo>
                  <a:lnTo>
                    <a:pt x="3249" y="3349"/>
                  </a:lnTo>
                  <a:lnTo>
                    <a:pt x="3251" y="3347"/>
                  </a:lnTo>
                  <a:lnTo>
                    <a:pt x="3251" y="3345"/>
                  </a:lnTo>
                  <a:lnTo>
                    <a:pt x="3251" y="3343"/>
                  </a:lnTo>
                  <a:lnTo>
                    <a:pt x="3251" y="3341"/>
                  </a:lnTo>
                  <a:lnTo>
                    <a:pt x="3251" y="3339"/>
                  </a:lnTo>
                  <a:lnTo>
                    <a:pt x="3254" y="3339"/>
                  </a:lnTo>
                  <a:lnTo>
                    <a:pt x="3254" y="3337"/>
                  </a:lnTo>
                  <a:lnTo>
                    <a:pt x="3254" y="3335"/>
                  </a:lnTo>
                  <a:lnTo>
                    <a:pt x="3254" y="3333"/>
                  </a:lnTo>
                  <a:lnTo>
                    <a:pt x="3254" y="3331"/>
                  </a:lnTo>
                  <a:lnTo>
                    <a:pt x="3254" y="3329"/>
                  </a:lnTo>
                  <a:lnTo>
                    <a:pt x="3254" y="3327"/>
                  </a:lnTo>
                  <a:lnTo>
                    <a:pt x="3254" y="3325"/>
                  </a:lnTo>
                  <a:lnTo>
                    <a:pt x="3254" y="3323"/>
                  </a:lnTo>
                  <a:lnTo>
                    <a:pt x="3254" y="3321"/>
                  </a:lnTo>
                  <a:lnTo>
                    <a:pt x="3254" y="3319"/>
                  </a:lnTo>
                  <a:lnTo>
                    <a:pt x="3251" y="3317"/>
                  </a:lnTo>
                  <a:lnTo>
                    <a:pt x="3251" y="3315"/>
                  </a:lnTo>
                  <a:lnTo>
                    <a:pt x="3251" y="3315"/>
                  </a:lnTo>
                  <a:lnTo>
                    <a:pt x="3251" y="3313"/>
                  </a:lnTo>
                  <a:lnTo>
                    <a:pt x="3251" y="3311"/>
                  </a:lnTo>
                  <a:lnTo>
                    <a:pt x="3251" y="3309"/>
                  </a:lnTo>
                  <a:lnTo>
                    <a:pt x="3251" y="3307"/>
                  </a:lnTo>
                  <a:lnTo>
                    <a:pt x="3251" y="3305"/>
                  </a:lnTo>
                  <a:lnTo>
                    <a:pt x="3251" y="3303"/>
                  </a:lnTo>
                  <a:lnTo>
                    <a:pt x="3251" y="3301"/>
                  </a:lnTo>
                  <a:lnTo>
                    <a:pt x="3251" y="3299"/>
                  </a:lnTo>
                  <a:lnTo>
                    <a:pt x="3249" y="3297"/>
                  </a:lnTo>
                  <a:lnTo>
                    <a:pt x="3249" y="3295"/>
                  </a:lnTo>
                  <a:lnTo>
                    <a:pt x="3249" y="3295"/>
                  </a:lnTo>
                  <a:lnTo>
                    <a:pt x="3247" y="3293"/>
                  </a:lnTo>
                  <a:lnTo>
                    <a:pt x="3245" y="3291"/>
                  </a:lnTo>
                  <a:lnTo>
                    <a:pt x="3245" y="3291"/>
                  </a:lnTo>
                  <a:lnTo>
                    <a:pt x="3247" y="3291"/>
                  </a:lnTo>
                  <a:lnTo>
                    <a:pt x="3247" y="3291"/>
                  </a:lnTo>
                  <a:lnTo>
                    <a:pt x="3245" y="3291"/>
                  </a:lnTo>
                  <a:lnTo>
                    <a:pt x="3243" y="3291"/>
                  </a:lnTo>
                  <a:lnTo>
                    <a:pt x="3243" y="3293"/>
                  </a:lnTo>
                  <a:lnTo>
                    <a:pt x="3241" y="3291"/>
                  </a:lnTo>
                  <a:lnTo>
                    <a:pt x="3238" y="3291"/>
                  </a:lnTo>
                  <a:lnTo>
                    <a:pt x="3238" y="3291"/>
                  </a:lnTo>
                  <a:lnTo>
                    <a:pt x="3236" y="3289"/>
                  </a:lnTo>
                  <a:lnTo>
                    <a:pt x="3234" y="3287"/>
                  </a:lnTo>
                  <a:lnTo>
                    <a:pt x="3232" y="3287"/>
                  </a:lnTo>
                  <a:lnTo>
                    <a:pt x="3230" y="3287"/>
                  </a:lnTo>
                  <a:lnTo>
                    <a:pt x="3230" y="3287"/>
                  </a:lnTo>
                  <a:lnTo>
                    <a:pt x="3228" y="3285"/>
                  </a:lnTo>
                  <a:lnTo>
                    <a:pt x="3226" y="3285"/>
                  </a:lnTo>
                  <a:lnTo>
                    <a:pt x="3226" y="3283"/>
                  </a:lnTo>
                  <a:lnTo>
                    <a:pt x="3223" y="3281"/>
                  </a:lnTo>
                  <a:lnTo>
                    <a:pt x="3223" y="3279"/>
                  </a:lnTo>
                  <a:lnTo>
                    <a:pt x="3223" y="3277"/>
                  </a:lnTo>
                  <a:lnTo>
                    <a:pt x="3221" y="3277"/>
                  </a:lnTo>
                  <a:lnTo>
                    <a:pt x="3221" y="3275"/>
                  </a:lnTo>
                  <a:lnTo>
                    <a:pt x="3219" y="3273"/>
                  </a:lnTo>
                  <a:lnTo>
                    <a:pt x="3219" y="3271"/>
                  </a:lnTo>
                  <a:lnTo>
                    <a:pt x="3217" y="3269"/>
                  </a:lnTo>
                  <a:lnTo>
                    <a:pt x="3217" y="3269"/>
                  </a:lnTo>
                  <a:lnTo>
                    <a:pt x="3215" y="3267"/>
                  </a:lnTo>
                  <a:lnTo>
                    <a:pt x="3215" y="3265"/>
                  </a:lnTo>
                  <a:lnTo>
                    <a:pt x="3213" y="3263"/>
                  </a:lnTo>
                  <a:lnTo>
                    <a:pt x="3213" y="3263"/>
                  </a:lnTo>
                  <a:lnTo>
                    <a:pt x="3211" y="3261"/>
                  </a:lnTo>
                  <a:lnTo>
                    <a:pt x="3208" y="3261"/>
                  </a:lnTo>
                  <a:lnTo>
                    <a:pt x="3206" y="3259"/>
                  </a:lnTo>
                  <a:lnTo>
                    <a:pt x="3206" y="3257"/>
                  </a:lnTo>
                  <a:lnTo>
                    <a:pt x="3204" y="3255"/>
                  </a:lnTo>
                  <a:lnTo>
                    <a:pt x="3204" y="3255"/>
                  </a:lnTo>
                  <a:lnTo>
                    <a:pt x="3202" y="3253"/>
                  </a:lnTo>
                  <a:lnTo>
                    <a:pt x="3202" y="3251"/>
                  </a:lnTo>
                  <a:lnTo>
                    <a:pt x="3202" y="3249"/>
                  </a:lnTo>
                  <a:lnTo>
                    <a:pt x="3202" y="3247"/>
                  </a:lnTo>
                  <a:lnTo>
                    <a:pt x="3202" y="3245"/>
                  </a:lnTo>
                  <a:lnTo>
                    <a:pt x="3200" y="3243"/>
                  </a:lnTo>
                  <a:lnTo>
                    <a:pt x="3200" y="3241"/>
                  </a:lnTo>
                  <a:lnTo>
                    <a:pt x="3200" y="3241"/>
                  </a:lnTo>
                  <a:lnTo>
                    <a:pt x="3200" y="3239"/>
                  </a:lnTo>
                  <a:lnTo>
                    <a:pt x="3198" y="3237"/>
                  </a:lnTo>
                  <a:lnTo>
                    <a:pt x="3198" y="3235"/>
                  </a:lnTo>
                  <a:lnTo>
                    <a:pt x="3198" y="3233"/>
                  </a:lnTo>
                  <a:lnTo>
                    <a:pt x="3198" y="3231"/>
                  </a:lnTo>
                  <a:lnTo>
                    <a:pt x="3196" y="3229"/>
                  </a:lnTo>
                  <a:lnTo>
                    <a:pt x="3196" y="3227"/>
                  </a:lnTo>
                  <a:lnTo>
                    <a:pt x="3196" y="3225"/>
                  </a:lnTo>
                  <a:lnTo>
                    <a:pt x="3193" y="3225"/>
                  </a:lnTo>
                  <a:lnTo>
                    <a:pt x="3193" y="3223"/>
                  </a:lnTo>
                  <a:lnTo>
                    <a:pt x="3193" y="3221"/>
                  </a:lnTo>
                  <a:lnTo>
                    <a:pt x="3191" y="3219"/>
                  </a:lnTo>
                  <a:lnTo>
                    <a:pt x="3191" y="3217"/>
                  </a:lnTo>
                  <a:lnTo>
                    <a:pt x="3191" y="3215"/>
                  </a:lnTo>
                  <a:lnTo>
                    <a:pt x="3189" y="3213"/>
                  </a:lnTo>
                  <a:lnTo>
                    <a:pt x="3189" y="3211"/>
                  </a:lnTo>
                  <a:lnTo>
                    <a:pt x="3189" y="3211"/>
                  </a:lnTo>
                  <a:lnTo>
                    <a:pt x="3189" y="3209"/>
                  </a:lnTo>
                  <a:lnTo>
                    <a:pt x="3189" y="3207"/>
                  </a:lnTo>
                  <a:lnTo>
                    <a:pt x="3187" y="3205"/>
                  </a:lnTo>
                  <a:lnTo>
                    <a:pt x="3187" y="3203"/>
                  </a:lnTo>
                  <a:lnTo>
                    <a:pt x="3187" y="3201"/>
                  </a:lnTo>
                  <a:lnTo>
                    <a:pt x="3187" y="3199"/>
                  </a:lnTo>
                  <a:lnTo>
                    <a:pt x="3187" y="3197"/>
                  </a:lnTo>
                  <a:lnTo>
                    <a:pt x="3187" y="3195"/>
                  </a:lnTo>
                  <a:lnTo>
                    <a:pt x="3187" y="3193"/>
                  </a:lnTo>
                  <a:lnTo>
                    <a:pt x="3187" y="3191"/>
                  </a:lnTo>
                  <a:lnTo>
                    <a:pt x="3185" y="3189"/>
                  </a:lnTo>
                  <a:lnTo>
                    <a:pt x="3185" y="3189"/>
                  </a:lnTo>
                  <a:lnTo>
                    <a:pt x="3185" y="3187"/>
                  </a:lnTo>
                  <a:lnTo>
                    <a:pt x="3185" y="3185"/>
                  </a:lnTo>
                  <a:lnTo>
                    <a:pt x="3185" y="3183"/>
                  </a:lnTo>
                  <a:lnTo>
                    <a:pt x="3185" y="3181"/>
                  </a:lnTo>
                  <a:lnTo>
                    <a:pt x="3185" y="3179"/>
                  </a:lnTo>
                  <a:lnTo>
                    <a:pt x="3183" y="3177"/>
                  </a:lnTo>
                  <a:lnTo>
                    <a:pt x="3183" y="3175"/>
                  </a:lnTo>
                  <a:lnTo>
                    <a:pt x="3183" y="3173"/>
                  </a:lnTo>
                  <a:lnTo>
                    <a:pt x="3183" y="3171"/>
                  </a:lnTo>
                  <a:lnTo>
                    <a:pt x="3183" y="3169"/>
                  </a:lnTo>
                  <a:lnTo>
                    <a:pt x="3183" y="3167"/>
                  </a:lnTo>
                  <a:lnTo>
                    <a:pt x="3183" y="3165"/>
                  </a:lnTo>
                  <a:lnTo>
                    <a:pt x="3183" y="3165"/>
                  </a:lnTo>
                  <a:lnTo>
                    <a:pt x="3181" y="3163"/>
                  </a:lnTo>
                  <a:lnTo>
                    <a:pt x="3181" y="3161"/>
                  </a:lnTo>
                  <a:lnTo>
                    <a:pt x="3181" y="3159"/>
                  </a:lnTo>
                  <a:lnTo>
                    <a:pt x="3181" y="3157"/>
                  </a:lnTo>
                  <a:lnTo>
                    <a:pt x="3181" y="3155"/>
                  </a:lnTo>
                  <a:lnTo>
                    <a:pt x="3181" y="3153"/>
                  </a:lnTo>
                  <a:lnTo>
                    <a:pt x="3181" y="3151"/>
                  </a:lnTo>
                  <a:lnTo>
                    <a:pt x="3178" y="3149"/>
                  </a:lnTo>
                  <a:lnTo>
                    <a:pt x="3178" y="3147"/>
                  </a:lnTo>
                  <a:lnTo>
                    <a:pt x="3178" y="3145"/>
                  </a:lnTo>
                  <a:lnTo>
                    <a:pt x="3178" y="3143"/>
                  </a:lnTo>
                  <a:lnTo>
                    <a:pt x="3176" y="3143"/>
                  </a:lnTo>
                  <a:lnTo>
                    <a:pt x="3176" y="3141"/>
                  </a:lnTo>
                  <a:lnTo>
                    <a:pt x="3176" y="3139"/>
                  </a:lnTo>
                  <a:lnTo>
                    <a:pt x="3174" y="3137"/>
                  </a:lnTo>
                  <a:lnTo>
                    <a:pt x="3174" y="3135"/>
                  </a:lnTo>
                  <a:lnTo>
                    <a:pt x="3174" y="3133"/>
                  </a:lnTo>
                  <a:lnTo>
                    <a:pt x="3174" y="3131"/>
                  </a:lnTo>
                  <a:lnTo>
                    <a:pt x="3174" y="3129"/>
                  </a:lnTo>
                  <a:lnTo>
                    <a:pt x="3172" y="3129"/>
                  </a:lnTo>
                  <a:lnTo>
                    <a:pt x="3172" y="3127"/>
                  </a:lnTo>
                  <a:lnTo>
                    <a:pt x="3172" y="3125"/>
                  </a:lnTo>
                  <a:lnTo>
                    <a:pt x="3172" y="3123"/>
                  </a:lnTo>
                  <a:lnTo>
                    <a:pt x="3170" y="3121"/>
                  </a:lnTo>
                  <a:lnTo>
                    <a:pt x="3170" y="3119"/>
                  </a:lnTo>
                  <a:lnTo>
                    <a:pt x="3168" y="3119"/>
                  </a:lnTo>
                  <a:lnTo>
                    <a:pt x="3168" y="3117"/>
                  </a:lnTo>
                  <a:lnTo>
                    <a:pt x="3168" y="3115"/>
                  </a:lnTo>
                  <a:lnTo>
                    <a:pt x="3165" y="3113"/>
                  </a:lnTo>
                  <a:lnTo>
                    <a:pt x="3165" y="3111"/>
                  </a:lnTo>
                  <a:lnTo>
                    <a:pt x="3165" y="3109"/>
                  </a:lnTo>
                  <a:lnTo>
                    <a:pt x="3163" y="3107"/>
                  </a:lnTo>
                  <a:lnTo>
                    <a:pt x="3163" y="3107"/>
                  </a:lnTo>
                  <a:lnTo>
                    <a:pt x="3163" y="3105"/>
                  </a:lnTo>
                  <a:lnTo>
                    <a:pt x="3161" y="3103"/>
                  </a:lnTo>
                  <a:lnTo>
                    <a:pt x="3161" y="3101"/>
                  </a:lnTo>
                  <a:lnTo>
                    <a:pt x="3159" y="3099"/>
                  </a:lnTo>
                  <a:lnTo>
                    <a:pt x="3159" y="3097"/>
                  </a:lnTo>
                  <a:lnTo>
                    <a:pt x="3159" y="3095"/>
                  </a:lnTo>
                  <a:lnTo>
                    <a:pt x="3157" y="3095"/>
                  </a:lnTo>
                  <a:lnTo>
                    <a:pt x="3157" y="3093"/>
                  </a:lnTo>
                  <a:lnTo>
                    <a:pt x="3157" y="3091"/>
                  </a:lnTo>
                  <a:lnTo>
                    <a:pt x="3155" y="3089"/>
                  </a:lnTo>
                  <a:lnTo>
                    <a:pt x="3155" y="3087"/>
                  </a:lnTo>
                  <a:lnTo>
                    <a:pt x="3153" y="3085"/>
                  </a:lnTo>
                  <a:lnTo>
                    <a:pt x="3153" y="3085"/>
                  </a:lnTo>
                  <a:lnTo>
                    <a:pt x="3150" y="3083"/>
                  </a:lnTo>
                  <a:lnTo>
                    <a:pt x="3150" y="3081"/>
                  </a:lnTo>
                  <a:lnTo>
                    <a:pt x="3148" y="3079"/>
                  </a:lnTo>
                  <a:lnTo>
                    <a:pt x="3148" y="3079"/>
                  </a:lnTo>
                  <a:lnTo>
                    <a:pt x="3146" y="3077"/>
                  </a:lnTo>
                  <a:lnTo>
                    <a:pt x="3144" y="3075"/>
                  </a:lnTo>
                  <a:lnTo>
                    <a:pt x="3142" y="3075"/>
                  </a:lnTo>
                  <a:lnTo>
                    <a:pt x="3142" y="3073"/>
                  </a:lnTo>
                  <a:lnTo>
                    <a:pt x="3140" y="3073"/>
                  </a:lnTo>
                  <a:lnTo>
                    <a:pt x="3140" y="3071"/>
                  </a:lnTo>
                  <a:lnTo>
                    <a:pt x="3138" y="3069"/>
                  </a:lnTo>
                  <a:lnTo>
                    <a:pt x="3138" y="3067"/>
                  </a:lnTo>
                  <a:lnTo>
                    <a:pt x="3135" y="3065"/>
                  </a:lnTo>
                  <a:lnTo>
                    <a:pt x="3135" y="3063"/>
                  </a:lnTo>
                  <a:lnTo>
                    <a:pt x="3133" y="3063"/>
                  </a:lnTo>
                  <a:lnTo>
                    <a:pt x="3133" y="3061"/>
                  </a:lnTo>
                  <a:lnTo>
                    <a:pt x="3131" y="3059"/>
                  </a:lnTo>
                  <a:lnTo>
                    <a:pt x="3131" y="3057"/>
                  </a:lnTo>
                  <a:lnTo>
                    <a:pt x="3129" y="3057"/>
                  </a:lnTo>
                  <a:lnTo>
                    <a:pt x="3129" y="3055"/>
                  </a:lnTo>
                  <a:lnTo>
                    <a:pt x="3127" y="3053"/>
                  </a:lnTo>
                  <a:lnTo>
                    <a:pt x="3125" y="3053"/>
                  </a:lnTo>
                  <a:lnTo>
                    <a:pt x="3125" y="3053"/>
                  </a:lnTo>
                  <a:lnTo>
                    <a:pt x="3123" y="3053"/>
                  </a:lnTo>
                  <a:lnTo>
                    <a:pt x="3123" y="3051"/>
                  </a:lnTo>
                  <a:lnTo>
                    <a:pt x="3120" y="3049"/>
                  </a:lnTo>
                  <a:lnTo>
                    <a:pt x="3118" y="3049"/>
                  </a:lnTo>
                  <a:lnTo>
                    <a:pt x="3116" y="3049"/>
                  </a:lnTo>
                  <a:lnTo>
                    <a:pt x="3114" y="3049"/>
                  </a:lnTo>
                  <a:lnTo>
                    <a:pt x="3112" y="3047"/>
                  </a:lnTo>
                  <a:lnTo>
                    <a:pt x="3112" y="3047"/>
                  </a:lnTo>
                  <a:lnTo>
                    <a:pt x="3110" y="3045"/>
                  </a:lnTo>
                  <a:lnTo>
                    <a:pt x="3110" y="3043"/>
                  </a:lnTo>
                  <a:lnTo>
                    <a:pt x="3107" y="3043"/>
                  </a:lnTo>
                  <a:lnTo>
                    <a:pt x="3107" y="3041"/>
                  </a:lnTo>
                  <a:lnTo>
                    <a:pt x="3107" y="3039"/>
                  </a:lnTo>
                  <a:lnTo>
                    <a:pt x="3105" y="3037"/>
                  </a:lnTo>
                  <a:lnTo>
                    <a:pt x="3105" y="3035"/>
                  </a:lnTo>
                  <a:lnTo>
                    <a:pt x="3105" y="3033"/>
                  </a:lnTo>
                  <a:lnTo>
                    <a:pt x="3103" y="3033"/>
                  </a:lnTo>
                  <a:lnTo>
                    <a:pt x="3103" y="3031"/>
                  </a:lnTo>
                  <a:lnTo>
                    <a:pt x="3103" y="3029"/>
                  </a:lnTo>
                  <a:lnTo>
                    <a:pt x="3101" y="3027"/>
                  </a:lnTo>
                  <a:lnTo>
                    <a:pt x="3101" y="3025"/>
                  </a:lnTo>
                  <a:lnTo>
                    <a:pt x="3101" y="3023"/>
                  </a:lnTo>
                  <a:lnTo>
                    <a:pt x="3101" y="3021"/>
                  </a:lnTo>
                  <a:lnTo>
                    <a:pt x="3099" y="3019"/>
                  </a:lnTo>
                  <a:lnTo>
                    <a:pt x="3099" y="3017"/>
                  </a:lnTo>
                  <a:lnTo>
                    <a:pt x="3099" y="3017"/>
                  </a:lnTo>
                  <a:lnTo>
                    <a:pt x="3097" y="3016"/>
                  </a:lnTo>
                  <a:lnTo>
                    <a:pt x="3097" y="3014"/>
                  </a:lnTo>
                  <a:lnTo>
                    <a:pt x="3095" y="3012"/>
                  </a:lnTo>
                  <a:lnTo>
                    <a:pt x="3095" y="3012"/>
                  </a:lnTo>
                  <a:lnTo>
                    <a:pt x="3095" y="3010"/>
                  </a:lnTo>
                  <a:lnTo>
                    <a:pt x="3092" y="3008"/>
                  </a:lnTo>
                  <a:lnTo>
                    <a:pt x="3092" y="3006"/>
                  </a:lnTo>
                  <a:lnTo>
                    <a:pt x="3092" y="3004"/>
                  </a:lnTo>
                  <a:lnTo>
                    <a:pt x="3092" y="3002"/>
                  </a:lnTo>
                  <a:lnTo>
                    <a:pt x="3090" y="3000"/>
                  </a:lnTo>
                  <a:lnTo>
                    <a:pt x="3090" y="3000"/>
                  </a:lnTo>
                  <a:lnTo>
                    <a:pt x="3090" y="2998"/>
                  </a:lnTo>
                  <a:lnTo>
                    <a:pt x="3088" y="2996"/>
                  </a:lnTo>
                  <a:lnTo>
                    <a:pt x="3086" y="2996"/>
                  </a:lnTo>
                  <a:lnTo>
                    <a:pt x="3086" y="2994"/>
                  </a:lnTo>
                  <a:lnTo>
                    <a:pt x="3084" y="2994"/>
                  </a:lnTo>
                  <a:lnTo>
                    <a:pt x="3084" y="2992"/>
                  </a:lnTo>
                  <a:lnTo>
                    <a:pt x="3084" y="2990"/>
                  </a:lnTo>
                  <a:lnTo>
                    <a:pt x="3084" y="2988"/>
                  </a:lnTo>
                  <a:lnTo>
                    <a:pt x="3082" y="2986"/>
                  </a:lnTo>
                  <a:lnTo>
                    <a:pt x="3082" y="2986"/>
                  </a:lnTo>
                  <a:lnTo>
                    <a:pt x="3082" y="2984"/>
                  </a:lnTo>
                  <a:lnTo>
                    <a:pt x="3082" y="2982"/>
                  </a:lnTo>
                  <a:lnTo>
                    <a:pt x="3080" y="2980"/>
                  </a:lnTo>
                  <a:lnTo>
                    <a:pt x="3080" y="2980"/>
                  </a:lnTo>
                  <a:lnTo>
                    <a:pt x="3080" y="2978"/>
                  </a:lnTo>
                  <a:lnTo>
                    <a:pt x="3082" y="2976"/>
                  </a:lnTo>
                  <a:lnTo>
                    <a:pt x="3080" y="2974"/>
                  </a:lnTo>
                  <a:lnTo>
                    <a:pt x="3080" y="2974"/>
                  </a:lnTo>
                  <a:lnTo>
                    <a:pt x="3080" y="2972"/>
                  </a:lnTo>
                  <a:lnTo>
                    <a:pt x="3080" y="2970"/>
                  </a:lnTo>
                  <a:lnTo>
                    <a:pt x="3077" y="2968"/>
                  </a:lnTo>
                  <a:lnTo>
                    <a:pt x="3077" y="2966"/>
                  </a:lnTo>
                  <a:lnTo>
                    <a:pt x="3077" y="2964"/>
                  </a:lnTo>
                  <a:lnTo>
                    <a:pt x="3075" y="2962"/>
                  </a:lnTo>
                  <a:lnTo>
                    <a:pt x="3075" y="2960"/>
                  </a:lnTo>
                  <a:lnTo>
                    <a:pt x="3075" y="2958"/>
                  </a:lnTo>
                  <a:lnTo>
                    <a:pt x="3073" y="2958"/>
                  </a:lnTo>
                  <a:lnTo>
                    <a:pt x="3073" y="2956"/>
                  </a:lnTo>
                  <a:lnTo>
                    <a:pt x="3073" y="2954"/>
                  </a:lnTo>
                  <a:lnTo>
                    <a:pt x="3073" y="2952"/>
                  </a:lnTo>
                  <a:lnTo>
                    <a:pt x="3073" y="2950"/>
                  </a:lnTo>
                  <a:lnTo>
                    <a:pt x="3071" y="2948"/>
                  </a:lnTo>
                  <a:lnTo>
                    <a:pt x="3071" y="2946"/>
                  </a:lnTo>
                  <a:lnTo>
                    <a:pt x="3071" y="2944"/>
                  </a:lnTo>
                  <a:lnTo>
                    <a:pt x="3071" y="2942"/>
                  </a:lnTo>
                  <a:lnTo>
                    <a:pt x="3071" y="2940"/>
                  </a:lnTo>
                  <a:lnTo>
                    <a:pt x="3069" y="2940"/>
                  </a:lnTo>
                  <a:lnTo>
                    <a:pt x="3069" y="2938"/>
                  </a:lnTo>
                  <a:lnTo>
                    <a:pt x="3069" y="2936"/>
                  </a:lnTo>
                  <a:lnTo>
                    <a:pt x="3067" y="2936"/>
                  </a:lnTo>
                  <a:lnTo>
                    <a:pt x="3067" y="2936"/>
                  </a:lnTo>
                  <a:lnTo>
                    <a:pt x="3065" y="2934"/>
                  </a:lnTo>
                  <a:lnTo>
                    <a:pt x="3065" y="2932"/>
                  </a:lnTo>
                  <a:lnTo>
                    <a:pt x="3065" y="2932"/>
                  </a:lnTo>
                  <a:lnTo>
                    <a:pt x="3062" y="2932"/>
                  </a:lnTo>
                  <a:lnTo>
                    <a:pt x="3062" y="2930"/>
                  </a:lnTo>
                  <a:lnTo>
                    <a:pt x="3065" y="2928"/>
                  </a:lnTo>
                  <a:lnTo>
                    <a:pt x="3065" y="2926"/>
                  </a:lnTo>
                  <a:lnTo>
                    <a:pt x="3067" y="2926"/>
                  </a:lnTo>
                  <a:lnTo>
                    <a:pt x="3067" y="2924"/>
                  </a:lnTo>
                  <a:lnTo>
                    <a:pt x="3067" y="2924"/>
                  </a:lnTo>
                  <a:lnTo>
                    <a:pt x="3069" y="2924"/>
                  </a:lnTo>
                  <a:lnTo>
                    <a:pt x="3069" y="2922"/>
                  </a:lnTo>
                  <a:lnTo>
                    <a:pt x="3069" y="2922"/>
                  </a:lnTo>
                  <a:lnTo>
                    <a:pt x="3069" y="2920"/>
                  </a:lnTo>
                  <a:lnTo>
                    <a:pt x="3069" y="2918"/>
                  </a:lnTo>
                  <a:lnTo>
                    <a:pt x="3069" y="2916"/>
                  </a:lnTo>
                  <a:lnTo>
                    <a:pt x="3069" y="2914"/>
                  </a:lnTo>
                  <a:lnTo>
                    <a:pt x="3067" y="2914"/>
                  </a:lnTo>
                  <a:lnTo>
                    <a:pt x="3067" y="2912"/>
                  </a:lnTo>
                  <a:lnTo>
                    <a:pt x="3067" y="2910"/>
                  </a:lnTo>
                  <a:lnTo>
                    <a:pt x="3067" y="2908"/>
                  </a:lnTo>
                  <a:lnTo>
                    <a:pt x="3065" y="2906"/>
                  </a:lnTo>
                  <a:lnTo>
                    <a:pt x="3065" y="2906"/>
                  </a:lnTo>
                  <a:lnTo>
                    <a:pt x="3062" y="2904"/>
                  </a:lnTo>
                  <a:lnTo>
                    <a:pt x="3062" y="2902"/>
                  </a:lnTo>
                  <a:lnTo>
                    <a:pt x="3060" y="2900"/>
                  </a:lnTo>
                  <a:lnTo>
                    <a:pt x="3058" y="2900"/>
                  </a:lnTo>
                  <a:lnTo>
                    <a:pt x="3058" y="2898"/>
                  </a:lnTo>
                  <a:lnTo>
                    <a:pt x="3056" y="2896"/>
                  </a:lnTo>
                  <a:lnTo>
                    <a:pt x="3056" y="2894"/>
                  </a:lnTo>
                  <a:lnTo>
                    <a:pt x="3054" y="2892"/>
                  </a:lnTo>
                  <a:lnTo>
                    <a:pt x="3054" y="2890"/>
                  </a:lnTo>
                  <a:lnTo>
                    <a:pt x="3052" y="2890"/>
                  </a:lnTo>
                  <a:lnTo>
                    <a:pt x="3050" y="2890"/>
                  </a:lnTo>
                  <a:lnTo>
                    <a:pt x="3050" y="2888"/>
                  </a:lnTo>
                  <a:lnTo>
                    <a:pt x="3050" y="2886"/>
                  </a:lnTo>
                  <a:lnTo>
                    <a:pt x="3047" y="2886"/>
                  </a:lnTo>
                  <a:lnTo>
                    <a:pt x="3050" y="2886"/>
                  </a:lnTo>
                  <a:lnTo>
                    <a:pt x="3047" y="2884"/>
                  </a:lnTo>
                  <a:lnTo>
                    <a:pt x="3047" y="2882"/>
                  </a:lnTo>
                  <a:lnTo>
                    <a:pt x="3047" y="2882"/>
                  </a:lnTo>
                  <a:lnTo>
                    <a:pt x="3047" y="2880"/>
                  </a:lnTo>
                  <a:lnTo>
                    <a:pt x="3047" y="2880"/>
                  </a:lnTo>
                  <a:lnTo>
                    <a:pt x="3045" y="2878"/>
                  </a:lnTo>
                  <a:lnTo>
                    <a:pt x="3045" y="2878"/>
                  </a:lnTo>
                  <a:lnTo>
                    <a:pt x="3043" y="2876"/>
                  </a:lnTo>
                  <a:lnTo>
                    <a:pt x="3043" y="2876"/>
                  </a:lnTo>
                  <a:lnTo>
                    <a:pt x="3043" y="2876"/>
                  </a:lnTo>
                  <a:lnTo>
                    <a:pt x="3043" y="2874"/>
                  </a:lnTo>
                  <a:lnTo>
                    <a:pt x="3041" y="2872"/>
                  </a:lnTo>
                  <a:lnTo>
                    <a:pt x="3039" y="2872"/>
                  </a:lnTo>
                  <a:lnTo>
                    <a:pt x="3039" y="2870"/>
                  </a:lnTo>
                  <a:lnTo>
                    <a:pt x="3039" y="2870"/>
                  </a:lnTo>
                  <a:lnTo>
                    <a:pt x="3037" y="2868"/>
                  </a:lnTo>
                  <a:lnTo>
                    <a:pt x="3034" y="2868"/>
                  </a:lnTo>
                  <a:lnTo>
                    <a:pt x="3034" y="2868"/>
                  </a:lnTo>
                  <a:lnTo>
                    <a:pt x="3032" y="2866"/>
                  </a:lnTo>
                  <a:lnTo>
                    <a:pt x="3034" y="2864"/>
                  </a:lnTo>
                  <a:lnTo>
                    <a:pt x="3032" y="2864"/>
                  </a:lnTo>
                  <a:lnTo>
                    <a:pt x="3030" y="2864"/>
                  </a:lnTo>
                  <a:lnTo>
                    <a:pt x="3028" y="2864"/>
                  </a:lnTo>
                  <a:lnTo>
                    <a:pt x="3028" y="2862"/>
                  </a:lnTo>
                  <a:lnTo>
                    <a:pt x="3026" y="2860"/>
                  </a:lnTo>
                  <a:lnTo>
                    <a:pt x="3026" y="2860"/>
                  </a:lnTo>
                  <a:lnTo>
                    <a:pt x="3024" y="2858"/>
                  </a:lnTo>
                  <a:lnTo>
                    <a:pt x="3026" y="2856"/>
                  </a:lnTo>
                  <a:lnTo>
                    <a:pt x="3026" y="2856"/>
                  </a:lnTo>
                  <a:lnTo>
                    <a:pt x="3026" y="2854"/>
                  </a:lnTo>
                  <a:lnTo>
                    <a:pt x="3026" y="2852"/>
                  </a:lnTo>
                  <a:lnTo>
                    <a:pt x="3024" y="2852"/>
                  </a:lnTo>
                  <a:lnTo>
                    <a:pt x="3022" y="2852"/>
                  </a:lnTo>
                  <a:lnTo>
                    <a:pt x="3022" y="2850"/>
                  </a:lnTo>
                  <a:lnTo>
                    <a:pt x="3022" y="2848"/>
                  </a:lnTo>
                  <a:lnTo>
                    <a:pt x="3019" y="2848"/>
                  </a:lnTo>
                  <a:lnTo>
                    <a:pt x="3017" y="2848"/>
                  </a:lnTo>
                  <a:lnTo>
                    <a:pt x="3017" y="2848"/>
                  </a:lnTo>
                  <a:lnTo>
                    <a:pt x="3015" y="2848"/>
                  </a:lnTo>
                  <a:lnTo>
                    <a:pt x="3013" y="2848"/>
                  </a:lnTo>
                  <a:lnTo>
                    <a:pt x="3013" y="2848"/>
                  </a:lnTo>
                  <a:lnTo>
                    <a:pt x="3011" y="2846"/>
                  </a:lnTo>
                  <a:lnTo>
                    <a:pt x="3011" y="2844"/>
                  </a:lnTo>
                  <a:lnTo>
                    <a:pt x="3009" y="2844"/>
                  </a:lnTo>
                  <a:lnTo>
                    <a:pt x="3007" y="2842"/>
                  </a:lnTo>
                  <a:lnTo>
                    <a:pt x="3007" y="2842"/>
                  </a:lnTo>
                  <a:lnTo>
                    <a:pt x="3007" y="2840"/>
                  </a:lnTo>
                  <a:lnTo>
                    <a:pt x="3007" y="2838"/>
                  </a:lnTo>
                  <a:lnTo>
                    <a:pt x="3009" y="2836"/>
                  </a:lnTo>
                  <a:lnTo>
                    <a:pt x="3007" y="2836"/>
                  </a:lnTo>
                  <a:lnTo>
                    <a:pt x="3004" y="2834"/>
                  </a:lnTo>
                  <a:lnTo>
                    <a:pt x="3004" y="2836"/>
                  </a:lnTo>
                  <a:lnTo>
                    <a:pt x="3002" y="2838"/>
                  </a:lnTo>
                  <a:lnTo>
                    <a:pt x="3000" y="2836"/>
                  </a:lnTo>
                  <a:lnTo>
                    <a:pt x="3000" y="2836"/>
                  </a:lnTo>
                  <a:lnTo>
                    <a:pt x="2998" y="2836"/>
                  </a:lnTo>
                  <a:lnTo>
                    <a:pt x="2996" y="2836"/>
                  </a:lnTo>
                  <a:lnTo>
                    <a:pt x="2994" y="2836"/>
                  </a:lnTo>
                  <a:lnTo>
                    <a:pt x="2992" y="2836"/>
                  </a:lnTo>
                  <a:lnTo>
                    <a:pt x="2989" y="2834"/>
                  </a:lnTo>
                  <a:lnTo>
                    <a:pt x="2987" y="2834"/>
                  </a:lnTo>
                  <a:lnTo>
                    <a:pt x="2985" y="2836"/>
                  </a:lnTo>
                  <a:lnTo>
                    <a:pt x="2985" y="2836"/>
                  </a:lnTo>
                  <a:lnTo>
                    <a:pt x="2983" y="2836"/>
                  </a:lnTo>
                  <a:lnTo>
                    <a:pt x="2981" y="2836"/>
                  </a:lnTo>
                  <a:lnTo>
                    <a:pt x="2979" y="2836"/>
                  </a:lnTo>
                  <a:lnTo>
                    <a:pt x="2976" y="2838"/>
                  </a:lnTo>
                  <a:lnTo>
                    <a:pt x="2974" y="2838"/>
                  </a:lnTo>
                  <a:lnTo>
                    <a:pt x="2972" y="2838"/>
                  </a:lnTo>
                  <a:lnTo>
                    <a:pt x="2970" y="2838"/>
                  </a:lnTo>
                  <a:lnTo>
                    <a:pt x="2968" y="2840"/>
                  </a:lnTo>
                  <a:lnTo>
                    <a:pt x="2968" y="2840"/>
                  </a:lnTo>
                  <a:lnTo>
                    <a:pt x="2966" y="2842"/>
                  </a:lnTo>
                  <a:lnTo>
                    <a:pt x="2964" y="2842"/>
                  </a:lnTo>
                  <a:lnTo>
                    <a:pt x="2964" y="2844"/>
                  </a:lnTo>
                  <a:lnTo>
                    <a:pt x="2961" y="2846"/>
                  </a:lnTo>
                  <a:lnTo>
                    <a:pt x="2961" y="2846"/>
                  </a:lnTo>
                  <a:lnTo>
                    <a:pt x="2961" y="2848"/>
                  </a:lnTo>
                  <a:lnTo>
                    <a:pt x="2959" y="2850"/>
                  </a:lnTo>
                  <a:lnTo>
                    <a:pt x="2959" y="2852"/>
                  </a:lnTo>
                  <a:lnTo>
                    <a:pt x="2959" y="2852"/>
                  </a:lnTo>
                  <a:lnTo>
                    <a:pt x="2957" y="2852"/>
                  </a:lnTo>
                  <a:lnTo>
                    <a:pt x="2955" y="2852"/>
                  </a:lnTo>
                  <a:lnTo>
                    <a:pt x="2955" y="2854"/>
                  </a:lnTo>
                  <a:lnTo>
                    <a:pt x="2953" y="2854"/>
                  </a:lnTo>
                  <a:lnTo>
                    <a:pt x="2951" y="2856"/>
                  </a:lnTo>
                  <a:lnTo>
                    <a:pt x="2951" y="2856"/>
                  </a:lnTo>
                  <a:lnTo>
                    <a:pt x="2949" y="2858"/>
                  </a:lnTo>
                  <a:lnTo>
                    <a:pt x="2949" y="2860"/>
                  </a:lnTo>
                  <a:lnTo>
                    <a:pt x="2946" y="2862"/>
                  </a:lnTo>
                  <a:lnTo>
                    <a:pt x="2946" y="2862"/>
                  </a:lnTo>
                  <a:lnTo>
                    <a:pt x="2944" y="2864"/>
                  </a:lnTo>
                  <a:lnTo>
                    <a:pt x="2944" y="2864"/>
                  </a:lnTo>
                  <a:lnTo>
                    <a:pt x="2944" y="2866"/>
                  </a:lnTo>
                  <a:lnTo>
                    <a:pt x="2942" y="2868"/>
                  </a:lnTo>
                  <a:lnTo>
                    <a:pt x="2942" y="2868"/>
                  </a:lnTo>
                  <a:lnTo>
                    <a:pt x="2940" y="2870"/>
                  </a:lnTo>
                  <a:lnTo>
                    <a:pt x="2940" y="2870"/>
                  </a:lnTo>
                  <a:lnTo>
                    <a:pt x="2940" y="2872"/>
                  </a:lnTo>
                  <a:lnTo>
                    <a:pt x="2940" y="2874"/>
                  </a:lnTo>
                  <a:lnTo>
                    <a:pt x="2938" y="2874"/>
                  </a:lnTo>
                  <a:lnTo>
                    <a:pt x="2936" y="2874"/>
                  </a:lnTo>
                  <a:lnTo>
                    <a:pt x="2936" y="2874"/>
                  </a:lnTo>
                  <a:lnTo>
                    <a:pt x="2936" y="2872"/>
                  </a:lnTo>
                  <a:lnTo>
                    <a:pt x="2936" y="2872"/>
                  </a:lnTo>
                  <a:lnTo>
                    <a:pt x="2934" y="2872"/>
                  </a:lnTo>
                  <a:lnTo>
                    <a:pt x="2931" y="2872"/>
                  </a:lnTo>
                  <a:lnTo>
                    <a:pt x="2931" y="2872"/>
                  </a:lnTo>
                  <a:lnTo>
                    <a:pt x="2929" y="2872"/>
                  </a:lnTo>
                  <a:lnTo>
                    <a:pt x="2929" y="2872"/>
                  </a:lnTo>
                  <a:lnTo>
                    <a:pt x="2927" y="2872"/>
                  </a:lnTo>
                  <a:lnTo>
                    <a:pt x="2927" y="2872"/>
                  </a:lnTo>
                  <a:lnTo>
                    <a:pt x="2925" y="2872"/>
                  </a:lnTo>
                  <a:lnTo>
                    <a:pt x="2923" y="2870"/>
                  </a:lnTo>
                  <a:lnTo>
                    <a:pt x="2923" y="2872"/>
                  </a:lnTo>
                  <a:lnTo>
                    <a:pt x="2921" y="2872"/>
                  </a:lnTo>
                  <a:lnTo>
                    <a:pt x="2921" y="2872"/>
                  </a:lnTo>
                  <a:lnTo>
                    <a:pt x="2919" y="2872"/>
                  </a:lnTo>
                  <a:lnTo>
                    <a:pt x="2916" y="2872"/>
                  </a:lnTo>
                  <a:lnTo>
                    <a:pt x="2916" y="2872"/>
                  </a:lnTo>
                  <a:lnTo>
                    <a:pt x="2916" y="2872"/>
                  </a:lnTo>
                  <a:lnTo>
                    <a:pt x="2914" y="2870"/>
                  </a:lnTo>
                  <a:lnTo>
                    <a:pt x="2912" y="2870"/>
                  </a:lnTo>
                  <a:lnTo>
                    <a:pt x="2910" y="2870"/>
                  </a:lnTo>
                  <a:lnTo>
                    <a:pt x="2910" y="2868"/>
                  </a:lnTo>
                  <a:lnTo>
                    <a:pt x="2908" y="2866"/>
                  </a:lnTo>
                  <a:lnTo>
                    <a:pt x="2906" y="2866"/>
                  </a:lnTo>
                  <a:lnTo>
                    <a:pt x="2906" y="2864"/>
                  </a:lnTo>
                  <a:lnTo>
                    <a:pt x="2903" y="2862"/>
                  </a:lnTo>
                  <a:lnTo>
                    <a:pt x="2903" y="2860"/>
                  </a:lnTo>
                  <a:lnTo>
                    <a:pt x="2901" y="2860"/>
                  </a:lnTo>
                  <a:lnTo>
                    <a:pt x="2899" y="2860"/>
                  </a:lnTo>
                  <a:lnTo>
                    <a:pt x="2897" y="2860"/>
                  </a:lnTo>
                  <a:lnTo>
                    <a:pt x="2895" y="2860"/>
                  </a:lnTo>
                  <a:lnTo>
                    <a:pt x="2893" y="2862"/>
                  </a:lnTo>
                  <a:lnTo>
                    <a:pt x="2893" y="2862"/>
                  </a:lnTo>
                  <a:lnTo>
                    <a:pt x="2893" y="2864"/>
                  </a:lnTo>
                  <a:lnTo>
                    <a:pt x="2891" y="2864"/>
                  </a:lnTo>
                  <a:lnTo>
                    <a:pt x="2891" y="2864"/>
                  </a:lnTo>
                  <a:lnTo>
                    <a:pt x="2888" y="2864"/>
                  </a:lnTo>
                  <a:lnTo>
                    <a:pt x="2888" y="2864"/>
                  </a:lnTo>
                  <a:lnTo>
                    <a:pt x="2886" y="2864"/>
                  </a:lnTo>
                  <a:lnTo>
                    <a:pt x="2886" y="2864"/>
                  </a:lnTo>
                  <a:lnTo>
                    <a:pt x="2886" y="2862"/>
                  </a:lnTo>
                  <a:lnTo>
                    <a:pt x="2884" y="2860"/>
                  </a:lnTo>
                  <a:lnTo>
                    <a:pt x="2886" y="2860"/>
                  </a:lnTo>
                  <a:lnTo>
                    <a:pt x="2888" y="2862"/>
                  </a:lnTo>
                  <a:lnTo>
                    <a:pt x="2891" y="2860"/>
                  </a:lnTo>
                  <a:lnTo>
                    <a:pt x="2891" y="2860"/>
                  </a:lnTo>
                  <a:lnTo>
                    <a:pt x="2891" y="2858"/>
                  </a:lnTo>
                  <a:lnTo>
                    <a:pt x="2891" y="2856"/>
                  </a:lnTo>
                  <a:lnTo>
                    <a:pt x="2891" y="2854"/>
                  </a:lnTo>
                  <a:lnTo>
                    <a:pt x="2888" y="2852"/>
                  </a:lnTo>
                  <a:lnTo>
                    <a:pt x="2888" y="2850"/>
                  </a:lnTo>
                  <a:lnTo>
                    <a:pt x="2888" y="2848"/>
                  </a:lnTo>
                  <a:lnTo>
                    <a:pt x="2886" y="2848"/>
                  </a:lnTo>
                  <a:lnTo>
                    <a:pt x="2886" y="2846"/>
                  </a:lnTo>
                  <a:lnTo>
                    <a:pt x="2886" y="2844"/>
                  </a:lnTo>
                  <a:lnTo>
                    <a:pt x="2884" y="2842"/>
                  </a:lnTo>
                  <a:lnTo>
                    <a:pt x="2882" y="2842"/>
                  </a:lnTo>
                  <a:lnTo>
                    <a:pt x="2882" y="2840"/>
                  </a:lnTo>
                  <a:lnTo>
                    <a:pt x="2880" y="2840"/>
                  </a:lnTo>
                  <a:lnTo>
                    <a:pt x="2878" y="2838"/>
                  </a:lnTo>
                  <a:lnTo>
                    <a:pt x="2876" y="2838"/>
                  </a:lnTo>
                  <a:lnTo>
                    <a:pt x="2873" y="2838"/>
                  </a:lnTo>
                  <a:lnTo>
                    <a:pt x="2873" y="2836"/>
                  </a:lnTo>
                  <a:lnTo>
                    <a:pt x="2871" y="2834"/>
                  </a:lnTo>
                  <a:lnTo>
                    <a:pt x="2871" y="2834"/>
                  </a:lnTo>
                  <a:lnTo>
                    <a:pt x="2869" y="2832"/>
                  </a:lnTo>
                  <a:lnTo>
                    <a:pt x="2867" y="2830"/>
                  </a:lnTo>
                  <a:lnTo>
                    <a:pt x="2867" y="2830"/>
                  </a:lnTo>
                  <a:lnTo>
                    <a:pt x="2865" y="2828"/>
                  </a:lnTo>
                  <a:lnTo>
                    <a:pt x="2863" y="2826"/>
                  </a:lnTo>
                  <a:lnTo>
                    <a:pt x="2863" y="2826"/>
                  </a:lnTo>
                  <a:lnTo>
                    <a:pt x="2861" y="2824"/>
                  </a:lnTo>
                  <a:lnTo>
                    <a:pt x="2858" y="2824"/>
                  </a:lnTo>
                  <a:lnTo>
                    <a:pt x="2856" y="2824"/>
                  </a:lnTo>
                  <a:lnTo>
                    <a:pt x="2854" y="2824"/>
                  </a:lnTo>
                  <a:lnTo>
                    <a:pt x="2854" y="2824"/>
                  </a:lnTo>
                  <a:lnTo>
                    <a:pt x="2852" y="2824"/>
                  </a:lnTo>
                  <a:lnTo>
                    <a:pt x="2852" y="2822"/>
                  </a:lnTo>
                  <a:lnTo>
                    <a:pt x="2850" y="2822"/>
                  </a:lnTo>
                  <a:lnTo>
                    <a:pt x="2848" y="2820"/>
                  </a:lnTo>
                  <a:lnTo>
                    <a:pt x="2848" y="2818"/>
                  </a:lnTo>
                  <a:lnTo>
                    <a:pt x="2845" y="2816"/>
                  </a:lnTo>
                  <a:lnTo>
                    <a:pt x="2845" y="2816"/>
                  </a:lnTo>
                  <a:lnTo>
                    <a:pt x="2843" y="2814"/>
                  </a:lnTo>
                  <a:lnTo>
                    <a:pt x="2841" y="2812"/>
                  </a:lnTo>
                  <a:lnTo>
                    <a:pt x="2841" y="2812"/>
                  </a:lnTo>
                  <a:lnTo>
                    <a:pt x="2839" y="2810"/>
                  </a:lnTo>
                  <a:lnTo>
                    <a:pt x="2837" y="2808"/>
                  </a:lnTo>
                  <a:lnTo>
                    <a:pt x="2837" y="2808"/>
                  </a:lnTo>
                  <a:lnTo>
                    <a:pt x="2835" y="2806"/>
                  </a:lnTo>
                  <a:lnTo>
                    <a:pt x="2833" y="2806"/>
                  </a:lnTo>
                  <a:lnTo>
                    <a:pt x="2830" y="2804"/>
                  </a:lnTo>
                  <a:lnTo>
                    <a:pt x="2830" y="2804"/>
                  </a:lnTo>
                  <a:lnTo>
                    <a:pt x="2828" y="2804"/>
                  </a:lnTo>
                  <a:lnTo>
                    <a:pt x="2826" y="2804"/>
                  </a:lnTo>
                  <a:lnTo>
                    <a:pt x="2824" y="2806"/>
                  </a:lnTo>
                  <a:lnTo>
                    <a:pt x="2822" y="2806"/>
                  </a:lnTo>
                  <a:lnTo>
                    <a:pt x="2820" y="2806"/>
                  </a:lnTo>
                  <a:lnTo>
                    <a:pt x="2818" y="2806"/>
                  </a:lnTo>
                  <a:lnTo>
                    <a:pt x="2818" y="2808"/>
                  </a:lnTo>
                  <a:lnTo>
                    <a:pt x="2815" y="2808"/>
                  </a:lnTo>
                  <a:lnTo>
                    <a:pt x="2813" y="2810"/>
                  </a:lnTo>
                  <a:lnTo>
                    <a:pt x="2811" y="2810"/>
                  </a:lnTo>
                  <a:lnTo>
                    <a:pt x="2811" y="2810"/>
                  </a:lnTo>
                  <a:lnTo>
                    <a:pt x="2809" y="2808"/>
                  </a:lnTo>
                  <a:lnTo>
                    <a:pt x="2807" y="2808"/>
                  </a:lnTo>
                  <a:lnTo>
                    <a:pt x="2805" y="2808"/>
                  </a:lnTo>
                  <a:lnTo>
                    <a:pt x="2803" y="2808"/>
                  </a:lnTo>
                  <a:lnTo>
                    <a:pt x="2800" y="2808"/>
                  </a:lnTo>
                  <a:lnTo>
                    <a:pt x="2800" y="2806"/>
                  </a:lnTo>
                  <a:lnTo>
                    <a:pt x="2798" y="2806"/>
                  </a:lnTo>
                  <a:lnTo>
                    <a:pt x="2796" y="2804"/>
                  </a:lnTo>
                  <a:lnTo>
                    <a:pt x="2796" y="2802"/>
                  </a:lnTo>
                  <a:lnTo>
                    <a:pt x="2796" y="2802"/>
                  </a:lnTo>
                  <a:lnTo>
                    <a:pt x="2796" y="2800"/>
                  </a:lnTo>
                  <a:lnTo>
                    <a:pt x="2794" y="2798"/>
                  </a:lnTo>
                  <a:lnTo>
                    <a:pt x="2792" y="2796"/>
                  </a:lnTo>
                  <a:lnTo>
                    <a:pt x="2792" y="2796"/>
                  </a:lnTo>
                  <a:lnTo>
                    <a:pt x="2790" y="2794"/>
                  </a:lnTo>
                  <a:lnTo>
                    <a:pt x="2788" y="2794"/>
                  </a:lnTo>
                  <a:lnTo>
                    <a:pt x="2788" y="2792"/>
                  </a:lnTo>
                  <a:lnTo>
                    <a:pt x="2785" y="2790"/>
                  </a:lnTo>
                  <a:lnTo>
                    <a:pt x="2785" y="2790"/>
                  </a:lnTo>
                  <a:lnTo>
                    <a:pt x="2783" y="2788"/>
                  </a:lnTo>
                  <a:lnTo>
                    <a:pt x="2781" y="2790"/>
                  </a:lnTo>
                  <a:lnTo>
                    <a:pt x="2779" y="2790"/>
                  </a:lnTo>
                  <a:lnTo>
                    <a:pt x="2777" y="2788"/>
                  </a:lnTo>
                  <a:lnTo>
                    <a:pt x="2777" y="2788"/>
                  </a:lnTo>
                  <a:lnTo>
                    <a:pt x="2775" y="2786"/>
                  </a:lnTo>
                  <a:lnTo>
                    <a:pt x="2772" y="2784"/>
                  </a:lnTo>
                  <a:lnTo>
                    <a:pt x="2770" y="2784"/>
                  </a:lnTo>
                  <a:lnTo>
                    <a:pt x="2768" y="2784"/>
                  </a:lnTo>
                  <a:lnTo>
                    <a:pt x="2766" y="2784"/>
                  </a:lnTo>
                  <a:lnTo>
                    <a:pt x="2766" y="2786"/>
                  </a:lnTo>
                  <a:lnTo>
                    <a:pt x="2764" y="2786"/>
                  </a:lnTo>
                  <a:lnTo>
                    <a:pt x="2764" y="2786"/>
                  </a:lnTo>
                  <a:lnTo>
                    <a:pt x="2762" y="2784"/>
                  </a:lnTo>
                  <a:lnTo>
                    <a:pt x="2760" y="2784"/>
                  </a:lnTo>
                  <a:lnTo>
                    <a:pt x="2757" y="2782"/>
                  </a:lnTo>
                  <a:lnTo>
                    <a:pt x="2757" y="2782"/>
                  </a:lnTo>
                  <a:lnTo>
                    <a:pt x="2755" y="2780"/>
                  </a:lnTo>
                  <a:lnTo>
                    <a:pt x="2755" y="2778"/>
                  </a:lnTo>
                  <a:lnTo>
                    <a:pt x="2755" y="2778"/>
                  </a:lnTo>
                  <a:lnTo>
                    <a:pt x="2755" y="2776"/>
                  </a:lnTo>
                  <a:lnTo>
                    <a:pt x="2757" y="2774"/>
                  </a:lnTo>
                  <a:lnTo>
                    <a:pt x="2760" y="2774"/>
                  </a:lnTo>
                  <a:lnTo>
                    <a:pt x="2760" y="2772"/>
                  </a:lnTo>
                  <a:lnTo>
                    <a:pt x="2762" y="2772"/>
                  </a:lnTo>
                  <a:lnTo>
                    <a:pt x="2764" y="2770"/>
                  </a:lnTo>
                  <a:lnTo>
                    <a:pt x="2764" y="2770"/>
                  </a:lnTo>
                  <a:lnTo>
                    <a:pt x="2766" y="2768"/>
                  </a:lnTo>
                  <a:lnTo>
                    <a:pt x="2766" y="2768"/>
                  </a:lnTo>
                  <a:lnTo>
                    <a:pt x="2768" y="2766"/>
                  </a:lnTo>
                  <a:lnTo>
                    <a:pt x="2768" y="2764"/>
                  </a:lnTo>
                  <a:lnTo>
                    <a:pt x="2768" y="2762"/>
                  </a:lnTo>
                  <a:lnTo>
                    <a:pt x="2768" y="2760"/>
                  </a:lnTo>
                  <a:lnTo>
                    <a:pt x="2768" y="2758"/>
                  </a:lnTo>
                  <a:lnTo>
                    <a:pt x="2768" y="2756"/>
                  </a:lnTo>
                  <a:lnTo>
                    <a:pt x="2766" y="2754"/>
                  </a:lnTo>
                  <a:lnTo>
                    <a:pt x="2766" y="2752"/>
                  </a:lnTo>
                  <a:lnTo>
                    <a:pt x="2766" y="2752"/>
                  </a:lnTo>
                  <a:lnTo>
                    <a:pt x="2764" y="2750"/>
                  </a:lnTo>
                  <a:lnTo>
                    <a:pt x="2764" y="2748"/>
                  </a:lnTo>
                  <a:lnTo>
                    <a:pt x="2766" y="2746"/>
                  </a:lnTo>
                  <a:lnTo>
                    <a:pt x="2766" y="2744"/>
                  </a:lnTo>
                  <a:lnTo>
                    <a:pt x="2766" y="2744"/>
                  </a:lnTo>
                  <a:lnTo>
                    <a:pt x="2766" y="2742"/>
                  </a:lnTo>
                  <a:lnTo>
                    <a:pt x="2768" y="2742"/>
                  </a:lnTo>
                  <a:lnTo>
                    <a:pt x="2768" y="2740"/>
                  </a:lnTo>
                  <a:lnTo>
                    <a:pt x="2770" y="2740"/>
                  </a:lnTo>
                  <a:lnTo>
                    <a:pt x="2772" y="2740"/>
                  </a:lnTo>
                  <a:lnTo>
                    <a:pt x="2775" y="2738"/>
                  </a:lnTo>
                  <a:lnTo>
                    <a:pt x="2775" y="2738"/>
                  </a:lnTo>
                  <a:lnTo>
                    <a:pt x="2775" y="2736"/>
                  </a:lnTo>
                  <a:lnTo>
                    <a:pt x="2777" y="2736"/>
                  </a:lnTo>
                  <a:lnTo>
                    <a:pt x="2779" y="2734"/>
                  </a:lnTo>
                  <a:lnTo>
                    <a:pt x="2779" y="2734"/>
                  </a:lnTo>
                  <a:lnTo>
                    <a:pt x="2781" y="2734"/>
                  </a:lnTo>
                  <a:lnTo>
                    <a:pt x="2783" y="2732"/>
                  </a:lnTo>
                  <a:lnTo>
                    <a:pt x="2783" y="2730"/>
                  </a:lnTo>
                  <a:lnTo>
                    <a:pt x="2783" y="2730"/>
                  </a:lnTo>
                  <a:lnTo>
                    <a:pt x="2783" y="2728"/>
                  </a:lnTo>
                  <a:lnTo>
                    <a:pt x="2783" y="2726"/>
                  </a:lnTo>
                  <a:lnTo>
                    <a:pt x="2783" y="2724"/>
                  </a:lnTo>
                  <a:lnTo>
                    <a:pt x="2783" y="2722"/>
                  </a:lnTo>
                  <a:lnTo>
                    <a:pt x="2783" y="2720"/>
                  </a:lnTo>
                  <a:lnTo>
                    <a:pt x="2783" y="2718"/>
                  </a:lnTo>
                  <a:lnTo>
                    <a:pt x="2781" y="2716"/>
                  </a:lnTo>
                  <a:lnTo>
                    <a:pt x="2781" y="2716"/>
                  </a:lnTo>
                  <a:lnTo>
                    <a:pt x="2781" y="2714"/>
                  </a:lnTo>
                  <a:lnTo>
                    <a:pt x="2781" y="2712"/>
                  </a:lnTo>
                  <a:lnTo>
                    <a:pt x="2779" y="2710"/>
                  </a:lnTo>
                  <a:lnTo>
                    <a:pt x="2779" y="2710"/>
                  </a:lnTo>
                  <a:lnTo>
                    <a:pt x="2779" y="2708"/>
                  </a:lnTo>
                  <a:lnTo>
                    <a:pt x="2777" y="2706"/>
                  </a:lnTo>
                  <a:lnTo>
                    <a:pt x="2777" y="2704"/>
                  </a:lnTo>
                  <a:lnTo>
                    <a:pt x="2775" y="2704"/>
                  </a:lnTo>
                  <a:lnTo>
                    <a:pt x="2775" y="2702"/>
                  </a:lnTo>
                  <a:lnTo>
                    <a:pt x="2772" y="2700"/>
                  </a:lnTo>
                  <a:lnTo>
                    <a:pt x="2772" y="2698"/>
                  </a:lnTo>
                  <a:lnTo>
                    <a:pt x="2770" y="2696"/>
                  </a:lnTo>
                  <a:lnTo>
                    <a:pt x="2770" y="2696"/>
                  </a:lnTo>
                  <a:lnTo>
                    <a:pt x="2768" y="2694"/>
                  </a:lnTo>
                  <a:lnTo>
                    <a:pt x="2768" y="2692"/>
                  </a:lnTo>
                  <a:lnTo>
                    <a:pt x="2766" y="2690"/>
                  </a:lnTo>
                  <a:lnTo>
                    <a:pt x="2766" y="2690"/>
                  </a:lnTo>
                  <a:lnTo>
                    <a:pt x="2764" y="2688"/>
                  </a:lnTo>
                  <a:lnTo>
                    <a:pt x="2764" y="2686"/>
                  </a:lnTo>
                  <a:lnTo>
                    <a:pt x="2762" y="2684"/>
                  </a:lnTo>
                  <a:lnTo>
                    <a:pt x="2762" y="2684"/>
                  </a:lnTo>
                  <a:lnTo>
                    <a:pt x="2760" y="2682"/>
                  </a:lnTo>
                  <a:lnTo>
                    <a:pt x="2760" y="2680"/>
                  </a:lnTo>
                  <a:lnTo>
                    <a:pt x="2757" y="2678"/>
                  </a:lnTo>
                  <a:lnTo>
                    <a:pt x="2757" y="2676"/>
                  </a:lnTo>
                  <a:lnTo>
                    <a:pt x="2755" y="2676"/>
                  </a:lnTo>
                  <a:lnTo>
                    <a:pt x="2755" y="2674"/>
                  </a:lnTo>
                  <a:lnTo>
                    <a:pt x="2755" y="2672"/>
                  </a:lnTo>
                  <a:lnTo>
                    <a:pt x="2753" y="2670"/>
                  </a:lnTo>
                  <a:lnTo>
                    <a:pt x="2753" y="2668"/>
                  </a:lnTo>
                  <a:lnTo>
                    <a:pt x="2753" y="2666"/>
                  </a:lnTo>
                  <a:lnTo>
                    <a:pt x="2751" y="2664"/>
                  </a:lnTo>
                  <a:lnTo>
                    <a:pt x="2751" y="2664"/>
                  </a:lnTo>
                  <a:lnTo>
                    <a:pt x="2749" y="2662"/>
                  </a:lnTo>
                  <a:lnTo>
                    <a:pt x="2749" y="2660"/>
                  </a:lnTo>
                  <a:lnTo>
                    <a:pt x="2749" y="2658"/>
                  </a:lnTo>
                  <a:lnTo>
                    <a:pt x="2747" y="2657"/>
                  </a:lnTo>
                  <a:lnTo>
                    <a:pt x="2747" y="2655"/>
                  </a:lnTo>
                  <a:lnTo>
                    <a:pt x="2745" y="2655"/>
                  </a:lnTo>
                  <a:lnTo>
                    <a:pt x="2745" y="2653"/>
                  </a:lnTo>
                  <a:lnTo>
                    <a:pt x="2742" y="2651"/>
                  </a:lnTo>
                  <a:lnTo>
                    <a:pt x="2742" y="2649"/>
                  </a:lnTo>
                  <a:lnTo>
                    <a:pt x="2740" y="2649"/>
                  </a:lnTo>
                  <a:lnTo>
                    <a:pt x="2740" y="2647"/>
                  </a:lnTo>
                  <a:lnTo>
                    <a:pt x="2738" y="2645"/>
                  </a:lnTo>
                  <a:lnTo>
                    <a:pt x="2738" y="2643"/>
                  </a:lnTo>
                  <a:lnTo>
                    <a:pt x="2736" y="2641"/>
                  </a:lnTo>
                  <a:lnTo>
                    <a:pt x="2734" y="2641"/>
                  </a:lnTo>
                  <a:lnTo>
                    <a:pt x="2734" y="2639"/>
                  </a:lnTo>
                  <a:lnTo>
                    <a:pt x="2732" y="2637"/>
                  </a:lnTo>
                  <a:lnTo>
                    <a:pt x="2732" y="2635"/>
                  </a:lnTo>
                  <a:lnTo>
                    <a:pt x="2730" y="2635"/>
                  </a:lnTo>
                  <a:lnTo>
                    <a:pt x="2730" y="2633"/>
                  </a:lnTo>
                  <a:lnTo>
                    <a:pt x="2727" y="2631"/>
                  </a:lnTo>
                  <a:lnTo>
                    <a:pt x="2725" y="2631"/>
                  </a:lnTo>
                  <a:lnTo>
                    <a:pt x="2725" y="2629"/>
                  </a:lnTo>
                  <a:lnTo>
                    <a:pt x="2723" y="2627"/>
                  </a:lnTo>
                  <a:lnTo>
                    <a:pt x="2723" y="2627"/>
                  </a:lnTo>
                  <a:lnTo>
                    <a:pt x="2721" y="2625"/>
                  </a:lnTo>
                  <a:lnTo>
                    <a:pt x="2719" y="2623"/>
                  </a:lnTo>
                  <a:lnTo>
                    <a:pt x="2719" y="2623"/>
                  </a:lnTo>
                  <a:lnTo>
                    <a:pt x="2717" y="2621"/>
                  </a:lnTo>
                  <a:lnTo>
                    <a:pt x="2714" y="2619"/>
                  </a:lnTo>
                  <a:lnTo>
                    <a:pt x="2714" y="2619"/>
                  </a:lnTo>
                  <a:lnTo>
                    <a:pt x="2712" y="2617"/>
                  </a:lnTo>
                  <a:lnTo>
                    <a:pt x="2710" y="2615"/>
                  </a:lnTo>
                  <a:lnTo>
                    <a:pt x="2710" y="2615"/>
                  </a:lnTo>
                  <a:lnTo>
                    <a:pt x="2708" y="2613"/>
                  </a:lnTo>
                  <a:lnTo>
                    <a:pt x="2706" y="2613"/>
                  </a:lnTo>
                  <a:lnTo>
                    <a:pt x="2704" y="2611"/>
                  </a:lnTo>
                  <a:lnTo>
                    <a:pt x="2704" y="2609"/>
                  </a:lnTo>
                  <a:lnTo>
                    <a:pt x="2702" y="2609"/>
                  </a:lnTo>
                  <a:lnTo>
                    <a:pt x="2699" y="2609"/>
                  </a:lnTo>
                  <a:lnTo>
                    <a:pt x="2697" y="2607"/>
                  </a:lnTo>
                  <a:lnTo>
                    <a:pt x="2695" y="2607"/>
                  </a:lnTo>
                  <a:lnTo>
                    <a:pt x="2695" y="2607"/>
                  </a:lnTo>
                  <a:lnTo>
                    <a:pt x="2693" y="2605"/>
                  </a:lnTo>
                  <a:lnTo>
                    <a:pt x="2691" y="2605"/>
                  </a:lnTo>
                  <a:lnTo>
                    <a:pt x="2691" y="2607"/>
                  </a:lnTo>
                  <a:lnTo>
                    <a:pt x="2689" y="2607"/>
                  </a:lnTo>
                  <a:lnTo>
                    <a:pt x="2689" y="2607"/>
                  </a:lnTo>
                  <a:lnTo>
                    <a:pt x="2691" y="2607"/>
                  </a:lnTo>
                  <a:lnTo>
                    <a:pt x="2691" y="2607"/>
                  </a:lnTo>
                  <a:lnTo>
                    <a:pt x="2689" y="2607"/>
                  </a:lnTo>
                  <a:lnTo>
                    <a:pt x="2687" y="2605"/>
                  </a:lnTo>
                  <a:lnTo>
                    <a:pt x="2687" y="2607"/>
                  </a:lnTo>
                  <a:lnTo>
                    <a:pt x="2684" y="2609"/>
                  </a:lnTo>
                  <a:lnTo>
                    <a:pt x="2684" y="2609"/>
                  </a:lnTo>
                  <a:lnTo>
                    <a:pt x="2682" y="2611"/>
                  </a:lnTo>
                  <a:lnTo>
                    <a:pt x="2680" y="2611"/>
                  </a:lnTo>
                  <a:lnTo>
                    <a:pt x="2678" y="2611"/>
                  </a:lnTo>
                  <a:lnTo>
                    <a:pt x="2678" y="2613"/>
                  </a:lnTo>
                  <a:lnTo>
                    <a:pt x="2678" y="2615"/>
                  </a:lnTo>
                  <a:lnTo>
                    <a:pt x="2676" y="2617"/>
                  </a:lnTo>
                  <a:lnTo>
                    <a:pt x="2676" y="2617"/>
                  </a:lnTo>
                  <a:lnTo>
                    <a:pt x="2674" y="2619"/>
                  </a:lnTo>
                  <a:lnTo>
                    <a:pt x="2674" y="2621"/>
                  </a:lnTo>
                  <a:lnTo>
                    <a:pt x="2674" y="2623"/>
                  </a:lnTo>
                  <a:lnTo>
                    <a:pt x="2672" y="2623"/>
                  </a:lnTo>
                  <a:lnTo>
                    <a:pt x="2672" y="2625"/>
                  </a:lnTo>
                  <a:lnTo>
                    <a:pt x="2669" y="2625"/>
                  </a:lnTo>
                  <a:lnTo>
                    <a:pt x="2669" y="2625"/>
                  </a:lnTo>
                  <a:lnTo>
                    <a:pt x="2667" y="2625"/>
                  </a:lnTo>
                  <a:lnTo>
                    <a:pt x="2665" y="2625"/>
                  </a:lnTo>
                  <a:lnTo>
                    <a:pt x="2663" y="2625"/>
                  </a:lnTo>
                  <a:lnTo>
                    <a:pt x="2663" y="2623"/>
                  </a:lnTo>
                  <a:lnTo>
                    <a:pt x="2661" y="2623"/>
                  </a:lnTo>
                  <a:lnTo>
                    <a:pt x="2661" y="2623"/>
                  </a:lnTo>
                  <a:lnTo>
                    <a:pt x="2659" y="2623"/>
                  </a:lnTo>
                  <a:lnTo>
                    <a:pt x="2657" y="2621"/>
                  </a:lnTo>
                  <a:lnTo>
                    <a:pt x="2657" y="2621"/>
                  </a:lnTo>
                  <a:lnTo>
                    <a:pt x="2654" y="2621"/>
                  </a:lnTo>
                  <a:lnTo>
                    <a:pt x="2652" y="2619"/>
                  </a:lnTo>
                  <a:lnTo>
                    <a:pt x="2650" y="2621"/>
                  </a:lnTo>
                  <a:lnTo>
                    <a:pt x="2650" y="2621"/>
                  </a:lnTo>
                  <a:lnTo>
                    <a:pt x="2648" y="2621"/>
                  </a:lnTo>
                  <a:lnTo>
                    <a:pt x="2646" y="2621"/>
                  </a:lnTo>
                  <a:lnTo>
                    <a:pt x="2646" y="2623"/>
                  </a:lnTo>
                  <a:lnTo>
                    <a:pt x="2644" y="2625"/>
                  </a:lnTo>
                  <a:lnTo>
                    <a:pt x="2644" y="2625"/>
                  </a:lnTo>
                  <a:lnTo>
                    <a:pt x="2641" y="2627"/>
                  </a:lnTo>
                  <a:lnTo>
                    <a:pt x="2641" y="2627"/>
                  </a:lnTo>
                  <a:lnTo>
                    <a:pt x="2639" y="2627"/>
                  </a:lnTo>
                  <a:lnTo>
                    <a:pt x="2637" y="2629"/>
                  </a:lnTo>
                  <a:lnTo>
                    <a:pt x="2637" y="2631"/>
                  </a:lnTo>
                  <a:lnTo>
                    <a:pt x="2635" y="2631"/>
                  </a:lnTo>
                  <a:lnTo>
                    <a:pt x="2635" y="2633"/>
                  </a:lnTo>
                  <a:lnTo>
                    <a:pt x="2633" y="2633"/>
                  </a:lnTo>
                  <a:lnTo>
                    <a:pt x="2633" y="2635"/>
                  </a:lnTo>
                  <a:lnTo>
                    <a:pt x="2631" y="2635"/>
                  </a:lnTo>
                  <a:lnTo>
                    <a:pt x="2631" y="2637"/>
                  </a:lnTo>
                  <a:lnTo>
                    <a:pt x="2631" y="2635"/>
                  </a:lnTo>
                  <a:lnTo>
                    <a:pt x="2629" y="2635"/>
                  </a:lnTo>
                  <a:lnTo>
                    <a:pt x="2626" y="2635"/>
                  </a:lnTo>
                  <a:lnTo>
                    <a:pt x="2626" y="2635"/>
                  </a:lnTo>
                  <a:lnTo>
                    <a:pt x="2624" y="2637"/>
                  </a:lnTo>
                  <a:lnTo>
                    <a:pt x="2622" y="2635"/>
                  </a:lnTo>
                  <a:lnTo>
                    <a:pt x="2620" y="2637"/>
                  </a:lnTo>
                  <a:lnTo>
                    <a:pt x="2620" y="2637"/>
                  </a:lnTo>
                  <a:lnTo>
                    <a:pt x="2618" y="2639"/>
                  </a:lnTo>
                  <a:lnTo>
                    <a:pt x="2616" y="2639"/>
                  </a:lnTo>
                  <a:lnTo>
                    <a:pt x="2616" y="2639"/>
                  </a:lnTo>
                  <a:lnTo>
                    <a:pt x="2614" y="2639"/>
                  </a:lnTo>
                  <a:lnTo>
                    <a:pt x="2614" y="2637"/>
                  </a:lnTo>
                  <a:lnTo>
                    <a:pt x="2614" y="2635"/>
                  </a:lnTo>
                  <a:lnTo>
                    <a:pt x="2611" y="2635"/>
                  </a:lnTo>
                  <a:lnTo>
                    <a:pt x="2609" y="2633"/>
                  </a:lnTo>
                  <a:lnTo>
                    <a:pt x="2607" y="2633"/>
                  </a:lnTo>
                  <a:lnTo>
                    <a:pt x="2607" y="2633"/>
                  </a:lnTo>
                  <a:lnTo>
                    <a:pt x="2605" y="2631"/>
                  </a:lnTo>
                  <a:lnTo>
                    <a:pt x="2603" y="2631"/>
                  </a:lnTo>
                  <a:lnTo>
                    <a:pt x="2601" y="2633"/>
                  </a:lnTo>
                  <a:lnTo>
                    <a:pt x="2599" y="2633"/>
                  </a:lnTo>
                  <a:lnTo>
                    <a:pt x="2599" y="2633"/>
                  </a:lnTo>
                  <a:lnTo>
                    <a:pt x="2596" y="2635"/>
                  </a:lnTo>
                  <a:lnTo>
                    <a:pt x="2594" y="2635"/>
                  </a:lnTo>
                  <a:lnTo>
                    <a:pt x="2594" y="2637"/>
                  </a:lnTo>
                  <a:lnTo>
                    <a:pt x="2592" y="2635"/>
                  </a:lnTo>
                  <a:lnTo>
                    <a:pt x="2590" y="2635"/>
                  </a:lnTo>
                  <a:lnTo>
                    <a:pt x="2588" y="2637"/>
                  </a:lnTo>
                  <a:lnTo>
                    <a:pt x="2586" y="2637"/>
                  </a:lnTo>
                  <a:lnTo>
                    <a:pt x="2586" y="2639"/>
                  </a:lnTo>
                  <a:lnTo>
                    <a:pt x="2583" y="2639"/>
                  </a:lnTo>
                  <a:lnTo>
                    <a:pt x="2581" y="2639"/>
                  </a:lnTo>
                  <a:lnTo>
                    <a:pt x="2579" y="2641"/>
                  </a:lnTo>
                  <a:lnTo>
                    <a:pt x="2579" y="2641"/>
                  </a:lnTo>
                  <a:lnTo>
                    <a:pt x="2577" y="2643"/>
                  </a:lnTo>
                  <a:lnTo>
                    <a:pt x="2577" y="2643"/>
                  </a:lnTo>
                  <a:lnTo>
                    <a:pt x="2575" y="2645"/>
                  </a:lnTo>
                  <a:lnTo>
                    <a:pt x="2573" y="2645"/>
                  </a:lnTo>
                  <a:lnTo>
                    <a:pt x="2573" y="2647"/>
                  </a:lnTo>
                  <a:lnTo>
                    <a:pt x="2571" y="2647"/>
                  </a:lnTo>
                  <a:lnTo>
                    <a:pt x="2568" y="2647"/>
                  </a:lnTo>
                  <a:lnTo>
                    <a:pt x="2568" y="2649"/>
                  </a:lnTo>
                  <a:lnTo>
                    <a:pt x="2566" y="2649"/>
                  </a:lnTo>
                  <a:lnTo>
                    <a:pt x="2566" y="2649"/>
                  </a:lnTo>
                  <a:lnTo>
                    <a:pt x="2564" y="2651"/>
                  </a:lnTo>
                  <a:lnTo>
                    <a:pt x="2562" y="2651"/>
                  </a:lnTo>
                  <a:lnTo>
                    <a:pt x="2562" y="2651"/>
                  </a:lnTo>
                  <a:lnTo>
                    <a:pt x="2560" y="2653"/>
                  </a:lnTo>
                  <a:lnTo>
                    <a:pt x="2560" y="2653"/>
                  </a:lnTo>
                  <a:lnTo>
                    <a:pt x="2558" y="2653"/>
                  </a:lnTo>
                  <a:lnTo>
                    <a:pt x="2556" y="2655"/>
                  </a:lnTo>
                  <a:lnTo>
                    <a:pt x="2556" y="2657"/>
                  </a:lnTo>
                  <a:lnTo>
                    <a:pt x="2556" y="2657"/>
                  </a:lnTo>
                  <a:lnTo>
                    <a:pt x="2553" y="2658"/>
                  </a:lnTo>
                  <a:lnTo>
                    <a:pt x="2553" y="2657"/>
                  </a:lnTo>
                  <a:lnTo>
                    <a:pt x="2553" y="2657"/>
                  </a:lnTo>
                  <a:lnTo>
                    <a:pt x="2553" y="2655"/>
                  </a:lnTo>
                  <a:lnTo>
                    <a:pt x="2551" y="2657"/>
                  </a:lnTo>
                  <a:lnTo>
                    <a:pt x="2551" y="2657"/>
                  </a:lnTo>
                  <a:lnTo>
                    <a:pt x="2549" y="2658"/>
                  </a:lnTo>
                  <a:lnTo>
                    <a:pt x="2547" y="2657"/>
                  </a:lnTo>
                  <a:lnTo>
                    <a:pt x="2547" y="2657"/>
                  </a:lnTo>
                  <a:lnTo>
                    <a:pt x="2547" y="2655"/>
                  </a:lnTo>
                  <a:lnTo>
                    <a:pt x="2547" y="2653"/>
                  </a:lnTo>
                  <a:lnTo>
                    <a:pt x="2549" y="2651"/>
                  </a:lnTo>
                  <a:lnTo>
                    <a:pt x="2547" y="2651"/>
                  </a:lnTo>
                  <a:lnTo>
                    <a:pt x="2547" y="2651"/>
                  </a:lnTo>
                  <a:lnTo>
                    <a:pt x="2547" y="2649"/>
                  </a:lnTo>
                  <a:lnTo>
                    <a:pt x="2549" y="2649"/>
                  </a:lnTo>
                  <a:lnTo>
                    <a:pt x="2547" y="2647"/>
                  </a:lnTo>
                  <a:lnTo>
                    <a:pt x="2549" y="2647"/>
                  </a:lnTo>
                  <a:lnTo>
                    <a:pt x="2549" y="2645"/>
                  </a:lnTo>
                  <a:lnTo>
                    <a:pt x="2549" y="2645"/>
                  </a:lnTo>
                  <a:lnTo>
                    <a:pt x="2549" y="2643"/>
                  </a:lnTo>
                  <a:lnTo>
                    <a:pt x="2551" y="2643"/>
                  </a:lnTo>
                  <a:lnTo>
                    <a:pt x="2551" y="2641"/>
                  </a:lnTo>
                  <a:lnTo>
                    <a:pt x="2553" y="2639"/>
                  </a:lnTo>
                  <a:lnTo>
                    <a:pt x="2553" y="2637"/>
                  </a:lnTo>
                  <a:lnTo>
                    <a:pt x="2551" y="2635"/>
                  </a:lnTo>
                  <a:lnTo>
                    <a:pt x="2551" y="2635"/>
                  </a:lnTo>
                  <a:lnTo>
                    <a:pt x="2553" y="2635"/>
                  </a:lnTo>
                  <a:lnTo>
                    <a:pt x="2556" y="2635"/>
                  </a:lnTo>
                  <a:lnTo>
                    <a:pt x="2556" y="2633"/>
                  </a:lnTo>
                  <a:lnTo>
                    <a:pt x="2556" y="2631"/>
                  </a:lnTo>
                  <a:lnTo>
                    <a:pt x="2558" y="2633"/>
                  </a:lnTo>
                  <a:lnTo>
                    <a:pt x="2558" y="2633"/>
                  </a:lnTo>
                  <a:lnTo>
                    <a:pt x="2560" y="2633"/>
                  </a:lnTo>
                  <a:lnTo>
                    <a:pt x="2562" y="2633"/>
                  </a:lnTo>
                  <a:lnTo>
                    <a:pt x="2564" y="2633"/>
                  </a:lnTo>
                  <a:lnTo>
                    <a:pt x="2564" y="2633"/>
                  </a:lnTo>
                  <a:lnTo>
                    <a:pt x="2566" y="2633"/>
                  </a:lnTo>
                  <a:lnTo>
                    <a:pt x="2568" y="2631"/>
                  </a:lnTo>
                  <a:lnTo>
                    <a:pt x="2568" y="2629"/>
                  </a:lnTo>
                  <a:lnTo>
                    <a:pt x="2571" y="2629"/>
                  </a:lnTo>
                  <a:lnTo>
                    <a:pt x="2573" y="2629"/>
                  </a:lnTo>
                  <a:lnTo>
                    <a:pt x="2573" y="2627"/>
                  </a:lnTo>
                  <a:lnTo>
                    <a:pt x="2575" y="2627"/>
                  </a:lnTo>
                  <a:lnTo>
                    <a:pt x="2575" y="2625"/>
                  </a:lnTo>
                  <a:lnTo>
                    <a:pt x="2575" y="2623"/>
                  </a:lnTo>
                  <a:lnTo>
                    <a:pt x="2573" y="2623"/>
                  </a:lnTo>
                  <a:lnTo>
                    <a:pt x="2573" y="2621"/>
                  </a:lnTo>
                  <a:lnTo>
                    <a:pt x="2575" y="2619"/>
                  </a:lnTo>
                  <a:lnTo>
                    <a:pt x="2577" y="2619"/>
                  </a:lnTo>
                  <a:lnTo>
                    <a:pt x="2577" y="2619"/>
                  </a:lnTo>
                  <a:lnTo>
                    <a:pt x="2579" y="2619"/>
                  </a:lnTo>
                  <a:lnTo>
                    <a:pt x="2581" y="2617"/>
                  </a:lnTo>
                  <a:lnTo>
                    <a:pt x="2581" y="2617"/>
                  </a:lnTo>
                  <a:lnTo>
                    <a:pt x="2583" y="2615"/>
                  </a:lnTo>
                  <a:lnTo>
                    <a:pt x="2583" y="2613"/>
                  </a:lnTo>
                  <a:lnTo>
                    <a:pt x="2583" y="2611"/>
                  </a:lnTo>
                  <a:lnTo>
                    <a:pt x="2586" y="2609"/>
                  </a:lnTo>
                  <a:lnTo>
                    <a:pt x="2586" y="2609"/>
                  </a:lnTo>
                  <a:lnTo>
                    <a:pt x="2588" y="2607"/>
                  </a:lnTo>
                  <a:lnTo>
                    <a:pt x="2590" y="2607"/>
                  </a:lnTo>
                  <a:lnTo>
                    <a:pt x="2590" y="2605"/>
                  </a:lnTo>
                  <a:lnTo>
                    <a:pt x="2592" y="2605"/>
                  </a:lnTo>
                  <a:lnTo>
                    <a:pt x="2594" y="2605"/>
                  </a:lnTo>
                  <a:lnTo>
                    <a:pt x="2594" y="2605"/>
                  </a:lnTo>
                  <a:lnTo>
                    <a:pt x="2596" y="2605"/>
                  </a:lnTo>
                  <a:lnTo>
                    <a:pt x="2596" y="2603"/>
                  </a:lnTo>
                  <a:lnTo>
                    <a:pt x="2599" y="2603"/>
                  </a:lnTo>
                  <a:lnTo>
                    <a:pt x="2599" y="2601"/>
                  </a:lnTo>
                  <a:lnTo>
                    <a:pt x="2599" y="2599"/>
                  </a:lnTo>
                  <a:lnTo>
                    <a:pt x="2596" y="2597"/>
                  </a:lnTo>
                  <a:lnTo>
                    <a:pt x="2596" y="2595"/>
                  </a:lnTo>
                  <a:lnTo>
                    <a:pt x="2596" y="2595"/>
                  </a:lnTo>
                  <a:lnTo>
                    <a:pt x="2594" y="2593"/>
                  </a:lnTo>
                  <a:lnTo>
                    <a:pt x="2594" y="2591"/>
                  </a:lnTo>
                  <a:lnTo>
                    <a:pt x="2592" y="2589"/>
                  </a:lnTo>
                  <a:lnTo>
                    <a:pt x="2592" y="2587"/>
                  </a:lnTo>
                  <a:lnTo>
                    <a:pt x="2592" y="2585"/>
                  </a:lnTo>
                  <a:lnTo>
                    <a:pt x="2590" y="2585"/>
                  </a:lnTo>
                  <a:lnTo>
                    <a:pt x="2588" y="2585"/>
                  </a:lnTo>
                  <a:lnTo>
                    <a:pt x="2588" y="2583"/>
                  </a:lnTo>
                  <a:lnTo>
                    <a:pt x="2588" y="2581"/>
                  </a:lnTo>
                  <a:lnTo>
                    <a:pt x="2586" y="2581"/>
                  </a:lnTo>
                  <a:lnTo>
                    <a:pt x="2586" y="2581"/>
                  </a:lnTo>
                  <a:lnTo>
                    <a:pt x="2583" y="2581"/>
                  </a:lnTo>
                  <a:lnTo>
                    <a:pt x="2583" y="2583"/>
                  </a:lnTo>
                  <a:lnTo>
                    <a:pt x="2583" y="2583"/>
                  </a:lnTo>
                  <a:lnTo>
                    <a:pt x="2583" y="2581"/>
                  </a:lnTo>
                  <a:lnTo>
                    <a:pt x="2581" y="2579"/>
                  </a:lnTo>
                  <a:lnTo>
                    <a:pt x="2579" y="2581"/>
                  </a:lnTo>
                  <a:lnTo>
                    <a:pt x="2579" y="2581"/>
                  </a:lnTo>
                  <a:lnTo>
                    <a:pt x="2577" y="2581"/>
                  </a:lnTo>
                  <a:lnTo>
                    <a:pt x="2575" y="2581"/>
                  </a:lnTo>
                  <a:lnTo>
                    <a:pt x="2573" y="2581"/>
                  </a:lnTo>
                  <a:lnTo>
                    <a:pt x="2571" y="2581"/>
                  </a:lnTo>
                  <a:lnTo>
                    <a:pt x="2571" y="2579"/>
                  </a:lnTo>
                  <a:lnTo>
                    <a:pt x="2568" y="2579"/>
                  </a:lnTo>
                  <a:lnTo>
                    <a:pt x="2566" y="2577"/>
                  </a:lnTo>
                  <a:lnTo>
                    <a:pt x="2564" y="2577"/>
                  </a:lnTo>
                  <a:lnTo>
                    <a:pt x="2564" y="2575"/>
                  </a:lnTo>
                  <a:lnTo>
                    <a:pt x="2562" y="2573"/>
                  </a:lnTo>
                  <a:lnTo>
                    <a:pt x="2560" y="2573"/>
                  </a:lnTo>
                  <a:lnTo>
                    <a:pt x="2560" y="2571"/>
                  </a:lnTo>
                  <a:lnTo>
                    <a:pt x="2558" y="2571"/>
                  </a:lnTo>
                  <a:lnTo>
                    <a:pt x="2556" y="2569"/>
                  </a:lnTo>
                  <a:lnTo>
                    <a:pt x="2556" y="2567"/>
                  </a:lnTo>
                  <a:lnTo>
                    <a:pt x="2556" y="2569"/>
                  </a:lnTo>
                  <a:lnTo>
                    <a:pt x="2553" y="2567"/>
                  </a:lnTo>
                  <a:lnTo>
                    <a:pt x="2553" y="2567"/>
                  </a:lnTo>
                  <a:lnTo>
                    <a:pt x="2551" y="2565"/>
                  </a:lnTo>
                  <a:lnTo>
                    <a:pt x="2551" y="2565"/>
                  </a:lnTo>
                  <a:lnTo>
                    <a:pt x="2549" y="2563"/>
                  </a:lnTo>
                  <a:lnTo>
                    <a:pt x="2547" y="2561"/>
                  </a:lnTo>
                  <a:lnTo>
                    <a:pt x="2547" y="2561"/>
                  </a:lnTo>
                  <a:lnTo>
                    <a:pt x="2545" y="2559"/>
                  </a:lnTo>
                  <a:lnTo>
                    <a:pt x="2545" y="2559"/>
                  </a:lnTo>
                  <a:lnTo>
                    <a:pt x="2545" y="2559"/>
                  </a:lnTo>
                  <a:lnTo>
                    <a:pt x="2543" y="2557"/>
                  </a:lnTo>
                  <a:lnTo>
                    <a:pt x="2543" y="2555"/>
                  </a:lnTo>
                  <a:lnTo>
                    <a:pt x="2541" y="2555"/>
                  </a:lnTo>
                  <a:lnTo>
                    <a:pt x="2538" y="2553"/>
                  </a:lnTo>
                  <a:lnTo>
                    <a:pt x="2538" y="2553"/>
                  </a:lnTo>
                  <a:lnTo>
                    <a:pt x="2536" y="2551"/>
                  </a:lnTo>
                  <a:lnTo>
                    <a:pt x="2534" y="2551"/>
                  </a:lnTo>
                  <a:lnTo>
                    <a:pt x="2532" y="2549"/>
                  </a:lnTo>
                  <a:lnTo>
                    <a:pt x="2532" y="2549"/>
                  </a:lnTo>
                  <a:lnTo>
                    <a:pt x="2532" y="2549"/>
                  </a:lnTo>
                  <a:lnTo>
                    <a:pt x="2530" y="2549"/>
                  </a:lnTo>
                  <a:lnTo>
                    <a:pt x="2530" y="2549"/>
                  </a:lnTo>
                  <a:lnTo>
                    <a:pt x="2530" y="2549"/>
                  </a:lnTo>
                  <a:lnTo>
                    <a:pt x="2528" y="2549"/>
                  </a:lnTo>
                  <a:lnTo>
                    <a:pt x="2528" y="2547"/>
                  </a:lnTo>
                  <a:lnTo>
                    <a:pt x="2528" y="2547"/>
                  </a:lnTo>
                  <a:lnTo>
                    <a:pt x="2526" y="2547"/>
                  </a:lnTo>
                  <a:lnTo>
                    <a:pt x="2526" y="2547"/>
                  </a:lnTo>
                  <a:lnTo>
                    <a:pt x="2526" y="2547"/>
                  </a:lnTo>
                  <a:lnTo>
                    <a:pt x="2523" y="2547"/>
                  </a:lnTo>
                  <a:lnTo>
                    <a:pt x="2523" y="2549"/>
                  </a:lnTo>
                  <a:lnTo>
                    <a:pt x="2523" y="2547"/>
                  </a:lnTo>
                  <a:lnTo>
                    <a:pt x="2523" y="2547"/>
                  </a:lnTo>
                  <a:lnTo>
                    <a:pt x="2523" y="2545"/>
                  </a:lnTo>
                  <a:lnTo>
                    <a:pt x="2523" y="2547"/>
                  </a:lnTo>
                  <a:lnTo>
                    <a:pt x="2523" y="2547"/>
                  </a:lnTo>
                  <a:lnTo>
                    <a:pt x="2521" y="2545"/>
                  </a:lnTo>
                  <a:lnTo>
                    <a:pt x="2521" y="2547"/>
                  </a:lnTo>
                  <a:lnTo>
                    <a:pt x="2519" y="2547"/>
                  </a:lnTo>
                  <a:lnTo>
                    <a:pt x="2519" y="2547"/>
                  </a:lnTo>
                  <a:lnTo>
                    <a:pt x="2519" y="2549"/>
                  </a:lnTo>
                  <a:lnTo>
                    <a:pt x="2519" y="2549"/>
                  </a:lnTo>
                  <a:lnTo>
                    <a:pt x="2517" y="2549"/>
                  </a:lnTo>
                  <a:lnTo>
                    <a:pt x="2517" y="2551"/>
                  </a:lnTo>
                  <a:lnTo>
                    <a:pt x="2519" y="2551"/>
                  </a:lnTo>
                  <a:lnTo>
                    <a:pt x="2521" y="2551"/>
                  </a:lnTo>
                  <a:lnTo>
                    <a:pt x="2523" y="2551"/>
                  </a:lnTo>
                  <a:lnTo>
                    <a:pt x="2523" y="2551"/>
                  </a:lnTo>
                  <a:lnTo>
                    <a:pt x="2521" y="2551"/>
                  </a:lnTo>
                  <a:lnTo>
                    <a:pt x="2519" y="2551"/>
                  </a:lnTo>
                  <a:lnTo>
                    <a:pt x="2517" y="2551"/>
                  </a:lnTo>
                  <a:lnTo>
                    <a:pt x="2517" y="2551"/>
                  </a:lnTo>
                  <a:lnTo>
                    <a:pt x="2515" y="2553"/>
                  </a:lnTo>
                  <a:lnTo>
                    <a:pt x="2515" y="2553"/>
                  </a:lnTo>
                  <a:lnTo>
                    <a:pt x="2515" y="2553"/>
                  </a:lnTo>
                  <a:lnTo>
                    <a:pt x="2513" y="2551"/>
                  </a:lnTo>
                  <a:lnTo>
                    <a:pt x="2510" y="2551"/>
                  </a:lnTo>
                  <a:lnTo>
                    <a:pt x="2508" y="2553"/>
                  </a:lnTo>
                  <a:lnTo>
                    <a:pt x="2506" y="2553"/>
                  </a:lnTo>
                  <a:lnTo>
                    <a:pt x="2506" y="2555"/>
                  </a:lnTo>
                  <a:lnTo>
                    <a:pt x="2506" y="2555"/>
                  </a:lnTo>
                  <a:lnTo>
                    <a:pt x="2504" y="2557"/>
                  </a:lnTo>
                  <a:lnTo>
                    <a:pt x="2504" y="2559"/>
                  </a:lnTo>
                  <a:lnTo>
                    <a:pt x="2504" y="2559"/>
                  </a:lnTo>
                  <a:lnTo>
                    <a:pt x="2502" y="2561"/>
                  </a:lnTo>
                  <a:lnTo>
                    <a:pt x="2502" y="2561"/>
                  </a:lnTo>
                  <a:lnTo>
                    <a:pt x="2502" y="2563"/>
                  </a:lnTo>
                  <a:lnTo>
                    <a:pt x="2502" y="2565"/>
                  </a:lnTo>
                  <a:lnTo>
                    <a:pt x="2502" y="2567"/>
                  </a:lnTo>
                  <a:lnTo>
                    <a:pt x="2500" y="2567"/>
                  </a:lnTo>
                  <a:lnTo>
                    <a:pt x="2500" y="2567"/>
                  </a:lnTo>
                  <a:lnTo>
                    <a:pt x="2498" y="2569"/>
                  </a:lnTo>
                  <a:lnTo>
                    <a:pt x="2495" y="2569"/>
                  </a:lnTo>
                  <a:lnTo>
                    <a:pt x="2495" y="2569"/>
                  </a:lnTo>
                  <a:lnTo>
                    <a:pt x="2493" y="2567"/>
                  </a:lnTo>
                  <a:lnTo>
                    <a:pt x="2493" y="2569"/>
                  </a:lnTo>
                  <a:lnTo>
                    <a:pt x="2493" y="2567"/>
                  </a:lnTo>
                  <a:lnTo>
                    <a:pt x="2491" y="2567"/>
                  </a:lnTo>
                  <a:lnTo>
                    <a:pt x="2489" y="2567"/>
                  </a:lnTo>
                  <a:lnTo>
                    <a:pt x="2489" y="2569"/>
                  </a:lnTo>
                  <a:lnTo>
                    <a:pt x="2487" y="2569"/>
                  </a:lnTo>
                  <a:lnTo>
                    <a:pt x="2487" y="2569"/>
                  </a:lnTo>
                  <a:lnTo>
                    <a:pt x="2487" y="2567"/>
                  </a:lnTo>
                  <a:lnTo>
                    <a:pt x="2487" y="2567"/>
                  </a:lnTo>
                  <a:lnTo>
                    <a:pt x="2489" y="2567"/>
                  </a:lnTo>
                  <a:lnTo>
                    <a:pt x="2491" y="2567"/>
                  </a:lnTo>
                  <a:lnTo>
                    <a:pt x="2491" y="2565"/>
                  </a:lnTo>
                  <a:lnTo>
                    <a:pt x="2491" y="2563"/>
                  </a:lnTo>
                  <a:lnTo>
                    <a:pt x="2489" y="2563"/>
                  </a:lnTo>
                  <a:lnTo>
                    <a:pt x="2491" y="2563"/>
                  </a:lnTo>
                  <a:lnTo>
                    <a:pt x="2489" y="2561"/>
                  </a:lnTo>
                  <a:lnTo>
                    <a:pt x="2487" y="2563"/>
                  </a:lnTo>
                  <a:lnTo>
                    <a:pt x="2489" y="2561"/>
                  </a:lnTo>
                  <a:lnTo>
                    <a:pt x="2487" y="2561"/>
                  </a:lnTo>
                  <a:lnTo>
                    <a:pt x="2485" y="2559"/>
                  </a:lnTo>
                  <a:lnTo>
                    <a:pt x="2483" y="2559"/>
                  </a:lnTo>
                  <a:lnTo>
                    <a:pt x="2483" y="2559"/>
                  </a:lnTo>
                  <a:lnTo>
                    <a:pt x="2480" y="2559"/>
                  </a:lnTo>
                  <a:lnTo>
                    <a:pt x="2478" y="2559"/>
                  </a:lnTo>
                  <a:lnTo>
                    <a:pt x="2476" y="2559"/>
                  </a:lnTo>
                  <a:lnTo>
                    <a:pt x="2474" y="2559"/>
                  </a:lnTo>
                  <a:lnTo>
                    <a:pt x="2472" y="2559"/>
                  </a:lnTo>
                  <a:lnTo>
                    <a:pt x="2470" y="2559"/>
                  </a:lnTo>
                  <a:lnTo>
                    <a:pt x="2472" y="2557"/>
                  </a:lnTo>
                  <a:lnTo>
                    <a:pt x="2472" y="2557"/>
                  </a:lnTo>
                  <a:lnTo>
                    <a:pt x="2472" y="2555"/>
                  </a:lnTo>
                  <a:lnTo>
                    <a:pt x="2470" y="2555"/>
                  </a:lnTo>
                  <a:lnTo>
                    <a:pt x="2470" y="2555"/>
                  </a:lnTo>
                  <a:lnTo>
                    <a:pt x="2468" y="2555"/>
                  </a:lnTo>
                  <a:lnTo>
                    <a:pt x="2468" y="2555"/>
                  </a:lnTo>
                  <a:lnTo>
                    <a:pt x="2465" y="2555"/>
                  </a:lnTo>
                  <a:lnTo>
                    <a:pt x="2465" y="2555"/>
                  </a:lnTo>
                  <a:lnTo>
                    <a:pt x="2463" y="2555"/>
                  </a:lnTo>
                  <a:lnTo>
                    <a:pt x="2461" y="2555"/>
                  </a:lnTo>
                  <a:lnTo>
                    <a:pt x="2459" y="2557"/>
                  </a:lnTo>
                  <a:lnTo>
                    <a:pt x="2459" y="2559"/>
                  </a:lnTo>
                  <a:lnTo>
                    <a:pt x="2457" y="2559"/>
                  </a:lnTo>
                  <a:lnTo>
                    <a:pt x="2457" y="2561"/>
                  </a:lnTo>
                  <a:lnTo>
                    <a:pt x="2457" y="2561"/>
                  </a:lnTo>
                  <a:lnTo>
                    <a:pt x="2459" y="2561"/>
                  </a:lnTo>
                  <a:lnTo>
                    <a:pt x="2459" y="2563"/>
                  </a:lnTo>
                  <a:lnTo>
                    <a:pt x="2461" y="2563"/>
                  </a:lnTo>
                  <a:lnTo>
                    <a:pt x="2461" y="2565"/>
                  </a:lnTo>
                  <a:lnTo>
                    <a:pt x="2461" y="2565"/>
                  </a:lnTo>
                  <a:lnTo>
                    <a:pt x="2461" y="2567"/>
                  </a:lnTo>
                  <a:lnTo>
                    <a:pt x="2461" y="2569"/>
                  </a:lnTo>
                  <a:lnTo>
                    <a:pt x="2463" y="2571"/>
                  </a:lnTo>
                  <a:lnTo>
                    <a:pt x="2463" y="2571"/>
                  </a:lnTo>
                  <a:lnTo>
                    <a:pt x="2463" y="2571"/>
                  </a:lnTo>
                  <a:lnTo>
                    <a:pt x="2461" y="2571"/>
                  </a:lnTo>
                  <a:lnTo>
                    <a:pt x="2459" y="2571"/>
                  </a:lnTo>
                  <a:lnTo>
                    <a:pt x="2459" y="2573"/>
                  </a:lnTo>
                  <a:lnTo>
                    <a:pt x="2461" y="2573"/>
                  </a:lnTo>
                  <a:lnTo>
                    <a:pt x="2463" y="2573"/>
                  </a:lnTo>
                  <a:lnTo>
                    <a:pt x="2463" y="2575"/>
                  </a:lnTo>
                  <a:lnTo>
                    <a:pt x="2463" y="2577"/>
                  </a:lnTo>
                  <a:lnTo>
                    <a:pt x="2463" y="2577"/>
                  </a:lnTo>
                  <a:lnTo>
                    <a:pt x="2461" y="2575"/>
                  </a:lnTo>
                  <a:lnTo>
                    <a:pt x="2461" y="2575"/>
                  </a:lnTo>
                  <a:lnTo>
                    <a:pt x="2461" y="2573"/>
                  </a:lnTo>
                  <a:lnTo>
                    <a:pt x="2459" y="2573"/>
                  </a:lnTo>
                  <a:lnTo>
                    <a:pt x="2457" y="2573"/>
                  </a:lnTo>
                  <a:lnTo>
                    <a:pt x="2455" y="2573"/>
                  </a:lnTo>
                  <a:lnTo>
                    <a:pt x="2452" y="2573"/>
                  </a:lnTo>
                  <a:lnTo>
                    <a:pt x="2450" y="2573"/>
                  </a:lnTo>
                  <a:lnTo>
                    <a:pt x="2448" y="2573"/>
                  </a:lnTo>
                  <a:lnTo>
                    <a:pt x="2448" y="2571"/>
                  </a:lnTo>
                  <a:lnTo>
                    <a:pt x="2448" y="2571"/>
                  </a:lnTo>
                  <a:lnTo>
                    <a:pt x="2446" y="2569"/>
                  </a:lnTo>
                  <a:lnTo>
                    <a:pt x="2444" y="2569"/>
                  </a:lnTo>
                  <a:lnTo>
                    <a:pt x="2446" y="2569"/>
                  </a:lnTo>
                  <a:lnTo>
                    <a:pt x="2446" y="2569"/>
                  </a:lnTo>
                  <a:lnTo>
                    <a:pt x="2446" y="2567"/>
                  </a:lnTo>
                  <a:lnTo>
                    <a:pt x="2448" y="2565"/>
                  </a:lnTo>
                  <a:lnTo>
                    <a:pt x="2448" y="2565"/>
                  </a:lnTo>
                  <a:lnTo>
                    <a:pt x="2448" y="2563"/>
                  </a:lnTo>
                  <a:lnTo>
                    <a:pt x="2448" y="2561"/>
                  </a:lnTo>
                  <a:lnTo>
                    <a:pt x="2448" y="2559"/>
                  </a:lnTo>
                  <a:lnTo>
                    <a:pt x="2448" y="2557"/>
                  </a:lnTo>
                  <a:lnTo>
                    <a:pt x="2448" y="2555"/>
                  </a:lnTo>
                  <a:lnTo>
                    <a:pt x="2448" y="2555"/>
                  </a:lnTo>
                  <a:lnTo>
                    <a:pt x="2448" y="2553"/>
                  </a:lnTo>
                  <a:lnTo>
                    <a:pt x="2448" y="2551"/>
                  </a:lnTo>
                  <a:lnTo>
                    <a:pt x="2448" y="2549"/>
                  </a:lnTo>
                  <a:lnTo>
                    <a:pt x="2448" y="2547"/>
                  </a:lnTo>
                  <a:lnTo>
                    <a:pt x="2446" y="2545"/>
                  </a:lnTo>
                  <a:lnTo>
                    <a:pt x="2446" y="2543"/>
                  </a:lnTo>
                  <a:lnTo>
                    <a:pt x="2446" y="2541"/>
                  </a:lnTo>
                  <a:lnTo>
                    <a:pt x="2446" y="2539"/>
                  </a:lnTo>
                  <a:lnTo>
                    <a:pt x="2444" y="2537"/>
                  </a:lnTo>
                  <a:lnTo>
                    <a:pt x="2444" y="2535"/>
                  </a:lnTo>
                  <a:lnTo>
                    <a:pt x="2444" y="2535"/>
                  </a:lnTo>
                  <a:lnTo>
                    <a:pt x="2444" y="2533"/>
                  </a:lnTo>
                  <a:lnTo>
                    <a:pt x="2442" y="2531"/>
                  </a:lnTo>
                  <a:lnTo>
                    <a:pt x="2442" y="2529"/>
                  </a:lnTo>
                  <a:lnTo>
                    <a:pt x="2442" y="2527"/>
                  </a:lnTo>
                  <a:lnTo>
                    <a:pt x="2440" y="2525"/>
                  </a:lnTo>
                  <a:lnTo>
                    <a:pt x="2440" y="2523"/>
                  </a:lnTo>
                  <a:lnTo>
                    <a:pt x="2437" y="2523"/>
                  </a:lnTo>
                  <a:lnTo>
                    <a:pt x="2437" y="2521"/>
                  </a:lnTo>
                  <a:lnTo>
                    <a:pt x="2437" y="2519"/>
                  </a:lnTo>
                  <a:lnTo>
                    <a:pt x="2435" y="2517"/>
                  </a:lnTo>
                  <a:lnTo>
                    <a:pt x="2435" y="2515"/>
                  </a:lnTo>
                  <a:lnTo>
                    <a:pt x="2433" y="2513"/>
                  </a:lnTo>
                  <a:lnTo>
                    <a:pt x="2433" y="2513"/>
                  </a:lnTo>
                  <a:lnTo>
                    <a:pt x="2431" y="2511"/>
                  </a:lnTo>
                  <a:lnTo>
                    <a:pt x="2431" y="2509"/>
                  </a:lnTo>
                  <a:lnTo>
                    <a:pt x="2429" y="2507"/>
                  </a:lnTo>
                  <a:lnTo>
                    <a:pt x="2429" y="2505"/>
                  </a:lnTo>
                  <a:lnTo>
                    <a:pt x="2427" y="2505"/>
                  </a:lnTo>
                  <a:lnTo>
                    <a:pt x="2427" y="2503"/>
                  </a:lnTo>
                  <a:lnTo>
                    <a:pt x="2425" y="2501"/>
                  </a:lnTo>
                  <a:lnTo>
                    <a:pt x="2422" y="2499"/>
                  </a:lnTo>
                  <a:lnTo>
                    <a:pt x="2422" y="2499"/>
                  </a:lnTo>
                  <a:lnTo>
                    <a:pt x="2420" y="2497"/>
                  </a:lnTo>
                  <a:lnTo>
                    <a:pt x="2420" y="2495"/>
                  </a:lnTo>
                  <a:lnTo>
                    <a:pt x="2418" y="2495"/>
                  </a:lnTo>
                  <a:lnTo>
                    <a:pt x="2416" y="2493"/>
                  </a:lnTo>
                  <a:lnTo>
                    <a:pt x="2416" y="2491"/>
                  </a:lnTo>
                  <a:lnTo>
                    <a:pt x="2414" y="2491"/>
                  </a:lnTo>
                  <a:lnTo>
                    <a:pt x="2414" y="2489"/>
                  </a:lnTo>
                  <a:lnTo>
                    <a:pt x="2412" y="2487"/>
                  </a:lnTo>
                  <a:lnTo>
                    <a:pt x="2410" y="2487"/>
                  </a:lnTo>
                  <a:lnTo>
                    <a:pt x="2410" y="2485"/>
                  </a:lnTo>
                  <a:lnTo>
                    <a:pt x="2407" y="2483"/>
                  </a:lnTo>
                  <a:lnTo>
                    <a:pt x="2405" y="2483"/>
                  </a:lnTo>
                  <a:lnTo>
                    <a:pt x="2403" y="2481"/>
                  </a:lnTo>
                  <a:lnTo>
                    <a:pt x="2403" y="2481"/>
                  </a:lnTo>
                  <a:lnTo>
                    <a:pt x="2401" y="2479"/>
                  </a:lnTo>
                  <a:lnTo>
                    <a:pt x="2401" y="2479"/>
                  </a:lnTo>
                  <a:lnTo>
                    <a:pt x="2403" y="2479"/>
                  </a:lnTo>
                  <a:lnTo>
                    <a:pt x="2405" y="2477"/>
                  </a:lnTo>
                  <a:lnTo>
                    <a:pt x="2405" y="2475"/>
                  </a:lnTo>
                  <a:lnTo>
                    <a:pt x="2407" y="2473"/>
                  </a:lnTo>
                  <a:lnTo>
                    <a:pt x="2405" y="2475"/>
                  </a:lnTo>
                  <a:lnTo>
                    <a:pt x="2405" y="2475"/>
                  </a:lnTo>
                  <a:lnTo>
                    <a:pt x="2403" y="2477"/>
                  </a:lnTo>
                  <a:lnTo>
                    <a:pt x="2401" y="2479"/>
                  </a:lnTo>
                  <a:lnTo>
                    <a:pt x="2401" y="2479"/>
                  </a:lnTo>
                  <a:lnTo>
                    <a:pt x="2401" y="2477"/>
                  </a:lnTo>
                  <a:lnTo>
                    <a:pt x="2399" y="2475"/>
                  </a:lnTo>
                  <a:lnTo>
                    <a:pt x="2399" y="2473"/>
                  </a:lnTo>
                  <a:lnTo>
                    <a:pt x="2399" y="2471"/>
                  </a:lnTo>
                  <a:lnTo>
                    <a:pt x="2399" y="2471"/>
                  </a:lnTo>
                  <a:lnTo>
                    <a:pt x="2397" y="2469"/>
                  </a:lnTo>
                  <a:lnTo>
                    <a:pt x="2397" y="2467"/>
                  </a:lnTo>
                  <a:lnTo>
                    <a:pt x="2397" y="2465"/>
                  </a:lnTo>
                  <a:lnTo>
                    <a:pt x="2397" y="2463"/>
                  </a:lnTo>
                  <a:lnTo>
                    <a:pt x="2394" y="2461"/>
                  </a:lnTo>
                  <a:lnTo>
                    <a:pt x="2394" y="2459"/>
                  </a:lnTo>
                  <a:lnTo>
                    <a:pt x="2394" y="2457"/>
                  </a:lnTo>
                  <a:lnTo>
                    <a:pt x="2392" y="2457"/>
                  </a:lnTo>
                  <a:lnTo>
                    <a:pt x="2392" y="2455"/>
                  </a:lnTo>
                  <a:lnTo>
                    <a:pt x="2390" y="2453"/>
                  </a:lnTo>
                  <a:lnTo>
                    <a:pt x="2390" y="2451"/>
                  </a:lnTo>
                  <a:lnTo>
                    <a:pt x="2390" y="2449"/>
                  </a:lnTo>
                  <a:lnTo>
                    <a:pt x="2388" y="2447"/>
                  </a:lnTo>
                  <a:lnTo>
                    <a:pt x="2388" y="2447"/>
                  </a:lnTo>
                  <a:lnTo>
                    <a:pt x="2386" y="2447"/>
                  </a:lnTo>
                  <a:lnTo>
                    <a:pt x="2386" y="2445"/>
                  </a:lnTo>
                  <a:lnTo>
                    <a:pt x="2384" y="2443"/>
                  </a:lnTo>
                  <a:lnTo>
                    <a:pt x="2384" y="2441"/>
                  </a:lnTo>
                  <a:lnTo>
                    <a:pt x="2382" y="2441"/>
                  </a:lnTo>
                  <a:lnTo>
                    <a:pt x="2382" y="2439"/>
                  </a:lnTo>
                  <a:lnTo>
                    <a:pt x="2379" y="2437"/>
                  </a:lnTo>
                  <a:lnTo>
                    <a:pt x="2377" y="2435"/>
                  </a:lnTo>
                  <a:lnTo>
                    <a:pt x="2377" y="2435"/>
                  </a:lnTo>
                  <a:lnTo>
                    <a:pt x="2375" y="2433"/>
                  </a:lnTo>
                  <a:lnTo>
                    <a:pt x="2375" y="2431"/>
                  </a:lnTo>
                  <a:lnTo>
                    <a:pt x="2373" y="2429"/>
                  </a:lnTo>
                  <a:lnTo>
                    <a:pt x="2373" y="2429"/>
                  </a:lnTo>
                  <a:lnTo>
                    <a:pt x="2371" y="2427"/>
                  </a:lnTo>
                  <a:lnTo>
                    <a:pt x="2371" y="2425"/>
                  </a:lnTo>
                  <a:lnTo>
                    <a:pt x="2369" y="2423"/>
                  </a:lnTo>
                  <a:lnTo>
                    <a:pt x="2369" y="2423"/>
                  </a:lnTo>
                  <a:lnTo>
                    <a:pt x="2367" y="2421"/>
                  </a:lnTo>
                  <a:lnTo>
                    <a:pt x="2367" y="2419"/>
                  </a:lnTo>
                  <a:lnTo>
                    <a:pt x="2364" y="2417"/>
                  </a:lnTo>
                  <a:lnTo>
                    <a:pt x="2362" y="2417"/>
                  </a:lnTo>
                  <a:lnTo>
                    <a:pt x="2362" y="2415"/>
                  </a:lnTo>
                  <a:lnTo>
                    <a:pt x="2360" y="2413"/>
                  </a:lnTo>
                  <a:lnTo>
                    <a:pt x="2360" y="2413"/>
                  </a:lnTo>
                  <a:lnTo>
                    <a:pt x="2358" y="2411"/>
                  </a:lnTo>
                  <a:lnTo>
                    <a:pt x="2356" y="2409"/>
                  </a:lnTo>
                  <a:lnTo>
                    <a:pt x="2354" y="2409"/>
                  </a:lnTo>
                  <a:lnTo>
                    <a:pt x="2354" y="2407"/>
                  </a:lnTo>
                  <a:lnTo>
                    <a:pt x="2352" y="2407"/>
                  </a:lnTo>
                  <a:lnTo>
                    <a:pt x="2349" y="2405"/>
                  </a:lnTo>
                  <a:lnTo>
                    <a:pt x="2349" y="2403"/>
                  </a:lnTo>
                  <a:lnTo>
                    <a:pt x="2347" y="2403"/>
                  </a:lnTo>
                  <a:lnTo>
                    <a:pt x="2345" y="2401"/>
                  </a:lnTo>
                  <a:lnTo>
                    <a:pt x="2343" y="2401"/>
                  </a:lnTo>
                  <a:lnTo>
                    <a:pt x="2343" y="2399"/>
                  </a:lnTo>
                  <a:lnTo>
                    <a:pt x="2341" y="2399"/>
                  </a:lnTo>
                  <a:lnTo>
                    <a:pt x="2339" y="2397"/>
                  </a:lnTo>
                  <a:lnTo>
                    <a:pt x="2339" y="2397"/>
                  </a:lnTo>
                  <a:lnTo>
                    <a:pt x="2337" y="2395"/>
                  </a:lnTo>
                  <a:lnTo>
                    <a:pt x="2334" y="2393"/>
                  </a:lnTo>
                  <a:lnTo>
                    <a:pt x="2334" y="2393"/>
                  </a:lnTo>
                  <a:lnTo>
                    <a:pt x="2332" y="2391"/>
                  </a:lnTo>
                  <a:lnTo>
                    <a:pt x="2330" y="2391"/>
                  </a:lnTo>
                  <a:lnTo>
                    <a:pt x="2328" y="2389"/>
                  </a:lnTo>
                  <a:lnTo>
                    <a:pt x="2326" y="2389"/>
                  </a:lnTo>
                  <a:lnTo>
                    <a:pt x="2326" y="2387"/>
                  </a:lnTo>
                  <a:lnTo>
                    <a:pt x="2324" y="2387"/>
                  </a:lnTo>
                  <a:lnTo>
                    <a:pt x="2321" y="2387"/>
                  </a:lnTo>
                  <a:lnTo>
                    <a:pt x="2319" y="2389"/>
                  </a:lnTo>
                  <a:lnTo>
                    <a:pt x="2319" y="2389"/>
                  </a:lnTo>
                  <a:lnTo>
                    <a:pt x="2317" y="2389"/>
                  </a:lnTo>
                  <a:lnTo>
                    <a:pt x="2317" y="2391"/>
                  </a:lnTo>
                  <a:lnTo>
                    <a:pt x="2315" y="2391"/>
                  </a:lnTo>
                  <a:lnTo>
                    <a:pt x="2313" y="2391"/>
                  </a:lnTo>
                  <a:lnTo>
                    <a:pt x="2313" y="2389"/>
                  </a:lnTo>
                  <a:lnTo>
                    <a:pt x="2311" y="2389"/>
                  </a:lnTo>
                  <a:lnTo>
                    <a:pt x="2309" y="2389"/>
                  </a:lnTo>
                  <a:lnTo>
                    <a:pt x="2309" y="2387"/>
                  </a:lnTo>
                  <a:lnTo>
                    <a:pt x="2306" y="2387"/>
                  </a:lnTo>
                  <a:lnTo>
                    <a:pt x="2304" y="2387"/>
                  </a:lnTo>
                  <a:lnTo>
                    <a:pt x="2302" y="2385"/>
                  </a:lnTo>
                  <a:lnTo>
                    <a:pt x="2300" y="2385"/>
                  </a:lnTo>
                  <a:lnTo>
                    <a:pt x="2298" y="2385"/>
                  </a:lnTo>
                  <a:lnTo>
                    <a:pt x="2296" y="2385"/>
                  </a:lnTo>
                  <a:lnTo>
                    <a:pt x="2294" y="2385"/>
                  </a:lnTo>
                  <a:lnTo>
                    <a:pt x="2291" y="2387"/>
                  </a:lnTo>
                  <a:lnTo>
                    <a:pt x="2291" y="2387"/>
                  </a:lnTo>
                  <a:lnTo>
                    <a:pt x="2289" y="2387"/>
                  </a:lnTo>
                  <a:lnTo>
                    <a:pt x="2291" y="2389"/>
                  </a:lnTo>
                  <a:lnTo>
                    <a:pt x="2289" y="2389"/>
                  </a:lnTo>
                  <a:lnTo>
                    <a:pt x="2289" y="2389"/>
                  </a:lnTo>
                  <a:lnTo>
                    <a:pt x="2287" y="2389"/>
                  </a:lnTo>
                  <a:lnTo>
                    <a:pt x="2285" y="2389"/>
                  </a:lnTo>
                  <a:lnTo>
                    <a:pt x="2283" y="2391"/>
                  </a:lnTo>
                  <a:lnTo>
                    <a:pt x="2283" y="2391"/>
                  </a:lnTo>
                  <a:lnTo>
                    <a:pt x="2281" y="2393"/>
                  </a:lnTo>
                  <a:lnTo>
                    <a:pt x="2279" y="2395"/>
                  </a:lnTo>
                  <a:lnTo>
                    <a:pt x="2279" y="2395"/>
                  </a:lnTo>
                  <a:lnTo>
                    <a:pt x="2276" y="2397"/>
                  </a:lnTo>
                  <a:lnTo>
                    <a:pt x="2276" y="2399"/>
                  </a:lnTo>
                  <a:lnTo>
                    <a:pt x="2276" y="2401"/>
                  </a:lnTo>
                  <a:lnTo>
                    <a:pt x="2279" y="2401"/>
                  </a:lnTo>
                  <a:lnTo>
                    <a:pt x="2279" y="2403"/>
                  </a:lnTo>
                  <a:lnTo>
                    <a:pt x="2279" y="2403"/>
                  </a:lnTo>
                  <a:lnTo>
                    <a:pt x="2279" y="2405"/>
                  </a:lnTo>
                  <a:lnTo>
                    <a:pt x="2281" y="2405"/>
                  </a:lnTo>
                  <a:lnTo>
                    <a:pt x="2281" y="2405"/>
                  </a:lnTo>
                  <a:lnTo>
                    <a:pt x="2283" y="2407"/>
                  </a:lnTo>
                  <a:lnTo>
                    <a:pt x="2283" y="2407"/>
                  </a:lnTo>
                  <a:lnTo>
                    <a:pt x="2285" y="2407"/>
                  </a:lnTo>
                  <a:lnTo>
                    <a:pt x="2285" y="2409"/>
                  </a:lnTo>
                  <a:lnTo>
                    <a:pt x="2283" y="2409"/>
                  </a:lnTo>
                  <a:lnTo>
                    <a:pt x="2281" y="2409"/>
                  </a:lnTo>
                  <a:lnTo>
                    <a:pt x="2279" y="2409"/>
                  </a:lnTo>
                  <a:lnTo>
                    <a:pt x="2279" y="2409"/>
                  </a:lnTo>
                  <a:lnTo>
                    <a:pt x="2279" y="2407"/>
                  </a:lnTo>
                  <a:lnTo>
                    <a:pt x="2276" y="2407"/>
                  </a:lnTo>
                  <a:lnTo>
                    <a:pt x="2274" y="2407"/>
                  </a:lnTo>
                  <a:lnTo>
                    <a:pt x="2272" y="2409"/>
                  </a:lnTo>
                  <a:lnTo>
                    <a:pt x="2270" y="2409"/>
                  </a:lnTo>
                  <a:lnTo>
                    <a:pt x="2270" y="2407"/>
                  </a:lnTo>
                  <a:lnTo>
                    <a:pt x="2268" y="2407"/>
                  </a:lnTo>
                  <a:lnTo>
                    <a:pt x="2268" y="2407"/>
                  </a:lnTo>
                  <a:lnTo>
                    <a:pt x="2266" y="2407"/>
                  </a:lnTo>
                  <a:lnTo>
                    <a:pt x="2266" y="2405"/>
                  </a:lnTo>
                  <a:lnTo>
                    <a:pt x="2263" y="2403"/>
                  </a:lnTo>
                  <a:lnTo>
                    <a:pt x="2263" y="2403"/>
                  </a:lnTo>
                  <a:lnTo>
                    <a:pt x="2261" y="2403"/>
                  </a:lnTo>
                  <a:lnTo>
                    <a:pt x="2259" y="2401"/>
                  </a:lnTo>
                  <a:lnTo>
                    <a:pt x="2259" y="2403"/>
                  </a:lnTo>
                  <a:lnTo>
                    <a:pt x="2257" y="2403"/>
                  </a:lnTo>
                  <a:lnTo>
                    <a:pt x="2255" y="2403"/>
                  </a:lnTo>
                  <a:lnTo>
                    <a:pt x="2255" y="2401"/>
                  </a:lnTo>
                  <a:lnTo>
                    <a:pt x="2255" y="2401"/>
                  </a:lnTo>
                  <a:lnTo>
                    <a:pt x="2253" y="2399"/>
                  </a:lnTo>
                  <a:lnTo>
                    <a:pt x="2251" y="2399"/>
                  </a:lnTo>
                  <a:lnTo>
                    <a:pt x="2248" y="2397"/>
                  </a:lnTo>
                  <a:lnTo>
                    <a:pt x="2246" y="2397"/>
                  </a:lnTo>
                  <a:lnTo>
                    <a:pt x="2246" y="2397"/>
                  </a:lnTo>
                  <a:lnTo>
                    <a:pt x="2244" y="2397"/>
                  </a:lnTo>
                  <a:lnTo>
                    <a:pt x="2242" y="2397"/>
                  </a:lnTo>
                  <a:lnTo>
                    <a:pt x="2242" y="2397"/>
                  </a:lnTo>
                  <a:lnTo>
                    <a:pt x="2240" y="2395"/>
                  </a:lnTo>
                  <a:lnTo>
                    <a:pt x="2240" y="2393"/>
                  </a:lnTo>
                  <a:lnTo>
                    <a:pt x="2238" y="2393"/>
                  </a:lnTo>
                  <a:lnTo>
                    <a:pt x="2236" y="2393"/>
                  </a:lnTo>
                  <a:lnTo>
                    <a:pt x="2233" y="2391"/>
                  </a:lnTo>
                  <a:lnTo>
                    <a:pt x="2233" y="2391"/>
                  </a:lnTo>
                  <a:lnTo>
                    <a:pt x="2231" y="2391"/>
                  </a:lnTo>
                  <a:lnTo>
                    <a:pt x="2229" y="2389"/>
                  </a:lnTo>
                  <a:lnTo>
                    <a:pt x="2229" y="2389"/>
                  </a:lnTo>
                  <a:lnTo>
                    <a:pt x="2227" y="2387"/>
                  </a:lnTo>
                  <a:lnTo>
                    <a:pt x="2225" y="2387"/>
                  </a:lnTo>
                  <a:lnTo>
                    <a:pt x="2223" y="2385"/>
                  </a:lnTo>
                  <a:lnTo>
                    <a:pt x="2221" y="2385"/>
                  </a:lnTo>
                  <a:lnTo>
                    <a:pt x="2221" y="2385"/>
                  </a:lnTo>
                  <a:lnTo>
                    <a:pt x="2218" y="2383"/>
                  </a:lnTo>
                  <a:lnTo>
                    <a:pt x="2216" y="2383"/>
                  </a:lnTo>
                  <a:lnTo>
                    <a:pt x="2214" y="2383"/>
                  </a:lnTo>
                  <a:lnTo>
                    <a:pt x="2212" y="2381"/>
                  </a:lnTo>
                  <a:lnTo>
                    <a:pt x="2212" y="2381"/>
                  </a:lnTo>
                  <a:lnTo>
                    <a:pt x="2210" y="2381"/>
                  </a:lnTo>
                  <a:lnTo>
                    <a:pt x="2208" y="2379"/>
                  </a:lnTo>
                  <a:lnTo>
                    <a:pt x="2206" y="2379"/>
                  </a:lnTo>
                  <a:lnTo>
                    <a:pt x="2203" y="2379"/>
                  </a:lnTo>
                  <a:lnTo>
                    <a:pt x="2201" y="2379"/>
                  </a:lnTo>
                  <a:lnTo>
                    <a:pt x="2199" y="2377"/>
                  </a:lnTo>
                  <a:lnTo>
                    <a:pt x="2197" y="2377"/>
                  </a:lnTo>
                  <a:lnTo>
                    <a:pt x="2195" y="2377"/>
                  </a:lnTo>
                  <a:lnTo>
                    <a:pt x="2195" y="2377"/>
                  </a:lnTo>
                  <a:lnTo>
                    <a:pt x="2193" y="2377"/>
                  </a:lnTo>
                  <a:lnTo>
                    <a:pt x="2190" y="2377"/>
                  </a:lnTo>
                  <a:lnTo>
                    <a:pt x="2188" y="2375"/>
                  </a:lnTo>
                  <a:lnTo>
                    <a:pt x="2186" y="2375"/>
                  </a:lnTo>
                  <a:lnTo>
                    <a:pt x="2184" y="2375"/>
                  </a:lnTo>
                  <a:lnTo>
                    <a:pt x="2182" y="2375"/>
                  </a:lnTo>
                  <a:lnTo>
                    <a:pt x="2180" y="2375"/>
                  </a:lnTo>
                  <a:lnTo>
                    <a:pt x="2178" y="2377"/>
                  </a:lnTo>
                  <a:lnTo>
                    <a:pt x="2175" y="2377"/>
                  </a:lnTo>
                  <a:lnTo>
                    <a:pt x="2173" y="2377"/>
                  </a:lnTo>
                  <a:lnTo>
                    <a:pt x="2173" y="2379"/>
                  </a:lnTo>
                  <a:lnTo>
                    <a:pt x="2171" y="2381"/>
                  </a:lnTo>
                  <a:lnTo>
                    <a:pt x="2171" y="2381"/>
                  </a:lnTo>
                  <a:lnTo>
                    <a:pt x="2171" y="2383"/>
                  </a:lnTo>
                  <a:lnTo>
                    <a:pt x="2169" y="2381"/>
                  </a:lnTo>
                  <a:lnTo>
                    <a:pt x="2167" y="2381"/>
                  </a:lnTo>
                  <a:lnTo>
                    <a:pt x="2165" y="2381"/>
                  </a:lnTo>
                  <a:lnTo>
                    <a:pt x="2163" y="2381"/>
                  </a:lnTo>
                  <a:lnTo>
                    <a:pt x="2160" y="2381"/>
                  </a:lnTo>
                  <a:lnTo>
                    <a:pt x="2158" y="2383"/>
                  </a:lnTo>
                  <a:lnTo>
                    <a:pt x="2156" y="2383"/>
                  </a:lnTo>
                  <a:lnTo>
                    <a:pt x="2154" y="2383"/>
                  </a:lnTo>
                  <a:lnTo>
                    <a:pt x="2154" y="2383"/>
                  </a:lnTo>
                  <a:lnTo>
                    <a:pt x="2152" y="2383"/>
                  </a:lnTo>
                  <a:lnTo>
                    <a:pt x="2150" y="2385"/>
                  </a:lnTo>
                  <a:lnTo>
                    <a:pt x="2148" y="2385"/>
                  </a:lnTo>
                  <a:lnTo>
                    <a:pt x="2145" y="2385"/>
                  </a:lnTo>
                  <a:lnTo>
                    <a:pt x="2143" y="2387"/>
                  </a:lnTo>
                  <a:lnTo>
                    <a:pt x="2141" y="2387"/>
                  </a:lnTo>
                  <a:lnTo>
                    <a:pt x="2141" y="2389"/>
                  </a:lnTo>
                  <a:lnTo>
                    <a:pt x="2139" y="2389"/>
                  </a:lnTo>
                  <a:lnTo>
                    <a:pt x="2137" y="2391"/>
                  </a:lnTo>
                  <a:lnTo>
                    <a:pt x="2135" y="2391"/>
                  </a:lnTo>
                  <a:lnTo>
                    <a:pt x="2135" y="2393"/>
                  </a:lnTo>
                  <a:lnTo>
                    <a:pt x="2132" y="2393"/>
                  </a:lnTo>
                  <a:lnTo>
                    <a:pt x="2130" y="2395"/>
                  </a:lnTo>
                  <a:lnTo>
                    <a:pt x="2128" y="2395"/>
                  </a:lnTo>
                  <a:lnTo>
                    <a:pt x="2128" y="2397"/>
                  </a:lnTo>
                  <a:lnTo>
                    <a:pt x="2126" y="2397"/>
                  </a:lnTo>
                  <a:lnTo>
                    <a:pt x="2124" y="2399"/>
                  </a:lnTo>
                  <a:lnTo>
                    <a:pt x="2124" y="2401"/>
                  </a:lnTo>
                  <a:lnTo>
                    <a:pt x="2122" y="2401"/>
                  </a:lnTo>
                  <a:lnTo>
                    <a:pt x="2120" y="2403"/>
                  </a:lnTo>
                  <a:lnTo>
                    <a:pt x="2120" y="2405"/>
                  </a:lnTo>
                  <a:lnTo>
                    <a:pt x="2120" y="2407"/>
                  </a:lnTo>
                  <a:lnTo>
                    <a:pt x="2117" y="2409"/>
                  </a:lnTo>
                  <a:lnTo>
                    <a:pt x="2115" y="2409"/>
                  </a:lnTo>
                  <a:lnTo>
                    <a:pt x="2113" y="2409"/>
                  </a:lnTo>
                  <a:lnTo>
                    <a:pt x="2113" y="2409"/>
                  </a:lnTo>
                  <a:lnTo>
                    <a:pt x="2111" y="2411"/>
                  </a:lnTo>
                  <a:lnTo>
                    <a:pt x="2109" y="2409"/>
                  </a:lnTo>
                  <a:lnTo>
                    <a:pt x="2107" y="2409"/>
                  </a:lnTo>
                  <a:lnTo>
                    <a:pt x="2105" y="2409"/>
                  </a:lnTo>
                  <a:lnTo>
                    <a:pt x="2102" y="2409"/>
                  </a:lnTo>
                  <a:lnTo>
                    <a:pt x="2100" y="2407"/>
                  </a:lnTo>
                  <a:lnTo>
                    <a:pt x="2100" y="2407"/>
                  </a:lnTo>
                  <a:lnTo>
                    <a:pt x="2100" y="2405"/>
                  </a:lnTo>
                  <a:lnTo>
                    <a:pt x="2098" y="2403"/>
                  </a:lnTo>
                  <a:lnTo>
                    <a:pt x="2098" y="2401"/>
                  </a:lnTo>
                  <a:lnTo>
                    <a:pt x="2098" y="2401"/>
                  </a:lnTo>
                  <a:lnTo>
                    <a:pt x="2098" y="2399"/>
                  </a:lnTo>
                  <a:lnTo>
                    <a:pt x="2098" y="2397"/>
                  </a:lnTo>
                  <a:lnTo>
                    <a:pt x="2096" y="2395"/>
                  </a:lnTo>
                  <a:lnTo>
                    <a:pt x="2096" y="2393"/>
                  </a:lnTo>
                  <a:lnTo>
                    <a:pt x="2094" y="2391"/>
                  </a:lnTo>
                  <a:lnTo>
                    <a:pt x="2094" y="2389"/>
                  </a:lnTo>
                  <a:lnTo>
                    <a:pt x="2094" y="2389"/>
                  </a:lnTo>
                  <a:lnTo>
                    <a:pt x="2092" y="2387"/>
                  </a:lnTo>
                  <a:lnTo>
                    <a:pt x="2092" y="2385"/>
                  </a:lnTo>
                  <a:lnTo>
                    <a:pt x="2090" y="2383"/>
                  </a:lnTo>
                  <a:lnTo>
                    <a:pt x="2090" y="2381"/>
                  </a:lnTo>
                  <a:lnTo>
                    <a:pt x="2090" y="2379"/>
                  </a:lnTo>
                  <a:lnTo>
                    <a:pt x="2087" y="2379"/>
                  </a:lnTo>
                  <a:lnTo>
                    <a:pt x="2087" y="2377"/>
                  </a:lnTo>
                  <a:lnTo>
                    <a:pt x="2085" y="2375"/>
                  </a:lnTo>
                  <a:lnTo>
                    <a:pt x="2085" y="2373"/>
                  </a:lnTo>
                  <a:lnTo>
                    <a:pt x="2083" y="2373"/>
                  </a:lnTo>
                  <a:lnTo>
                    <a:pt x="2083" y="2371"/>
                  </a:lnTo>
                  <a:lnTo>
                    <a:pt x="2081" y="2369"/>
                  </a:lnTo>
                  <a:lnTo>
                    <a:pt x="2081" y="2367"/>
                  </a:lnTo>
                  <a:lnTo>
                    <a:pt x="2079" y="2367"/>
                  </a:lnTo>
                  <a:lnTo>
                    <a:pt x="2079" y="2365"/>
                  </a:lnTo>
                  <a:lnTo>
                    <a:pt x="2077" y="2363"/>
                  </a:lnTo>
                  <a:lnTo>
                    <a:pt x="2075" y="2361"/>
                  </a:lnTo>
                  <a:lnTo>
                    <a:pt x="2075" y="2361"/>
                  </a:lnTo>
                  <a:lnTo>
                    <a:pt x="2072" y="2359"/>
                  </a:lnTo>
                  <a:lnTo>
                    <a:pt x="2070" y="2357"/>
                  </a:lnTo>
                  <a:lnTo>
                    <a:pt x="2070" y="2357"/>
                  </a:lnTo>
                  <a:lnTo>
                    <a:pt x="2068" y="2355"/>
                  </a:lnTo>
                  <a:lnTo>
                    <a:pt x="2066" y="2353"/>
                  </a:lnTo>
                  <a:lnTo>
                    <a:pt x="2066" y="2353"/>
                  </a:lnTo>
                  <a:lnTo>
                    <a:pt x="2064" y="2351"/>
                  </a:lnTo>
                  <a:lnTo>
                    <a:pt x="2062" y="2351"/>
                  </a:lnTo>
                  <a:lnTo>
                    <a:pt x="2062" y="2349"/>
                  </a:lnTo>
                  <a:lnTo>
                    <a:pt x="2059" y="2347"/>
                  </a:lnTo>
                  <a:lnTo>
                    <a:pt x="2057" y="2347"/>
                  </a:lnTo>
                  <a:lnTo>
                    <a:pt x="2055" y="2345"/>
                  </a:lnTo>
                  <a:lnTo>
                    <a:pt x="2055" y="2345"/>
                  </a:lnTo>
                  <a:lnTo>
                    <a:pt x="2053" y="2343"/>
                  </a:lnTo>
                  <a:lnTo>
                    <a:pt x="2051" y="2343"/>
                  </a:lnTo>
                  <a:lnTo>
                    <a:pt x="2049" y="2341"/>
                  </a:lnTo>
                  <a:lnTo>
                    <a:pt x="2049" y="2341"/>
                  </a:lnTo>
                  <a:lnTo>
                    <a:pt x="2047" y="2339"/>
                  </a:lnTo>
                  <a:lnTo>
                    <a:pt x="2044" y="2339"/>
                  </a:lnTo>
                  <a:lnTo>
                    <a:pt x="2042" y="2339"/>
                  </a:lnTo>
                  <a:lnTo>
                    <a:pt x="2040" y="2337"/>
                  </a:lnTo>
                  <a:lnTo>
                    <a:pt x="2038" y="2337"/>
                  </a:lnTo>
                  <a:lnTo>
                    <a:pt x="2038" y="2335"/>
                  </a:lnTo>
                  <a:lnTo>
                    <a:pt x="2036" y="2335"/>
                  </a:lnTo>
                  <a:lnTo>
                    <a:pt x="2034" y="2335"/>
                  </a:lnTo>
                  <a:lnTo>
                    <a:pt x="2032" y="2333"/>
                  </a:lnTo>
                  <a:lnTo>
                    <a:pt x="2029" y="2333"/>
                  </a:lnTo>
                  <a:lnTo>
                    <a:pt x="2027" y="2333"/>
                  </a:lnTo>
                  <a:lnTo>
                    <a:pt x="2025" y="2333"/>
                  </a:lnTo>
                  <a:lnTo>
                    <a:pt x="2023" y="2333"/>
                  </a:lnTo>
                  <a:lnTo>
                    <a:pt x="2021" y="2335"/>
                  </a:lnTo>
                  <a:lnTo>
                    <a:pt x="2019" y="2335"/>
                  </a:lnTo>
                  <a:lnTo>
                    <a:pt x="2019" y="2335"/>
                  </a:lnTo>
                  <a:lnTo>
                    <a:pt x="2017" y="2335"/>
                  </a:lnTo>
                  <a:lnTo>
                    <a:pt x="2014" y="2333"/>
                  </a:lnTo>
                  <a:lnTo>
                    <a:pt x="2012" y="2333"/>
                  </a:lnTo>
                  <a:lnTo>
                    <a:pt x="2010" y="2333"/>
                  </a:lnTo>
                  <a:lnTo>
                    <a:pt x="2008" y="2333"/>
                  </a:lnTo>
                  <a:lnTo>
                    <a:pt x="2006" y="2335"/>
                  </a:lnTo>
                  <a:lnTo>
                    <a:pt x="2006" y="2335"/>
                  </a:lnTo>
                  <a:lnTo>
                    <a:pt x="2004" y="2337"/>
                  </a:lnTo>
                  <a:lnTo>
                    <a:pt x="2004" y="2335"/>
                  </a:lnTo>
                  <a:lnTo>
                    <a:pt x="2001" y="2335"/>
                  </a:lnTo>
                  <a:lnTo>
                    <a:pt x="1999" y="2333"/>
                  </a:lnTo>
                  <a:lnTo>
                    <a:pt x="1997" y="2333"/>
                  </a:lnTo>
                  <a:lnTo>
                    <a:pt x="1997" y="2331"/>
                  </a:lnTo>
                  <a:lnTo>
                    <a:pt x="1995" y="2331"/>
                  </a:lnTo>
                  <a:lnTo>
                    <a:pt x="1993" y="2329"/>
                  </a:lnTo>
                  <a:lnTo>
                    <a:pt x="1993" y="2329"/>
                  </a:lnTo>
                  <a:lnTo>
                    <a:pt x="1991" y="2327"/>
                  </a:lnTo>
                  <a:lnTo>
                    <a:pt x="1989" y="2327"/>
                  </a:lnTo>
                  <a:lnTo>
                    <a:pt x="1986" y="2325"/>
                  </a:lnTo>
                  <a:lnTo>
                    <a:pt x="1984" y="2325"/>
                  </a:lnTo>
                  <a:lnTo>
                    <a:pt x="1984" y="2323"/>
                  </a:lnTo>
                  <a:lnTo>
                    <a:pt x="1982" y="2323"/>
                  </a:lnTo>
                  <a:lnTo>
                    <a:pt x="1980" y="2321"/>
                  </a:lnTo>
                  <a:lnTo>
                    <a:pt x="1978" y="2321"/>
                  </a:lnTo>
                  <a:lnTo>
                    <a:pt x="1976" y="2321"/>
                  </a:lnTo>
                  <a:lnTo>
                    <a:pt x="1974" y="2319"/>
                  </a:lnTo>
                  <a:lnTo>
                    <a:pt x="1974" y="2319"/>
                  </a:lnTo>
                  <a:lnTo>
                    <a:pt x="1971" y="2319"/>
                  </a:lnTo>
                  <a:lnTo>
                    <a:pt x="1969" y="2319"/>
                  </a:lnTo>
                  <a:lnTo>
                    <a:pt x="1967" y="2319"/>
                  </a:lnTo>
                  <a:lnTo>
                    <a:pt x="1965" y="2319"/>
                  </a:lnTo>
                  <a:lnTo>
                    <a:pt x="1963" y="2321"/>
                  </a:lnTo>
                  <a:lnTo>
                    <a:pt x="1961" y="2321"/>
                  </a:lnTo>
                  <a:lnTo>
                    <a:pt x="1959" y="2321"/>
                  </a:lnTo>
                  <a:lnTo>
                    <a:pt x="1959" y="2323"/>
                  </a:lnTo>
                  <a:lnTo>
                    <a:pt x="1961" y="2325"/>
                  </a:lnTo>
                  <a:lnTo>
                    <a:pt x="1959" y="2325"/>
                  </a:lnTo>
                  <a:lnTo>
                    <a:pt x="1956" y="2325"/>
                  </a:lnTo>
                  <a:lnTo>
                    <a:pt x="1956" y="2323"/>
                  </a:lnTo>
                  <a:lnTo>
                    <a:pt x="1954" y="2323"/>
                  </a:lnTo>
                  <a:lnTo>
                    <a:pt x="1954" y="2321"/>
                  </a:lnTo>
                  <a:lnTo>
                    <a:pt x="1954" y="2319"/>
                  </a:lnTo>
                  <a:lnTo>
                    <a:pt x="1952" y="2317"/>
                  </a:lnTo>
                  <a:lnTo>
                    <a:pt x="1952" y="2317"/>
                  </a:lnTo>
                  <a:lnTo>
                    <a:pt x="1950" y="2315"/>
                  </a:lnTo>
                  <a:lnTo>
                    <a:pt x="1950" y="2313"/>
                  </a:lnTo>
                  <a:lnTo>
                    <a:pt x="1948" y="2311"/>
                  </a:lnTo>
                  <a:lnTo>
                    <a:pt x="1948" y="2309"/>
                  </a:lnTo>
                  <a:lnTo>
                    <a:pt x="1946" y="2309"/>
                  </a:lnTo>
                  <a:lnTo>
                    <a:pt x="1944" y="2307"/>
                  </a:lnTo>
                  <a:lnTo>
                    <a:pt x="1944" y="2305"/>
                  </a:lnTo>
                  <a:lnTo>
                    <a:pt x="1944" y="2303"/>
                  </a:lnTo>
                  <a:lnTo>
                    <a:pt x="1941" y="2303"/>
                  </a:lnTo>
                  <a:lnTo>
                    <a:pt x="1941" y="2301"/>
                  </a:lnTo>
                  <a:lnTo>
                    <a:pt x="1939" y="2299"/>
                  </a:lnTo>
                  <a:lnTo>
                    <a:pt x="1939" y="2298"/>
                  </a:lnTo>
                  <a:lnTo>
                    <a:pt x="1937" y="2298"/>
                  </a:lnTo>
                  <a:lnTo>
                    <a:pt x="1937" y="2296"/>
                  </a:lnTo>
                  <a:lnTo>
                    <a:pt x="1935" y="2294"/>
                  </a:lnTo>
                  <a:lnTo>
                    <a:pt x="1933" y="2292"/>
                  </a:lnTo>
                  <a:lnTo>
                    <a:pt x="1933" y="2292"/>
                  </a:lnTo>
                  <a:lnTo>
                    <a:pt x="1931" y="2290"/>
                  </a:lnTo>
                  <a:lnTo>
                    <a:pt x="1931" y="2288"/>
                  </a:lnTo>
                  <a:lnTo>
                    <a:pt x="1928" y="2286"/>
                  </a:lnTo>
                  <a:lnTo>
                    <a:pt x="1928" y="2286"/>
                  </a:lnTo>
                  <a:lnTo>
                    <a:pt x="1926" y="2284"/>
                  </a:lnTo>
                  <a:lnTo>
                    <a:pt x="1924" y="2282"/>
                  </a:lnTo>
                  <a:lnTo>
                    <a:pt x="1924" y="2280"/>
                  </a:lnTo>
                  <a:lnTo>
                    <a:pt x="1922" y="2280"/>
                  </a:lnTo>
                  <a:lnTo>
                    <a:pt x="1922" y="2278"/>
                  </a:lnTo>
                  <a:lnTo>
                    <a:pt x="1920" y="2276"/>
                  </a:lnTo>
                  <a:lnTo>
                    <a:pt x="1918" y="2276"/>
                  </a:lnTo>
                  <a:lnTo>
                    <a:pt x="1918" y="2274"/>
                  </a:lnTo>
                  <a:lnTo>
                    <a:pt x="1916" y="2272"/>
                  </a:lnTo>
                  <a:lnTo>
                    <a:pt x="1916" y="2272"/>
                  </a:lnTo>
                  <a:lnTo>
                    <a:pt x="1913" y="2270"/>
                  </a:lnTo>
                  <a:lnTo>
                    <a:pt x="1911" y="2268"/>
                  </a:lnTo>
                  <a:lnTo>
                    <a:pt x="1911" y="2268"/>
                  </a:lnTo>
                  <a:lnTo>
                    <a:pt x="1909" y="2266"/>
                  </a:lnTo>
                  <a:lnTo>
                    <a:pt x="1907" y="2264"/>
                  </a:lnTo>
                  <a:lnTo>
                    <a:pt x="1907" y="2262"/>
                  </a:lnTo>
                  <a:lnTo>
                    <a:pt x="1905" y="2262"/>
                  </a:lnTo>
                  <a:lnTo>
                    <a:pt x="1905" y="2260"/>
                  </a:lnTo>
                  <a:lnTo>
                    <a:pt x="1903" y="2258"/>
                  </a:lnTo>
                  <a:lnTo>
                    <a:pt x="1901" y="2258"/>
                  </a:lnTo>
                  <a:lnTo>
                    <a:pt x="1901" y="2256"/>
                  </a:lnTo>
                  <a:lnTo>
                    <a:pt x="1898" y="2254"/>
                  </a:lnTo>
                  <a:lnTo>
                    <a:pt x="1898" y="2252"/>
                  </a:lnTo>
                  <a:lnTo>
                    <a:pt x="1896" y="2252"/>
                  </a:lnTo>
                  <a:lnTo>
                    <a:pt x="1894" y="2250"/>
                  </a:lnTo>
                  <a:lnTo>
                    <a:pt x="1894" y="2250"/>
                  </a:lnTo>
                  <a:lnTo>
                    <a:pt x="1892" y="2248"/>
                  </a:lnTo>
                  <a:lnTo>
                    <a:pt x="1890" y="2246"/>
                  </a:lnTo>
                  <a:lnTo>
                    <a:pt x="1890" y="2246"/>
                  </a:lnTo>
                  <a:lnTo>
                    <a:pt x="1888" y="2244"/>
                  </a:lnTo>
                  <a:lnTo>
                    <a:pt x="1886" y="2242"/>
                  </a:lnTo>
                  <a:lnTo>
                    <a:pt x="1886" y="2242"/>
                  </a:lnTo>
                  <a:lnTo>
                    <a:pt x="1883" y="2240"/>
                  </a:lnTo>
                  <a:lnTo>
                    <a:pt x="1881" y="2240"/>
                  </a:lnTo>
                  <a:lnTo>
                    <a:pt x="1879" y="2238"/>
                  </a:lnTo>
                  <a:lnTo>
                    <a:pt x="1879" y="2236"/>
                  </a:lnTo>
                  <a:lnTo>
                    <a:pt x="1877" y="2236"/>
                  </a:lnTo>
                  <a:lnTo>
                    <a:pt x="1875" y="2234"/>
                  </a:lnTo>
                  <a:lnTo>
                    <a:pt x="1875" y="2232"/>
                  </a:lnTo>
                  <a:lnTo>
                    <a:pt x="1873" y="2232"/>
                  </a:lnTo>
                  <a:lnTo>
                    <a:pt x="1870" y="2230"/>
                  </a:lnTo>
                  <a:lnTo>
                    <a:pt x="1868" y="2230"/>
                  </a:lnTo>
                  <a:lnTo>
                    <a:pt x="1868" y="2228"/>
                  </a:lnTo>
                  <a:lnTo>
                    <a:pt x="1866" y="2228"/>
                  </a:lnTo>
                  <a:lnTo>
                    <a:pt x="1864" y="2226"/>
                  </a:lnTo>
                  <a:lnTo>
                    <a:pt x="1862" y="2226"/>
                  </a:lnTo>
                  <a:lnTo>
                    <a:pt x="1862" y="2224"/>
                  </a:lnTo>
                  <a:lnTo>
                    <a:pt x="1860" y="2222"/>
                  </a:lnTo>
                  <a:lnTo>
                    <a:pt x="1858" y="2222"/>
                  </a:lnTo>
                  <a:lnTo>
                    <a:pt x="1855" y="2222"/>
                  </a:lnTo>
                  <a:lnTo>
                    <a:pt x="1853" y="2220"/>
                  </a:lnTo>
                  <a:lnTo>
                    <a:pt x="1853" y="2220"/>
                  </a:lnTo>
                  <a:lnTo>
                    <a:pt x="1851" y="2218"/>
                  </a:lnTo>
                  <a:lnTo>
                    <a:pt x="1849" y="2218"/>
                  </a:lnTo>
                  <a:lnTo>
                    <a:pt x="1847" y="2218"/>
                  </a:lnTo>
                  <a:lnTo>
                    <a:pt x="1845" y="2216"/>
                  </a:lnTo>
                  <a:lnTo>
                    <a:pt x="1843" y="2216"/>
                  </a:lnTo>
                  <a:lnTo>
                    <a:pt x="1843" y="2214"/>
                  </a:lnTo>
                  <a:lnTo>
                    <a:pt x="1840" y="2214"/>
                  </a:lnTo>
                  <a:lnTo>
                    <a:pt x="1838" y="2212"/>
                  </a:lnTo>
                  <a:lnTo>
                    <a:pt x="1836" y="2212"/>
                  </a:lnTo>
                  <a:lnTo>
                    <a:pt x="1834" y="2212"/>
                  </a:lnTo>
                  <a:lnTo>
                    <a:pt x="1832" y="2210"/>
                  </a:lnTo>
                  <a:lnTo>
                    <a:pt x="1832" y="2210"/>
                  </a:lnTo>
                  <a:lnTo>
                    <a:pt x="1830" y="2210"/>
                  </a:lnTo>
                  <a:lnTo>
                    <a:pt x="1828" y="2208"/>
                  </a:lnTo>
                  <a:lnTo>
                    <a:pt x="1825" y="2208"/>
                  </a:lnTo>
                  <a:lnTo>
                    <a:pt x="1823" y="2208"/>
                  </a:lnTo>
                  <a:lnTo>
                    <a:pt x="1821" y="2208"/>
                  </a:lnTo>
                  <a:lnTo>
                    <a:pt x="1823" y="2208"/>
                  </a:lnTo>
                  <a:lnTo>
                    <a:pt x="1825" y="2206"/>
                  </a:lnTo>
                  <a:lnTo>
                    <a:pt x="1828" y="2206"/>
                  </a:lnTo>
                  <a:lnTo>
                    <a:pt x="1830" y="2206"/>
                  </a:lnTo>
                  <a:lnTo>
                    <a:pt x="1828" y="2206"/>
                  </a:lnTo>
                  <a:lnTo>
                    <a:pt x="1825" y="2206"/>
                  </a:lnTo>
                  <a:lnTo>
                    <a:pt x="1823" y="2206"/>
                  </a:lnTo>
                  <a:lnTo>
                    <a:pt x="1821" y="2208"/>
                  </a:lnTo>
                  <a:lnTo>
                    <a:pt x="1819" y="2208"/>
                  </a:lnTo>
                  <a:lnTo>
                    <a:pt x="1817" y="2206"/>
                  </a:lnTo>
                  <a:lnTo>
                    <a:pt x="1819" y="2206"/>
                  </a:lnTo>
                  <a:lnTo>
                    <a:pt x="1819" y="2204"/>
                  </a:lnTo>
                  <a:lnTo>
                    <a:pt x="1819" y="2202"/>
                  </a:lnTo>
                  <a:lnTo>
                    <a:pt x="1819" y="2200"/>
                  </a:lnTo>
                  <a:lnTo>
                    <a:pt x="1817" y="2198"/>
                  </a:lnTo>
                  <a:lnTo>
                    <a:pt x="1817" y="2196"/>
                  </a:lnTo>
                  <a:lnTo>
                    <a:pt x="1817" y="2194"/>
                  </a:lnTo>
                  <a:lnTo>
                    <a:pt x="1817" y="2194"/>
                  </a:lnTo>
                  <a:lnTo>
                    <a:pt x="1817" y="2192"/>
                  </a:lnTo>
                  <a:lnTo>
                    <a:pt x="1817" y="2190"/>
                  </a:lnTo>
                  <a:lnTo>
                    <a:pt x="1817" y="2188"/>
                  </a:lnTo>
                  <a:lnTo>
                    <a:pt x="1815" y="2186"/>
                  </a:lnTo>
                  <a:lnTo>
                    <a:pt x="1815" y="2184"/>
                  </a:lnTo>
                  <a:lnTo>
                    <a:pt x="1815" y="2182"/>
                  </a:lnTo>
                  <a:lnTo>
                    <a:pt x="1815" y="2180"/>
                  </a:lnTo>
                  <a:lnTo>
                    <a:pt x="1813" y="2178"/>
                  </a:lnTo>
                  <a:lnTo>
                    <a:pt x="1813" y="2178"/>
                  </a:lnTo>
                  <a:lnTo>
                    <a:pt x="1813" y="2176"/>
                  </a:lnTo>
                  <a:lnTo>
                    <a:pt x="1810" y="2174"/>
                  </a:lnTo>
                  <a:lnTo>
                    <a:pt x="1810" y="2172"/>
                  </a:lnTo>
                  <a:lnTo>
                    <a:pt x="1810" y="2172"/>
                  </a:lnTo>
                  <a:lnTo>
                    <a:pt x="1813" y="2174"/>
                  </a:lnTo>
                  <a:lnTo>
                    <a:pt x="1813" y="2174"/>
                  </a:lnTo>
                  <a:lnTo>
                    <a:pt x="1815" y="2176"/>
                  </a:lnTo>
                  <a:lnTo>
                    <a:pt x="1815" y="2176"/>
                  </a:lnTo>
                  <a:lnTo>
                    <a:pt x="1813" y="2174"/>
                  </a:lnTo>
                  <a:lnTo>
                    <a:pt x="1813" y="2172"/>
                  </a:lnTo>
                  <a:lnTo>
                    <a:pt x="1810" y="2170"/>
                  </a:lnTo>
                  <a:lnTo>
                    <a:pt x="1808" y="2170"/>
                  </a:lnTo>
                  <a:lnTo>
                    <a:pt x="1808" y="2168"/>
                  </a:lnTo>
                  <a:lnTo>
                    <a:pt x="1808" y="2166"/>
                  </a:lnTo>
                  <a:lnTo>
                    <a:pt x="1806" y="2164"/>
                  </a:lnTo>
                  <a:lnTo>
                    <a:pt x="1806" y="2162"/>
                  </a:lnTo>
                  <a:lnTo>
                    <a:pt x="1806" y="2160"/>
                  </a:lnTo>
                  <a:lnTo>
                    <a:pt x="1804" y="2160"/>
                  </a:lnTo>
                  <a:lnTo>
                    <a:pt x="1804" y="2158"/>
                  </a:lnTo>
                  <a:lnTo>
                    <a:pt x="1802" y="2156"/>
                  </a:lnTo>
                  <a:lnTo>
                    <a:pt x="1802" y="2154"/>
                  </a:lnTo>
                  <a:lnTo>
                    <a:pt x="1800" y="2152"/>
                  </a:lnTo>
                  <a:lnTo>
                    <a:pt x="1800" y="2152"/>
                  </a:lnTo>
                  <a:lnTo>
                    <a:pt x="1797" y="2150"/>
                  </a:lnTo>
                  <a:lnTo>
                    <a:pt x="1797" y="2148"/>
                  </a:lnTo>
                  <a:lnTo>
                    <a:pt x="1795" y="2146"/>
                  </a:lnTo>
                  <a:lnTo>
                    <a:pt x="1795" y="2144"/>
                  </a:lnTo>
                  <a:lnTo>
                    <a:pt x="1793" y="2144"/>
                  </a:lnTo>
                  <a:lnTo>
                    <a:pt x="1793" y="2142"/>
                  </a:lnTo>
                  <a:lnTo>
                    <a:pt x="1791" y="2140"/>
                  </a:lnTo>
                  <a:lnTo>
                    <a:pt x="1791" y="2138"/>
                  </a:lnTo>
                  <a:lnTo>
                    <a:pt x="1789" y="2138"/>
                  </a:lnTo>
                  <a:lnTo>
                    <a:pt x="1789" y="2136"/>
                  </a:lnTo>
                  <a:lnTo>
                    <a:pt x="1787" y="2134"/>
                  </a:lnTo>
                  <a:lnTo>
                    <a:pt x="1785" y="2134"/>
                  </a:lnTo>
                  <a:lnTo>
                    <a:pt x="1782" y="2132"/>
                  </a:lnTo>
                  <a:lnTo>
                    <a:pt x="1782" y="2132"/>
                  </a:lnTo>
                  <a:lnTo>
                    <a:pt x="1780" y="2130"/>
                  </a:lnTo>
                  <a:lnTo>
                    <a:pt x="1778" y="2130"/>
                  </a:lnTo>
                  <a:lnTo>
                    <a:pt x="1776" y="2130"/>
                  </a:lnTo>
                  <a:lnTo>
                    <a:pt x="1774" y="2130"/>
                  </a:lnTo>
                  <a:lnTo>
                    <a:pt x="1772" y="2128"/>
                  </a:lnTo>
                  <a:lnTo>
                    <a:pt x="1770" y="2128"/>
                  </a:lnTo>
                  <a:lnTo>
                    <a:pt x="1770" y="2126"/>
                  </a:lnTo>
                  <a:lnTo>
                    <a:pt x="1767" y="2126"/>
                  </a:lnTo>
                  <a:lnTo>
                    <a:pt x="1765" y="2124"/>
                  </a:lnTo>
                  <a:lnTo>
                    <a:pt x="1765" y="2124"/>
                  </a:lnTo>
                  <a:lnTo>
                    <a:pt x="1763" y="2122"/>
                  </a:lnTo>
                  <a:lnTo>
                    <a:pt x="1761" y="2122"/>
                  </a:lnTo>
                  <a:lnTo>
                    <a:pt x="1759" y="2122"/>
                  </a:lnTo>
                  <a:lnTo>
                    <a:pt x="1757" y="2120"/>
                  </a:lnTo>
                  <a:lnTo>
                    <a:pt x="1755" y="2120"/>
                  </a:lnTo>
                  <a:lnTo>
                    <a:pt x="1755" y="2118"/>
                  </a:lnTo>
                  <a:lnTo>
                    <a:pt x="1752" y="2116"/>
                  </a:lnTo>
                  <a:lnTo>
                    <a:pt x="1752" y="2114"/>
                  </a:lnTo>
                  <a:lnTo>
                    <a:pt x="1752" y="2114"/>
                  </a:lnTo>
                  <a:lnTo>
                    <a:pt x="1750" y="2112"/>
                  </a:lnTo>
                  <a:lnTo>
                    <a:pt x="1748" y="2110"/>
                  </a:lnTo>
                  <a:lnTo>
                    <a:pt x="1748" y="2110"/>
                  </a:lnTo>
                  <a:lnTo>
                    <a:pt x="1746" y="2108"/>
                  </a:lnTo>
                  <a:lnTo>
                    <a:pt x="1744" y="2108"/>
                  </a:lnTo>
                  <a:lnTo>
                    <a:pt x="1742" y="2106"/>
                  </a:lnTo>
                  <a:lnTo>
                    <a:pt x="1739" y="2106"/>
                  </a:lnTo>
                  <a:lnTo>
                    <a:pt x="1737" y="2106"/>
                  </a:lnTo>
                  <a:lnTo>
                    <a:pt x="1735" y="2106"/>
                  </a:lnTo>
                  <a:lnTo>
                    <a:pt x="1735" y="2106"/>
                  </a:lnTo>
                  <a:lnTo>
                    <a:pt x="1733" y="2104"/>
                  </a:lnTo>
                  <a:lnTo>
                    <a:pt x="1731" y="2104"/>
                  </a:lnTo>
                  <a:lnTo>
                    <a:pt x="1731" y="2102"/>
                  </a:lnTo>
                  <a:lnTo>
                    <a:pt x="1729" y="2100"/>
                  </a:lnTo>
                  <a:lnTo>
                    <a:pt x="1729" y="2098"/>
                  </a:lnTo>
                  <a:lnTo>
                    <a:pt x="1727" y="2098"/>
                  </a:lnTo>
                  <a:lnTo>
                    <a:pt x="1724" y="2096"/>
                  </a:lnTo>
                  <a:lnTo>
                    <a:pt x="1724" y="2096"/>
                  </a:lnTo>
                  <a:lnTo>
                    <a:pt x="1722" y="2094"/>
                  </a:lnTo>
                  <a:lnTo>
                    <a:pt x="1720" y="2094"/>
                  </a:lnTo>
                  <a:lnTo>
                    <a:pt x="1720" y="2092"/>
                  </a:lnTo>
                  <a:lnTo>
                    <a:pt x="1718" y="2092"/>
                  </a:lnTo>
                  <a:lnTo>
                    <a:pt x="1716" y="2090"/>
                  </a:lnTo>
                  <a:lnTo>
                    <a:pt x="1714" y="2090"/>
                  </a:lnTo>
                  <a:lnTo>
                    <a:pt x="1714" y="2088"/>
                  </a:lnTo>
                  <a:lnTo>
                    <a:pt x="1712" y="2088"/>
                  </a:lnTo>
                  <a:lnTo>
                    <a:pt x="1709" y="2088"/>
                  </a:lnTo>
                  <a:lnTo>
                    <a:pt x="1707" y="2086"/>
                  </a:lnTo>
                  <a:lnTo>
                    <a:pt x="1705" y="2088"/>
                  </a:lnTo>
                  <a:lnTo>
                    <a:pt x="1703" y="2088"/>
                  </a:lnTo>
                  <a:lnTo>
                    <a:pt x="1703" y="2088"/>
                  </a:lnTo>
                  <a:lnTo>
                    <a:pt x="1701" y="2088"/>
                  </a:lnTo>
                  <a:lnTo>
                    <a:pt x="1699" y="2088"/>
                  </a:lnTo>
                  <a:lnTo>
                    <a:pt x="1697" y="2090"/>
                  </a:lnTo>
                  <a:lnTo>
                    <a:pt x="1697" y="2090"/>
                  </a:lnTo>
                  <a:lnTo>
                    <a:pt x="1694" y="2090"/>
                  </a:lnTo>
                  <a:lnTo>
                    <a:pt x="1692" y="2090"/>
                  </a:lnTo>
                  <a:lnTo>
                    <a:pt x="1690" y="2092"/>
                  </a:lnTo>
                  <a:lnTo>
                    <a:pt x="1688" y="2092"/>
                  </a:lnTo>
                  <a:lnTo>
                    <a:pt x="1686" y="2092"/>
                  </a:lnTo>
                  <a:lnTo>
                    <a:pt x="1686" y="2092"/>
                  </a:lnTo>
                  <a:lnTo>
                    <a:pt x="1684" y="2092"/>
                  </a:lnTo>
                  <a:lnTo>
                    <a:pt x="1684" y="2090"/>
                  </a:lnTo>
                  <a:lnTo>
                    <a:pt x="1682" y="2088"/>
                  </a:lnTo>
                  <a:lnTo>
                    <a:pt x="1682" y="2086"/>
                  </a:lnTo>
                  <a:lnTo>
                    <a:pt x="1679" y="2086"/>
                  </a:lnTo>
                  <a:lnTo>
                    <a:pt x="1679" y="2084"/>
                  </a:lnTo>
                  <a:lnTo>
                    <a:pt x="1679" y="2082"/>
                  </a:lnTo>
                  <a:lnTo>
                    <a:pt x="1677" y="2080"/>
                  </a:lnTo>
                  <a:lnTo>
                    <a:pt x="1677" y="2080"/>
                  </a:lnTo>
                  <a:lnTo>
                    <a:pt x="1677" y="2078"/>
                  </a:lnTo>
                  <a:lnTo>
                    <a:pt x="1675" y="2076"/>
                  </a:lnTo>
                  <a:lnTo>
                    <a:pt x="1675" y="2074"/>
                  </a:lnTo>
                  <a:lnTo>
                    <a:pt x="1675" y="2074"/>
                  </a:lnTo>
                  <a:lnTo>
                    <a:pt x="1675" y="2072"/>
                  </a:lnTo>
                  <a:lnTo>
                    <a:pt x="1673" y="2070"/>
                  </a:lnTo>
                  <a:lnTo>
                    <a:pt x="1671" y="2070"/>
                  </a:lnTo>
                  <a:lnTo>
                    <a:pt x="1671" y="2068"/>
                  </a:lnTo>
                  <a:lnTo>
                    <a:pt x="1669" y="2068"/>
                  </a:lnTo>
                  <a:lnTo>
                    <a:pt x="1666" y="2068"/>
                  </a:lnTo>
                  <a:lnTo>
                    <a:pt x="1664" y="2066"/>
                  </a:lnTo>
                  <a:lnTo>
                    <a:pt x="1666" y="2068"/>
                  </a:lnTo>
                  <a:lnTo>
                    <a:pt x="1669" y="2068"/>
                  </a:lnTo>
                  <a:lnTo>
                    <a:pt x="1669" y="2068"/>
                  </a:lnTo>
                  <a:lnTo>
                    <a:pt x="1669" y="2066"/>
                  </a:lnTo>
                  <a:lnTo>
                    <a:pt x="1666" y="2066"/>
                  </a:lnTo>
                  <a:lnTo>
                    <a:pt x="1666" y="2066"/>
                  </a:lnTo>
                  <a:lnTo>
                    <a:pt x="1666" y="2066"/>
                  </a:lnTo>
                  <a:lnTo>
                    <a:pt x="1666" y="2064"/>
                  </a:lnTo>
                  <a:lnTo>
                    <a:pt x="1666" y="2062"/>
                  </a:lnTo>
                  <a:lnTo>
                    <a:pt x="1666" y="2062"/>
                  </a:lnTo>
                  <a:lnTo>
                    <a:pt x="1664" y="2060"/>
                  </a:lnTo>
                  <a:lnTo>
                    <a:pt x="1664" y="2058"/>
                  </a:lnTo>
                  <a:lnTo>
                    <a:pt x="1662" y="2058"/>
                  </a:lnTo>
                  <a:lnTo>
                    <a:pt x="1662" y="2056"/>
                  </a:lnTo>
                  <a:lnTo>
                    <a:pt x="1660" y="2056"/>
                  </a:lnTo>
                  <a:lnTo>
                    <a:pt x="1658" y="2054"/>
                  </a:lnTo>
                  <a:lnTo>
                    <a:pt x="1658" y="2054"/>
                  </a:lnTo>
                  <a:lnTo>
                    <a:pt x="1656" y="2054"/>
                  </a:lnTo>
                  <a:lnTo>
                    <a:pt x="1656" y="2052"/>
                  </a:lnTo>
                  <a:lnTo>
                    <a:pt x="1656" y="2050"/>
                  </a:lnTo>
                  <a:lnTo>
                    <a:pt x="1654" y="2050"/>
                  </a:lnTo>
                  <a:lnTo>
                    <a:pt x="1654" y="2048"/>
                  </a:lnTo>
                  <a:lnTo>
                    <a:pt x="1651" y="2046"/>
                  </a:lnTo>
                  <a:lnTo>
                    <a:pt x="1654" y="2044"/>
                  </a:lnTo>
                  <a:lnTo>
                    <a:pt x="1651" y="2044"/>
                  </a:lnTo>
                  <a:lnTo>
                    <a:pt x="1649" y="2042"/>
                  </a:lnTo>
                  <a:lnTo>
                    <a:pt x="1649" y="2040"/>
                  </a:lnTo>
                  <a:lnTo>
                    <a:pt x="1649" y="2038"/>
                  </a:lnTo>
                  <a:lnTo>
                    <a:pt x="1649" y="2036"/>
                  </a:lnTo>
                  <a:lnTo>
                    <a:pt x="1651" y="2036"/>
                  </a:lnTo>
                  <a:lnTo>
                    <a:pt x="1649" y="2034"/>
                  </a:lnTo>
                  <a:lnTo>
                    <a:pt x="1649" y="2032"/>
                  </a:lnTo>
                  <a:lnTo>
                    <a:pt x="1647" y="2032"/>
                  </a:lnTo>
                  <a:lnTo>
                    <a:pt x="1645" y="2030"/>
                  </a:lnTo>
                  <a:lnTo>
                    <a:pt x="1645" y="2028"/>
                  </a:lnTo>
                  <a:lnTo>
                    <a:pt x="1645" y="2026"/>
                  </a:lnTo>
                  <a:lnTo>
                    <a:pt x="1643" y="2026"/>
                  </a:lnTo>
                  <a:lnTo>
                    <a:pt x="1643" y="2024"/>
                  </a:lnTo>
                  <a:lnTo>
                    <a:pt x="1641" y="2022"/>
                  </a:lnTo>
                  <a:lnTo>
                    <a:pt x="1641" y="2020"/>
                  </a:lnTo>
                  <a:lnTo>
                    <a:pt x="1641" y="2018"/>
                  </a:lnTo>
                  <a:lnTo>
                    <a:pt x="1641" y="2018"/>
                  </a:lnTo>
                  <a:lnTo>
                    <a:pt x="1639" y="2016"/>
                  </a:lnTo>
                  <a:lnTo>
                    <a:pt x="1639" y="2014"/>
                  </a:lnTo>
                  <a:lnTo>
                    <a:pt x="1636" y="2012"/>
                  </a:lnTo>
                  <a:lnTo>
                    <a:pt x="1636" y="2010"/>
                  </a:lnTo>
                  <a:lnTo>
                    <a:pt x="1636" y="2010"/>
                  </a:lnTo>
                  <a:lnTo>
                    <a:pt x="1634" y="2008"/>
                  </a:lnTo>
                  <a:lnTo>
                    <a:pt x="1632" y="2006"/>
                  </a:lnTo>
                  <a:lnTo>
                    <a:pt x="1632" y="2006"/>
                  </a:lnTo>
                  <a:lnTo>
                    <a:pt x="1630" y="2004"/>
                  </a:lnTo>
                  <a:lnTo>
                    <a:pt x="1630" y="2002"/>
                  </a:lnTo>
                  <a:lnTo>
                    <a:pt x="1628" y="2000"/>
                  </a:lnTo>
                  <a:lnTo>
                    <a:pt x="1626" y="2000"/>
                  </a:lnTo>
                  <a:lnTo>
                    <a:pt x="1626" y="1998"/>
                  </a:lnTo>
                  <a:lnTo>
                    <a:pt x="1626" y="1996"/>
                  </a:lnTo>
                  <a:lnTo>
                    <a:pt x="1624" y="1994"/>
                  </a:lnTo>
                  <a:lnTo>
                    <a:pt x="1621" y="1994"/>
                  </a:lnTo>
                  <a:lnTo>
                    <a:pt x="1621" y="1992"/>
                  </a:lnTo>
                  <a:lnTo>
                    <a:pt x="1619" y="1990"/>
                  </a:lnTo>
                  <a:lnTo>
                    <a:pt x="1619" y="1988"/>
                  </a:lnTo>
                  <a:lnTo>
                    <a:pt x="1617" y="1988"/>
                  </a:lnTo>
                  <a:lnTo>
                    <a:pt x="1615" y="1986"/>
                  </a:lnTo>
                  <a:lnTo>
                    <a:pt x="1615" y="1984"/>
                  </a:lnTo>
                  <a:lnTo>
                    <a:pt x="1613" y="1984"/>
                  </a:lnTo>
                  <a:lnTo>
                    <a:pt x="1611" y="1982"/>
                  </a:lnTo>
                  <a:lnTo>
                    <a:pt x="1608" y="1982"/>
                  </a:lnTo>
                  <a:lnTo>
                    <a:pt x="1608" y="1980"/>
                  </a:lnTo>
                  <a:lnTo>
                    <a:pt x="1606" y="1980"/>
                  </a:lnTo>
                  <a:lnTo>
                    <a:pt x="1604" y="1980"/>
                  </a:lnTo>
                  <a:lnTo>
                    <a:pt x="1602" y="1978"/>
                  </a:lnTo>
                  <a:lnTo>
                    <a:pt x="1602" y="1976"/>
                  </a:lnTo>
                  <a:lnTo>
                    <a:pt x="1600" y="1976"/>
                  </a:lnTo>
                  <a:lnTo>
                    <a:pt x="1598" y="1974"/>
                  </a:lnTo>
                  <a:lnTo>
                    <a:pt x="1596" y="1974"/>
                  </a:lnTo>
                  <a:lnTo>
                    <a:pt x="1596" y="1972"/>
                  </a:lnTo>
                  <a:lnTo>
                    <a:pt x="1593" y="1970"/>
                  </a:lnTo>
                  <a:lnTo>
                    <a:pt x="1591" y="1970"/>
                  </a:lnTo>
                  <a:lnTo>
                    <a:pt x="1589" y="1968"/>
                  </a:lnTo>
                  <a:lnTo>
                    <a:pt x="1589" y="1968"/>
                  </a:lnTo>
                  <a:lnTo>
                    <a:pt x="1587" y="1966"/>
                  </a:lnTo>
                  <a:lnTo>
                    <a:pt x="1585" y="1966"/>
                  </a:lnTo>
                  <a:lnTo>
                    <a:pt x="1583" y="1964"/>
                  </a:lnTo>
                  <a:lnTo>
                    <a:pt x="1581" y="1964"/>
                  </a:lnTo>
                  <a:lnTo>
                    <a:pt x="1581" y="1964"/>
                  </a:lnTo>
                  <a:lnTo>
                    <a:pt x="1578" y="1962"/>
                  </a:lnTo>
                  <a:lnTo>
                    <a:pt x="1576" y="1962"/>
                  </a:lnTo>
                  <a:lnTo>
                    <a:pt x="1574" y="1960"/>
                  </a:lnTo>
                  <a:lnTo>
                    <a:pt x="1572" y="1960"/>
                  </a:lnTo>
                  <a:lnTo>
                    <a:pt x="1570" y="1960"/>
                  </a:lnTo>
                  <a:lnTo>
                    <a:pt x="1570" y="1958"/>
                  </a:lnTo>
                  <a:lnTo>
                    <a:pt x="1568" y="1958"/>
                  </a:lnTo>
                  <a:lnTo>
                    <a:pt x="1566" y="1958"/>
                  </a:lnTo>
                  <a:lnTo>
                    <a:pt x="1563" y="1956"/>
                  </a:lnTo>
                  <a:lnTo>
                    <a:pt x="1561" y="1956"/>
                  </a:lnTo>
                  <a:lnTo>
                    <a:pt x="1559" y="1954"/>
                  </a:lnTo>
                  <a:lnTo>
                    <a:pt x="1557" y="1954"/>
                  </a:lnTo>
                  <a:lnTo>
                    <a:pt x="1557" y="1954"/>
                  </a:lnTo>
                  <a:lnTo>
                    <a:pt x="1553" y="1952"/>
                  </a:lnTo>
                  <a:lnTo>
                    <a:pt x="1551" y="1952"/>
                  </a:lnTo>
                  <a:lnTo>
                    <a:pt x="1548" y="1952"/>
                  </a:lnTo>
                  <a:lnTo>
                    <a:pt x="1546" y="1950"/>
                  </a:lnTo>
                  <a:lnTo>
                    <a:pt x="1544" y="1950"/>
                  </a:lnTo>
                  <a:lnTo>
                    <a:pt x="1544" y="1950"/>
                  </a:lnTo>
                  <a:lnTo>
                    <a:pt x="1542" y="1948"/>
                  </a:lnTo>
                  <a:lnTo>
                    <a:pt x="1540" y="1948"/>
                  </a:lnTo>
                  <a:lnTo>
                    <a:pt x="1538" y="1948"/>
                  </a:lnTo>
                  <a:lnTo>
                    <a:pt x="1535" y="1946"/>
                  </a:lnTo>
                  <a:lnTo>
                    <a:pt x="1533" y="1946"/>
                  </a:lnTo>
                  <a:lnTo>
                    <a:pt x="1531" y="1946"/>
                  </a:lnTo>
                  <a:lnTo>
                    <a:pt x="1529" y="1946"/>
                  </a:lnTo>
                  <a:lnTo>
                    <a:pt x="1527" y="1946"/>
                  </a:lnTo>
                  <a:lnTo>
                    <a:pt x="1527" y="1944"/>
                  </a:lnTo>
                  <a:lnTo>
                    <a:pt x="1525" y="1944"/>
                  </a:lnTo>
                  <a:lnTo>
                    <a:pt x="1523" y="1944"/>
                  </a:lnTo>
                  <a:lnTo>
                    <a:pt x="1520" y="1944"/>
                  </a:lnTo>
                  <a:lnTo>
                    <a:pt x="1518" y="1944"/>
                  </a:lnTo>
                  <a:lnTo>
                    <a:pt x="1516" y="1942"/>
                  </a:lnTo>
                  <a:lnTo>
                    <a:pt x="1514" y="1942"/>
                  </a:lnTo>
                  <a:lnTo>
                    <a:pt x="1512" y="1942"/>
                  </a:lnTo>
                  <a:lnTo>
                    <a:pt x="1510" y="1942"/>
                  </a:lnTo>
                  <a:lnTo>
                    <a:pt x="1508" y="1942"/>
                  </a:lnTo>
                  <a:lnTo>
                    <a:pt x="1505" y="1942"/>
                  </a:lnTo>
                  <a:lnTo>
                    <a:pt x="1503" y="1942"/>
                  </a:lnTo>
                  <a:lnTo>
                    <a:pt x="1503" y="1941"/>
                  </a:lnTo>
                  <a:lnTo>
                    <a:pt x="1501" y="1942"/>
                  </a:lnTo>
                  <a:lnTo>
                    <a:pt x="1499" y="1942"/>
                  </a:lnTo>
                  <a:lnTo>
                    <a:pt x="1499" y="1942"/>
                  </a:lnTo>
                  <a:lnTo>
                    <a:pt x="1497" y="1942"/>
                  </a:lnTo>
                  <a:lnTo>
                    <a:pt x="1497" y="1941"/>
                  </a:lnTo>
                  <a:lnTo>
                    <a:pt x="1495" y="1939"/>
                  </a:lnTo>
                  <a:lnTo>
                    <a:pt x="1495" y="1937"/>
                  </a:lnTo>
                  <a:lnTo>
                    <a:pt x="1493" y="1937"/>
                  </a:lnTo>
                  <a:lnTo>
                    <a:pt x="1490" y="1937"/>
                  </a:lnTo>
                  <a:lnTo>
                    <a:pt x="1488" y="1937"/>
                  </a:lnTo>
                  <a:lnTo>
                    <a:pt x="1486" y="1937"/>
                  </a:lnTo>
                  <a:lnTo>
                    <a:pt x="1484" y="1939"/>
                  </a:lnTo>
                  <a:lnTo>
                    <a:pt x="1482" y="1939"/>
                  </a:lnTo>
                  <a:lnTo>
                    <a:pt x="1480" y="1939"/>
                  </a:lnTo>
                  <a:lnTo>
                    <a:pt x="1477" y="1939"/>
                  </a:lnTo>
                  <a:lnTo>
                    <a:pt x="1477" y="1941"/>
                  </a:lnTo>
                  <a:lnTo>
                    <a:pt x="1475" y="1941"/>
                  </a:lnTo>
                  <a:lnTo>
                    <a:pt x="1473" y="1942"/>
                  </a:lnTo>
                  <a:lnTo>
                    <a:pt x="1471" y="1944"/>
                  </a:lnTo>
                  <a:lnTo>
                    <a:pt x="1473" y="1944"/>
                  </a:lnTo>
                  <a:lnTo>
                    <a:pt x="1473" y="1946"/>
                  </a:lnTo>
                  <a:lnTo>
                    <a:pt x="1473" y="1948"/>
                  </a:lnTo>
                  <a:lnTo>
                    <a:pt x="1471" y="1948"/>
                  </a:lnTo>
                  <a:lnTo>
                    <a:pt x="1473" y="1948"/>
                  </a:lnTo>
                  <a:lnTo>
                    <a:pt x="1473" y="1948"/>
                  </a:lnTo>
                  <a:lnTo>
                    <a:pt x="1475" y="1950"/>
                  </a:lnTo>
                  <a:lnTo>
                    <a:pt x="1473" y="1950"/>
                  </a:lnTo>
                  <a:lnTo>
                    <a:pt x="1471" y="1952"/>
                  </a:lnTo>
                  <a:lnTo>
                    <a:pt x="1471" y="1952"/>
                  </a:lnTo>
                  <a:lnTo>
                    <a:pt x="1469" y="1952"/>
                  </a:lnTo>
                  <a:lnTo>
                    <a:pt x="1467" y="1954"/>
                  </a:lnTo>
                  <a:lnTo>
                    <a:pt x="1467" y="1956"/>
                  </a:lnTo>
                  <a:lnTo>
                    <a:pt x="1467" y="1958"/>
                  </a:lnTo>
                  <a:lnTo>
                    <a:pt x="1467" y="1960"/>
                  </a:lnTo>
                  <a:lnTo>
                    <a:pt x="1467" y="1960"/>
                  </a:lnTo>
                  <a:lnTo>
                    <a:pt x="1465" y="1960"/>
                  </a:lnTo>
                  <a:lnTo>
                    <a:pt x="1465" y="1960"/>
                  </a:lnTo>
                  <a:lnTo>
                    <a:pt x="1462" y="1958"/>
                  </a:lnTo>
                  <a:lnTo>
                    <a:pt x="1462" y="1958"/>
                  </a:lnTo>
                  <a:lnTo>
                    <a:pt x="1460" y="1958"/>
                  </a:lnTo>
                  <a:lnTo>
                    <a:pt x="1458" y="1960"/>
                  </a:lnTo>
                  <a:lnTo>
                    <a:pt x="1458" y="1960"/>
                  </a:lnTo>
                  <a:lnTo>
                    <a:pt x="1456" y="1962"/>
                  </a:lnTo>
                  <a:lnTo>
                    <a:pt x="1454" y="1960"/>
                  </a:lnTo>
                  <a:lnTo>
                    <a:pt x="1454" y="1958"/>
                  </a:lnTo>
                  <a:lnTo>
                    <a:pt x="1454" y="1956"/>
                  </a:lnTo>
                  <a:lnTo>
                    <a:pt x="1452" y="1956"/>
                  </a:lnTo>
                  <a:lnTo>
                    <a:pt x="1450" y="1954"/>
                  </a:lnTo>
                  <a:lnTo>
                    <a:pt x="1450" y="1954"/>
                  </a:lnTo>
                  <a:lnTo>
                    <a:pt x="1447" y="1954"/>
                  </a:lnTo>
                  <a:lnTo>
                    <a:pt x="1447" y="1952"/>
                  </a:lnTo>
                  <a:lnTo>
                    <a:pt x="1445" y="1952"/>
                  </a:lnTo>
                  <a:lnTo>
                    <a:pt x="1443" y="1950"/>
                  </a:lnTo>
                  <a:lnTo>
                    <a:pt x="1443" y="1950"/>
                  </a:lnTo>
                  <a:lnTo>
                    <a:pt x="1441" y="1950"/>
                  </a:lnTo>
                  <a:lnTo>
                    <a:pt x="1439" y="1950"/>
                  </a:lnTo>
                  <a:lnTo>
                    <a:pt x="1437" y="1948"/>
                  </a:lnTo>
                  <a:lnTo>
                    <a:pt x="1437" y="1948"/>
                  </a:lnTo>
                  <a:lnTo>
                    <a:pt x="1437" y="1948"/>
                  </a:lnTo>
                  <a:lnTo>
                    <a:pt x="1435" y="1946"/>
                  </a:lnTo>
                  <a:lnTo>
                    <a:pt x="1435" y="1944"/>
                  </a:lnTo>
                  <a:lnTo>
                    <a:pt x="1435" y="1944"/>
                  </a:lnTo>
                  <a:lnTo>
                    <a:pt x="1432" y="1942"/>
                  </a:lnTo>
                  <a:lnTo>
                    <a:pt x="1435" y="1942"/>
                  </a:lnTo>
                  <a:lnTo>
                    <a:pt x="1435" y="1941"/>
                  </a:lnTo>
                  <a:lnTo>
                    <a:pt x="1432" y="1941"/>
                  </a:lnTo>
                  <a:lnTo>
                    <a:pt x="1432" y="1939"/>
                  </a:lnTo>
                  <a:lnTo>
                    <a:pt x="1432" y="1937"/>
                  </a:lnTo>
                  <a:lnTo>
                    <a:pt x="1432" y="1935"/>
                  </a:lnTo>
                  <a:lnTo>
                    <a:pt x="1432" y="1935"/>
                  </a:lnTo>
                  <a:lnTo>
                    <a:pt x="1435" y="1935"/>
                  </a:lnTo>
                  <a:lnTo>
                    <a:pt x="1437" y="1933"/>
                  </a:lnTo>
                  <a:lnTo>
                    <a:pt x="1435" y="1931"/>
                  </a:lnTo>
                  <a:lnTo>
                    <a:pt x="1437" y="1931"/>
                  </a:lnTo>
                  <a:lnTo>
                    <a:pt x="1437" y="1931"/>
                  </a:lnTo>
                  <a:lnTo>
                    <a:pt x="1437" y="1929"/>
                  </a:lnTo>
                  <a:lnTo>
                    <a:pt x="1439" y="1927"/>
                  </a:lnTo>
                  <a:lnTo>
                    <a:pt x="1439" y="1927"/>
                  </a:lnTo>
                  <a:lnTo>
                    <a:pt x="1441" y="1929"/>
                  </a:lnTo>
                  <a:lnTo>
                    <a:pt x="1441" y="1929"/>
                  </a:lnTo>
                  <a:lnTo>
                    <a:pt x="1443" y="1931"/>
                  </a:lnTo>
                  <a:lnTo>
                    <a:pt x="1443" y="1931"/>
                  </a:lnTo>
                  <a:lnTo>
                    <a:pt x="1445" y="1933"/>
                  </a:lnTo>
                  <a:lnTo>
                    <a:pt x="1445" y="1931"/>
                  </a:lnTo>
                  <a:lnTo>
                    <a:pt x="1447" y="1931"/>
                  </a:lnTo>
                  <a:lnTo>
                    <a:pt x="1447" y="1931"/>
                  </a:lnTo>
                  <a:lnTo>
                    <a:pt x="1450" y="1931"/>
                  </a:lnTo>
                  <a:lnTo>
                    <a:pt x="1452" y="1933"/>
                  </a:lnTo>
                  <a:lnTo>
                    <a:pt x="1452" y="1933"/>
                  </a:lnTo>
                  <a:lnTo>
                    <a:pt x="1454" y="1931"/>
                  </a:lnTo>
                  <a:lnTo>
                    <a:pt x="1454" y="1933"/>
                  </a:lnTo>
                  <a:lnTo>
                    <a:pt x="1456" y="1933"/>
                  </a:lnTo>
                  <a:lnTo>
                    <a:pt x="1458" y="1931"/>
                  </a:lnTo>
                  <a:lnTo>
                    <a:pt x="1460" y="1929"/>
                  </a:lnTo>
                  <a:lnTo>
                    <a:pt x="1460" y="1929"/>
                  </a:lnTo>
                  <a:lnTo>
                    <a:pt x="1462" y="1927"/>
                  </a:lnTo>
                  <a:lnTo>
                    <a:pt x="1462" y="1925"/>
                  </a:lnTo>
                  <a:lnTo>
                    <a:pt x="1462" y="1923"/>
                  </a:lnTo>
                  <a:lnTo>
                    <a:pt x="1465" y="1921"/>
                  </a:lnTo>
                  <a:lnTo>
                    <a:pt x="1465" y="1919"/>
                  </a:lnTo>
                  <a:lnTo>
                    <a:pt x="1465" y="1917"/>
                  </a:lnTo>
                  <a:lnTo>
                    <a:pt x="1465" y="1915"/>
                  </a:lnTo>
                  <a:lnTo>
                    <a:pt x="1465" y="1915"/>
                  </a:lnTo>
                  <a:lnTo>
                    <a:pt x="1467" y="1913"/>
                  </a:lnTo>
                  <a:lnTo>
                    <a:pt x="1467" y="1911"/>
                  </a:lnTo>
                  <a:lnTo>
                    <a:pt x="1467" y="1909"/>
                  </a:lnTo>
                  <a:lnTo>
                    <a:pt x="1467" y="1907"/>
                  </a:lnTo>
                  <a:lnTo>
                    <a:pt x="1467" y="1905"/>
                  </a:lnTo>
                  <a:lnTo>
                    <a:pt x="1467" y="1903"/>
                  </a:lnTo>
                  <a:lnTo>
                    <a:pt x="1467" y="1901"/>
                  </a:lnTo>
                  <a:lnTo>
                    <a:pt x="1467" y="1899"/>
                  </a:lnTo>
                  <a:lnTo>
                    <a:pt x="1465" y="1897"/>
                  </a:lnTo>
                  <a:lnTo>
                    <a:pt x="1465" y="1895"/>
                  </a:lnTo>
                  <a:lnTo>
                    <a:pt x="1465" y="1895"/>
                  </a:lnTo>
                  <a:lnTo>
                    <a:pt x="1462" y="1893"/>
                  </a:lnTo>
                  <a:lnTo>
                    <a:pt x="1462" y="1891"/>
                  </a:lnTo>
                  <a:lnTo>
                    <a:pt x="1462" y="1889"/>
                  </a:lnTo>
                  <a:lnTo>
                    <a:pt x="1460" y="1887"/>
                  </a:lnTo>
                  <a:lnTo>
                    <a:pt x="1460" y="1885"/>
                  </a:lnTo>
                  <a:lnTo>
                    <a:pt x="1458" y="1885"/>
                  </a:lnTo>
                  <a:lnTo>
                    <a:pt x="1456" y="1883"/>
                  </a:lnTo>
                  <a:lnTo>
                    <a:pt x="1456" y="1881"/>
                  </a:lnTo>
                  <a:lnTo>
                    <a:pt x="1454" y="1881"/>
                  </a:lnTo>
                  <a:lnTo>
                    <a:pt x="1454" y="1879"/>
                  </a:lnTo>
                  <a:lnTo>
                    <a:pt x="1452" y="1879"/>
                  </a:lnTo>
                  <a:lnTo>
                    <a:pt x="1450" y="1879"/>
                  </a:lnTo>
                  <a:lnTo>
                    <a:pt x="1450" y="1879"/>
                  </a:lnTo>
                  <a:lnTo>
                    <a:pt x="1447" y="1881"/>
                  </a:lnTo>
                  <a:lnTo>
                    <a:pt x="1447" y="1883"/>
                  </a:lnTo>
                  <a:lnTo>
                    <a:pt x="1445" y="1883"/>
                  </a:lnTo>
                  <a:lnTo>
                    <a:pt x="1445" y="1883"/>
                  </a:lnTo>
                  <a:lnTo>
                    <a:pt x="1443" y="1881"/>
                  </a:lnTo>
                  <a:lnTo>
                    <a:pt x="1443" y="1881"/>
                  </a:lnTo>
                  <a:lnTo>
                    <a:pt x="1441" y="1879"/>
                  </a:lnTo>
                  <a:lnTo>
                    <a:pt x="1441" y="1879"/>
                  </a:lnTo>
                  <a:lnTo>
                    <a:pt x="1441" y="1877"/>
                  </a:lnTo>
                  <a:lnTo>
                    <a:pt x="1439" y="1875"/>
                  </a:lnTo>
                  <a:lnTo>
                    <a:pt x="1439" y="1873"/>
                  </a:lnTo>
                  <a:lnTo>
                    <a:pt x="1437" y="1871"/>
                  </a:lnTo>
                  <a:lnTo>
                    <a:pt x="1437" y="1869"/>
                  </a:lnTo>
                  <a:lnTo>
                    <a:pt x="1437" y="1869"/>
                  </a:lnTo>
                  <a:lnTo>
                    <a:pt x="1437" y="1867"/>
                  </a:lnTo>
                  <a:lnTo>
                    <a:pt x="1437" y="1865"/>
                  </a:lnTo>
                  <a:lnTo>
                    <a:pt x="1435" y="1863"/>
                  </a:lnTo>
                  <a:lnTo>
                    <a:pt x="1435" y="1863"/>
                  </a:lnTo>
                  <a:lnTo>
                    <a:pt x="1432" y="1861"/>
                  </a:lnTo>
                  <a:lnTo>
                    <a:pt x="1430" y="1861"/>
                  </a:lnTo>
                  <a:lnTo>
                    <a:pt x="1430" y="1861"/>
                  </a:lnTo>
                  <a:lnTo>
                    <a:pt x="1428" y="1859"/>
                  </a:lnTo>
                  <a:lnTo>
                    <a:pt x="1428" y="1857"/>
                  </a:lnTo>
                  <a:lnTo>
                    <a:pt x="1430" y="1857"/>
                  </a:lnTo>
                  <a:lnTo>
                    <a:pt x="1430" y="1855"/>
                  </a:lnTo>
                  <a:lnTo>
                    <a:pt x="1430" y="1853"/>
                  </a:lnTo>
                  <a:lnTo>
                    <a:pt x="1430" y="1853"/>
                  </a:lnTo>
                  <a:lnTo>
                    <a:pt x="1428" y="1851"/>
                  </a:lnTo>
                  <a:lnTo>
                    <a:pt x="1426" y="1849"/>
                  </a:lnTo>
                  <a:lnTo>
                    <a:pt x="1424" y="1849"/>
                  </a:lnTo>
                  <a:lnTo>
                    <a:pt x="1424" y="1849"/>
                  </a:lnTo>
                  <a:lnTo>
                    <a:pt x="1422" y="1847"/>
                  </a:lnTo>
                  <a:lnTo>
                    <a:pt x="1419" y="1847"/>
                  </a:lnTo>
                  <a:lnTo>
                    <a:pt x="1417" y="1845"/>
                  </a:lnTo>
                  <a:lnTo>
                    <a:pt x="1415" y="1845"/>
                  </a:lnTo>
                  <a:lnTo>
                    <a:pt x="1413" y="1845"/>
                  </a:lnTo>
                  <a:lnTo>
                    <a:pt x="1411" y="1845"/>
                  </a:lnTo>
                  <a:lnTo>
                    <a:pt x="1409" y="1845"/>
                  </a:lnTo>
                  <a:lnTo>
                    <a:pt x="1407" y="1845"/>
                  </a:lnTo>
                  <a:lnTo>
                    <a:pt x="1404" y="1843"/>
                  </a:lnTo>
                  <a:lnTo>
                    <a:pt x="1404" y="1843"/>
                  </a:lnTo>
                  <a:lnTo>
                    <a:pt x="1404" y="1843"/>
                  </a:lnTo>
                  <a:lnTo>
                    <a:pt x="1402" y="1841"/>
                  </a:lnTo>
                  <a:lnTo>
                    <a:pt x="1402" y="1839"/>
                  </a:lnTo>
                  <a:lnTo>
                    <a:pt x="1402" y="1837"/>
                  </a:lnTo>
                  <a:lnTo>
                    <a:pt x="1402" y="1835"/>
                  </a:lnTo>
                  <a:lnTo>
                    <a:pt x="1402" y="1833"/>
                  </a:lnTo>
                  <a:lnTo>
                    <a:pt x="1402" y="1831"/>
                  </a:lnTo>
                  <a:lnTo>
                    <a:pt x="1400" y="1831"/>
                  </a:lnTo>
                  <a:lnTo>
                    <a:pt x="1400" y="1829"/>
                  </a:lnTo>
                  <a:lnTo>
                    <a:pt x="1400" y="1827"/>
                  </a:lnTo>
                  <a:lnTo>
                    <a:pt x="1400" y="1825"/>
                  </a:lnTo>
                  <a:lnTo>
                    <a:pt x="1398" y="1823"/>
                  </a:lnTo>
                  <a:lnTo>
                    <a:pt x="1398" y="1821"/>
                  </a:lnTo>
                  <a:lnTo>
                    <a:pt x="1396" y="1819"/>
                  </a:lnTo>
                  <a:lnTo>
                    <a:pt x="1396" y="1819"/>
                  </a:lnTo>
                  <a:lnTo>
                    <a:pt x="1394" y="1817"/>
                  </a:lnTo>
                  <a:lnTo>
                    <a:pt x="1394" y="1815"/>
                  </a:lnTo>
                  <a:lnTo>
                    <a:pt x="1392" y="1813"/>
                  </a:lnTo>
                  <a:lnTo>
                    <a:pt x="1392" y="1813"/>
                  </a:lnTo>
                  <a:lnTo>
                    <a:pt x="1389" y="1811"/>
                  </a:lnTo>
                  <a:lnTo>
                    <a:pt x="1387" y="1811"/>
                  </a:lnTo>
                  <a:lnTo>
                    <a:pt x="1385" y="1809"/>
                  </a:lnTo>
                  <a:lnTo>
                    <a:pt x="1385" y="1809"/>
                  </a:lnTo>
                  <a:lnTo>
                    <a:pt x="1383" y="1807"/>
                  </a:lnTo>
                  <a:lnTo>
                    <a:pt x="1381" y="1807"/>
                  </a:lnTo>
                  <a:lnTo>
                    <a:pt x="1379" y="1805"/>
                  </a:lnTo>
                  <a:lnTo>
                    <a:pt x="1377" y="1805"/>
                  </a:lnTo>
                  <a:lnTo>
                    <a:pt x="1377" y="1803"/>
                  </a:lnTo>
                  <a:lnTo>
                    <a:pt x="1374" y="1803"/>
                  </a:lnTo>
                  <a:lnTo>
                    <a:pt x="1372" y="1803"/>
                  </a:lnTo>
                  <a:lnTo>
                    <a:pt x="1370" y="1801"/>
                  </a:lnTo>
                  <a:lnTo>
                    <a:pt x="1368" y="1801"/>
                  </a:lnTo>
                  <a:lnTo>
                    <a:pt x="1366" y="1801"/>
                  </a:lnTo>
                  <a:lnTo>
                    <a:pt x="1364" y="1799"/>
                  </a:lnTo>
                  <a:lnTo>
                    <a:pt x="1362" y="1799"/>
                  </a:lnTo>
                  <a:lnTo>
                    <a:pt x="1364" y="1799"/>
                  </a:lnTo>
                  <a:lnTo>
                    <a:pt x="1362" y="1799"/>
                  </a:lnTo>
                  <a:lnTo>
                    <a:pt x="1359" y="1799"/>
                  </a:lnTo>
                  <a:lnTo>
                    <a:pt x="1357" y="1797"/>
                  </a:lnTo>
                  <a:lnTo>
                    <a:pt x="1355" y="1797"/>
                  </a:lnTo>
                  <a:lnTo>
                    <a:pt x="1353" y="1797"/>
                  </a:lnTo>
                  <a:lnTo>
                    <a:pt x="1353" y="1797"/>
                  </a:lnTo>
                  <a:lnTo>
                    <a:pt x="1351" y="1797"/>
                  </a:lnTo>
                  <a:lnTo>
                    <a:pt x="1349" y="1795"/>
                  </a:lnTo>
                  <a:lnTo>
                    <a:pt x="1346" y="1795"/>
                  </a:lnTo>
                  <a:lnTo>
                    <a:pt x="1344" y="1795"/>
                  </a:lnTo>
                  <a:lnTo>
                    <a:pt x="1342" y="1795"/>
                  </a:lnTo>
                  <a:lnTo>
                    <a:pt x="1340" y="1795"/>
                  </a:lnTo>
                  <a:lnTo>
                    <a:pt x="1338" y="1793"/>
                  </a:lnTo>
                  <a:lnTo>
                    <a:pt x="1336" y="1793"/>
                  </a:lnTo>
                  <a:lnTo>
                    <a:pt x="1334" y="1793"/>
                  </a:lnTo>
                  <a:lnTo>
                    <a:pt x="1334" y="1793"/>
                  </a:lnTo>
                  <a:lnTo>
                    <a:pt x="1331" y="1795"/>
                  </a:lnTo>
                  <a:lnTo>
                    <a:pt x="1329" y="1795"/>
                  </a:lnTo>
                  <a:lnTo>
                    <a:pt x="1329" y="1793"/>
                  </a:lnTo>
                  <a:lnTo>
                    <a:pt x="1327" y="1793"/>
                  </a:lnTo>
                  <a:lnTo>
                    <a:pt x="1327" y="1791"/>
                  </a:lnTo>
                  <a:lnTo>
                    <a:pt x="1325" y="1791"/>
                  </a:lnTo>
                  <a:lnTo>
                    <a:pt x="1323" y="1789"/>
                  </a:lnTo>
                  <a:lnTo>
                    <a:pt x="1321" y="1789"/>
                  </a:lnTo>
                  <a:lnTo>
                    <a:pt x="1319" y="1787"/>
                  </a:lnTo>
                  <a:lnTo>
                    <a:pt x="1319" y="1785"/>
                  </a:lnTo>
                  <a:lnTo>
                    <a:pt x="1316" y="1785"/>
                  </a:lnTo>
                  <a:lnTo>
                    <a:pt x="1314" y="1783"/>
                  </a:lnTo>
                  <a:lnTo>
                    <a:pt x="1312" y="1783"/>
                  </a:lnTo>
                  <a:lnTo>
                    <a:pt x="1312" y="1783"/>
                  </a:lnTo>
                  <a:lnTo>
                    <a:pt x="1312" y="1781"/>
                  </a:lnTo>
                  <a:lnTo>
                    <a:pt x="1314" y="1781"/>
                  </a:lnTo>
                  <a:lnTo>
                    <a:pt x="1312" y="1781"/>
                  </a:lnTo>
                  <a:lnTo>
                    <a:pt x="1312" y="1781"/>
                  </a:lnTo>
                  <a:lnTo>
                    <a:pt x="1314" y="1781"/>
                  </a:lnTo>
                  <a:lnTo>
                    <a:pt x="1314" y="1781"/>
                  </a:lnTo>
                  <a:lnTo>
                    <a:pt x="1316" y="1781"/>
                  </a:lnTo>
                  <a:lnTo>
                    <a:pt x="1316" y="1781"/>
                  </a:lnTo>
                  <a:lnTo>
                    <a:pt x="1319" y="1781"/>
                  </a:lnTo>
                  <a:lnTo>
                    <a:pt x="1321" y="1781"/>
                  </a:lnTo>
                  <a:lnTo>
                    <a:pt x="1323" y="1779"/>
                  </a:lnTo>
                  <a:lnTo>
                    <a:pt x="1323" y="1777"/>
                  </a:lnTo>
                  <a:lnTo>
                    <a:pt x="1323" y="1775"/>
                  </a:lnTo>
                  <a:lnTo>
                    <a:pt x="1325" y="1773"/>
                  </a:lnTo>
                  <a:lnTo>
                    <a:pt x="1325" y="1773"/>
                  </a:lnTo>
                  <a:lnTo>
                    <a:pt x="1325" y="1771"/>
                  </a:lnTo>
                  <a:lnTo>
                    <a:pt x="1325" y="1769"/>
                  </a:lnTo>
                  <a:lnTo>
                    <a:pt x="1327" y="1767"/>
                  </a:lnTo>
                  <a:lnTo>
                    <a:pt x="1327" y="1763"/>
                  </a:lnTo>
                  <a:lnTo>
                    <a:pt x="1325" y="1763"/>
                  </a:lnTo>
                  <a:lnTo>
                    <a:pt x="1325" y="1761"/>
                  </a:lnTo>
                  <a:lnTo>
                    <a:pt x="1325" y="1759"/>
                  </a:lnTo>
                  <a:lnTo>
                    <a:pt x="1323" y="1759"/>
                  </a:lnTo>
                  <a:lnTo>
                    <a:pt x="1325" y="1757"/>
                  </a:lnTo>
                  <a:lnTo>
                    <a:pt x="1323" y="1755"/>
                  </a:lnTo>
                  <a:lnTo>
                    <a:pt x="1325" y="1753"/>
                  </a:lnTo>
                  <a:lnTo>
                    <a:pt x="1325" y="1753"/>
                  </a:lnTo>
                  <a:lnTo>
                    <a:pt x="1327" y="1751"/>
                  </a:lnTo>
                  <a:lnTo>
                    <a:pt x="1327" y="1749"/>
                  </a:lnTo>
                  <a:lnTo>
                    <a:pt x="1329" y="1749"/>
                  </a:lnTo>
                  <a:lnTo>
                    <a:pt x="1329" y="1747"/>
                  </a:lnTo>
                  <a:lnTo>
                    <a:pt x="1329" y="1745"/>
                  </a:lnTo>
                  <a:lnTo>
                    <a:pt x="1327" y="1743"/>
                  </a:lnTo>
                  <a:lnTo>
                    <a:pt x="1327" y="1741"/>
                  </a:lnTo>
                  <a:lnTo>
                    <a:pt x="1327" y="1741"/>
                  </a:lnTo>
                  <a:lnTo>
                    <a:pt x="1325" y="1739"/>
                  </a:lnTo>
                  <a:lnTo>
                    <a:pt x="1323" y="1737"/>
                  </a:lnTo>
                  <a:lnTo>
                    <a:pt x="1323" y="1737"/>
                  </a:lnTo>
                  <a:lnTo>
                    <a:pt x="1321" y="1735"/>
                  </a:lnTo>
                  <a:lnTo>
                    <a:pt x="1319" y="1733"/>
                  </a:lnTo>
                  <a:lnTo>
                    <a:pt x="1319" y="1733"/>
                  </a:lnTo>
                  <a:lnTo>
                    <a:pt x="1316" y="1733"/>
                  </a:lnTo>
                  <a:lnTo>
                    <a:pt x="1314" y="1731"/>
                  </a:lnTo>
                  <a:lnTo>
                    <a:pt x="1312" y="1731"/>
                  </a:lnTo>
                  <a:lnTo>
                    <a:pt x="1312" y="1729"/>
                  </a:lnTo>
                  <a:lnTo>
                    <a:pt x="1310" y="1729"/>
                  </a:lnTo>
                  <a:lnTo>
                    <a:pt x="1308" y="1727"/>
                  </a:lnTo>
                  <a:lnTo>
                    <a:pt x="1306" y="1727"/>
                  </a:lnTo>
                  <a:lnTo>
                    <a:pt x="1304" y="1727"/>
                  </a:lnTo>
                  <a:lnTo>
                    <a:pt x="1301" y="1725"/>
                  </a:lnTo>
                  <a:lnTo>
                    <a:pt x="1301" y="1725"/>
                  </a:lnTo>
                  <a:lnTo>
                    <a:pt x="1299" y="1725"/>
                  </a:lnTo>
                  <a:lnTo>
                    <a:pt x="1297" y="1723"/>
                  </a:lnTo>
                  <a:lnTo>
                    <a:pt x="1295" y="1723"/>
                  </a:lnTo>
                  <a:lnTo>
                    <a:pt x="1293" y="1723"/>
                  </a:lnTo>
                  <a:lnTo>
                    <a:pt x="1291" y="1723"/>
                  </a:lnTo>
                  <a:lnTo>
                    <a:pt x="1288" y="1721"/>
                  </a:lnTo>
                  <a:lnTo>
                    <a:pt x="1286" y="1721"/>
                  </a:lnTo>
                  <a:lnTo>
                    <a:pt x="1284" y="1721"/>
                  </a:lnTo>
                  <a:lnTo>
                    <a:pt x="1284" y="1721"/>
                  </a:lnTo>
                  <a:lnTo>
                    <a:pt x="1282" y="1721"/>
                  </a:lnTo>
                  <a:lnTo>
                    <a:pt x="1280" y="1721"/>
                  </a:lnTo>
                  <a:lnTo>
                    <a:pt x="1278" y="1721"/>
                  </a:lnTo>
                  <a:lnTo>
                    <a:pt x="1276" y="1721"/>
                  </a:lnTo>
                  <a:lnTo>
                    <a:pt x="1273" y="1721"/>
                  </a:lnTo>
                  <a:lnTo>
                    <a:pt x="1271" y="1721"/>
                  </a:lnTo>
                  <a:lnTo>
                    <a:pt x="1269" y="1721"/>
                  </a:lnTo>
                  <a:lnTo>
                    <a:pt x="1267" y="1721"/>
                  </a:lnTo>
                  <a:lnTo>
                    <a:pt x="1265" y="1721"/>
                  </a:lnTo>
                  <a:lnTo>
                    <a:pt x="1263" y="1721"/>
                  </a:lnTo>
                  <a:lnTo>
                    <a:pt x="1261" y="1721"/>
                  </a:lnTo>
                  <a:lnTo>
                    <a:pt x="1258" y="1723"/>
                  </a:lnTo>
                  <a:lnTo>
                    <a:pt x="1256" y="1723"/>
                  </a:lnTo>
                  <a:lnTo>
                    <a:pt x="1256" y="1723"/>
                  </a:lnTo>
                  <a:lnTo>
                    <a:pt x="1254" y="1723"/>
                  </a:lnTo>
                  <a:lnTo>
                    <a:pt x="1252" y="1725"/>
                  </a:lnTo>
                  <a:lnTo>
                    <a:pt x="1250" y="1725"/>
                  </a:lnTo>
                  <a:lnTo>
                    <a:pt x="1250" y="1727"/>
                  </a:lnTo>
                  <a:lnTo>
                    <a:pt x="1248" y="1727"/>
                  </a:lnTo>
                  <a:lnTo>
                    <a:pt x="1250" y="1729"/>
                  </a:lnTo>
                  <a:lnTo>
                    <a:pt x="1250" y="1729"/>
                  </a:lnTo>
                  <a:lnTo>
                    <a:pt x="1250" y="1731"/>
                  </a:lnTo>
                  <a:lnTo>
                    <a:pt x="1250" y="1731"/>
                  </a:lnTo>
                  <a:lnTo>
                    <a:pt x="1250" y="1733"/>
                  </a:lnTo>
                  <a:lnTo>
                    <a:pt x="1250" y="1735"/>
                  </a:lnTo>
                  <a:lnTo>
                    <a:pt x="1248" y="1735"/>
                  </a:lnTo>
                  <a:lnTo>
                    <a:pt x="1246" y="1735"/>
                  </a:lnTo>
                  <a:lnTo>
                    <a:pt x="1243" y="1735"/>
                  </a:lnTo>
                  <a:lnTo>
                    <a:pt x="1243" y="1735"/>
                  </a:lnTo>
                  <a:lnTo>
                    <a:pt x="1241" y="1735"/>
                  </a:lnTo>
                  <a:lnTo>
                    <a:pt x="1241" y="1733"/>
                  </a:lnTo>
                  <a:lnTo>
                    <a:pt x="1239" y="1731"/>
                  </a:lnTo>
                  <a:lnTo>
                    <a:pt x="1239" y="1731"/>
                  </a:lnTo>
                  <a:lnTo>
                    <a:pt x="1237" y="1731"/>
                  </a:lnTo>
                  <a:lnTo>
                    <a:pt x="1235" y="1731"/>
                  </a:lnTo>
                  <a:lnTo>
                    <a:pt x="1233" y="1731"/>
                  </a:lnTo>
                  <a:lnTo>
                    <a:pt x="1235" y="1729"/>
                  </a:lnTo>
                  <a:lnTo>
                    <a:pt x="1235" y="1727"/>
                  </a:lnTo>
                  <a:lnTo>
                    <a:pt x="1233" y="1727"/>
                  </a:lnTo>
                  <a:lnTo>
                    <a:pt x="1233" y="1725"/>
                  </a:lnTo>
                  <a:lnTo>
                    <a:pt x="1233" y="1723"/>
                  </a:lnTo>
                  <a:lnTo>
                    <a:pt x="1233" y="1721"/>
                  </a:lnTo>
                  <a:lnTo>
                    <a:pt x="1231" y="1721"/>
                  </a:lnTo>
                  <a:lnTo>
                    <a:pt x="1231" y="1719"/>
                  </a:lnTo>
                  <a:lnTo>
                    <a:pt x="1231" y="1717"/>
                  </a:lnTo>
                  <a:lnTo>
                    <a:pt x="1231" y="1715"/>
                  </a:lnTo>
                  <a:lnTo>
                    <a:pt x="1231" y="1715"/>
                  </a:lnTo>
                  <a:lnTo>
                    <a:pt x="1231" y="1713"/>
                  </a:lnTo>
                  <a:lnTo>
                    <a:pt x="1231" y="1711"/>
                  </a:lnTo>
                  <a:lnTo>
                    <a:pt x="1231" y="1709"/>
                  </a:lnTo>
                  <a:lnTo>
                    <a:pt x="1231" y="1709"/>
                  </a:lnTo>
                  <a:lnTo>
                    <a:pt x="1231" y="1707"/>
                  </a:lnTo>
                  <a:lnTo>
                    <a:pt x="1233" y="1707"/>
                  </a:lnTo>
                  <a:lnTo>
                    <a:pt x="1233" y="1705"/>
                  </a:lnTo>
                  <a:lnTo>
                    <a:pt x="1235" y="1705"/>
                  </a:lnTo>
                  <a:lnTo>
                    <a:pt x="1235" y="1707"/>
                  </a:lnTo>
                  <a:lnTo>
                    <a:pt x="1237" y="1707"/>
                  </a:lnTo>
                  <a:lnTo>
                    <a:pt x="1239" y="1705"/>
                  </a:lnTo>
                  <a:lnTo>
                    <a:pt x="1239" y="1703"/>
                  </a:lnTo>
                  <a:lnTo>
                    <a:pt x="1239" y="1701"/>
                  </a:lnTo>
                  <a:lnTo>
                    <a:pt x="1239" y="1701"/>
                  </a:lnTo>
                  <a:lnTo>
                    <a:pt x="1239" y="1699"/>
                  </a:lnTo>
                  <a:lnTo>
                    <a:pt x="1239" y="1697"/>
                  </a:lnTo>
                  <a:lnTo>
                    <a:pt x="1239" y="1697"/>
                  </a:lnTo>
                  <a:lnTo>
                    <a:pt x="1241" y="1695"/>
                  </a:lnTo>
                  <a:lnTo>
                    <a:pt x="1241" y="1693"/>
                  </a:lnTo>
                  <a:lnTo>
                    <a:pt x="1243" y="1691"/>
                  </a:lnTo>
                  <a:lnTo>
                    <a:pt x="1243" y="1691"/>
                  </a:lnTo>
                  <a:lnTo>
                    <a:pt x="1243" y="1689"/>
                  </a:lnTo>
                  <a:lnTo>
                    <a:pt x="1243" y="1687"/>
                  </a:lnTo>
                  <a:lnTo>
                    <a:pt x="1243" y="1685"/>
                  </a:lnTo>
                  <a:lnTo>
                    <a:pt x="1243" y="1683"/>
                  </a:lnTo>
                  <a:lnTo>
                    <a:pt x="1246" y="1681"/>
                  </a:lnTo>
                  <a:lnTo>
                    <a:pt x="1246" y="1679"/>
                  </a:lnTo>
                  <a:lnTo>
                    <a:pt x="1246" y="1677"/>
                  </a:lnTo>
                  <a:lnTo>
                    <a:pt x="1246" y="1675"/>
                  </a:lnTo>
                  <a:lnTo>
                    <a:pt x="1246" y="1673"/>
                  </a:lnTo>
                  <a:lnTo>
                    <a:pt x="1246" y="1671"/>
                  </a:lnTo>
                  <a:lnTo>
                    <a:pt x="1246" y="1669"/>
                  </a:lnTo>
                  <a:lnTo>
                    <a:pt x="1246" y="1669"/>
                  </a:lnTo>
                  <a:lnTo>
                    <a:pt x="1246" y="1667"/>
                  </a:lnTo>
                  <a:lnTo>
                    <a:pt x="1246" y="1665"/>
                  </a:lnTo>
                  <a:lnTo>
                    <a:pt x="1246" y="1663"/>
                  </a:lnTo>
                  <a:lnTo>
                    <a:pt x="1246" y="1661"/>
                  </a:lnTo>
                  <a:lnTo>
                    <a:pt x="1246" y="1659"/>
                  </a:lnTo>
                  <a:lnTo>
                    <a:pt x="1248" y="1657"/>
                  </a:lnTo>
                  <a:lnTo>
                    <a:pt x="1248" y="1655"/>
                  </a:lnTo>
                  <a:lnTo>
                    <a:pt x="1248" y="1653"/>
                  </a:lnTo>
                  <a:lnTo>
                    <a:pt x="1248" y="1651"/>
                  </a:lnTo>
                  <a:lnTo>
                    <a:pt x="1248" y="1649"/>
                  </a:lnTo>
                  <a:lnTo>
                    <a:pt x="1248" y="1647"/>
                  </a:lnTo>
                  <a:lnTo>
                    <a:pt x="1248" y="1645"/>
                  </a:lnTo>
                  <a:lnTo>
                    <a:pt x="1248" y="1645"/>
                  </a:lnTo>
                  <a:lnTo>
                    <a:pt x="1248" y="1643"/>
                  </a:lnTo>
                  <a:lnTo>
                    <a:pt x="1248" y="1641"/>
                  </a:lnTo>
                  <a:lnTo>
                    <a:pt x="1246" y="1639"/>
                  </a:lnTo>
                  <a:lnTo>
                    <a:pt x="1246" y="1637"/>
                  </a:lnTo>
                  <a:lnTo>
                    <a:pt x="1246" y="1635"/>
                  </a:lnTo>
                  <a:lnTo>
                    <a:pt x="1246" y="1633"/>
                  </a:lnTo>
                  <a:lnTo>
                    <a:pt x="1246" y="1631"/>
                  </a:lnTo>
                  <a:lnTo>
                    <a:pt x="1246" y="1629"/>
                  </a:lnTo>
                  <a:lnTo>
                    <a:pt x="1246" y="1627"/>
                  </a:lnTo>
                  <a:lnTo>
                    <a:pt x="1246" y="1625"/>
                  </a:lnTo>
                  <a:lnTo>
                    <a:pt x="1246" y="1623"/>
                  </a:lnTo>
                  <a:lnTo>
                    <a:pt x="1246" y="1621"/>
                  </a:lnTo>
                  <a:lnTo>
                    <a:pt x="1246" y="1619"/>
                  </a:lnTo>
                  <a:lnTo>
                    <a:pt x="1243" y="1619"/>
                  </a:lnTo>
                  <a:lnTo>
                    <a:pt x="1243" y="1617"/>
                  </a:lnTo>
                  <a:lnTo>
                    <a:pt x="1243" y="1615"/>
                  </a:lnTo>
                  <a:lnTo>
                    <a:pt x="1243" y="1613"/>
                  </a:lnTo>
                  <a:lnTo>
                    <a:pt x="1243" y="1611"/>
                  </a:lnTo>
                  <a:lnTo>
                    <a:pt x="1243" y="1609"/>
                  </a:lnTo>
                  <a:lnTo>
                    <a:pt x="1243" y="1607"/>
                  </a:lnTo>
                  <a:lnTo>
                    <a:pt x="1241" y="1605"/>
                  </a:lnTo>
                  <a:lnTo>
                    <a:pt x="1241" y="1603"/>
                  </a:lnTo>
                  <a:lnTo>
                    <a:pt x="1241" y="1601"/>
                  </a:lnTo>
                  <a:lnTo>
                    <a:pt x="1241" y="1599"/>
                  </a:lnTo>
                  <a:lnTo>
                    <a:pt x="1239" y="1599"/>
                  </a:lnTo>
                  <a:lnTo>
                    <a:pt x="1239" y="1597"/>
                  </a:lnTo>
                  <a:lnTo>
                    <a:pt x="1239" y="1595"/>
                  </a:lnTo>
                  <a:lnTo>
                    <a:pt x="1237" y="1593"/>
                  </a:lnTo>
                  <a:lnTo>
                    <a:pt x="1237" y="1591"/>
                  </a:lnTo>
                  <a:lnTo>
                    <a:pt x="1237" y="1589"/>
                  </a:lnTo>
                  <a:lnTo>
                    <a:pt x="1235" y="1587"/>
                  </a:lnTo>
                  <a:lnTo>
                    <a:pt x="1235" y="1587"/>
                  </a:lnTo>
                  <a:lnTo>
                    <a:pt x="1235" y="1585"/>
                  </a:lnTo>
                  <a:lnTo>
                    <a:pt x="1233" y="1583"/>
                  </a:lnTo>
                  <a:lnTo>
                    <a:pt x="1233" y="1582"/>
                  </a:lnTo>
                  <a:lnTo>
                    <a:pt x="1231" y="1580"/>
                  </a:lnTo>
                  <a:lnTo>
                    <a:pt x="1228" y="1580"/>
                  </a:lnTo>
                  <a:lnTo>
                    <a:pt x="1228" y="1578"/>
                  </a:lnTo>
                  <a:lnTo>
                    <a:pt x="1228" y="1578"/>
                  </a:lnTo>
                  <a:lnTo>
                    <a:pt x="1226" y="1578"/>
                  </a:lnTo>
                  <a:lnTo>
                    <a:pt x="1226" y="1576"/>
                  </a:lnTo>
                  <a:lnTo>
                    <a:pt x="1224" y="1576"/>
                  </a:lnTo>
                  <a:lnTo>
                    <a:pt x="1222" y="1574"/>
                  </a:lnTo>
                  <a:lnTo>
                    <a:pt x="1222" y="1572"/>
                  </a:lnTo>
                  <a:lnTo>
                    <a:pt x="1220" y="1572"/>
                  </a:lnTo>
                  <a:lnTo>
                    <a:pt x="1218" y="1570"/>
                  </a:lnTo>
                  <a:lnTo>
                    <a:pt x="1218" y="1568"/>
                  </a:lnTo>
                  <a:lnTo>
                    <a:pt x="1218" y="1566"/>
                  </a:lnTo>
                  <a:lnTo>
                    <a:pt x="1218" y="1564"/>
                  </a:lnTo>
                  <a:lnTo>
                    <a:pt x="1218" y="1562"/>
                  </a:lnTo>
                  <a:lnTo>
                    <a:pt x="1218" y="1562"/>
                  </a:lnTo>
                  <a:lnTo>
                    <a:pt x="1218" y="1560"/>
                  </a:lnTo>
                  <a:lnTo>
                    <a:pt x="1215" y="1558"/>
                  </a:lnTo>
                  <a:lnTo>
                    <a:pt x="1215" y="1558"/>
                  </a:lnTo>
                  <a:lnTo>
                    <a:pt x="1213" y="1556"/>
                  </a:lnTo>
                  <a:lnTo>
                    <a:pt x="1213" y="1556"/>
                  </a:lnTo>
                  <a:lnTo>
                    <a:pt x="1213" y="1554"/>
                  </a:lnTo>
                  <a:lnTo>
                    <a:pt x="1213" y="1552"/>
                  </a:lnTo>
                  <a:lnTo>
                    <a:pt x="1213" y="1550"/>
                  </a:lnTo>
                  <a:lnTo>
                    <a:pt x="1211" y="1548"/>
                  </a:lnTo>
                  <a:lnTo>
                    <a:pt x="1211" y="1546"/>
                  </a:lnTo>
                  <a:lnTo>
                    <a:pt x="1209" y="1546"/>
                  </a:lnTo>
                  <a:lnTo>
                    <a:pt x="1209" y="1544"/>
                  </a:lnTo>
                  <a:lnTo>
                    <a:pt x="1209" y="1542"/>
                  </a:lnTo>
                  <a:lnTo>
                    <a:pt x="1209" y="1542"/>
                  </a:lnTo>
                  <a:lnTo>
                    <a:pt x="1207" y="1540"/>
                  </a:lnTo>
                  <a:lnTo>
                    <a:pt x="1207" y="1538"/>
                  </a:lnTo>
                  <a:lnTo>
                    <a:pt x="1207" y="1538"/>
                  </a:lnTo>
                  <a:lnTo>
                    <a:pt x="1205" y="1538"/>
                  </a:lnTo>
                  <a:lnTo>
                    <a:pt x="1203" y="1538"/>
                  </a:lnTo>
                  <a:lnTo>
                    <a:pt x="1200" y="1538"/>
                  </a:lnTo>
                  <a:lnTo>
                    <a:pt x="1200" y="1538"/>
                  </a:lnTo>
                  <a:lnTo>
                    <a:pt x="1200" y="1536"/>
                  </a:lnTo>
                  <a:lnTo>
                    <a:pt x="1200" y="1534"/>
                  </a:lnTo>
                  <a:lnTo>
                    <a:pt x="1200" y="1534"/>
                  </a:lnTo>
                  <a:lnTo>
                    <a:pt x="1198" y="1532"/>
                  </a:lnTo>
                  <a:lnTo>
                    <a:pt x="1200" y="1530"/>
                  </a:lnTo>
                  <a:lnTo>
                    <a:pt x="1198" y="1530"/>
                  </a:lnTo>
                  <a:lnTo>
                    <a:pt x="1198" y="1528"/>
                  </a:lnTo>
                  <a:lnTo>
                    <a:pt x="1198" y="1528"/>
                  </a:lnTo>
                  <a:lnTo>
                    <a:pt x="1196" y="1526"/>
                  </a:lnTo>
                  <a:lnTo>
                    <a:pt x="1196" y="1524"/>
                  </a:lnTo>
                  <a:lnTo>
                    <a:pt x="1194" y="1524"/>
                  </a:lnTo>
                  <a:lnTo>
                    <a:pt x="1194" y="1522"/>
                  </a:lnTo>
                  <a:lnTo>
                    <a:pt x="1194" y="1520"/>
                  </a:lnTo>
                  <a:lnTo>
                    <a:pt x="1192" y="1518"/>
                  </a:lnTo>
                  <a:lnTo>
                    <a:pt x="1192" y="1518"/>
                  </a:lnTo>
                  <a:lnTo>
                    <a:pt x="1190" y="1516"/>
                  </a:lnTo>
                  <a:lnTo>
                    <a:pt x="1188" y="1516"/>
                  </a:lnTo>
                  <a:lnTo>
                    <a:pt x="1188" y="1514"/>
                  </a:lnTo>
                  <a:lnTo>
                    <a:pt x="1185" y="1514"/>
                  </a:lnTo>
                  <a:lnTo>
                    <a:pt x="1183" y="1514"/>
                  </a:lnTo>
                  <a:lnTo>
                    <a:pt x="1183" y="1512"/>
                  </a:lnTo>
                  <a:lnTo>
                    <a:pt x="1181" y="1512"/>
                  </a:lnTo>
                  <a:lnTo>
                    <a:pt x="1179" y="1512"/>
                  </a:lnTo>
                  <a:lnTo>
                    <a:pt x="1179" y="1510"/>
                  </a:lnTo>
                  <a:lnTo>
                    <a:pt x="1177" y="1510"/>
                  </a:lnTo>
                  <a:lnTo>
                    <a:pt x="1177" y="1508"/>
                  </a:lnTo>
                  <a:lnTo>
                    <a:pt x="1177" y="1506"/>
                  </a:lnTo>
                  <a:lnTo>
                    <a:pt x="1177" y="1506"/>
                  </a:lnTo>
                  <a:lnTo>
                    <a:pt x="1175" y="1504"/>
                  </a:lnTo>
                  <a:lnTo>
                    <a:pt x="1175" y="1502"/>
                  </a:lnTo>
                  <a:lnTo>
                    <a:pt x="1175" y="1502"/>
                  </a:lnTo>
                  <a:lnTo>
                    <a:pt x="1175" y="1500"/>
                  </a:lnTo>
                  <a:lnTo>
                    <a:pt x="1173" y="1498"/>
                  </a:lnTo>
                  <a:lnTo>
                    <a:pt x="1173" y="1498"/>
                  </a:lnTo>
                  <a:lnTo>
                    <a:pt x="1173" y="1496"/>
                  </a:lnTo>
                  <a:lnTo>
                    <a:pt x="1173" y="1494"/>
                  </a:lnTo>
                  <a:lnTo>
                    <a:pt x="1173" y="1492"/>
                  </a:lnTo>
                  <a:lnTo>
                    <a:pt x="1170" y="1492"/>
                  </a:lnTo>
                  <a:lnTo>
                    <a:pt x="1170" y="1492"/>
                  </a:lnTo>
                  <a:lnTo>
                    <a:pt x="1170" y="1490"/>
                  </a:lnTo>
                  <a:lnTo>
                    <a:pt x="1170" y="1490"/>
                  </a:lnTo>
                  <a:lnTo>
                    <a:pt x="1170" y="1490"/>
                  </a:lnTo>
                  <a:lnTo>
                    <a:pt x="1168" y="1488"/>
                  </a:lnTo>
                  <a:lnTo>
                    <a:pt x="1168" y="1488"/>
                  </a:lnTo>
                  <a:lnTo>
                    <a:pt x="1168" y="1486"/>
                  </a:lnTo>
                  <a:lnTo>
                    <a:pt x="1168" y="1486"/>
                  </a:lnTo>
                  <a:lnTo>
                    <a:pt x="1168" y="1486"/>
                  </a:lnTo>
                  <a:lnTo>
                    <a:pt x="1166" y="1484"/>
                  </a:lnTo>
                  <a:lnTo>
                    <a:pt x="1166" y="1484"/>
                  </a:lnTo>
                  <a:lnTo>
                    <a:pt x="1166" y="1482"/>
                  </a:lnTo>
                  <a:lnTo>
                    <a:pt x="1166" y="1482"/>
                  </a:lnTo>
                  <a:lnTo>
                    <a:pt x="1166" y="1482"/>
                  </a:lnTo>
                  <a:lnTo>
                    <a:pt x="1164" y="1480"/>
                  </a:lnTo>
                  <a:lnTo>
                    <a:pt x="1166" y="1480"/>
                  </a:lnTo>
                  <a:lnTo>
                    <a:pt x="1164" y="1480"/>
                  </a:lnTo>
                  <a:lnTo>
                    <a:pt x="1164" y="1480"/>
                  </a:lnTo>
                  <a:lnTo>
                    <a:pt x="1166" y="1478"/>
                  </a:lnTo>
                  <a:lnTo>
                    <a:pt x="1164" y="1478"/>
                  </a:lnTo>
                  <a:lnTo>
                    <a:pt x="1166" y="1478"/>
                  </a:lnTo>
                  <a:lnTo>
                    <a:pt x="1166" y="1478"/>
                  </a:lnTo>
                  <a:lnTo>
                    <a:pt x="1166" y="1476"/>
                  </a:lnTo>
                  <a:lnTo>
                    <a:pt x="1166" y="1476"/>
                  </a:lnTo>
                  <a:lnTo>
                    <a:pt x="1166" y="1474"/>
                  </a:lnTo>
                  <a:lnTo>
                    <a:pt x="1168" y="1474"/>
                  </a:lnTo>
                  <a:lnTo>
                    <a:pt x="1166" y="1476"/>
                  </a:lnTo>
                  <a:lnTo>
                    <a:pt x="1164" y="1476"/>
                  </a:lnTo>
                  <a:lnTo>
                    <a:pt x="1164" y="1476"/>
                  </a:lnTo>
                  <a:lnTo>
                    <a:pt x="1166" y="1474"/>
                  </a:lnTo>
                  <a:lnTo>
                    <a:pt x="1166" y="1474"/>
                  </a:lnTo>
                  <a:lnTo>
                    <a:pt x="1166" y="1472"/>
                  </a:lnTo>
                  <a:lnTo>
                    <a:pt x="1166" y="1472"/>
                  </a:lnTo>
                  <a:lnTo>
                    <a:pt x="1168" y="1470"/>
                  </a:lnTo>
                  <a:lnTo>
                    <a:pt x="1168" y="1468"/>
                  </a:lnTo>
                  <a:lnTo>
                    <a:pt x="1170" y="1468"/>
                  </a:lnTo>
                  <a:lnTo>
                    <a:pt x="1173" y="1468"/>
                  </a:lnTo>
                  <a:lnTo>
                    <a:pt x="1170" y="1466"/>
                  </a:lnTo>
                  <a:lnTo>
                    <a:pt x="1173" y="1464"/>
                  </a:lnTo>
                  <a:lnTo>
                    <a:pt x="1173" y="1464"/>
                  </a:lnTo>
                  <a:lnTo>
                    <a:pt x="1170" y="1466"/>
                  </a:lnTo>
                  <a:lnTo>
                    <a:pt x="1170" y="1466"/>
                  </a:lnTo>
                  <a:lnTo>
                    <a:pt x="1170" y="1468"/>
                  </a:lnTo>
                  <a:lnTo>
                    <a:pt x="1170" y="1466"/>
                  </a:lnTo>
                  <a:lnTo>
                    <a:pt x="1168" y="1468"/>
                  </a:lnTo>
                  <a:lnTo>
                    <a:pt x="1168" y="1468"/>
                  </a:lnTo>
                  <a:lnTo>
                    <a:pt x="1168" y="1470"/>
                  </a:lnTo>
                  <a:lnTo>
                    <a:pt x="1166" y="1472"/>
                  </a:lnTo>
                  <a:lnTo>
                    <a:pt x="1166" y="1470"/>
                  </a:lnTo>
                  <a:lnTo>
                    <a:pt x="1166" y="1472"/>
                  </a:lnTo>
                  <a:lnTo>
                    <a:pt x="1164" y="1472"/>
                  </a:lnTo>
                  <a:lnTo>
                    <a:pt x="1164" y="1474"/>
                  </a:lnTo>
                  <a:lnTo>
                    <a:pt x="1164" y="1474"/>
                  </a:lnTo>
                  <a:lnTo>
                    <a:pt x="1166" y="1472"/>
                  </a:lnTo>
                  <a:lnTo>
                    <a:pt x="1166" y="1470"/>
                  </a:lnTo>
                  <a:lnTo>
                    <a:pt x="1166" y="1468"/>
                  </a:lnTo>
                  <a:lnTo>
                    <a:pt x="1166" y="1468"/>
                  </a:lnTo>
                  <a:lnTo>
                    <a:pt x="1166" y="1466"/>
                  </a:lnTo>
                  <a:lnTo>
                    <a:pt x="1164" y="1464"/>
                  </a:lnTo>
                  <a:lnTo>
                    <a:pt x="1164" y="1462"/>
                  </a:lnTo>
                  <a:lnTo>
                    <a:pt x="1164" y="1460"/>
                  </a:lnTo>
                  <a:lnTo>
                    <a:pt x="1164" y="1458"/>
                  </a:lnTo>
                  <a:lnTo>
                    <a:pt x="1162" y="1456"/>
                  </a:lnTo>
                  <a:lnTo>
                    <a:pt x="1162" y="1454"/>
                  </a:lnTo>
                  <a:lnTo>
                    <a:pt x="1162" y="1454"/>
                  </a:lnTo>
                  <a:lnTo>
                    <a:pt x="1162" y="1452"/>
                  </a:lnTo>
                  <a:lnTo>
                    <a:pt x="1162" y="1450"/>
                  </a:lnTo>
                  <a:lnTo>
                    <a:pt x="1162" y="1448"/>
                  </a:lnTo>
                  <a:lnTo>
                    <a:pt x="1162" y="1446"/>
                  </a:lnTo>
                  <a:lnTo>
                    <a:pt x="1162" y="1444"/>
                  </a:lnTo>
                  <a:lnTo>
                    <a:pt x="1162" y="1442"/>
                  </a:lnTo>
                  <a:lnTo>
                    <a:pt x="1162" y="1440"/>
                  </a:lnTo>
                  <a:lnTo>
                    <a:pt x="1160" y="1438"/>
                  </a:lnTo>
                  <a:lnTo>
                    <a:pt x="1160" y="1436"/>
                  </a:lnTo>
                  <a:lnTo>
                    <a:pt x="1160" y="1434"/>
                  </a:lnTo>
                  <a:lnTo>
                    <a:pt x="1160" y="1432"/>
                  </a:lnTo>
                  <a:lnTo>
                    <a:pt x="1157" y="1432"/>
                  </a:lnTo>
                  <a:lnTo>
                    <a:pt x="1157" y="1430"/>
                  </a:lnTo>
                  <a:lnTo>
                    <a:pt x="1157" y="1428"/>
                  </a:lnTo>
                  <a:lnTo>
                    <a:pt x="1155" y="1426"/>
                  </a:lnTo>
                  <a:lnTo>
                    <a:pt x="1155" y="1424"/>
                  </a:lnTo>
                  <a:lnTo>
                    <a:pt x="1155" y="1424"/>
                  </a:lnTo>
                  <a:lnTo>
                    <a:pt x="1157" y="1424"/>
                  </a:lnTo>
                  <a:lnTo>
                    <a:pt x="1157" y="1422"/>
                  </a:lnTo>
                  <a:lnTo>
                    <a:pt x="1157" y="1420"/>
                  </a:lnTo>
                  <a:lnTo>
                    <a:pt x="1157" y="1418"/>
                  </a:lnTo>
                  <a:lnTo>
                    <a:pt x="1157" y="1416"/>
                  </a:lnTo>
                  <a:lnTo>
                    <a:pt x="1157" y="1414"/>
                  </a:lnTo>
                  <a:lnTo>
                    <a:pt x="1157" y="1412"/>
                  </a:lnTo>
                  <a:lnTo>
                    <a:pt x="1157" y="1410"/>
                  </a:lnTo>
                  <a:lnTo>
                    <a:pt x="1157" y="1408"/>
                  </a:lnTo>
                  <a:lnTo>
                    <a:pt x="1157" y="1406"/>
                  </a:lnTo>
                  <a:lnTo>
                    <a:pt x="1157" y="1406"/>
                  </a:lnTo>
                  <a:lnTo>
                    <a:pt x="1157" y="1404"/>
                  </a:lnTo>
                  <a:lnTo>
                    <a:pt x="1157" y="1402"/>
                  </a:lnTo>
                  <a:lnTo>
                    <a:pt x="1157" y="1400"/>
                  </a:lnTo>
                  <a:lnTo>
                    <a:pt x="1157" y="1398"/>
                  </a:lnTo>
                  <a:lnTo>
                    <a:pt x="1155" y="1396"/>
                  </a:lnTo>
                  <a:lnTo>
                    <a:pt x="1155" y="1394"/>
                  </a:lnTo>
                  <a:lnTo>
                    <a:pt x="1155" y="1392"/>
                  </a:lnTo>
                  <a:lnTo>
                    <a:pt x="1155" y="1390"/>
                  </a:lnTo>
                  <a:lnTo>
                    <a:pt x="1155" y="1388"/>
                  </a:lnTo>
                  <a:lnTo>
                    <a:pt x="1155" y="1386"/>
                  </a:lnTo>
                  <a:lnTo>
                    <a:pt x="1153" y="1384"/>
                  </a:lnTo>
                  <a:lnTo>
                    <a:pt x="1153" y="1384"/>
                  </a:lnTo>
                  <a:lnTo>
                    <a:pt x="1153" y="1382"/>
                  </a:lnTo>
                  <a:lnTo>
                    <a:pt x="1153" y="1380"/>
                  </a:lnTo>
                  <a:lnTo>
                    <a:pt x="1153" y="1378"/>
                  </a:lnTo>
                  <a:lnTo>
                    <a:pt x="1153" y="1376"/>
                  </a:lnTo>
                  <a:lnTo>
                    <a:pt x="1153" y="1374"/>
                  </a:lnTo>
                  <a:lnTo>
                    <a:pt x="1153" y="1372"/>
                  </a:lnTo>
                  <a:lnTo>
                    <a:pt x="1151" y="1370"/>
                  </a:lnTo>
                  <a:lnTo>
                    <a:pt x="1151" y="1368"/>
                  </a:lnTo>
                  <a:lnTo>
                    <a:pt x="1151" y="1368"/>
                  </a:lnTo>
                  <a:lnTo>
                    <a:pt x="1151" y="1366"/>
                  </a:lnTo>
                  <a:lnTo>
                    <a:pt x="1149" y="1364"/>
                  </a:lnTo>
                  <a:lnTo>
                    <a:pt x="1149" y="1362"/>
                  </a:lnTo>
                  <a:lnTo>
                    <a:pt x="1149" y="1360"/>
                  </a:lnTo>
                  <a:lnTo>
                    <a:pt x="1149" y="1358"/>
                  </a:lnTo>
                  <a:lnTo>
                    <a:pt x="1147" y="1356"/>
                  </a:lnTo>
                  <a:lnTo>
                    <a:pt x="1147" y="1354"/>
                  </a:lnTo>
                  <a:lnTo>
                    <a:pt x="1147" y="1352"/>
                  </a:lnTo>
                  <a:lnTo>
                    <a:pt x="1145" y="1352"/>
                  </a:lnTo>
                  <a:lnTo>
                    <a:pt x="1145" y="1350"/>
                  </a:lnTo>
                  <a:lnTo>
                    <a:pt x="1142" y="1348"/>
                  </a:lnTo>
                  <a:lnTo>
                    <a:pt x="1145" y="1350"/>
                  </a:lnTo>
                  <a:lnTo>
                    <a:pt x="1145" y="1348"/>
                  </a:lnTo>
                  <a:lnTo>
                    <a:pt x="1145" y="1348"/>
                  </a:lnTo>
                  <a:lnTo>
                    <a:pt x="1142" y="1348"/>
                  </a:lnTo>
                  <a:lnTo>
                    <a:pt x="1145" y="1348"/>
                  </a:lnTo>
                  <a:lnTo>
                    <a:pt x="1145" y="1346"/>
                  </a:lnTo>
                  <a:lnTo>
                    <a:pt x="1145" y="1344"/>
                  </a:lnTo>
                  <a:lnTo>
                    <a:pt x="1142" y="1342"/>
                  </a:lnTo>
                  <a:lnTo>
                    <a:pt x="1142" y="1340"/>
                  </a:lnTo>
                  <a:lnTo>
                    <a:pt x="1140" y="1340"/>
                  </a:lnTo>
                  <a:lnTo>
                    <a:pt x="1140" y="1338"/>
                  </a:lnTo>
                  <a:lnTo>
                    <a:pt x="1140" y="1336"/>
                  </a:lnTo>
                  <a:lnTo>
                    <a:pt x="1138" y="1334"/>
                  </a:lnTo>
                  <a:lnTo>
                    <a:pt x="1138" y="1332"/>
                  </a:lnTo>
                  <a:lnTo>
                    <a:pt x="1136" y="1330"/>
                  </a:lnTo>
                  <a:lnTo>
                    <a:pt x="1136" y="1330"/>
                  </a:lnTo>
                  <a:lnTo>
                    <a:pt x="1134" y="1328"/>
                  </a:lnTo>
                  <a:lnTo>
                    <a:pt x="1134" y="1326"/>
                  </a:lnTo>
                  <a:lnTo>
                    <a:pt x="1132" y="1324"/>
                  </a:lnTo>
                  <a:lnTo>
                    <a:pt x="1132" y="1322"/>
                  </a:lnTo>
                  <a:lnTo>
                    <a:pt x="1130" y="1322"/>
                  </a:lnTo>
                  <a:lnTo>
                    <a:pt x="1130" y="1320"/>
                  </a:lnTo>
                  <a:lnTo>
                    <a:pt x="1127" y="1318"/>
                  </a:lnTo>
                  <a:lnTo>
                    <a:pt x="1127" y="1316"/>
                  </a:lnTo>
                  <a:lnTo>
                    <a:pt x="1125" y="1316"/>
                  </a:lnTo>
                  <a:lnTo>
                    <a:pt x="1125" y="1314"/>
                  </a:lnTo>
                  <a:lnTo>
                    <a:pt x="1123" y="1312"/>
                  </a:lnTo>
                  <a:lnTo>
                    <a:pt x="1121" y="1312"/>
                  </a:lnTo>
                  <a:lnTo>
                    <a:pt x="1121" y="1310"/>
                  </a:lnTo>
                  <a:lnTo>
                    <a:pt x="1119" y="1308"/>
                  </a:lnTo>
                  <a:lnTo>
                    <a:pt x="1119" y="1306"/>
                  </a:lnTo>
                  <a:lnTo>
                    <a:pt x="1117" y="1306"/>
                  </a:lnTo>
                  <a:lnTo>
                    <a:pt x="1115" y="1304"/>
                  </a:lnTo>
                  <a:lnTo>
                    <a:pt x="1115" y="1302"/>
                  </a:lnTo>
                  <a:lnTo>
                    <a:pt x="1112" y="1302"/>
                  </a:lnTo>
                  <a:lnTo>
                    <a:pt x="1110" y="1300"/>
                  </a:lnTo>
                  <a:lnTo>
                    <a:pt x="1110" y="1298"/>
                  </a:lnTo>
                  <a:lnTo>
                    <a:pt x="1108" y="1298"/>
                  </a:lnTo>
                  <a:lnTo>
                    <a:pt x="1106" y="1296"/>
                  </a:lnTo>
                  <a:lnTo>
                    <a:pt x="1106" y="1294"/>
                  </a:lnTo>
                  <a:lnTo>
                    <a:pt x="1104" y="1294"/>
                  </a:lnTo>
                  <a:lnTo>
                    <a:pt x="1102" y="1292"/>
                  </a:lnTo>
                  <a:lnTo>
                    <a:pt x="1102" y="1292"/>
                  </a:lnTo>
                  <a:lnTo>
                    <a:pt x="1100" y="1290"/>
                  </a:lnTo>
                  <a:lnTo>
                    <a:pt x="1097" y="1290"/>
                  </a:lnTo>
                  <a:lnTo>
                    <a:pt x="1097" y="1288"/>
                  </a:lnTo>
                  <a:lnTo>
                    <a:pt x="1095" y="1288"/>
                  </a:lnTo>
                  <a:lnTo>
                    <a:pt x="1095" y="1286"/>
                  </a:lnTo>
                  <a:lnTo>
                    <a:pt x="1093" y="1286"/>
                  </a:lnTo>
                  <a:lnTo>
                    <a:pt x="1091" y="1284"/>
                  </a:lnTo>
                  <a:lnTo>
                    <a:pt x="1089" y="1282"/>
                  </a:lnTo>
                  <a:lnTo>
                    <a:pt x="1089" y="1282"/>
                  </a:lnTo>
                  <a:lnTo>
                    <a:pt x="1087" y="1280"/>
                  </a:lnTo>
                  <a:lnTo>
                    <a:pt x="1084" y="1280"/>
                  </a:lnTo>
                  <a:lnTo>
                    <a:pt x="1082" y="1278"/>
                  </a:lnTo>
                  <a:lnTo>
                    <a:pt x="1082" y="1278"/>
                  </a:lnTo>
                  <a:lnTo>
                    <a:pt x="1080" y="1278"/>
                  </a:lnTo>
                  <a:lnTo>
                    <a:pt x="1078" y="1278"/>
                  </a:lnTo>
                  <a:lnTo>
                    <a:pt x="1076" y="1276"/>
                  </a:lnTo>
                  <a:lnTo>
                    <a:pt x="1076" y="1276"/>
                  </a:lnTo>
                  <a:lnTo>
                    <a:pt x="1072" y="1274"/>
                  </a:lnTo>
                  <a:lnTo>
                    <a:pt x="1069" y="1272"/>
                  </a:lnTo>
                  <a:lnTo>
                    <a:pt x="1067" y="1272"/>
                  </a:lnTo>
                  <a:lnTo>
                    <a:pt x="1065" y="1272"/>
                  </a:lnTo>
                  <a:lnTo>
                    <a:pt x="1063" y="1272"/>
                  </a:lnTo>
                  <a:lnTo>
                    <a:pt x="1063" y="1272"/>
                  </a:lnTo>
                  <a:lnTo>
                    <a:pt x="1061" y="1270"/>
                  </a:lnTo>
                  <a:lnTo>
                    <a:pt x="1061" y="1270"/>
                  </a:lnTo>
                  <a:lnTo>
                    <a:pt x="1059" y="1268"/>
                  </a:lnTo>
                  <a:lnTo>
                    <a:pt x="1059" y="1270"/>
                  </a:lnTo>
                  <a:lnTo>
                    <a:pt x="1061" y="1270"/>
                  </a:lnTo>
                  <a:lnTo>
                    <a:pt x="1061" y="1272"/>
                  </a:lnTo>
                  <a:lnTo>
                    <a:pt x="1061" y="1274"/>
                  </a:lnTo>
                  <a:lnTo>
                    <a:pt x="1061" y="1276"/>
                  </a:lnTo>
                  <a:lnTo>
                    <a:pt x="1061" y="1276"/>
                  </a:lnTo>
                  <a:lnTo>
                    <a:pt x="1059" y="1278"/>
                  </a:lnTo>
                  <a:lnTo>
                    <a:pt x="1057" y="1276"/>
                  </a:lnTo>
                  <a:lnTo>
                    <a:pt x="1054" y="1278"/>
                  </a:lnTo>
                  <a:lnTo>
                    <a:pt x="1054" y="1276"/>
                  </a:lnTo>
                  <a:lnTo>
                    <a:pt x="1052" y="1276"/>
                  </a:lnTo>
                  <a:lnTo>
                    <a:pt x="1050" y="1274"/>
                  </a:lnTo>
                  <a:lnTo>
                    <a:pt x="1050" y="1272"/>
                  </a:lnTo>
                  <a:lnTo>
                    <a:pt x="1048" y="1272"/>
                  </a:lnTo>
                  <a:lnTo>
                    <a:pt x="1048" y="1270"/>
                  </a:lnTo>
                  <a:lnTo>
                    <a:pt x="1046" y="1270"/>
                  </a:lnTo>
                  <a:lnTo>
                    <a:pt x="1044" y="1268"/>
                  </a:lnTo>
                  <a:lnTo>
                    <a:pt x="1044" y="1268"/>
                  </a:lnTo>
                  <a:lnTo>
                    <a:pt x="1042" y="1266"/>
                  </a:lnTo>
                  <a:lnTo>
                    <a:pt x="1042" y="1266"/>
                  </a:lnTo>
                  <a:lnTo>
                    <a:pt x="1042" y="1266"/>
                  </a:lnTo>
                  <a:lnTo>
                    <a:pt x="1042" y="1264"/>
                  </a:lnTo>
                  <a:lnTo>
                    <a:pt x="1039" y="1266"/>
                  </a:lnTo>
                  <a:lnTo>
                    <a:pt x="1039" y="1264"/>
                  </a:lnTo>
                  <a:lnTo>
                    <a:pt x="1039" y="1264"/>
                  </a:lnTo>
                  <a:lnTo>
                    <a:pt x="1037" y="1264"/>
                  </a:lnTo>
                  <a:lnTo>
                    <a:pt x="1037" y="1264"/>
                  </a:lnTo>
                  <a:lnTo>
                    <a:pt x="1037" y="1262"/>
                  </a:lnTo>
                  <a:lnTo>
                    <a:pt x="1037" y="1262"/>
                  </a:lnTo>
                  <a:lnTo>
                    <a:pt x="1037" y="1260"/>
                  </a:lnTo>
                  <a:lnTo>
                    <a:pt x="1037" y="1260"/>
                  </a:lnTo>
                  <a:lnTo>
                    <a:pt x="1035" y="1258"/>
                  </a:lnTo>
                  <a:lnTo>
                    <a:pt x="1033" y="1258"/>
                  </a:lnTo>
                  <a:lnTo>
                    <a:pt x="1033" y="1258"/>
                  </a:lnTo>
                  <a:lnTo>
                    <a:pt x="1031" y="1258"/>
                  </a:lnTo>
                  <a:lnTo>
                    <a:pt x="1029" y="1258"/>
                  </a:lnTo>
                  <a:lnTo>
                    <a:pt x="1029" y="1260"/>
                  </a:lnTo>
                  <a:lnTo>
                    <a:pt x="1029" y="1258"/>
                  </a:lnTo>
                  <a:lnTo>
                    <a:pt x="1026" y="1256"/>
                  </a:lnTo>
                  <a:lnTo>
                    <a:pt x="1026" y="1256"/>
                  </a:lnTo>
                  <a:lnTo>
                    <a:pt x="1024" y="1256"/>
                  </a:lnTo>
                  <a:lnTo>
                    <a:pt x="1024" y="1256"/>
                  </a:lnTo>
                  <a:lnTo>
                    <a:pt x="1024" y="1254"/>
                  </a:lnTo>
                  <a:lnTo>
                    <a:pt x="1022" y="1254"/>
                  </a:lnTo>
                  <a:lnTo>
                    <a:pt x="1022" y="1254"/>
                  </a:lnTo>
                  <a:lnTo>
                    <a:pt x="1022" y="1254"/>
                  </a:lnTo>
                  <a:lnTo>
                    <a:pt x="1022" y="1252"/>
                  </a:lnTo>
                  <a:lnTo>
                    <a:pt x="1020" y="1250"/>
                  </a:lnTo>
                  <a:lnTo>
                    <a:pt x="1020" y="1250"/>
                  </a:lnTo>
                  <a:lnTo>
                    <a:pt x="1020" y="1250"/>
                  </a:lnTo>
                  <a:lnTo>
                    <a:pt x="1020" y="1248"/>
                  </a:lnTo>
                  <a:lnTo>
                    <a:pt x="1018" y="1248"/>
                  </a:lnTo>
                  <a:lnTo>
                    <a:pt x="1016" y="1248"/>
                  </a:lnTo>
                  <a:lnTo>
                    <a:pt x="1016" y="1248"/>
                  </a:lnTo>
                  <a:lnTo>
                    <a:pt x="1014" y="1248"/>
                  </a:lnTo>
                  <a:lnTo>
                    <a:pt x="1014" y="1250"/>
                  </a:lnTo>
                  <a:lnTo>
                    <a:pt x="1014" y="1248"/>
                  </a:lnTo>
                  <a:lnTo>
                    <a:pt x="1014" y="1248"/>
                  </a:lnTo>
                  <a:lnTo>
                    <a:pt x="1011" y="1248"/>
                  </a:lnTo>
                  <a:lnTo>
                    <a:pt x="1014" y="1250"/>
                  </a:lnTo>
                  <a:lnTo>
                    <a:pt x="1011" y="1250"/>
                  </a:lnTo>
                  <a:lnTo>
                    <a:pt x="1009" y="1250"/>
                  </a:lnTo>
                  <a:lnTo>
                    <a:pt x="1009" y="1252"/>
                  </a:lnTo>
                  <a:lnTo>
                    <a:pt x="1009" y="1252"/>
                  </a:lnTo>
                  <a:lnTo>
                    <a:pt x="1011" y="1254"/>
                  </a:lnTo>
                  <a:lnTo>
                    <a:pt x="1011" y="1252"/>
                  </a:lnTo>
                  <a:lnTo>
                    <a:pt x="1009" y="1252"/>
                  </a:lnTo>
                  <a:lnTo>
                    <a:pt x="1009" y="1252"/>
                  </a:lnTo>
                  <a:lnTo>
                    <a:pt x="1007" y="1252"/>
                  </a:lnTo>
                  <a:lnTo>
                    <a:pt x="1007" y="1250"/>
                  </a:lnTo>
                  <a:lnTo>
                    <a:pt x="1007" y="1250"/>
                  </a:lnTo>
                  <a:lnTo>
                    <a:pt x="1005" y="1252"/>
                  </a:lnTo>
                  <a:lnTo>
                    <a:pt x="1007" y="1252"/>
                  </a:lnTo>
                  <a:lnTo>
                    <a:pt x="1007" y="1254"/>
                  </a:lnTo>
                  <a:lnTo>
                    <a:pt x="1009" y="1254"/>
                  </a:lnTo>
                  <a:lnTo>
                    <a:pt x="1009" y="1256"/>
                  </a:lnTo>
                  <a:lnTo>
                    <a:pt x="1009" y="1256"/>
                  </a:lnTo>
                  <a:lnTo>
                    <a:pt x="1009" y="1258"/>
                  </a:lnTo>
                  <a:lnTo>
                    <a:pt x="1011" y="1256"/>
                  </a:lnTo>
                  <a:lnTo>
                    <a:pt x="1011" y="1258"/>
                  </a:lnTo>
                  <a:lnTo>
                    <a:pt x="1009" y="1258"/>
                  </a:lnTo>
                  <a:lnTo>
                    <a:pt x="1009" y="1258"/>
                  </a:lnTo>
                  <a:lnTo>
                    <a:pt x="1011" y="1260"/>
                  </a:lnTo>
                  <a:lnTo>
                    <a:pt x="1011" y="1262"/>
                  </a:lnTo>
                  <a:lnTo>
                    <a:pt x="1011" y="1262"/>
                  </a:lnTo>
                  <a:lnTo>
                    <a:pt x="1014" y="1262"/>
                  </a:lnTo>
                  <a:lnTo>
                    <a:pt x="1016" y="1262"/>
                  </a:lnTo>
                  <a:lnTo>
                    <a:pt x="1016" y="1264"/>
                  </a:lnTo>
                  <a:lnTo>
                    <a:pt x="1014" y="1264"/>
                  </a:lnTo>
                  <a:lnTo>
                    <a:pt x="1014" y="1266"/>
                  </a:lnTo>
                  <a:lnTo>
                    <a:pt x="1016" y="1266"/>
                  </a:lnTo>
                  <a:lnTo>
                    <a:pt x="1018" y="1264"/>
                  </a:lnTo>
                  <a:lnTo>
                    <a:pt x="1016" y="1266"/>
                  </a:lnTo>
                  <a:lnTo>
                    <a:pt x="1016" y="1266"/>
                  </a:lnTo>
                  <a:lnTo>
                    <a:pt x="1018" y="1264"/>
                  </a:lnTo>
                  <a:lnTo>
                    <a:pt x="1018" y="1266"/>
                  </a:lnTo>
                  <a:lnTo>
                    <a:pt x="1018" y="1268"/>
                  </a:lnTo>
                  <a:lnTo>
                    <a:pt x="1018" y="1268"/>
                  </a:lnTo>
                  <a:lnTo>
                    <a:pt x="1018" y="1268"/>
                  </a:lnTo>
                  <a:lnTo>
                    <a:pt x="1016" y="1268"/>
                  </a:lnTo>
                  <a:lnTo>
                    <a:pt x="1016" y="1270"/>
                  </a:lnTo>
                  <a:lnTo>
                    <a:pt x="1014" y="1270"/>
                  </a:lnTo>
                  <a:lnTo>
                    <a:pt x="1014" y="1272"/>
                  </a:lnTo>
                  <a:lnTo>
                    <a:pt x="1011" y="1272"/>
                  </a:lnTo>
                  <a:lnTo>
                    <a:pt x="1011" y="1272"/>
                  </a:lnTo>
                  <a:lnTo>
                    <a:pt x="1011" y="1270"/>
                  </a:lnTo>
                  <a:lnTo>
                    <a:pt x="1009" y="1270"/>
                  </a:lnTo>
                  <a:lnTo>
                    <a:pt x="1007" y="1268"/>
                  </a:lnTo>
                  <a:lnTo>
                    <a:pt x="1007" y="1268"/>
                  </a:lnTo>
                  <a:lnTo>
                    <a:pt x="1005" y="1266"/>
                  </a:lnTo>
                  <a:lnTo>
                    <a:pt x="1003" y="1266"/>
                  </a:lnTo>
                  <a:lnTo>
                    <a:pt x="1001" y="1266"/>
                  </a:lnTo>
                  <a:lnTo>
                    <a:pt x="1001" y="1264"/>
                  </a:lnTo>
                  <a:lnTo>
                    <a:pt x="999" y="1264"/>
                  </a:lnTo>
                  <a:lnTo>
                    <a:pt x="996" y="1264"/>
                  </a:lnTo>
                  <a:lnTo>
                    <a:pt x="996" y="1262"/>
                  </a:lnTo>
                  <a:lnTo>
                    <a:pt x="994" y="1262"/>
                  </a:lnTo>
                  <a:lnTo>
                    <a:pt x="994" y="1260"/>
                  </a:lnTo>
                  <a:lnTo>
                    <a:pt x="992" y="1260"/>
                  </a:lnTo>
                  <a:lnTo>
                    <a:pt x="992" y="1260"/>
                  </a:lnTo>
                  <a:lnTo>
                    <a:pt x="990" y="1258"/>
                  </a:lnTo>
                  <a:lnTo>
                    <a:pt x="988" y="1258"/>
                  </a:lnTo>
                  <a:lnTo>
                    <a:pt x="988" y="1256"/>
                  </a:lnTo>
                  <a:lnTo>
                    <a:pt x="988" y="1256"/>
                  </a:lnTo>
                  <a:lnTo>
                    <a:pt x="986" y="1256"/>
                  </a:lnTo>
                  <a:lnTo>
                    <a:pt x="984" y="1256"/>
                  </a:lnTo>
                  <a:lnTo>
                    <a:pt x="984" y="1254"/>
                  </a:lnTo>
                  <a:lnTo>
                    <a:pt x="981" y="1252"/>
                  </a:lnTo>
                  <a:lnTo>
                    <a:pt x="981" y="1252"/>
                  </a:lnTo>
                  <a:lnTo>
                    <a:pt x="979" y="1250"/>
                  </a:lnTo>
                  <a:lnTo>
                    <a:pt x="979" y="1250"/>
                  </a:lnTo>
                  <a:lnTo>
                    <a:pt x="979" y="1248"/>
                  </a:lnTo>
                  <a:lnTo>
                    <a:pt x="979" y="1246"/>
                  </a:lnTo>
                  <a:lnTo>
                    <a:pt x="977" y="1246"/>
                  </a:lnTo>
                  <a:lnTo>
                    <a:pt x="975" y="1244"/>
                  </a:lnTo>
                  <a:lnTo>
                    <a:pt x="973" y="1244"/>
                  </a:lnTo>
                  <a:lnTo>
                    <a:pt x="971" y="1244"/>
                  </a:lnTo>
                  <a:lnTo>
                    <a:pt x="971" y="1242"/>
                  </a:lnTo>
                  <a:lnTo>
                    <a:pt x="971" y="1242"/>
                  </a:lnTo>
                  <a:lnTo>
                    <a:pt x="969" y="1240"/>
                  </a:lnTo>
                  <a:lnTo>
                    <a:pt x="966" y="1240"/>
                  </a:lnTo>
                  <a:lnTo>
                    <a:pt x="966" y="1238"/>
                  </a:lnTo>
                  <a:lnTo>
                    <a:pt x="964" y="1238"/>
                  </a:lnTo>
                  <a:lnTo>
                    <a:pt x="964" y="1236"/>
                  </a:lnTo>
                  <a:lnTo>
                    <a:pt x="962" y="1236"/>
                  </a:lnTo>
                  <a:lnTo>
                    <a:pt x="962" y="1236"/>
                  </a:lnTo>
                  <a:lnTo>
                    <a:pt x="960" y="1234"/>
                  </a:lnTo>
                  <a:lnTo>
                    <a:pt x="958" y="1234"/>
                  </a:lnTo>
                  <a:lnTo>
                    <a:pt x="958" y="1234"/>
                  </a:lnTo>
                  <a:lnTo>
                    <a:pt x="956" y="1234"/>
                  </a:lnTo>
                  <a:lnTo>
                    <a:pt x="956" y="1234"/>
                  </a:lnTo>
                  <a:lnTo>
                    <a:pt x="953" y="1234"/>
                  </a:lnTo>
                  <a:lnTo>
                    <a:pt x="951" y="1234"/>
                  </a:lnTo>
                  <a:lnTo>
                    <a:pt x="951" y="1236"/>
                  </a:lnTo>
                  <a:lnTo>
                    <a:pt x="949" y="1238"/>
                  </a:lnTo>
                  <a:lnTo>
                    <a:pt x="949" y="1238"/>
                  </a:lnTo>
                  <a:lnTo>
                    <a:pt x="947" y="1236"/>
                  </a:lnTo>
                  <a:lnTo>
                    <a:pt x="945" y="1236"/>
                  </a:lnTo>
                  <a:lnTo>
                    <a:pt x="945" y="1234"/>
                  </a:lnTo>
                  <a:lnTo>
                    <a:pt x="945" y="1232"/>
                  </a:lnTo>
                  <a:lnTo>
                    <a:pt x="943" y="1230"/>
                  </a:lnTo>
                  <a:lnTo>
                    <a:pt x="941" y="1230"/>
                  </a:lnTo>
                  <a:lnTo>
                    <a:pt x="941" y="1228"/>
                  </a:lnTo>
                  <a:lnTo>
                    <a:pt x="941" y="1228"/>
                  </a:lnTo>
                  <a:lnTo>
                    <a:pt x="941" y="1226"/>
                  </a:lnTo>
                  <a:lnTo>
                    <a:pt x="941" y="1224"/>
                  </a:lnTo>
                  <a:lnTo>
                    <a:pt x="941" y="1223"/>
                  </a:lnTo>
                  <a:lnTo>
                    <a:pt x="938" y="1223"/>
                  </a:lnTo>
                  <a:lnTo>
                    <a:pt x="936" y="1223"/>
                  </a:lnTo>
                  <a:lnTo>
                    <a:pt x="936" y="1223"/>
                  </a:lnTo>
                  <a:lnTo>
                    <a:pt x="934" y="1223"/>
                  </a:lnTo>
                  <a:lnTo>
                    <a:pt x="932" y="1221"/>
                  </a:lnTo>
                  <a:lnTo>
                    <a:pt x="932" y="1221"/>
                  </a:lnTo>
                  <a:lnTo>
                    <a:pt x="932" y="1219"/>
                  </a:lnTo>
                  <a:lnTo>
                    <a:pt x="930" y="1219"/>
                  </a:lnTo>
                  <a:lnTo>
                    <a:pt x="930" y="1219"/>
                  </a:lnTo>
                  <a:lnTo>
                    <a:pt x="928" y="1219"/>
                  </a:lnTo>
                  <a:lnTo>
                    <a:pt x="928" y="1217"/>
                  </a:lnTo>
                  <a:lnTo>
                    <a:pt x="928" y="1215"/>
                  </a:lnTo>
                  <a:lnTo>
                    <a:pt x="928" y="1215"/>
                  </a:lnTo>
                  <a:lnTo>
                    <a:pt x="926" y="1213"/>
                  </a:lnTo>
                  <a:lnTo>
                    <a:pt x="926" y="1213"/>
                  </a:lnTo>
                  <a:lnTo>
                    <a:pt x="923" y="1211"/>
                  </a:lnTo>
                  <a:lnTo>
                    <a:pt x="923" y="1211"/>
                  </a:lnTo>
                  <a:lnTo>
                    <a:pt x="921" y="1209"/>
                  </a:lnTo>
                  <a:lnTo>
                    <a:pt x="919" y="1209"/>
                  </a:lnTo>
                  <a:lnTo>
                    <a:pt x="917" y="1209"/>
                  </a:lnTo>
                  <a:lnTo>
                    <a:pt x="915" y="1209"/>
                  </a:lnTo>
                  <a:lnTo>
                    <a:pt x="915" y="1207"/>
                  </a:lnTo>
                  <a:lnTo>
                    <a:pt x="913" y="1207"/>
                  </a:lnTo>
                  <a:lnTo>
                    <a:pt x="911" y="1205"/>
                  </a:lnTo>
                  <a:lnTo>
                    <a:pt x="908" y="1205"/>
                  </a:lnTo>
                  <a:lnTo>
                    <a:pt x="908" y="1203"/>
                  </a:lnTo>
                  <a:lnTo>
                    <a:pt x="906" y="1203"/>
                  </a:lnTo>
                  <a:lnTo>
                    <a:pt x="906" y="1201"/>
                  </a:lnTo>
                  <a:lnTo>
                    <a:pt x="904" y="1199"/>
                  </a:lnTo>
                  <a:lnTo>
                    <a:pt x="904" y="1197"/>
                  </a:lnTo>
                  <a:lnTo>
                    <a:pt x="902" y="1197"/>
                  </a:lnTo>
                  <a:lnTo>
                    <a:pt x="902" y="1195"/>
                  </a:lnTo>
                  <a:lnTo>
                    <a:pt x="900" y="1195"/>
                  </a:lnTo>
                  <a:lnTo>
                    <a:pt x="898" y="1197"/>
                  </a:lnTo>
                  <a:lnTo>
                    <a:pt x="898" y="1197"/>
                  </a:lnTo>
                  <a:lnTo>
                    <a:pt x="895" y="1197"/>
                  </a:lnTo>
                  <a:lnTo>
                    <a:pt x="893" y="1197"/>
                  </a:lnTo>
                  <a:lnTo>
                    <a:pt x="893" y="1197"/>
                  </a:lnTo>
                  <a:lnTo>
                    <a:pt x="891" y="1195"/>
                  </a:lnTo>
                  <a:lnTo>
                    <a:pt x="889" y="1195"/>
                  </a:lnTo>
                  <a:lnTo>
                    <a:pt x="887" y="1197"/>
                  </a:lnTo>
                  <a:lnTo>
                    <a:pt x="887" y="1195"/>
                  </a:lnTo>
                  <a:lnTo>
                    <a:pt x="885" y="1193"/>
                  </a:lnTo>
                  <a:lnTo>
                    <a:pt x="885" y="1191"/>
                  </a:lnTo>
                  <a:lnTo>
                    <a:pt x="885" y="1191"/>
                  </a:lnTo>
                  <a:lnTo>
                    <a:pt x="883" y="1189"/>
                  </a:lnTo>
                  <a:lnTo>
                    <a:pt x="880" y="1187"/>
                  </a:lnTo>
                  <a:lnTo>
                    <a:pt x="878" y="1187"/>
                  </a:lnTo>
                  <a:lnTo>
                    <a:pt x="878" y="1189"/>
                  </a:lnTo>
                  <a:lnTo>
                    <a:pt x="876" y="1189"/>
                  </a:lnTo>
                  <a:lnTo>
                    <a:pt x="874" y="1191"/>
                  </a:lnTo>
                  <a:lnTo>
                    <a:pt x="874" y="1189"/>
                  </a:lnTo>
                  <a:lnTo>
                    <a:pt x="874" y="1187"/>
                  </a:lnTo>
                  <a:lnTo>
                    <a:pt x="874" y="1185"/>
                  </a:lnTo>
                  <a:lnTo>
                    <a:pt x="872" y="1183"/>
                  </a:lnTo>
                  <a:lnTo>
                    <a:pt x="872" y="1185"/>
                  </a:lnTo>
                  <a:lnTo>
                    <a:pt x="870" y="1185"/>
                  </a:lnTo>
                  <a:lnTo>
                    <a:pt x="870" y="1183"/>
                  </a:lnTo>
                  <a:lnTo>
                    <a:pt x="870" y="1183"/>
                  </a:lnTo>
                  <a:lnTo>
                    <a:pt x="872" y="1183"/>
                  </a:lnTo>
                  <a:lnTo>
                    <a:pt x="872" y="1181"/>
                  </a:lnTo>
                  <a:lnTo>
                    <a:pt x="872" y="1179"/>
                  </a:lnTo>
                  <a:lnTo>
                    <a:pt x="870" y="1177"/>
                  </a:lnTo>
                  <a:lnTo>
                    <a:pt x="868" y="1177"/>
                  </a:lnTo>
                  <a:lnTo>
                    <a:pt x="868" y="1175"/>
                  </a:lnTo>
                  <a:lnTo>
                    <a:pt x="865" y="1175"/>
                  </a:lnTo>
                  <a:lnTo>
                    <a:pt x="863" y="1173"/>
                  </a:lnTo>
                  <a:lnTo>
                    <a:pt x="863" y="1171"/>
                  </a:lnTo>
                  <a:lnTo>
                    <a:pt x="861" y="1171"/>
                  </a:lnTo>
                  <a:lnTo>
                    <a:pt x="859" y="1169"/>
                  </a:lnTo>
                  <a:lnTo>
                    <a:pt x="857" y="1169"/>
                  </a:lnTo>
                  <a:lnTo>
                    <a:pt x="855" y="1169"/>
                  </a:lnTo>
                  <a:lnTo>
                    <a:pt x="855" y="1167"/>
                  </a:lnTo>
                  <a:lnTo>
                    <a:pt x="853" y="1167"/>
                  </a:lnTo>
                  <a:lnTo>
                    <a:pt x="850" y="1167"/>
                  </a:lnTo>
                  <a:lnTo>
                    <a:pt x="848" y="1165"/>
                  </a:lnTo>
                  <a:lnTo>
                    <a:pt x="846" y="1163"/>
                  </a:lnTo>
                  <a:lnTo>
                    <a:pt x="846" y="1163"/>
                  </a:lnTo>
                  <a:lnTo>
                    <a:pt x="844" y="1161"/>
                  </a:lnTo>
                  <a:lnTo>
                    <a:pt x="842" y="1161"/>
                  </a:lnTo>
                  <a:lnTo>
                    <a:pt x="840" y="1161"/>
                  </a:lnTo>
                  <a:lnTo>
                    <a:pt x="838" y="1159"/>
                  </a:lnTo>
                  <a:lnTo>
                    <a:pt x="838" y="1159"/>
                  </a:lnTo>
                  <a:lnTo>
                    <a:pt x="835" y="1159"/>
                  </a:lnTo>
                  <a:lnTo>
                    <a:pt x="833" y="1157"/>
                  </a:lnTo>
                  <a:lnTo>
                    <a:pt x="833" y="1157"/>
                  </a:lnTo>
                  <a:lnTo>
                    <a:pt x="831" y="1155"/>
                  </a:lnTo>
                  <a:lnTo>
                    <a:pt x="829" y="1155"/>
                  </a:lnTo>
                  <a:lnTo>
                    <a:pt x="827" y="1155"/>
                  </a:lnTo>
                  <a:lnTo>
                    <a:pt x="825" y="1155"/>
                  </a:lnTo>
                  <a:lnTo>
                    <a:pt x="825" y="1153"/>
                  </a:lnTo>
                  <a:lnTo>
                    <a:pt x="822" y="1153"/>
                  </a:lnTo>
                  <a:lnTo>
                    <a:pt x="820" y="1151"/>
                  </a:lnTo>
                  <a:lnTo>
                    <a:pt x="820" y="1151"/>
                  </a:lnTo>
                  <a:lnTo>
                    <a:pt x="818" y="1153"/>
                  </a:lnTo>
                  <a:lnTo>
                    <a:pt x="820" y="1153"/>
                  </a:lnTo>
                  <a:lnTo>
                    <a:pt x="818" y="1155"/>
                  </a:lnTo>
                  <a:lnTo>
                    <a:pt x="818" y="1155"/>
                  </a:lnTo>
                  <a:lnTo>
                    <a:pt x="818" y="1155"/>
                  </a:lnTo>
                  <a:lnTo>
                    <a:pt x="816" y="1157"/>
                  </a:lnTo>
                  <a:lnTo>
                    <a:pt x="816" y="1157"/>
                  </a:lnTo>
                  <a:lnTo>
                    <a:pt x="814" y="1157"/>
                  </a:lnTo>
                  <a:lnTo>
                    <a:pt x="814" y="1159"/>
                  </a:lnTo>
                  <a:lnTo>
                    <a:pt x="814" y="1159"/>
                  </a:lnTo>
                  <a:lnTo>
                    <a:pt x="814" y="1161"/>
                  </a:lnTo>
                  <a:lnTo>
                    <a:pt x="814" y="1163"/>
                  </a:lnTo>
                  <a:lnTo>
                    <a:pt x="814" y="1165"/>
                  </a:lnTo>
                  <a:lnTo>
                    <a:pt x="814" y="1165"/>
                  </a:lnTo>
                  <a:lnTo>
                    <a:pt x="814" y="1167"/>
                  </a:lnTo>
                  <a:lnTo>
                    <a:pt x="814" y="1167"/>
                  </a:lnTo>
                  <a:lnTo>
                    <a:pt x="814" y="1169"/>
                  </a:lnTo>
                  <a:lnTo>
                    <a:pt x="814" y="1169"/>
                  </a:lnTo>
                  <a:lnTo>
                    <a:pt x="814" y="1169"/>
                  </a:lnTo>
                  <a:lnTo>
                    <a:pt x="816" y="1171"/>
                  </a:lnTo>
                  <a:lnTo>
                    <a:pt x="814" y="1171"/>
                  </a:lnTo>
                  <a:lnTo>
                    <a:pt x="812" y="1171"/>
                  </a:lnTo>
                  <a:lnTo>
                    <a:pt x="812" y="1169"/>
                  </a:lnTo>
                  <a:lnTo>
                    <a:pt x="810" y="1169"/>
                  </a:lnTo>
                  <a:lnTo>
                    <a:pt x="807" y="1167"/>
                  </a:lnTo>
                  <a:lnTo>
                    <a:pt x="807" y="1167"/>
                  </a:lnTo>
                  <a:lnTo>
                    <a:pt x="805" y="1167"/>
                  </a:lnTo>
                  <a:lnTo>
                    <a:pt x="803" y="1167"/>
                  </a:lnTo>
                  <a:lnTo>
                    <a:pt x="801" y="1165"/>
                  </a:lnTo>
                  <a:lnTo>
                    <a:pt x="801" y="1165"/>
                  </a:lnTo>
                  <a:lnTo>
                    <a:pt x="799" y="1165"/>
                  </a:lnTo>
                  <a:lnTo>
                    <a:pt x="799" y="1163"/>
                  </a:lnTo>
                  <a:lnTo>
                    <a:pt x="797" y="1165"/>
                  </a:lnTo>
                  <a:lnTo>
                    <a:pt x="795" y="1165"/>
                  </a:lnTo>
                  <a:lnTo>
                    <a:pt x="795" y="1163"/>
                  </a:lnTo>
                  <a:lnTo>
                    <a:pt x="792" y="1161"/>
                  </a:lnTo>
                  <a:lnTo>
                    <a:pt x="792" y="1161"/>
                  </a:lnTo>
                  <a:lnTo>
                    <a:pt x="795" y="1159"/>
                  </a:lnTo>
                  <a:lnTo>
                    <a:pt x="795" y="1159"/>
                  </a:lnTo>
                  <a:lnTo>
                    <a:pt x="795" y="1157"/>
                  </a:lnTo>
                  <a:lnTo>
                    <a:pt x="795" y="1155"/>
                  </a:lnTo>
                  <a:lnTo>
                    <a:pt x="797" y="1153"/>
                  </a:lnTo>
                  <a:lnTo>
                    <a:pt x="795" y="1151"/>
                  </a:lnTo>
                  <a:lnTo>
                    <a:pt x="795" y="1149"/>
                  </a:lnTo>
                  <a:lnTo>
                    <a:pt x="792" y="1149"/>
                  </a:lnTo>
                  <a:lnTo>
                    <a:pt x="792" y="1147"/>
                  </a:lnTo>
                  <a:lnTo>
                    <a:pt x="792" y="1147"/>
                  </a:lnTo>
                  <a:lnTo>
                    <a:pt x="790" y="1145"/>
                  </a:lnTo>
                  <a:lnTo>
                    <a:pt x="788" y="1145"/>
                  </a:lnTo>
                  <a:lnTo>
                    <a:pt x="786" y="1145"/>
                  </a:lnTo>
                  <a:lnTo>
                    <a:pt x="786" y="1145"/>
                  </a:lnTo>
                  <a:lnTo>
                    <a:pt x="784" y="1143"/>
                  </a:lnTo>
                  <a:lnTo>
                    <a:pt x="782" y="1143"/>
                  </a:lnTo>
                  <a:lnTo>
                    <a:pt x="780" y="1143"/>
                  </a:lnTo>
                  <a:lnTo>
                    <a:pt x="780" y="1141"/>
                  </a:lnTo>
                  <a:lnTo>
                    <a:pt x="777" y="1141"/>
                  </a:lnTo>
                  <a:lnTo>
                    <a:pt x="775" y="1141"/>
                  </a:lnTo>
                  <a:lnTo>
                    <a:pt x="775" y="1141"/>
                  </a:lnTo>
                  <a:lnTo>
                    <a:pt x="773" y="1141"/>
                  </a:lnTo>
                  <a:lnTo>
                    <a:pt x="771" y="1139"/>
                  </a:lnTo>
                  <a:lnTo>
                    <a:pt x="771" y="1139"/>
                  </a:lnTo>
                  <a:lnTo>
                    <a:pt x="769" y="1139"/>
                  </a:lnTo>
                  <a:lnTo>
                    <a:pt x="767" y="1139"/>
                  </a:lnTo>
                  <a:lnTo>
                    <a:pt x="764" y="1139"/>
                  </a:lnTo>
                  <a:lnTo>
                    <a:pt x="764" y="1137"/>
                  </a:lnTo>
                  <a:lnTo>
                    <a:pt x="762" y="1139"/>
                  </a:lnTo>
                  <a:lnTo>
                    <a:pt x="760" y="1137"/>
                  </a:lnTo>
                  <a:lnTo>
                    <a:pt x="758" y="1137"/>
                  </a:lnTo>
                  <a:lnTo>
                    <a:pt x="758" y="1137"/>
                  </a:lnTo>
                  <a:lnTo>
                    <a:pt x="756" y="1137"/>
                  </a:lnTo>
                  <a:lnTo>
                    <a:pt x="754" y="1137"/>
                  </a:lnTo>
                  <a:lnTo>
                    <a:pt x="752" y="1137"/>
                  </a:lnTo>
                  <a:lnTo>
                    <a:pt x="752" y="1135"/>
                  </a:lnTo>
                  <a:lnTo>
                    <a:pt x="749" y="1135"/>
                  </a:lnTo>
                  <a:lnTo>
                    <a:pt x="747" y="1135"/>
                  </a:lnTo>
                  <a:lnTo>
                    <a:pt x="745" y="1135"/>
                  </a:lnTo>
                  <a:lnTo>
                    <a:pt x="745" y="1135"/>
                  </a:lnTo>
                  <a:lnTo>
                    <a:pt x="743" y="1133"/>
                  </a:lnTo>
                  <a:lnTo>
                    <a:pt x="741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7" y="1133"/>
                  </a:lnTo>
                  <a:lnTo>
                    <a:pt x="734" y="1133"/>
                  </a:lnTo>
                  <a:lnTo>
                    <a:pt x="732" y="1133"/>
                  </a:lnTo>
                  <a:lnTo>
                    <a:pt x="730" y="1133"/>
                  </a:lnTo>
                  <a:lnTo>
                    <a:pt x="730" y="1133"/>
                  </a:lnTo>
                  <a:lnTo>
                    <a:pt x="728" y="1131"/>
                  </a:lnTo>
                  <a:lnTo>
                    <a:pt x="726" y="1131"/>
                  </a:lnTo>
                  <a:lnTo>
                    <a:pt x="726" y="1131"/>
                  </a:lnTo>
                  <a:lnTo>
                    <a:pt x="726" y="1131"/>
                  </a:lnTo>
                  <a:lnTo>
                    <a:pt x="728" y="1131"/>
                  </a:lnTo>
                  <a:lnTo>
                    <a:pt x="726" y="1131"/>
                  </a:lnTo>
                  <a:lnTo>
                    <a:pt x="724" y="1129"/>
                  </a:lnTo>
                  <a:lnTo>
                    <a:pt x="724" y="1131"/>
                  </a:lnTo>
                  <a:lnTo>
                    <a:pt x="724" y="1129"/>
                  </a:lnTo>
                  <a:lnTo>
                    <a:pt x="724" y="1129"/>
                  </a:lnTo>
                  <a:lnTo>
                    <a:pt x="722" y="1129"/>
                  </a:lnTo>
                  <a:lnTo>
                    <a:pt x="724" y="1129"/>
                  </a:lnTo>
                  <a:lnTo>
                    <a:pt x="724" y="1129"/>
                  </a:lnTo>
                  <a:lnTo>
                    <a:pt x="722" y="1127"/>
                  </a:lnTo>
                  <a:lnTo>
                    <a:pt x="719" y="1127"/>
                  </a:lnTo>
                  <a:lnTo>
                    <a:pt x="722" y="1125"/>
                  </a:lnTo>
                  <a:lnTo>
                    <a:pt x="722" y="1125"/>
                  </a:lnTo>
                  <a:lnTo>
                    <a:pt x="724" y="1125"/>
                  </a:lnTo>
                  <a:lnTo>
                    <a:pt x="722" y="1125"/>
                  </a:lnTo>
                  <a:lnTo>
                    <a:pt x="722" y="1123"/>
                  </a:lnTo>
                  <a:lnTo>
                    <a:pt x="722" y="1125"/>
                  </a:lnTo>
                  <a:lnTo>
                    <a:pt x="722" y="1125"/>
                  </a:lnTo>
                  <a:lnTo>
                    <a:pt x="719" y="1125"/>
                  </a:lnTo>
                  <a:lnTo>
                    <a:pt x="719" y="1125"/>
                  </a:lnTo>
                  <a:lnTo>
                    <a:pt x="717" y="1125"/>
                  </a:lnTo>
                  <a:lnTo>
                    <a:pt x="717" y="1125"/>
                  </a:lnTo>
                  <a:lnTo>
                    <a:pt x="717" y="1125"/>
                  </a:lnTo>
                  <a:lnTo>
                    <a:pt x="719" y="1127"/>
                  </a:lnTo>
                  <a:lnTo>
                    <a:pt x="717" y="1127"/>
                  </a:lnTo>
                  <a:lnTo>
                    <a:pt x="719" y="1127"/>
                  </a:lnTo>
                  <a:lnTo>
                    <a:pt x="717" y="1127"/>
                  </a:lnTo>
                  <a:lnTo>
                    <a:pt x="719" y="1127"/>
                  </a:lnTo>
                  <a:lnTo>
                    <a:pt x="719" y="1129"/>
                  </a:lnTo>
                  <a:lnTo>
                    <a:pt x="719" y="1129"/>
                  </a:lnTo>
                  <a:lnTo>
                    <a:pt x="719" y="1129"/>
                  </a:lnTo>
                  <a:lnTo>
                    <a:pt x="717" y="1129"/>
                  </a:lnTo>
                  <a:lnTo>
                    <a:pt x="717" y="1129"/>
                  </a:lnTo>
                  <a:lnTo>
                    <a:pt x="717" y="1129"/>
                  </a:lnTo>
                  <a:lnTo>
                    <a:pt x="717" y="1129"/>
                  </a:lnTo>
                  <a:lnTo>
                    <a:pt x="715" y="1129"/>
                  </a:lnTo>
                  <a:lnTo>
                    <a:pt x="715" y="1127"/>
                  </a:lnTo>
                  <a:lnTo>
                    <a:pt x="713" y="1127"/>
                  </a:lnTo>
                  <a:lnTo>
                    <a:pt x="713" y="1129"/>
                  </a:lnTo>
                  <a:lnTo>
                    <a:pt x="713" y="1127"/>
                  </a:lnTo>
                  <a:lnTo>
                    <a:pt x="713" y="1129"/>
                  </a:lnTo>
                  <a:lnTo>
                    <a:pt x="711" y="1127"/>
                  </a:lnTo>
                  <a:lnTo>
                    <a:pt x="711" y="1127"/>
                  </a:lnTo>
                  <a:lnTo>
                    <a:pt x="711" y="1127"/>
                  </a:lnTo>
                  <a:lnTo>
                    <a:pt x="711" y="1127"/>
                  </a:lnTo>
                  <a:lnTo>
                    <a:pt x="709" y="1127"/>
                  </a:lnTo>
                  <a:lnTo>
                    <a:pt x="709" y="1127"/>
                  </a:lnTo>
                  <a:lnTo>
                    <a:pt x="709" y="1127"/>
                  </a:lnTo>
                  <a:lnTo>
                    <a:pt x="707" y="1125"/>
                  </a:lnTo>
                  <a:lnTo>
                    <a:pt x="704" y="1127"/>
                  </a:lnTo>
                  <a:lnTo>
                    <a:pt x="704" y="1127"/>
                  </a:lnTo>
                  <a:lnTo>
                    <a:pt x="702" y="1127"/>
                  </a:lnTo>
                  <a:lnTo>
                    <a:pt x="700" y="1125"/>
                  </a:lnTo>
                  <a:lnTo>
                    <a:pt x="698" y="1125"/>
                  </a:lnTo>
                  <a:lnTo>
                    <a:pt x="696" y="1125"/>
                  </a:lnTo>
                  <a:lnTo>
                    <a:pt x="694" y="1125"/>
                  </a:lnTo>
                  <a:lnTo>
                    <a:pt x="691" y="1123"/>
                  </a:lnTo>
                  <a:lnTo>
                    <a:pt x="689" y="1123"/>
                  </a:lnTo>
                  <a:lnTo>
                    <a:pt x="691" y="1121"/>
                  </a:lnTo>
                  <a:lnTo>
                    <a:pt x="694" y="1123"/>
                  </a:lnTo>
                  <a:lnTo>
                    <a:pt x="696" y="1123"/>
                  </a:lnTo>
                  <a:lnTo>
                    <a:pt x="696" y="1123"/>
                  </a:lnTo>
                  <a:lnTo>
                    <a:pt x="698" y="1123"/>
                  </a:lnTo>
                  <a:lnTo>
                    <a:pt x="700" y="1123"/>
                  </a:lnTo>
                  <a:lnTo>
                    <a:pt x="700" y="1121"/>
                  </a:lnTo>
                  <a:lnTo>
                    <a:pt x="698" y="1121"/>
                  </a:lnTo>
                  <a:lnTo>
                    <a:pt x="698" y="1121"/>
                  </a:lnTo>
                  <a:lnTo>
                    <a:pt x="696" y="1119"/>
                  </a:lnTo>
                  <a:lnTo>
                    <a:pt x="694" y="1119"/>
                  </a:lnTo>
                  <a:lnTo>
                    <a:pt x="691" y="1119"/>
                  </a:lnTo>
                  <a:lnTo>
                    <a:pt x="689" y="1119"/>
                  </a:lnTo>
                  <a:lnTo>
                    <a:pt x="687" y="1119"/>
                  </a:lnTo>
                  <a:lnTo>
                    <a:pt x="685" y="1119"/>
                  </a:lnTo>
                  <a:lnTo>
                    <a:pt x="683" y="1119"/>
                  </a:lnTo>
                  <a:lnTo>
                    <a:pt x="681" y="1119"/>
                  </a:lnTo>
                  <a:lnTo>
                    <a:pt x="681" y="1119"/>
                  </a:lnTo>
                  <a:lnTo>
                    <a:pt x="679" y="1119"/>
                  </a:lnTo>
                  <a:lnTo>
                    <a:pt x="676" y="1119"/>
                  </a:lnTo>
                  <a:lnTo>
                    <a:pt x="674" y="1119"/>
                  </a:lnTo>
                  <a:lnTo>
                    <a:pt x="672" y="1119"/>
                  </a:lnTo>
                  <a:lnTo>
                    <a:pt x="670" y="1119"/>
                  </a:lnTo>
                  <a:lnTo>
                    <a:pt x="668" y="1119"/>
                  </a:lnTo>
                  <a:lnTo>
                    <a:pt x="666" y="1119"/>
                  </a:lnTo>
                  <a:lnTo>
                    <a:pt x="666" y="1119"/>
                  </a:lnTo>
                  <a:lnTo>
                    <a:pt x="664" y="1119"/>
                  </a:lnTo>
                  <a:lnTo>
                    <a:pt x="661" y="1121"/>
                  </a:lnTo>
                  <a:lnTo>
                    <a:pt x="661" y="1121"/>
                  </a:lnTo>
                  <a:lnTo>
                    <a:pt x="659" y="1123"/>
                  </a:lnTo>
                  <a:lnTo>
                    <a:pt x="657" y="1123"/>
                  </a:lnTo>
                  <a:lnTo>
                    <a:pt x="655" y="1123"/>
                  </a:lnTo>
                  <a:lnTo>
                    <a:pt x="653" y="1123"/>
                  </a:lnTo>
                  <a:lnTo>
                    <a:pt x="653" y="1125"/>
                  </a:lnTo>
                  <a:lnTo>
                    <a:pt x="651" y="1125"/>
                  </a:lnTo>
                  <a:lnTo>
                    <a:pt x="649" y="1125"/>
                  </a:lnTo>
                  <a:lnTo>
                    <a:pt x="646" y="1127"/>
                  </a:lnTo>
                  <a:lnTo>
                    <a:pt x="646" y="1129"/>
                  </a:lnTo>
                  <a:lnTo>
                    <a:pt x="646" y="1131"/>
                  </a:lnTo>
                  <a:lnTo>
                    <a:pt x="644" y="1131"/>
                  </a:lnTo>
                  <a:lnTo>
                    <a:pt x="644" y="1133"/>
                  </a:lnTo>
                  <a:lnTo>
                    <a:pt x="642" y="1133"/>
                  </a:lnTo>
                  <a:lnTo>
                    <a:pt x="640" y="1133"/>
                  </a:lnTo>
                  <a:lnTo>
                    <a:pt x="638" y="1133"/>
                  </a:lnTo>
                  <a:lnTo>
                    <a:pt x="636" y="1133"/>
                  </a:lnTo>
                  <a:lnTo>
                    <a:pt x="633" y="1135"/>
                  </a:lnTo>
                  <a:lnTo>
                    <a:pt x="631" y="1135"/>
                  </a:lnTo>
                  <a:lnTo>
                    <a:pt x="631" y="1137"/>
                  </a:lnTo>
                  <a:lnTo>
                    <a:pt x="629" y="1137"/>
                  </a:lnTo>
                  <a:lnTo>
                    <a:pt x="627" y="1139"/>
                  </a:lnTo>
                  <a:lnTo>
                    <a:pt x="627" y="1139"/>
                  </a:lnTo>
                  <a:lnTo>
                    <a:pt x="627" y="1141"/>
                  </a:lnTo>
                  <a:lnTo>
                    <a:pt x="625" y="1141"/>
                  </a:lnTo>
                  <a:lnTo>
                    <a:pt x="623" y="1143"/>
                  </a:lnTo>
                  <a:lnTo>
                    <a:pt x="621" y="1143"/>
                  </a:lnTo>
                  <a:lnTo>
                    <a:pt x="621" y="1143"/>
                  </a:lnTo>
                  <a:lnTo>
                    <a:pt x="618" y="1145"/>
                  </a:lnTo>
                  <a:lnTo>
                    <a:pt x="616" y="1145"/>
                  </a:lnTo>
                  <a:lnTo>
                    <a:pt x="614" y="1147"/>
                  </a:lnTo>
                  <a:lnTo>
                    <a:pt x="612" y="1147"/>
                  </a:lnTo>
                  <a:lnTo>
                    <a:pt x="612" y="1147"/>
                  </a:lnTo>
                  <a:lnTo>
                    <a:pt x="610" y="1147"/>
                  </a:lnTo>
                  <a:lnTo>
                    <a:pt x="608" y="1149"/>
                  </a:lnTo>
                  <a:lnTo>
                    <a:pt x="608" y="1149"/>
                  </a:lnTo>
                  <a:lnTo>
                    <a:pt x="608" y="1151"/>
                  </a:lnTo>
                  <a:lnTo>
                    <a:pt x="606" y="1151"/>
                  </a:lnTo>
                  <a:lnTo>
                    <a:pt x="603" y="1153"/>
                  </a:lnTo>
                  <a:lnTo>
                    <a:pt x="603" y="1153"/>
                  </a:lnTo>
                  <a:lnTo>
                    <a:pt x="601" y="1153"/>
                  </a:lnTo>
                  <a:lnTo>
                    <a:pt x="599" y="1155"/>
                  </a:lnTo>
                  <a:lnTo>
                    <a:pt x="599" y="1157"/>
                  </a:lnTo>
                  <a:lnTo>
                    <a:pt x="597" y="1157"/>
                  </a:lnTo>
                  <a:lnTo>
                    <a:pt x="595" y="1157"/>
                  </a:lnTo>
                  <a:lnTo>
                    <a:pt x="593" y="1159"/>
                  </a:lnTo>
                  <a:lnTo>
                    <a:pt x="591" y="1159"/>
                  </a:lnTo>
                  <a:lnTo>
                    <a:pt x="588" y="1159"/>
                  </a:lnTo>
                  <a:lnTo>
                    <a:pt x="588" y="1159"/>
                  </a:lnTo>
                  <a:lnTo>
                    <a:pt x="586" y="1161"/>
                  </a:lnTo>
                  <a:lnTo>
                    <a:pt x="586" y="1163"/>
                  </a:lnTo>
                  <a:lnTo>
                    <a:pt x="582" y="1165"/>
                  </a:lnTo>
                  <a:lnTo>
                    <a:pt x="582" y="1165"/>
                  </a:lnTo>
                  <a:lnTo>
                    <a:pt x="582" y="1167"/>
                  </a:lnTo>
                  <a:lnTo>
                    <a:pt x="582" y="1167"/>
                  </a:lnTo>
                  <a:lnTo>
                    <a:pt x="584" y="1167"/>
                  </a:lnTo>
                  <a:lnTo>
                    <a:pt x="584" y="1165"/>
                  </a:lnTo>
                  <a:lnTo>
                    <a:pt x="586" y="1165"/>
                  </a:lnTo>
                  <a:lnTo>
                    <a:pt x="584" y="1165"/>
                  </a:lnTo>
                  <a:lnTo>
                    <a:pt x="584" y="1167"/>
                  </a:lnTo>
                  <a:lnTo>
                    <a:pt x="584" y="1167"/>
                  </a:lnTo>
                  <a:lnTo>
                    <a:pt x="582" y="1169"/>
                  </a:lnTo>
                  <a:lnTo>
                    <a:pt x="582" y="1169"/>
                  </a:lnTo>
                  <a:lnTo>
                    <a:pt x="580" y="1169"/>
                  </a:lnTo>
                  <a:lnTo>
                    <a:pt x="580" y="1171"/>
                  </a:lnTo>
                  <a:lnTo>
                    <a:pt x="578" y="1171"/>
                  </a:lnTo>
                  <a:lnTo>
                    <a:pt x="576" y="1171"/>
                  </a:lnTo>
                  <a:lnTo>
                    <a:pt x="573" y="1173"/>
                  </a:lnTo>
                  <a:lnTo>
                    <a:pt x="573" y="1173"/>
                  </a:lnTo>
                  <a:lnTo>
                    <a:pt x="573" y="1173"/>
                  </a:lnTo>
                  <a:lnTo>
                    <a:pt x="571" y="1175"/>
                  </a:lnTo>
                  <a:lnTo>
                    <a:pt x="569" y="1177"/>
                  </a:lnTo>
                  <a:lnTo>
                    <a:pt x="569" y="1179"/>
                  </a:lnTo>
                  <a:lnTo>
                    <a:pt x="567" y="1179"/>
                  </a:lnTo>
                  <a:lnTo>
                    <a:pt x="567" y="1181"/>
                  </a:lnTo>
                  <a:lnTo>
                    <a:pt x="569" y="1183"/>
                  </a:lnTo>
                  <a:lnTo>
                    <a:pt x="567" y="1183"/>
                  </a:lnTo>
                  <a:lnTo>
                    <a:pt x="569" y="1185"/>
                  </a:lnTo>
                  <a:lnTo>
                    <a:pt x="569" y="1185"/>
                  </a:lnTo>
                  <a:lnTo>
                    <a:pt x="569" y="1185"/>
                  </a:lnTo>
                  <a:lnTo>
                    <a:pt x="571" y="1187"/>
                  </a:lnTo>
                  <a:lnTo>
                    <a:pt x="571" y="1187"/>
                  </a:lnTo>
                  <a:lnTo>
                    <a:pt x="571" y="1187"/>
                  </a:lnTo>
                  <a:lnTo>
                    <a:pt x="571" y="1189"/>
                  </a:lnTo>
                  <a:lnTo>
                    <a:pt x="569" y="1191"/>
                  </a:lnTo>
                  <a:lnTo>
                    <a:pt x="569" y="1193"/>
                  </a:lnTo>
                  <a:lnTo>
                    <a:pt x="569" y="1195"/>
                  </a:lnTo>
                  <a:lnTo>
                    <a:pt x="569" y="1195"/>
                  </a:lnTo>
                  <a:lnTo>
                    <a:pt x="567" y="1197"/>
                  </a:lnTo>
                  <a:lnTo>
                    <a:pt x="565" y="1197"/>
                  </a:lnTo>
                  <a:lnTo>
                    <a:pt x="565" y="1199"/>
                  </a:lnTo>
                  <a:lnTo>
                    <a:pt x="563" y="1199"/>
                  </a:lnTo>
                  <a:lnTo>
                    <a:pt x="560" y="1201"/>
                  </a:lnTo>
                  <a:lnTo>
                    <a:pt x="560" y="1201"/>
                  </a:lnTo>
                  <a:lnTo>
                    <a:pt x="558" y="1203"/>
                  </a:lnTo>
                  <a:lnTo>
                    <a:pt x="560" y="1205"/>
                  </a:lnTo>
                  <a:lnTo>
                    <a:pt x="560" y="1207"/>
                  </a:lnTo>
                  <a:lnTo>
                    <a:pt x="560" y="1209"/>
                  </a:lnTo>
                  <a:lnTo>
                    <a:pt x="560" y="1211"/>
                  </a:lnTo>
                  <a:lnTo>
                    <a:pt x="560" y="1213"/>
                  </a:lnTo>
                  <a:lnTo>
                    <a:pt x="563" y="1213"/>
                  </a:lnTo>
                  <a:lnTo>
                    <a:pt x="560" y="1215"/>
                  </a:lnTo>
                  <a:lnTo>
                    <a:pt x="560" y="1215"/>
                  </a:lnTo>
                  <a:lnTo>
                    <a:pt x="558" y="1217"/>
                  </a:lnTo>
                  <a:lnTo>
                    <a:pt x="556" y="1217"/>
                  </a:lnTo>
                  <a:lnTo>
                    <a:pt x="556" y="1219"/>
                  </a:lnTo>
                  <a:lnTo>
                    <a:pt x="556" y="1219"/>
                  </a:lnTo>
                  <a:lnTo>
                    <a:pt x="554" y="1219"/>
                  </a:lnTo>
                  <a:lnTo>
                    <a:pt x="552" y="1219"/>
                  </a:lnTo>
                  <a:lnTo>
                    <a:pt x="550" y="1221"/>
                  </a:lnTo>
                  <a:lnTo>
                    <a:pt x="548" y="1221"/>
                  </a:lnTo>
                  <a:lnTo>
                    <a:pt x="545" y="1221"/>
                  </a:lnTo>
                  <a:lnTo>
                    <a:pt x="543" y="1223"/>
                  </a:lnTo>
                  <a:lnTo>
                    <a:pt x="543" y="1223"/>
                  </a:lnTo>
                  <a:lnTo>
                    <a:pt x="541" y="1223"/>
                  </a:lnTo>
                  <a:lnTo>
                    <a:pt x="539" y="1224"/>
                  </a:lnTo>
                  <a:lnTo>
                    <a:pt x="537" y="1224"/>
                  </a:lnTo>
                  <a:lnTo>
                    <a:pt x="535" y="1224"/>
                  </a:lnTo>
                  <a:lnTo>
                    <a:pt x="535" y="1226"/>
                  </a:lnTo>
                  <a:lnTo>
                    <a:pt x="533" y="1226"/>
                  </a:lnTo>
                  <a:lnTo>
                    <a:pt x="530" y="1228"/>
                  </a:lnTo>
                  <a:lnTo>
                    <a:pt x="528" y="1228"/>
                  </a:lnTo>
                  <a:lnTo>
                    <a:pt x="526" y="1228"/>
                  </a:lnTo>
                  <a:lnTo>
                    <a:pt x="524" y="1228"/>
                  </a:lnTo>
                  <a:lnTo>
                    <a:pt x="524" y="1228"/>
                  </a:lnTo>
                  <a:lnTo>
                    <a:pt x="522" y="1230"/>
                  </a:lnTo>
                  <a:lnTo>
                    <a:pt x="520" y="1230"/>
                  </a:lnTo>
                  <a:lnTo>
                    <a:pt x="518" y="1232"/>
                  </a:lnTo>
                  <a:lnTo>
                    <a:pt x="515" y="1232"/>
                  </a:lnTo>
                  <a:lnTo>
                    <a:pt x="515" y="1234"/>
                  </a:lnTo>
                  <a:lnTo>
                    <a:pt x="513" y="1234"/>
                  </a:lnTo>
                  <a:lnTo>
                    <a:pt x="511" y="1236"/>
                  </a:lnTo>
                  <a:lnTo>
                    <a:pt x="511" y="1238"/>
                  </a:lnTo>
                  <a:lnTo>
                    <a:pt x="511" y="1240"/>
                  </a:lnTo>
                  <a:lnTo>
                    <a:pt x="509" y="1240"/>
                  </a:lnTo>
                  <a:lnTo>
                    <a:pt x="509" y="1242"/>
                  </a:lnTo>
                  <a:lnTo>
                    <a:pt x="507" y="1244"/>
                  </a:lnTo>
                  <a:lnTo>
                    <a:pt x="505" y="1246"/>
                  </a:lnTo>
                  <a:lnTo>
                    <a:pt x="505" y="1246"/>
                  </a:lnTo>
                  <a:lnTo>
                    <a:pt x="502" y="1248"/>
                  </a:lnTo>
                  <a:lnTo>
                    <a:pt x="502" y="1250"/>
                  </a:lnTo>
                  <a:lnTo>
                    <a:pt x="502" y="1252"/>
                  </a:lnTo>
                  <a:lnTo>
                    <a:pt x="500" y="1254"/>
                  </a:lnTo>
                  <a:lnTo>
                    <a:pt x="500" y="1254"/>
                  </a:lnTo>
                  <a:lnTo>
                    <a:pt x="500" y="1256"/>
                  </a:lnTo>
                  <a:lnTo>
                    <a:pt x="498" y="1258"/>
                  </a:lnTo>
                  <a:lnTo>
                    <a:pt x="498" y="1260"/>
                  </a:lnTo>
                  <a:lnTo>
                    <a:pt x="498" y="1262"/>
                  </a:lnTo>
                  <a:lnTo>
                    <a:pt x="498" y="1264"/>
                  </a:lnTo>
                  <a:lnTo>
                    <a:pt x="498" y="1266"/>
                  </a:lnTo>
                  <a:lnTo>
                    <a:pt x="498" y="1268"/>
                  </a:lnTo>
                  <a:lnTo>
                    <a:pt x="498" y="1270"/>
                  </a:lnTo>
                  <a:lnTo>
                    <a:pt x="498" y="1272"/>
                  </a:lnTo>
                  <a:lnTo>
                    <a:pt x="498" y="1274"/>
                  </a:lnTo>
                  <a:lnTo>
                    <a:pt x="498" y="1274"/>
                  </a:lnTo>
                  <a:lnTo>
                    <a:pt x="498" y="1276"/>
                  </a:lnTo>
                  <a:lnTo>
                    <a:pt x="496" y="1278"/>
                  </a:lnTo>
                  <a:lnTo>
                    <a:pt x="494" y="1278"/>
                  </a:lnTo>
                  <a:lnTo>
                    <a:pt x="492" y="1278"/>
                  </a:lnTo>
                  <a:lnTo>
                    <a:pt x="492" y="1280"/>
                  </a:lnTo>
                  <a:lnTo>
                    <a:pt x="490" y="1282"/>
                  </a:lnTo>
                  <a:lnTo>
                    <a:pt x="490" y="1282"/>
                  </a:lnTo>
                  <a:lnTo>
                    <a:pt x="487" y="1284"/>
                  </a:lnTo>
                  <a:lnTo>
                    <a:pt x="487" y="1286"/>
                  </a:lnTo>
                  <a:lnTo>
                    <a:pt x="487" y="1286"/>
                  </a:lnTo>
                  <a:lnTo>
                    <a:pt x="485" y="1286"/>
                  </a:lnTo>
                  <a:lnTo>
                    <a:pt x="483" y="1288"/>
                  </a:lnTo>
                  <a:lnTo>
                    <a:pt x="483" y="1288"/>
                  </a:lnTo>
                  <a:lnTo>
                    <a:pt x="481" y="1290"/>
                  </a:lnTo>
                  <a:lnTo>
                    <a:pt x="481" y="1292"/>
                  </a:lnTo>
                  <a:lnTo>
                    <a:pt x="479" y="1292"/>
                  </a:lnTo>
                  <a:lnTo>
                    <a:pt x="479" y="1294"/>
                  </a:lnTo>
                  <a:lnTo>
                    <a:pt x="477" y="1296"/>
                  </a:lnTo>
                  <a:lnTo>
                    <a:pt x="477" y="1298"/>
                  </a:lnTo>
                  <a:lnTo>
                    <a:pt x="477" y="1300"/>
                  </a:lnTo>
                  <a:lnTo>
                    <a:pt x="477" y="1302"/>
                  </a:lnTo>
                  <a:lnTo>
                    <a:pt x="477" y="1302"/>
                  </a:lnTo>
                  <a:lnTo>
                    <a:pt x="477" y="1304"/>
                  </a:lnTo>
                  <a:lnTo>
                    <a:pt x="479" y="1306"/>
                  </a:lnTo>
                  <a:lnTo>
                    <a:pt x="479" y="1308"/>
                  </a:lnTo>
                  <a:lnTo>
                    <a:pt x="481" y="1310"/>
                  </a:lnTo>
                  <a:lnTo>
                    <a:pt x="481" y="1310"/>
                  </a:lnTo>
                  <a:lnTo>
                    <a:pt x="481" y="1312"/>
                  </a:lnTo>
                  <a:lnTo>
                    <a:pt x="479" y="1312"/>
                  </a:lnTo>
                  <a:lnTo>
                    <a:pt x="477" y="1312"/>
                  </a:lnTo>
                  <a:lnTo>
                    <a:pt x="475" y="1312"/>
                  </a:lnTo>
                  <a:lnTo>
                    <a:pt x="472" y="1314"/>
                  </a:lnTo>
                  <a:lnTo>
                    <a:pt x="470" y="1314"/>
                  </a:lnTo>
                  <a:lnTo>
                    <a:pt x="470" y="1316"/>
                  </a:lnTo>
                  <a:lnTo>
                    <a:pt x="468" y="1318"/>
                  </a:lnTo>
                  <a:lnTo>
                    <a:pt x="468" y="1320"/>
                  </a:lnTo>
                  <a:lnTo>
                    <a:pt x="468" y="1320"/>
                  </a:lnTo>
                  <a:lnTo>
                    <a:pt x="466" y="1322"/>
                  </a:lnTo>
                  <a:lnTo>
                    <a:pt x="466" y="1324"/>
                  </a:lnTo>
                  <a:lnTo>
                    <a:pt x="464" y="1324"/>
                  </a:lnTo>
                  <a:lnTo>
                    <a:pt x="462" y="1324"/>
                  </a:lnTo>
                  <a:lnTo>
                    <a:pt x="460" y="1324"/>
                  </a:lnTo>
                  <a:lnTo>
                    <a:pt x="460" y="1326"/>
                  </a:lnTo>
                  <a:lnTo>
                    <a:pt x="457" y="1326"/>
                  </a:lnTo>
                  <a:lnTo>
                    <a:pt x="455" y="1326"/>
                  </a:lnTo>
                  <a:lnTo>
                    <a:pt x="453" y="1328"/>
                  </a:lnTo>
                  <a:lnTo>
                    <a:pt x="453" y="1330"/>
                  </a:lnTo>
                  <a:lnTo>
                    <a:pt x="451" y="1330"/>
                  </a:lnTo>
                  <a:lnTo>
                    <a:pt x="451" y="1332"/>
                  </a:lnTo>
                  <a:lnTo>
                    <a:pt x="451" y="1334"/>
                  </a:lnTo>
                  <a:lnTo>
                    <a:pt x="451" y="1334"/>
                  </a:lnTo>
                  <a:lnTo>
                    <a:pt x="451" y="1336"/>
                  </a:lnTo>
                  <a:lnTo>
                    <a:pt x="449" y="1336"/>
                  </a:lnTo>
                  <a:lnTo>
                    <a:pt x="447" y="1338"/>
                  </a:lnTo>
                  <a:lnTo>
                    <a:pt x="447" y="1338"/>
                  </a:lnTo>
                  <a:lnTo>
                    <a:pt x="444" y="1338"/>
                  </a:lnTo>
                  <a:lnTo>
                    <a:pt x="442" y="1340"/>
                  </a:lnTo>
                  <a:lnTo>
                    <a:pt x="440" y="1338"/>
                  </a:lnTo>
                  <a:lnTo>
                    <a:pt x="440" y="1340"/>
                  </a:lnTo>
                  <a:lnTo>
                    <a:pt x="438" y="1340"/>
                  </a:lnTo>
                  <a:lnTo>
                    <a:pt x="440" y="1340"/>
                  </a:lnTo>
                  <a:lnTo>
                    <a:pt x="438" y="1340"/>
                  </a:lnTo>
                  <a:lnTo>
                    <a:pt x="438" y="1340"/>
                  </a:lnTo>
                  <a:lnTo>
                    <a:pt x="436" y="1340"/>
                  </a:lnTo>
                  <a:lnTo>
                    <a:pt x="434" y="1340"/>
                  </a:lnTo>
                  <a:lnTo>
                    <a:pt x="432" y="1342"/>
                  </a:lnTo>
                  <a:lnTo>
                    <a:pt x="432" y="1342"/>
                  </a:lnTo>
                  <a:lnTo>
                    <a:pt x="432" y="1342"/>
                  </a:lnTo>
                  <a:lnTo>
                    <a:pt x="432" y="1344"/>
                  </a:lnTo>
                  <a:lnTo>
                    <a:pt x="434" y="1344"/>
                  </a:lnTo>
                  <a:lnTo>
                    <a:pt x="432" y="1344"/>
                  </a:lnTo>
                  <a:lnTo>
                    <a:pt x="432" y="1344"/>
                  </a:lnTo>
                  <a:lnTo>
                    <a:pt x="429" y="1346"/>
                  </a:lnTo>
                  <a:lnTo>
                    <a:pt x="427" y="1346"/>
                  </a:lnTo>
                  <a:lnTo>
                    <a:pt x="425" y="1346"/>
                  </a:lnTo>
                  <a:lnTo>
                    <a:pt x="423" y="1348"/>
                  </a:lnTo>
                  <a:lnTo>
                    <a:pt x="423" y="1348"/>
                  </a:lnTo>
                  <a:lnTo>
                    <a:pt x="421" y="1348"/>
                  </a:lnTo>
                  <a:lnTo>
                    <a:pt x="419" y="1348"/>
                  </a:lnTo>
                  <a:lnTo>
                    <a:pt x="417" y="1350"/>
                  </a:lnTo>
                  <a:lnTo>
                    <a:pt x="414" y="1350"/>
                  </a:lnTo>
                  <a:lnTo>
                    <a:pt x="414" y="1352"/>
                  </a:lnTo>
                  <a:lnTo>
                    <a:pt x="412" y="1354"/>
                  </a:lnTo>
                  <a:lnTo>
                    <a:pt x="410" y="1354"/>
                  </a:lnTo>
                  <a:lnTo>
                    <a:pt x="410" y="1356"/>
                  </a:lnTo>
                  <a:lnTo>
                    <a:pt x="408" y="1356"/>
                  </a:lnTo>
                  <a:lnTo>
                    <a:pt x="406" y="1356"/>
                  </a:lnTo>
                  <a:lnTo>
                    <a:pt x="404" y="1356"/>
                  </a:lnTo>
                  <a:lnTo>
                    <a:pt x="402" y="1356"/>
                  </a:lnTo>
                  <a:lnTo>
                    <a:pt x="399" y="1356"/>
                  </a:lnTo>
                  <a:lnTo>
                    <a:pt x="397" y="1356"/>
                  </a:lnTo>
                  <a:lnTo>
                    <a:pt x="397" y="1358"/>
                  </a:lnTo>
                  <a:lnTo>
                    <a:pt x="395" y="1360"/>
                  </a:lnTo>
                  <a:lnTo>
                    <a:pt x="393" y="1360"/>
                  </a:lnTo>
                  <a:lnTo>
                    <a:pt x="391" y="1360"/>
                  </a:lnTo>
                  <a:lnTo>
                    <a:pt x="389" y="1358"/>
                  </a:lnTo>
                  <a:lnTo>
                    <a:pt x="387" y="1360"/>
                  </a:lnTo>
                  <a:lnTo>
                    <a:pt x="384" y="1360"/>
                  </a:lnTo>
                  <a:lnTo>
                    <a:pt x="384" y="1360"/>
                  </a:lnTo>
                  <a:lnTo>
                    <a:pt x="382" y="1360"/>
                  </a:lnTo>
                  <a:lnTo>
                    <a:pt x="380" y="1362"/>
                  </a:lnTo>
                  <a:lnTo>
                    <a:pt x="378" y="1362"/>
                  </a:lnTo>
                  <a:lnTo>
                    <a:pt x="376" y="1362"/>
                  </a:lnTo>
                  <a:lnTo>
                    <a:pt x="374" y="1364"/>
                  </a:lnTo>
                  <a:lnTo>
                    <a:pt x="374" y="1364"/>
                  </a:lnTo>
                  <a:lnTo>
                    <a:pt x="374" y="1366"/>
                  </a:lnTo>
                  <a:lnTo>
                    <a:pt x="371" y="1368"/>
                  </a:lnTo>
                  <a:lnTo>
                    <a:pt x="369" y="1368"/>
                  </a:lnTo>
                  <a:lnTo>
                    <a:pt x="369" y="1366"/>
                  </a:lnTo>
                  <a:lnTo>
                    <a:pt x="367" y="1366"/>
                  </a:lnTo>
                  <a:lnTo>
                    <a:pt x="365" y="1366"/>
                  </a:lnTo>
                  <a:lnTo>
                    <a:pt x="363" y="1366"/>
                  </a:lnTo>
                  <a:lnTo>
                    <a:pt x="361" y="1364"/>
                  </a:lnTo>
                  <a:lnTo>
                    <a:pt x="361" y="1366"/>
                  </a:lnTo>
                  <a:lnTo>
                    <a:pt x="359" y="1366"/>
                  </a:lnTo>
                  <a:lnTo>
                    <a:pt x="356" y="1366"/>
                  </a:lnTo>
                  <a:lnTo>
                    <a:pt x="354" y="1366"/>
                  </a:lnTo>
                  <a:lnTo>
                    <a:pt x="354" y="1368"/>
                  </a:lnTo>
                  <a:lnTo>
                    <a:pt x="354" y="1368"/>
                  </a:lnTo>
                  <a:lnTo>
                    <a:pt x="354" y="1368"/>
                  </a:lnTo>
                  <a:lnTo>
                    <a:pt x="352" y="1368"/>
                  </a:lnTo>
                  <a:lnTo>
                    <a:pt x="350" y="1368"/>
                  </a:lnTo>
                  <a:lnTo>
                    <a:pt x="348" y="1370"/>
                  </a:lnTo>
                  <a:lnTo>
                    <a:pt x="348" y="1370"/>
                  </a:lnTo>
                  <a:lnTo>
                    <a:pt x="346" y="1370"/>
                  </a:lnTo>
                  <a:lnTo>
                    <a:pt x="344" y="1372"/>
                  </a:lnTo>
                  <a:lnTo>
                    <a:pt x="341" y="1374"/>
                  </a:lnTo>
                  <a:lnTo>
                    <a:pt x="341" y="1374"/>
                  </a:lnTo>
                  <a:lnTo>
                    <a:pt x="339" y="1376"/>
                  </a:lnTo>
                  <a:lnTo>
                    <a:pt x="337" y="1376"/>
                  </a:lnTo>
                  <a:lnTo>
                    <a:pt x="335" y="1374"/>
                  </a:lnTo>
                  <a:lnTo>
                    <a:pt x="335" y="1374"/>
                  </a:lnTo>
                  <a:lnTo>
                    <a:pt x="333" y="1374"/>
                  </a:lnTo>
                  <a:lnTo>
                    <a:pt x="331" y="1374"/>
                  </a:lnTo>
                  <a:lnTo>
                    <a:pt x="329" y="1374"/>
                  </a:lnTo>
                  <a:lnTo>
                    <a:pt x="326" y="1376"/>
                  </a:lnTo>
                  <a:lnTo>
                    <a:pt x="326" y="1378"/>
                  </a:lnTo>
                  <a:lnTo>
                    <a:pt x="324" y="1378"/>
                  </a:lnTo>
                  <a:lnTo>
                    <a:pt x="322" y="1380"/>
                  </a:lnTo>
                  <a:lnTo>
                    <a:pt x="320" y="1380"/>
                  </a:lnTo>
                  <a:lnTo>
                    <a:pt x="320" y="1382"/>
                  </a:lnTo>
                  <a:lnTo>
                    <a:pt x="318" y="1384"/>
                  </a:lnTo>
                  <a:lnTo>
                    <a:pt x="316" y="1382"/>
                  </a:lnTo>
                  <a:lnTo>
                    <a:pt x="316" y="1382"/>
                  </a:lnTo>
                  <a:lnTo>
                    <a:pt x="313" y="1382"/>
                  </a:lnTo>
                  <a:lnTo>
                    <a:pt x="311" y="1382"/>
                  </a:lnTo>
                  <a:lnTo>
                    <a:pt x="309" y="1380"/>
                  </a:lnTo>
                  <a:lnTo>
                    <a:pt x="307" y="1380"/>
                  </a:lnTo>
                  <a:lnTo>
                    <a:pt x="305" y="1380"/>
                  </a:lnTo>
                  <a:lnTo>
                    <a:pt x="303" y="1380"/>
                  </a:lnTo>
                  <a:lnTo>
                    <a:pt x="301" y="1380"/>
                  </a:lnTo>
                  <a:lnTo>
                    <a:pt x="298" y="1378"/>
                  </a:lnTo>
                  <a:lnTo>
                    <a:pt x="296" y="1378"/>
                  </a:lnTo>
                  <a:lnTo>
                    <a:pt x="296" y="1378"/>
                  </a:lnTo>
                  <a:lnTo>
                    <a:pt x="294" y="1378"/>
                  </a:lnTo>
                  <a:lnTo>
                    <a:pt x="292" y="1376"/>
                  </a:lnTo>
                  <a:lnTo>
                    <a:pt x="290" y="1376"/>
                  </a:lnTo>
                  <a:lnTo>
                    <a:pt x="288" y="1376"/>
                  </a:lnTo>
                  <a:lnTo>
                    <a:pt x="286" y="1376"/>
                  </a:lnTo>
                  <a:lnTo>
                    <a:pt x="286" y="1378"/>
                  </a:lnTo>
                  <a:lnTo>
                    <a:pt x="283" y="1378"/>
                  </a:lnTo>
                  <a:lnTo>
                    <a:pt x="283" y="1380"/>
                  </a:lnTo>
                  <a:lnTo>
                    <a:pt x="281" y="1380"/>
                  </a:lnTo>
                  <a:lnTo>
                    <a:pt x="281" y="1380"/>
                  </a:lnTo>
                  <a:lnTo>
                    <a:pt x="279" y="1380"/>
                  </a:lnTo>
                  <a:lnTo>
                    <a:pt x="277" y="1380"/>
                  </a:lnTo>
                  <a:lnTo>
                    <a:pt x="277" y="1380"/>
                  </a:lnTo>
                  <a:lnTo>
                    <a:pt x="275" y="1380"/>
                  </a:lnTo>
                  <a:lnTo>
                    <a:pt x="273" y="1380"/>
                  </a:lnTo>
                  <a:lnTo>
                    <a:pt x="273" y="1378"/>
                  </a:lnTo>
                  <a:lnTo>
                    <a:pt x="273" y="1376"/>
                  </a:lnTo>
                  <a:lnTo>
                    <a:pt x="271" y="1374"/>
                  </a:lnTo>
                  <a:lnTo>
                    <a:pt x="271" y="1372"/>
                  </a:lnTo>
                  <a:lnTo>
                    <a:pt x="271" y="1370"/>
                  </a:lnTo>
                  <a:lnTo>
                    <a:pt x="268" y="1368"/>
                  </a:lnTo>
                  <a:lnTo>
                    <a:pt x="268" y="1366"/>
                  </a:lnTo>
                  <a:lnTo>
                    <a:pt x="268" y="1364"/>
                  </a:lnTo>
                  <a:lnTo>
                    <a:pt x="266" y="1362"/>
                  </a:lnTo>
                  <a:lnTo>
                    <a:pt x="266" y="1360"/>
                  </a:lnTo>
                  <a:lnTo>
                    <a:pt x="266" y="1358"/>
                  </a:lnTo>
                  <a:lnTo>
                    <a:pt x="266" y="1358"/>
                  </a:lnTo>
                  <a:lnTo>
                    <a:pt x="266" y="1356"/>
                  </a:lnTo>
                  <a:lnTo>
                    <a:pt x="264" y="1354"/>
                  </a:lnTo>
                  <a:lnTo>
                    <a:pt x="264" y="1354"/>
                  </a:lnTo>
                  <a:lnTo>
                    <a:pt x="262" y="1352"/>
                  </a:lnTo>
                  <a:lnTo>
                    <a:pt x="262" y="1350"/>
                  </a:lnTo>
                  <a:lnTo>
                    <a:pt x="262" y="1348"/>
                  </a:lnTo>
                  <a:lnTo>
                    <a:pt x="262" y="1346"/>
                  </a:lnTo>
                  <a:lnTo>
                    <a:pt x="264" y="1346"/>
                  </a:lnTo>
                  <a:lnTo>
                    <a:pt x="264" y="1344"/>
                  </a:lnTo>
                  <a:lnTo>
                    <a:pt x="264" y="1342"/>
                  </a:lnTo>
                  <a:lnTo>
                    <a:pt x="266" y="1342"/>
                  </a:lnTo>
                  <a:lnTo>
                    <a:pt x="268" y="1340"/>
                  </a:lnTo>
                  <a:lnTo>
                    <a:pt x="268" y="1338"/>
                  </a:lnTo>
                  <a:lnTo>
                    <a:pt x="268" y="1338"/>
                  </a:lnTo>
                  <a:lnTo>
                    <a:pt x="268" y="1338"/>
                  </a:lnTo>
                  <a:lnTo>
                    <a:pt x="271" y="1338"/>
                  </a:lnTo>
                  <a:lnTo>
                    <a:pt x="273" y="1336"/>
                  </a:lnTo>
                  <a:lnTo>
                    <a:pt x="273" y="1336"/>
                  </a:lnTo>
                  <a:lnTo>
                    <a:pt x="275" y="1336"/>
                  </a:lnTo>
                  <a:lnTo>
                    <a:pt x="277" y="1334"/>
                  </a:lnTo>
                  <a:lnTo>
                    <a:pt x="279" y="1334"/>
                  </a:lnTo>
                  <a:lnTo>
                    <a:pt x="281" y="1334"/>
                  </a:lnTo>
                  <a:lnTo>
                    <a:pt x="281" y="1334"/>
                  </a:lnTo>
                  <a:lnTo>
                    <a:pt x="283" y="1332"/>
                  </a:lnTo>
                  <a:lnTo>
                    <a:pt x="286" y="1332"/>
                  </a:lnTo>
                  <a:lnTo>
                    <a:pt x="283" y="1330"/>
                  </a:lnTo>
                  <a:lnTo>
                    <a:pt x="286" y="1328"/>
                  </a:lnTo>
                  <a:lnTo>
                    <a:pt x="283" y="1326"/>
                  </a:lnTo>
                  <a:lnTo>
                    <a:pt x="283" y="1324"/>
                  </a:lnTo>
                  <a:lnTo>
                    <a:pt x="286" y="1324"/>
                  </a:lnTo>
                  <a:lnTo>
                    <a:pt x="286" y="1322"/>
                  </a:lnTo>
                  <a:lnTo>
                    <a:pt x="286" y="1320"/>
                  </a:lnTo>
                  <a:lnTo>
                    <a:pt x="288" y="1320"/>
                  </a:lnTo>
                  <a:lnTo>
                    <a:pt x="288" y="1318"/>
                  </a:lnTo>
                  <a:lnTo>
                    <a:pt x="288" y="1316"/>
                  </a:lnTo>
                  <a:lnTo>
                    <a:pt x="288" y="1314"/>
                  </a:lnTo>
                  <a:lnTo>
                    <a:pt x="286" y="1314"/>
                  </a:lnTo>
                  <a:lnTo>
                    <a:pt x="288" y="1312"/>
                  </a:lnTo>
                  <a:lnTo>
                    <a:pt x="288" y="1312"/>
                  </a:lnTo>
                  <a:lnTo>
                    <a:pt x="290" y="1312"/>
                  </a:lnTo>
                  <a:lnTo>
                    <a:pt x="292" y="1312"/>
                  </a:lnTo>
                  <a:lnTo>
                    <a:pt x="292" y="1310"/>
                  </a:lnTo>
                  <a:lnTo>
                    <a:pt x="294" y="1308"/>
                  </a:lnTo>
                  <a:lnTo>
                    <a:pt x="294" y="1308"/>
                  </a:lnTo>
                  <a:lnTo>
                    <a:pt x="296" y="1308"/>
                  </a:lnTo>
                  <a:lnTo>
                    <a:pt x="298" y="1308"/>
                  </a:lnTo>
                  <a:lnTo>
                    <a:pt x="301" y="1310"/>
                  </a:lnTo>
                  <a:lnTo>
                    <a:pt x="301" y="1308"/>
                  </a:lnTo>
                  <a:lnTo>
                    <a:pt x="303" y="1308"/>
                  </a:lnTo>
                  <a:lnTo>
                    <a:pt x="305" y="1306"/>
                  </a:lnTo>
                  <a:lnTo>
                    <a:pt x="307" y="1306"/>
                  </a:lnTo>
                  <a:lnTo>
                    <a:pt x="307" y="1304"/>
                  </a:lnTo>
                  <a:lnTo>
                    <a:pt x="309" y="1304"/>
                  </a:lnTo>
                  <a:lnTo>
                    <a:pt x="311" y="1302"/>
                  </a:lnTo>
                  <a:lnTo>
                    <a:pt x="311" y="1302"/>
                  </a:lnTo>
                  <a:lnTo>
                    <a:pt x="313" y="1302"/>
                  </a:lnTo>
                  <a:lnTo>
                    <a:pt x="316" y="1300"/>
                  </a:lnTo>
                  <a:lnTo>
                    <a:pt x="316" y="1298"/>
                  </a:lnTo>
                  <a:lnTo>
                    <a:pt x="316" y="1296"/>
                  </a:lnTo>
                  <a:lnTo>
                    <a:pt x="318" y="1296"/>
                  </a:lnTo>
                  <a:lnTo>
                    <a:pt x="318" y="1294"/>
                  </a:lnTo>
                  <a:lnTo>
                    <a:pt x="318" y="1294"/>
                  </a:lnTo>
                  <a:lnTo>
                    <a:pt x="320" y="1292"/>
                  </a:lnTo>
                  <a:lnTo>
                    <a:pt x="320" y="1290"/>
                  </a:lnTo>
                  <a:lnTo>
                    <a:pt x="320" y="1288"/>
                  </a:lnTo>
                  <a:lnTo>
                    <a:pt x="318" y="1286"/>
                  </a:lnTo>
                  <a:lnTo>
                    <a:pt x="318" y="1284"/>
                  </a:lnTo>
                  <a:lnTo>
                    <a:pt x="318" y="1282"/>
                  </a:lnTo>
                  <a:lnTo>
                    <a:pt x="318" y="1282"/>
                  </a:lnTo>
                  <a:lnTo>
                    <a:pt x="318" y="1280"/>
                  </a:lnTo>
                  <a:lnTo>
                    <a:pt x="318" y="1278"/>
                  </a:lnTo>
                  <a:lnTo>
                    <a:pt x="320" y="1278"/>
                  </a:lnTo>
                  <a:lnTo>
                    <a:pt x="322" y="1278"/>
                  </a:lnTo>
                  <a:lnTo>
                    <a:pt x="322" y="1276"/>
                  </a:lnTo>
                  <a:lnTo>
                    <a:pt x="324" y="1276"/>
                  </a:lnTo>
                  <a:lnTo>
                    <a:pt x="326" y="1274"/>
                  </a:lnTo>
                  <a:lnTo>
                    <a:pt x="329" y="1274"/>
                  </a:lnTo>
                  <a:lnTo>
                    <a:pt x="331" y="1274"/>
                  </a:lnTo>
                  <a:lnTo>
                    <a:pt x="331" y="1272"/>
                  </a:lnTo>
                  <a:lnTo>
                    <a:pt x="331" y="1270"/>
                  </a:lnTo>
                  <a:lnTo>
                    <a:pt x="331" y="1268"/>
                  </a:lnTo>
                  <a:lnTo>
                    <a:pt x="333" y="1268"/>
                  </a:lnTo>
                  <a:lnTo>
                    <a:pt x="335" y="1266"/>
                  </a:lnTo>
                  <a:lnTo>
                    <a:pt x="335" y="1264"/>
                  </a:lnTo>
                  <a:lnTo>
                    <a:pt x="335" y="1262"/>
                  </a:lnTo>
                  <a:lnTo>
                    <a:pt x="335" y="1260"/>
                  </a:lnTo>
                  <a:lnTo>
                    <a:pt x="335" y="1258"/>
                  </a:lnTo>
                  <a:lnTo>
                    <a:pt x="335" y="1258"/>
                  </a:lnTo>
                  <a:lnTo>
                    <a:pt x="335" y="1256"/>
                  </a:lnTo>
                  <a:lnTo>
                    <a:pt x="335" y="1254"/>
                  </a:lnTo>
                  <a:lnTo>
                    <a:pt x="333" y="1254"/>
                  </a:lnTo>
                  <a:lnTo>
                    <a:pt x="331" y="1252"/>
                  </a:lnTo>
                  <a:lnTo>
                    <a:pt x="329" y="1250"/>
                  </a:lnTo>
                  <a:lnTo>
                    <a:pt x="329" y="1250"/>
                  </a:lnTo>
                  <a:lnTo>
                    <a:pt x="329" y="1248"/>
                  </a:lnTo>
                  <a:lnTo>
                    <a:pt x="326" y="1246"/>
                  </a:lnTo>
                  <a:lnTo>
                    <a:pt x="326" y="1244"/>
                  </a:lnTo>
                  <a:lnTo>
                    <a:pt x="324" y="1244"/>
                  </a:lnTo>
                  <a:lnTo>
                    <a:pt x="322" y="1242"/>
                  </a:lnTo>
                  <a:lnTo>
                    <a:pt x="322" y="1240"/>
                  </a:lnTo>
                  <a:lnTo>
                    <a:pt x="320" y="1240"/>
                  </a:lnTo>
                  <a:lnTo>
                    <a:pt x="320" y="1238"/>
                  </a:lnTo>
                  <a:lnTo>
                    <a:pt x="320" y="1236"/>
                  </a:lnTo>
                  <a:lnTo>
                    <a:pt x="320" y="1234"/>
                  </a:lnTo>
                  <a:lnTo>
                    <a:pt x="322" y="1234"/>
                  </a:lnTo>
                  <a:lnTo>
                    <a:pt x="322" y="1232"/>
                  </a:lnTo>
                  <a:lnTo>
                    <a:pt x="324" y="1230"/>
                  </a:lnTo>
                  <a:lnTo>
                    <a:pt x="322" y="1228"/>
                  </a:lnTo>
                  <a:lnTo>
                    <a:pt x="320" y="1228"/>
                  </a:lnTo>
                  <a:lnTo>
                    <a:pt x="322" y="1226"/>
                  </a:lnTo>
                  <a:lnTo>
                    <a:pt x="322" y="1224"/>
                  </a:lnTo>
                  <a:lnTo>
                    <a:pt x="324" y="1224"/>
                  </a:lnTo>
                  <a:lnTo>
                    <a:pt x="324" y="1223"/>
                  </a:lnTo>
                  <a:lnTo>
                    <a:pt x="326" y="1221"/>
                  </a:lnTo>
                  <a:lnTo>
                    <a:pt x="324" y="1219"/>
                  </a:lnTo>
                  <a:lnTo>
                    <a:pt x="324" y="1219"/>
                  </a:lnTo>
                  <a:lnTo>
                    <a:pt x="322" y="1219"/>
                  </a:lnTo>
                  <a:lnTo>
                    <a:pt x="320" y="1219"/>
                  </a:lnTo>
                  <a:lnTo>
                    <a:pt x="318" y="1219"/>
                  </a:lnTo>
                  <a:lnTo>
                    <a:pt x="316" y="1219"/>
                  </a:lnTo>
                  <a:lnTo>
                    <a:pt x="313" y="1219"/>
                  </a:lnTo>
                  <a:lnTo>
                    <a:pt x="311" y="1219"/>
                  </a:lnTo>
                  <a:lnTo>
                    <a:pt x="309" y="1219"/>
                  </a:lnTo>
                  <a:lnTo>
                    <a:pt x="309" y="1221"/>
                  </a:lnTo>
                  <a:lnTo>
                    <a:pt x="309" y="1221"/>
                  </a:lnTo>
                  <a:lnTo>
                    <a:pt x="307" y="1223"/>
                  </a:lnTo>
                  <a:lnTo>
                    <a:pt x="307" y="1224"/>
                  </a:lnTo>
                  <a:lnTo>
                    <a:pt x="307" y="1226"/>
                  </a:lnTo>
                  <a:lnTo>
                    <a:pt x="305" y="1226"/>
                  </a:lnTo>
                  <a:lnTo>
                    <a:pt x="305" y="1228"/>
                  </a:lnTo>
                  <a:lnTo>
                    <a:pt x="303" y="1228"/>
                  </a:lnTo>
                  <a:lnTo>
                    <a:pt x="301" y="1228"/>
                  </a:lnTo>
                  <a:lnTo>
                    <a:pt x="298" y="1228"/>
                  </a:lnTo>
                  <a:lnTo>
                    <a:pt x="298" y="1228"/>
                  </a:lnTo>
                  <a:lnTo>
                    <a:pt x="296" y="1228"/>
                  </a:lnTo>
                  <a:lnTo>
                    <a:pt x="294" y="1228"/>
                  </a:lnTo>
                  <a:lnTo>
                    <a:pt x="292" y="1228"/>
                  </a:lnTo>
                  <a:lnTo>
                    <a:pt x="290" y="1226"/>
                  </a:lnTo>
                  <a:lnTo>
                    <a:pt x="290" y="1228"/>
                  </a:lnTo>
                  <a:lnTo>
                    <a:pt x="288" y="1226"/>
                  </a:lnTo>
                  <a:lnTo>
                    <a:pt x="288" y="1226"/>
                  </a:lnTo>
                  <a:lnTo>
                    <a:pt x="286" y="1228"/>
                  </a:lnTo>
                  <a:lnTo>
                    <a:pt x="286" y="1230"/>
                  </a:lnTo>
                  <a:lnTo>
                    <a:pt x="283" y="1230"/>
                  </a:lnTo>
                  <a:lnTo>
                    <a:pt x="281" y="1230"/>
                  </a:lnTo>
                  <a:lnTo>
                    <a:pt x="279" y="1230"/>
                  </a:lnTo>
                  <a:lnTo>
                    <a:pt x="279" y="1230"/>
                  </a:lnTo>
                  <a:lnTo>
                    <a:pt x="277" y="1230"/>
                  </a:lnTo>
                  <a:lnTo>
                    <a:pt x="275" y="1230"/>
                  </a:lnTo>
                  <a:lnTo>
                    <a:pt x="275" y="1232"/>
                  </a:lnTo>
                  <a:lnTo>
                    <a:pt x="273" y="1234"/>
                  </a:lnTo>
                  <a:lnTo>
                    <a:pt x="271" y="1232"/>
                  </a:lnTo>
                  <a:lnTo>
                    <a:pt x="271" y="1232"/>
                  </a:lnTo>
                  <a:lnTo>
                    <a:pt x="268" y="1230"/>
                  </a:lnTo>
                  <a:lnTo>
                    <a:pt x="268" y="1230"/>
                  </a:lnTo>
                  <a:lnTo>
                    <a:pt x="266" y="1232"/>
                  </a:lnTo>
                  <a:lnTo>
                    <a:pt x="264" y="1232"/>
                  </a:lnTo>
                  <a:lnTo>
                    <a:pt x="262" y="1234"/>
                  </a:lnTo>
                  <a:lnTo>
                    <a:pt x="262" y="1234"/>
                  </a:lnTo>
                  <a:lnTo>
                    <a:pt x="260" y="1234"/>
                  </a:lnTo>
                  <a:lnTo>
                    <a:pt x="258" y="1234"/>
                  </a:lnTo>
                  <a:lnTo>
                    <a:pt x="256" y="1236"/>
                  </a:lnTo>
                  <a:lnTo>
                    <a:pt x="253" y="1238"/>
                  </a:lnTo>
                  <a:lnTo>
                    <a:pt x="253" y="1238"/>
                  </a:lnTo>
                  <a:lnTo>
                    <a:pt x="251" y="1236"/>
                  </a:lnTo>
                  <a:lnTo>
                    <a:pt x="249" y="1236"/>
                  </a:lnTo>
                  <a:lnTo>
                    <a:pt x="247" y="1236"/>
                  </a:lnTo>
                  <a:lnTo>
                    <a:pt x="245" y="1236"/>
                  </a:lnTo>
                  <a:lnTo>
                    <a:pt x="243" y="1236"/>
                  </a:lnTo>
                  <a:lnTo>
                    <a:pt x="243" y="1238"/>
                  </a:lnTo>
                  <a:lnTo>
                    <a:pt x="243" y="1240"/>
                  </a:lnTo>
                  <a:lnTo>
                    <a:pt x="243" y="1240"/>
                  </a:lnTo>
                  <a:lnTo>
                    <a:pt x="243" y="1242"/>
                  </a:lnTo>
                  <a:lnTo>
                    <a:pt x="240" y="1242"/>
                  </a:lnTo>
                  <a:lnTo>
                    <a:pt x="238" y="1240"/>
                  </a:lnTo>
                  <a:lnTo>
                    <a:pt x="236" y="1240"/>
                  </a:lnTo>
                  <a:lnTo>
                    <a:pt x="236" y="1240"/>
                  </a:lnTo>
                  <a:lnTo>
                    <a:pt x="234" y="1240"/>
                  </a:lnTo>
                  <a:lnTo>
                    <a:pt x="232" y="1238"/>
                  </a:lnTo>
                  <a:lnTo>
                    <a:pt x="230" y="1238"/>
                  </a:lnTo>
                  <a:lnTo>
                    <a:pt x="230" y="1238"/>
                  </a:lnTo>
                  <a:lnTo>
                    <a:pt x="228" y="1240"/>
                  </a:lnTo>
                  <a:lnTo>
                    <a:pt x="225" y="1240"/>
                  </a:lnTo>
                  <a:lnTo>
                    <a:pt x="223" y="1240"/>
                  </a:lnTo>
                  <a:lnTo>
                    <a:pt x="221" y="1240"/>
                  </a:lnTo>
                  <a:lnTo>
                    <a:pt x="219" y="1240"/>
                  </a:lnTo>
                  <a:lnTo>
                    <a:pt x="219" y="1240"/>
                  </a:lnTo>
                  <a:lnTo>
                    <a:pt x="219" y="1238"/>
                  </a:lnTo>
                  <a:lnTo>
                    <a:pt x="219" y="1236"/>
                  </a:lnTo>
                  <a:lnTo>
                    <a:pt x="217" y="1234"/>
                  </a:lnTo>
                  <a:lnTo>
                    <a:pt x="217" y="1232"/>
                  </a:lnTo>
                  <a:lnTo>
                    <a:pt x="217" y="1230"/>
                  </a:lnTo>
                  <a:lnTo>
                    <a:pt x="217" y="1230"/>
                  </a:lnTo>
                  <a:lnTo>
                    <a:pt x="215" y="1228"/>
                  </a:lnTo>
                  <a:lnTo>
                    <a:pt x="213" y="1228"/>
                  </a:lnTo>
                  <a:lnTo>
                    <a:pt x="210" y="1230"/>
                  </a:lnTo>
                  <a:lnTo>
                    <a:pt x="210" y="1230"/>
                  </a:lnTo>
                  <a:lnTo>
                    <a:pt x="208" y="1230"/>
                  </a:lnTo>
                  <a:lnTo>
                    <a:pt x="206" y="1228"/>
                  </a:lnTo>
                  <a:lnTo>
                    <a:pt x="204" y="1228"/>
                  </a:lnTo>
                  <a:lnTo>
                    <a:pt x="204" y="1228"/>
                  </a:lnTo>
                  <a:lnTo>
                    <a:pt x="202" y="1228"/>
                  </a:lnTo>
                  <a:lnTo>
                    <a:pt x="200" y="1228"/>
                  </a:lnTo>
                  <a:lnTo>
                    <a:pt x="198" y="1228"/>
                  </a:lnTo>
                  <a:lnTo>
                    <a:pt x="198" y="1230"/>
                  </a:lnTo>
                  <a:lnTo>
                    <a:pt x="195" y="1230"/>
                  </a:lnTo>
                  <a:lnTo>
                    <a:pt x="193" y="1228"/>
                  </a:lnTo>
                  <a:lnTo>
                    <a:pt x="193" y="1228"/>
                  </a:lnTo>
                  <a:lnTo>
                    <a:pt x="191" y="1228"/>
                  </a:lnTo>
                  <a:lnTo>
                    <a:pt x="189" y="1226"/>
                  </a:lnTo>
                  <a:lnTo>
                    <a:pt x="189" y="1224"/>
                  </a:lnTo>
                  <a:lnTo>
                    <a:pt x="187" y="1224"/>
                  </a:lnTo>
                  <a:lnTo>
                    <a:pt x="185" y="1223"/>
                  </a:lnTo>
                  <a:lnTo>
                    <a:pt x="185" y="1221"/>
                  </a:lnTo>
                  <a:lnTo>
                    <a:pt x="185" y="1221"/>
                  </a:lnTo>
                  <a:lnTo>
                    <a:pt x="185" y="1219"/>
                  </a:lnTo>
                  <a:lnTo>
                    <a:pt x="182" y="1217"/>
                  </a:lnTo>
                  <a:lnTo>
                    <a:pt x="182" y="1217"/>
                  </a:lnTo>
                  <a:lnTo>
                    <a:pt x="180" y="1219"/>
                  </a:lnTo>
                  <a:lnTo>
                    <a:pt x="178" y="1219"/>
                  </a:lnTo>
                  <a:lnTo>
                    <a:pt x="176" y="1219"/>
                  </a:lnTo>
                  <a:lnTo>
                    <a:pt x="176" y="1219"/>
                  </a:lnTo>
                  <a:lnTo>
                    <a:pt x="176" y="1217"/>
                  </a:lnTo>
                  <a:lnTo>
                    <a:pt x="174" y="1215"/>
                  </a:lnTo>
                  <a:lnTo>
                    <a:pt x="172" y="1215"/>
                  </a:lnTo>
                  <a:lnTo>
                    <a:pt x="172" y="1213"/>
                  </a:lnTo>
                  <a:lnTo>
                    <a:pt x="170" y="1213"/>
                  </a:lnTo>
                  <a:lnTo>
                    <a:pt x="170" y="1211"/>
                  </a:lnTo>
                  <a:lnTo>
                    <a:pt x="167" y="1209"/>
                  </a:lnTo>
                  <a:lnTo>
                    <a:pt x="167" y="1207"/>
                  </a:lnTo>
                  <a:lnTo>
                    <a:pt x="167" y="1207"/>
                  </a:lnTo>
                  <a:lnTo>
                    <a:pt x="165" y="1207"/>
                  </a:lnTo>
                  <a:lnTo>
                    <a:pt x="163" y="1207"/>
                  </a:lnTo>
                  <a:lnTo>
                    <a:pt x="163" y="1205"/>
                  </a:lnTo>
                  <a:lnTo>
                    <a:pt x="161" y="1205"/>
                  </a:lnTo>
                  <a:lnTo>
                    <a:pt x="159" y="1203"/>
                  </a:lnTo>
                  <a:lnTo>
                    <a:pt x="159" y="1203"/>
                  </a:lnTo>
                  <a:lnTo>
                    <a:pt x="157" y="1205"/>
                  </a:lnTo>
                  <a:lnTo>
                    <a:pt x="155" y="1205"/>
                  </a:lnTo>
                  <a:lnTo>
                    <a:pt x="152" y="1207"/>
                  </a:lnTo>
                  <a:lnTo>
                    <a:pt x="150" y="1205"/>
                  </a:lnTo>
                  <a:lnTo>
                    <a:pt x="150" y="1203"/>
                  </a:lnTo>
                  <a:lnTo>
                    <a:pt x="148" y="1203"/>
                  </a:lnTo>
                  <a:lnTo>
                    <a:pt x="148" y="1201"/>
                  </a:lnTo>
                  <a:lnTo>
                    <a:pt x="146" y="1201"/>
                  </a:lnTo>
                  <a:lnTo>
                    <a:pt x="144" y="1199"/>
                  </a:lnTo>
                  <a:lnTo>
                    <a:pt x="142" y="1199"/>
                  </a:lnTo>
                  <a:lnTo>
                    <a:pt x="140" y="1197"/>
                  </a:lnTo>
                  <a:lnTo>
                    <a:pt x="140" y="1197"/>
                  </a:lnTo>
                  <a:lnTo>
                    <a:pt x="137" y="1197"/>
                  </a:lnTo>
                  <a:lnTo>
                    <a:pt x="135" y="1195"/>
                  </a:lnTo>
                  <a:lnTo>
                    <a:pt x="135" y="1193"/>
                  </a:lnTo>
                  <a:lnTo>
                    <a:pt x="133" y="1193"/>
                  </a:lnTo>
                  <a:lnTo>
                    <a:pt x="131" y="1193"/>
                  </a:lnTo>
                  <a:lnTo>
                    <a:pt x="131" y="1191"/>
                  </a:lnTo>
                  <a:lnTo>
                    <a:pt x="129" y="1193"/>
                  </a:lnTo>
                  <a:lnTo>
                    <a:pt x="127" y="1193"/>
                  </a:lnTo>
                  <a:lnTo>
                    <a:pt x="127" y="1193"/>
                  </a:lnTo>
                  <a:lnTo>
                    <a:pt x="125" y="1193"/>
                  </a:lnTo>
                  <a:lnTo>
                    <a:pt x="122" y="1195"/>
                  </a:lnTo>
                  <a:lnTo>
                    <a:pt x="120" y="1195"/>
                  </a:lnTo>
                  <a:lnTo>
                    <a:pt x="118" y="1195"/>
                  </a:lnTo>
                  <a:lnTo>
                    <a:pt x="118" y="1195"/>
                  </a:lnTo>
                  <a:lnTo>
                    <a:pt x="116" y="1193"/>
                  </a:lnTo>
                  <a:lnTo>
                    <a:pt x="116" y="1191"/>
                  </a:lnTo>
                  <a:lnTo>
                    <a:pt x="114" y="1191"/>
                  </a:lnTo>
                  <a:lnTo>
                    <a:pt x="112" y="1191"/>
                  </a:lnTo>
                  <a:lnTo>
                    <a:pt x="109" y="1191"/>
                  </a:lnTo>
                  <a:lnTo>
                    <a:pt x="109" y="1189"/>
                  </a:lnTo>
                  <a:lnTo>
                    <a:pt x="107" y="1187"/>
                  </a:lnTo>
                  <a:lnTo>
                    <a:pt x="107" y="1185"/>
                  </a:lnTo>
                  <a:lnTo>
                    <a:pt x="107" y="1185"/>
                  </a:lnTo>
                  <a:lnTo>
                    <a:pt x="107" y="1183"/>
                  </a:lnTo>
                  <a:lnTo>
                    <a:pt x="107" y="1181"/>
                  </a:lnTo>
                  <a:lnTo>
                    <a:pt x="107" y="1179"/>
                  </a:lnTo>
                  <a:lnTo>
                    <a:pt x="107" y="1177"/>
                  </a:lnTo>
                  <a:lnTo>
                    <a:pt x="107" y="1175"/>
                  </a:lnTo>
                  <a:lnTo>
                    <a:pt x="107" y="1173"/>
                  </a:lnTo>
                  <a:lnTo>
                    <a:pt x="107" y="1171"/>
                  </a:lnTo>
                  <a:lnTo>
                    <a:pt x="105" y="1171"/>
                  </a:lnTo>
                  <a:lnTo>
                    <a:pt x="103" y="1171"/>
                  </a:lnTo>
                  <a:lnTo>
                    <a:pt x="101" y="1169"/>
                  </a:lnTo>
                  <a:lnTo>
                    <a:pt x="101" y="1169"/>
                  </a:lnTo>
                  <a:lnTo>
                    <a:pt x="99" y="1169"/>
                  </a:lnTo>
                  <a:lnTo>
                    <a:pt x="99" y="1167"/>
                  </a:lnTo>
                  <a:lnTo>
                    <a:pt x="99" y="1167"/>
                  </a:lnTo>
                  <a:lnTo>
                    <a:pt x="97" y="1165"/>
                  </a:lnTo>
                  <a:lnTo>
                    <a:pt x="94" y="1165"/>
                  </a:lnTo>
                  <a:lnTo>
                    <a:pt x="94" y="1165"/>
                  </a:lnTo>
                  <a:lnTo>
                    <a:pt x="94" y="1163"/>
                  </a:lnTo>
                  <a:lnTo>
                    <a:pt x="94" y="1161"/>
                  </a:lnTo>
                  <a:lnTo>
                    <a:pt x="97" y="1159"/>
                  </a:lnTo>
                  <a:lnTo>
                    <a:pt x="94" y="1157"/>
                  </a:lnTo>
                  <a:lnTo>
                    <a:pt x="94" y="1157"/>
                  </a:lnTo>
                  <a:lnTo>
                    <a:pt x="92" y="1155"/>
                  </a:lnTo>
                  <a:lnTo>
                    <a:pt x="90" y="1155"/>
                  </a:lnTo>
                  <a:lnTo>
                    <a:pt x="90" y="1153"/>
                  </a:lnTo>
                  <a:lnTo>
                    <a:pt x="88" y="1151"/>
                  </a:lnTo>
                  <a:lnTo>
                    <a:pt x="86" y="1151"/>
                  </a:lnTo>
                  <a:lnTo>
                    <a:pt x="86" y="1149"/>
                  </a:lnTo>
                  <a:lnTo>
                    <a:pt x="86" y="1147"/>
                  </a:lnTo>
                  <a:lnTo>
                    <a:pt x="84" y="1147"/>
                  </a:lnTo>
                  <a:lnTo>
                    <a:pt x="84" y="1145"/>
                  </a:lnTo>
                  <a:lnTo>
                    <a:pt x="84" y="1143"/>
                  </a:lnTo>
                  <a:lnTo>
                    <a:pt x="84" y="1141"/>
                  </a:lnTo>
                  <a:lnTo>
                    <a:pt x="82" y="1141"/>
                  </a:lnTo>
                  <a:lnTo>
                    <a:pt x="79" y="1139"/>
                  </a:lnTo>
                  <a:lnTo>
                    <a:pt x="77" y="1139"/>
                  </a:lnTo>
                  <a:lnTo>
                    <a:pt x="77" y="1139"/>
                  </a:lnTo>
                  <a:lnTo>
                    <a:pt x="75" y="1139"/>
                  </a:lnTo>
                  <a:lnTo>
                    <a:pt x="73" y="1137"/>
                  </a:lnTo>
                  <a:lnTo>
                    <a:pt x="73" y="1135"/>
                  </a:lnTo>
                  <a:lnTo>
                    <a:pt x="75" y="1135"/>
                  </a:lnTo>
                  <a:lnTo>
                    <a:pt x="75" y="1133"/>
                  </a:lnTo>
                  <a:lnTo>
                    <a:pt x="75" y="1131"/>
                  </a:lnTo>
                  <a:lnTo>
                    <a:pt x="75" y="1129"/>
                  </a:lnTo>
                  <a:lnTo>
                    <a:pt x="75" y="1127"/>
                  </a:lnTo>
                  <a:lnTo>
                    <a:pt x="75" y="1125"/>
                  </a:lnTo>
                  <a:lnTo>
                    <a:pt x="77" y="1123"/>
                  </a:lnTo>
                  <a:lnTo>
                    <a:pt x="75" y="1123"/>
                  </a:lnTo>
                  <a:lnTo>
                    <a:pt x="75" y="1121"/>
                  </a:lnTo>
                  <a:lnTo>
                    <a:pt x="77" y="1119"/>
                  </a:lnTo>
                  <a:lnTo>
                    <a:pt x="75" y="1117"/>
                  </a:lnTo>
                  <a:lnTo>
                    <a:pt x="75" y="1115"/>
                  </a:lnTo>
                  <a:lnTo>
                    <a:pt x="75" y="1113"/>
                  </a:lnTo>
                  <a:lnTo>
                    <a:pt x="77" y="1113"/>
                  </a:lnTo>
                  <a:lnTo>
                    <a:pt x="79" y="1113"/>
                  </a:lnTo>
                  <a:lnTo>
                    <a:pt x="79" y="1113"/>
                  </a:lnTo>
                  <a:lnTo>
                    <a:pt x="82" y="1111"/>
                  </a:lnTo>
                  <a:lnTo>
                    <a:pt x="84" y="1111"/>
                  </a:lnTo>
                  <a:lnTo>
                    <a:pt x="86" y="1113"/>
                  </a:lnTo>
                  <a:lnTo>
                    <a:pt x="86" y="1111"/>
                  </a:lnTo>
                  <a:lnTo>
                    <a:pt x="88" y="1111"/>
                  </a:lnTo>
                  <a:lnTo>
                    <a:pt x="88" y="1109"/>
                  </a:lnTo>
                  <a:lnTo>
                    <a:pt x="90" y="1111"/>
                  </a:lnTo>
                  <a:lnTo>
                    <a:pt x="92" y="1111"/>
                  </a:lnTo>
                  <a:lnTo>
                    <a:pt x="92" y="1109"/>
                  </a:lnTo>
                  <a:lnTo>
                    <a:pt x="90" y="1109"/>
                  </a:lnTo>
                  <a:lnTo>
                    <a:pt x="90" y="1107"/>
                  </a:lnTo>
                  <a:lnTo>
                    <a:pt x="88" y="1105"/>
                  </a:lnTo>
                  <a:lnTo>
                    <a:pt x="88" y="1105"/>
                  </a:lnTo>
                  <a:lnTo>
                    <a:pt x="86" y="1103"/>
                  </a:lnTo>
                  <a:lnTo>
                    <a:pt x="84" y="1103"/>
                  </a:lnTo>
                  <a:lnTo>
                    <a:pt x="82" y="1101"/>
                  </a:lnTo>
                  <a:lnTo>
                    <a:pt x="82" y="1099"/>
                  </a:lnTo>
                  <a:lnTo>
                    <a:pt x="82" y="1097"/>
                  </a:lnTo>
                  <a:lnTo>
                    <a:pt x="82" y="1095"/>
                  </a:lnTo>
                  <a:lnTo>
                    <a:pt x="79" y="1095"/>
                  </a:lnTo>
                  <a:lnTo>
                    <a:pt x="79" y="1093"/>
                  </a:lnTo>
                  <a:lnTo>
                    <a:pt x="77" y="1093"/>
                  </a:lnTo>
                  <a:lnTo>
                    <a:pt x="75" y="1091"/>
                  </a:lnTo>
                  <a:lnTo>
                    <a:pt x="73" y="1091"/>
                  </a:lnTo>
                  <a:lnTo>
                    <a:pt x="73" y="1089"/>
                  </a:lnTo>
                  <a:lnTo>
                    <a:pt x="71" y="1089"/>
                  </a:lnTo>
                  <a:lnTo>
                    <a:pt x="71" y="1087"/>
                  </a:lnTo>
                  <a:lnTo>
                    <a:pt x="71" y="1085"/>
                  </a:lnTo>
                  <a:lnTo>
                    <a:pt x="69" y="1083"/>
                  </a:lnTo>
                  <a:lnTo>
                    <a:pt x="69" y="1083"/>
                  </a:lnTo>
                  <a:lnTo>
                    <a:pt x="67" y="1081"/>
                  </a:lnTo>
                  <a:lnTo>
                    <a:pt x="67" y="1079"/>
                  </a:lnTo>
                  <a:lnTo>
                    <a:pt x="67" y="1077"/>
                  </a:lnTo>
                  <a:lnTo>
                    <a:pt x="67" y="1075"/>
                  </a:lnTo>
                  <a:lnTo>
                    <a:pt x="64" y="1075"/>
                  </a:lnTo>
                  <a:lnTo>
                    <a:pt x="64" y="1073"/>
                  </a:lnTo>
                  <a:lnTo>
                    <a:pt x="64" y="1071"/>
                  </a:lnTo>
                  <a:lnTo>
                    <a:pt x="64" y="1069"/>
                  </a:lnTo>
                  <a:lnTo>
                    <a:pt x="64" y="1067"/>
                  </a:lnTo>
                  <a:lnTo>
                    <a:pt x="67" y="1065"/>
                  </a:lnTo>
                  <a:lnTo>
                    <a:pt x="67" y="1065"/>
                  </a:lnTo>
                  <a:lnTo>
                    <a:pt x="69" y="1065"/>
                  </a:lnTo>
                  <a:lnTo>
                    <a:pt x="71" y="1063"/>
                  </a:lnTo>
                  <a:lnTo>
                    <a:pt x="71" y="1061"/>
                  </a:lnTo>
                  <a:lnTo>
                    <a:pt x="71" y="1059"/>
                  </a:lnTo>
                  <a:lnTo>
                    <a:pt x="73" y="1057"/>
                  </a:lnTo>
                  <a:lnTo>
                    <a:pt x="75" y="1059"/>
                  </a:lnTo>
                  <a:lnTo>
                    <a:pt x="75" y="1059"/>
                  </a:lnTo>
                  <a:lnTo>
                    <a:pt x="77" y="1057"/>
                  </a:lnTo>
                  <a:lnTo>
                    <a:pt x="79" y="1057"/>
                  </a:lnTo>
                  <a:lnTo>
                    <a:pt x="82" y="1057"/>
                  </a:lnTo>
                  <a:lnTo>
                    <a:pt x="82" y="1057"/>
                  </a:lnTo>
                  <a:lnTo>
                    <a:pt x="84" y="1055"/>
                  </a:lnTo>
                  <a:lnTo>
                    <a:pt x="84" y="1053"/>
                  </a:lnTo>
                  <a:lnTo>
                    <a:pt x="84" y="1053"/>
                  </a:lnTo>
                  <a:lnTo>
                    <a:pt x="86" y="1051"/>
                  </a:lnTo>
                  <a:lnTo>
                    <a:pt x="88" y="1051"/>
                  </a:lnTo>
                  <a:lnTo>
                    <a:pt x="88" y="1051"/>
                  </a:lnTo>
                  <a:lnTo>
                    <a:pt x="90" y="1049"/>
                  </a:lnTo>
                  <a:lnTo>
                    <a:pt x="90" y="1047"/>
                  </a:lnTo>
                  <a:lnTo>
                    <a:pt x="90" y="1045"/>
                  </a:lnTo>
                  <a:lnTo>
                    <a:pt x="90" y="1045"/>
                  </a:lnTo>
                  <a:lnTo>
                    <a:pt x="90" y="1043"/>
                  </a:lnTo>
                  <a:lnTo>
                    <a:pt x="90" y="1041"/>
                  </a:lnTo>
                  <a:lnTo>
                    <a:pt x="92" y="1039"/>
                  </a:lnTo>
                  <a:lnTo>
                    <a:pt x="92" y="1037"/>
                  </a:lnTo>
                  <a:lnTo>
                    <a:pt x="94" y="1037"/>
                  </a:lnTo>
                  <a:lnTo>
                    <a:pt x="94" y="1035"/>
                  </a:lnTo>
                  <a:lnTo>
                    <a:pt x="97" y="1033"/>
                  </a:lnTo>
                  <a:lnTo>
                    <a:pt x="97" y="1031"/>
                  </a:lnTo>
                  <a:lnTo>
                    <a:pt x="97" y="1031"/>
                  </a:lnTo>
                  <a:lnTo>
                    <a:pt x="99" y="1031"/>
                  </a:lnTo>
                  <a:lnTo>
                    <a:pt x="101" y="1031"/>
                  </a:lnTo>
                  <a:lnTo>
                    <a:pt x="101" y="1031"/>
                  </a:lnTo>
                  <a:lnTo>
                    <a:pt x="101" y="1029"/>
                  </a:lnTo>
                  <a:lnTo>
                    <a:pt x="101" y="1027"/>
                  </a:lnTo>
                  <a:lnTo>
                    <a:pt x="99" y="1027"/>
                  </a:lnTo>
                  <a:lnTo>
                    <a:pt x="99" y="1025"/>
                  </a:lnTo>
                  <a:lnTo>
                    <a:pt x="97" y="1023"/>
                  </a:lnTo>
                  <a:lnTo>
                    <a:pt x="97" y="1023"/>
                  </a:lnTo>
                  <a:lnTo>
                    <a:pt x="97" y="1021"/>
                  </a:lnTo>
                  <a:lnTo>
                    <a:pt x="97" y="1019"/>
                  </a:lnTo>
                  <a:lnTo>
                    <a:pt x="94" y="1017"/>
                  </a:lnTo>
                  <a:lnTo>
                    <a:pt x="97" y="1015"/>
                  </a:lnTo>
                  <a:lnTo>
                    <a:pt x="99" y="1015"/>
                  </a:lnTo>
                  <a:lnTo>
                    <a:pt x="99" y="1013"/>
                  </a:lnTo>
                  <a:lnTo>
                    <a:pt x="99" y="1011"/>
                  </a:lnTo>
                  <a:lnTo>
                    <a:pt x="99" y="1009"/>
                  </a:lnTo>
                  <a:lnTo>
                    <a:pt x="99" y="1009"/>
                  </a:lnTo>
                  <a:lnTo>
                    <a:pt x="101" y="1007"/>
                  </a:lnTo>
                  <a:lnTo>
                    <a:pt x="103" y="1007"/>
                  </a:lnTo>
                  <a:lnTo>
                    <a:pt x="105" y="1007"/>
                  </a:lnTo>
                  <a:lnTo>
                    <a:pt x="105" y="1005"/>
                  </a:lnTo>
                  <a:lnTo>
                    <a:pt x="107" y="1005"/>
                  </a:lnTo>
                  <a:lnTo>
                    <a:pt x="107" y="1003"/>
                  </a:lnTo>
                  <a:lnTo>
                    <a:pt x="109" y="1003"/>
                  </a:lnTo>
                  <a:lnTo>
                    <a:pt x="112" y="1003"/>
                  </a:lnTo>
                  <a:lnTo>
                    <a:pt x="114" y="1003"/>
                  </a:lnTo>
                  <a:lnTo>
                    <a:pt x="116" y="1003"/>
                  </a:lnTo>
                  <a:lnTo>
                    <a:pt x="116" y="1003"/>
                  </a:lnTo>
                  <a:lnTo>
                    <a:pt x="118" y="1003"/>
                  </a:lnTo>
                  <a:lnTo>
                    <a:pt x="120" y="1003"/>
                  </a:lnTo>
                  <a:lnTo>
                    <a:pt x="122" y="1003"/>
                  </a:lnTo>
                  <a:lnTo>
                    <a:pt x="125" y="1003"/>
                  </a:lnTo>
                  <a:lnTo>
                    <a:pt x="127" y="1005"/>
                  </a:lnTo>
                  <a:lnTo>
                    <a:pt x="127" y="1005"/>
                  </a:lnTo>
                  <a:lnTo>
                    <a:pt x="129" y="1005"/>
                  </a:lnTo>
                  <a:lnTo>
                    <a:pt x="131" y="1007"/>
                  </a:lnTo>
                  <a:lnTo>
                    <a:pt x="133" y="1007"/>
                  </a:lnTo>
                  <a:lnTo>
                    <a:pt x="135" y="1007"/>
                  </a:lnTo>
                  <a:lnTo>
                    <a:pt x="137" y="1005"/>
                  </a:lnTo>
                  <a:lnTo>
                    <a:pt x="135" y="1003"/>
                  </a:lnTo>
                  <a:lnTo>
                    <a:pt x="135" y="1003"/>
                  </a:lnTo>
                  <a:lnTo>
                    <a:pt x="135" y="1001"/>
                  </a:lnTo>
                  <a:lnTo>
                    <a:pt x="135" y="999"/>
                  </a:lnTo>
                  <a:lnTo>
                    <a:pt x="133" y="997"/>
                  </a:lnTo>
                  <a:lnTo>
                    <a:pt x="133" y="995"/>
                  </a:lnTo>
                  <a:lnTo>
                    <a:pt x="133" y="993"/>
                  </a:lnTo>
                  <a:lnTo>
                    <a:pt x="131" y="993"/>
                  </a:lnTo>
                  <a:lnTo>
                    <a:pt x="129" y="993"/>
                  </a:lnTo>
                  <a:lnTo>
                    <a:pt x="129" y="991"/>
                  </a:lnTo>
                  <a:lnTo>
                    <a:pt x="127" y="991"/>
                  </a:lnTo>
                  <a:lnTo>
                    <a:pt x="125" y="989"/>
                  </a:lnTo>
                  <a:lnTo>
                    <a:pt x="125" y="987"/>
                  </a:lnTo>
                  <a:lnTo>
                    <a:pt x="122" y="987"/>
                  </a:lnTo>
                  <a:lnTo>
                    <a:pt x="122" y="985"/>
                  </a:lnTo>
                  <a:lnTo>
                    <a:pt x="122" y="983"/>
                  </a:lnTo>
                  <a:lnTo>
                    <a:pt x="120" y="983"/>
                  </a:lnTo>
                  <a:lnTo>
                    <a:pt x="120" y="981"/>
                  </a:lnTo>
                  <a:lnTo>
                    <a:pt x="120" y="979"/>
                  </a:lnTo>
                  <a:lnTo>
                    <a:pt x="120" y="977"/>
                  </a:lnTo>
                  <a:lnTo>
                    <a:pt x="120" y="975"/>
                  </a:lnTo>
                  <a:lnTo>
                    <a:pt x="120" y="973"/>
                  </a:lnTo>
                  <a:lnTo>
                    <a:pt x="120" y="973"/>
                  </a:lnTo>
                  <a:lnTo>
                    <a:pt x="120" y="971"/>
                  </a:lnTo>
                  <a:lnTo>
                    <a:pt x="120" y="969"/>
                  </a:lnTo>
                  <a:lnTo>
                    <a:pt x="120" y="967"/>
                  </a:lnTo>
                  <a:lnTo>
                    <a:pt x="118" y="965"/>
                  </a:lnTo>
                  <a:lnTo>
                    <a:pt x="118" y="965"/>
                  </a:lnTo>
                  <a:lnTo>
                    <a:pt x="116" y="963"/>
                  </a:lnTo>
                  <a:lnTo>
                    <a:pt x="114" y="963"/>
                  </a:lnTo>
                  <a:lnTo>
                    <a:pt x="114" y="961"/>
                  </a:lnTo>
                  <a:lnTo>
                    <a:pt x="116" y="959"/>
                  </a:lnTo>
                  <a:lnTo>
                    <a:pt x="116" y="957"/>
                  </a:lnTo>
                  <a:lnTo>
                    <a:pt x="116" y="955"/>
                  </a:lnTo>
                  <a:lnTo>
                    <a:pt x="118" y="955"/>
                  </a:lnTo>
                  <a:lnTo>
                    <a:pt x="118" y="953"/>
                  </a:lnTo>
                  <a:lnTo>
                    <a:pt x="120" y="951"/>
                  </a:lnTo>
                  <a:lnTo>
                    <a:pt x="120" y="949"/>
                  </a:lnTo>
                  <a:lnTo>
                    <a:pt x="120" y="949"/>
                  </a:lnTo>
                  <a:lnTo>
                    <a:pt x="120" y="947"/>
                  </a:lnTo>
                  <a:lnTo>
                    <a:pt x="118" y="947"/>
                  </a:lnTo>
                  <a:lnTo>
                    <a:pt x="116" y="945"/>
                  </a:lnTo>
                  <a:lnTo>
                    <a:pt x="116" y="943"/>
                  </a:lnTo>
                  <a:lnTo>
                    <a:pt x="116" y="943"/>
                  </a:lnTo>
                  <a:lnTo>
                    <a:pt x="116" y="941"/>
                  </a:lnTo>
                  <a:lnTo>
                    <a:pt x="114" y="939"/>
                  </a:lnTo>
                  <a:lnTo>
                    <a:pt x="112" y="939"/>
                  </a:lnTo>
                  <a:lnTo>
                    <a:pt x="112" y="939"/>
                  </a:lnTo>
                  <a:lnTo>
                    <a:pt x="109" y="937"/>
                  </a:lnTo>
                  <a:lnTo>
                    <a:pt x="107" y="937"/>
                  </a:lnTo>
                  <a:lnTo>
                    <a:pt x="105" y="937"/>
                  </a:lnTo>
                  <a:lnTo>
                    <a:pt x="103" y="937"/>
                  </a:lnTo>
                  <a:lnTo>
                    <a:pt x="101" y="935"/>
                  </a:lnTo>
                  <a:lnTo>
                    <a:pt x="101" y="935"/>
                  </a:lnTo>
                  <a:lnTo>
                    <a:pt x="99" y="933"/>
                  </a:lnTo>
                  <a:lnTo>
                    <a:pt x="97" y="933"/>
                  </a:lnTo>
                  <a:lnTo>
                    <a:pt x="94" y="931"/>
                  </a:lnTo>
                  <a:lnTo>
                    <a:pt x="94" y="931"/>
                  </a:lnTo>
                  <a:lnTo>
                    <a:pt x="92" y="931"/>
                  </a:lnTo>
                  <a:lnTo>
                    <a:pt x="90" y="933"/>
                  </a:lnTo>
                  <a:lnTo>
                    <a:pt x="90" y="933"/>
                  </a:lnTo>
                  <a:lnTo>
                    <a:pt x="90" y="935"/>
                  </a:lnTo>
                  <a:lnTo>
                    <a:pt x="88" y="937"/>
                  </a:lnTo>
                  <a:lnTo>
                    <a:pt x="86" y="937"/>
                  </a:lnTo>
                  <a:lnTo>
                    <a:pt x="84" y="937"/>
                  </a:lnTo>
                  <a:lnTo>
                    <a:pt x="84" y="937"/>
                  </a:lnTo>
                  <a:lnTo>
                    <a:pt x="82" y="937"/>
                  </a:lnTo>
                  <a:lnTo>
                    <a:pt x="79" y="937"/>
                  </a:lnTo>
                  <a:lnTo>
                    <a:pt x="77" y="937"/>
                  </a:lnTo>
                  <a:lnTo>
                    <a:pt x="75" y="935"/>
                  </a:lnTo>
                  <a:lnTo>
                    <a:pt x="75" y="935"/>
                  </a:lnTo>
                  <a:lnTo>
                    <a:pt x="73" y="935"/>
                  </a:lnTo>
                  <a:lnTo>
                    <a:pt x="71" y="935"/>
                  </a:lnTo>
                  <a:lnTo>
                    <a:pt x="69" y="933"/>
                  </a:lnTo>
                  <a:lnTo>
                    <a:pt x="69" y="931"/>
                  </a:lnTo>
                  <a:lnTo>
                    <a:pt x="67" y="931"/>
                  </a:lnTo>
                  <a:lnTo>
                    <a:pt x="64" y="931"/>
                  </a:lnTo>
                  <a:lnTo>
                    <a:pt x="62" y="929"/>
                  </a:lnTo>
                  <a:lnTo>
                    <a:pt x="62" y="929"/>
                  </a:lnTo>
                  <a:lnTo>
                    <a:pt x="60" y="927"/>
                  </a:lnTo>
                  <a:lnTo>
                    <a:pt x="58" y="927"/>
                  </a:lnTo>
                  <a:lnTo>
                    <a:pt x="56" y="925"/>
                  </a:lnTo>
                  <a:lnTo>
                    <a:pt x="56" y="925"/>
                  </a:lnTo>
                  <a:lnTo>
                    <a:pt x="54" y="923"/>
                  </a:lnTo>
                  <a:lnTo>
                    <a:pt x="51" y="923"/>
                  </a:lnTo>
                  <a:lnTo>
                    <a:pt x="51" y="921"/>
                  </a:lnTo>
                  <a:lnTo>
                    <a:pt x="51" y="919"/>
                  </a:lnTo>
                  <a:lnTo>
                    <a:pt x="51" y="917"/>
                  </a:lnTo>
                  <a:lnTo>
                    <a:pt x="49" y="919"/>
                  </a:lnTo>
                  <a:lnTo>
                    <a:pt x="47" y="917"/>
                  </a:lnTo>
                  <a:lnTo>
                    <a:pt x="45" y="917"/>
                  </a:lnTo>
                  <a:lnTo>
                    <a:pt x="45" y="915"/>
                  </a:lnTo>
                  <a:lnTo>
                    <a:pt x="43" y="913"/>
                  </a:lnTo>
                  <a:lnTo>
                    <a:pt x="43" y="913"/>
                  </a:lnTo>
                  <a:lnTo>
                    <a:pt x="41" y="913"/>
                  </a:lnTo>
                  <a:lnTo>
                    <a:pt x="39" y="913"/>
                  </a:lnTo>
                  <a:lnTo>
                    <a:pt x="36" y="911"/>
                  </a:lnTo>
                  <a:lnTo>
                    <a:pt x="36" y="909"/>
                  </a:lnTo>
                  <a:lnTo>
                    <a:pt x="36" y="907"/>
                  </a:lnTo>
                  <a:lnTo>
                    <a:pt x="36" y="907"/>
                  </a:lnTo>
                  <a:lnTo>
                    <a:pt x="36" y="905"/>
                  </a:lnTo>
                  <a:lnTo>
                    <a:pt x="36" y="903"/>
                  </a:lnTo>
                  <a:lnTo>
                    <a:pt x="36" y="901"/>
                  </a:lnTo>
                  <a:lnTo>
                    <a:pt x="39" y="901"/>
                  </a:lnTo>
                  <a:lnTo>
                    <a:pt x="39" y="899"/>
                  </a:lnTo>
                  <a:lnTo>
                    <a:pt x="36" y="897"/>
                  </a:lnTo>
                  <a:lnTo>
                    <a:pt x="36" y="899"/>
                  </a:lnTo>
                  <a:lnTo>
                    <a:pt x="34" y="899"/>
                  </a:lnTo>
                  <a:lnTo>
                    <a:pt x="36" y="897"/>
                  </a:lnTo>
                  <a:lnTo>
                    <a:pt x="36" y="897"/>
                  </a:lnTo>
                  <a:lnTo>
                    <a:pt x="39" y="895"/>
                  </a:lnTo>
                  <a:lnTo>
                    <a:pt x="39" y="893"/>
                  </a:lnTo>
                  <a:lnTo>
                    <a:pt x="41" y="891"/>
                  </a:lnTo>
                  <a:lnTo>
                    <a:pt x="41" y="889"/>
                  </a:lnTo>
                  <a:lnTo>
                    <a:pt x="41" y="889"/>
                  </a:lnTo>
                  <a:lnTo>
                    <a:pt x="41" y="887"/>
                  </a:lnTo>
                  <a:lnTo>
                    <a:pt x="41" y="885"/>
                  </a:lnTo>
                  <a:lnTo>
                    <a:pt x="39" y="883"/>
                  </a:lnTo>
                  <a:lnTo>
                    <a:pt x="39" y="883"/>
                  </a:lnTo>
                  <a:lnTo>
                    <a:pt x="36" y="881"/>
                  </a:lnTo>
                  <a:lnTo>
                    <a:pt x="36" y="879"/>
                  </a:lnTo>
                  <a:lnTo>
                    <a:pt x="34" y="877"/>
                  </a:lnTo>
                  <a:lnTo>
                    <a:pt x="34" y="877"/>
                  </a:lnTo>
                  <a:lnTo>
                    <a:pt x="32" y="875"/>
                  </a:lnTo>
                  <a:lnTo>
                    <a:pt x="34" y="875"/>
                  </a:lnTo>
                  <a:lnTo>
                    <a:pt x="36" y="875"/>
                  </a:lnTo>
                  <a:lnTo>
                    <a:pt x="36" y="873"/>
                  </a:lnTo>
                  <a:lnTo>
                    <a:pt x="36" y="871"/>
                  </a:lnTo>
                  <a:lnTo>
                    <a:pt x="36" y="869"/>
                  </a:lnTo>
                  <a:lnTo>
                    <a:pt x="36" y="867"/>
                  </a:lnTo>
                  <a:lnTo>
                    <a:pt x="34" y="865"/>
                  </a:lnTo>
                  <a:lnTo>
                    <a:pt x="34" y="865"/>
                  </a:lnTo>
                  <a:lnTo>
                    <a:pt x="32" y="865"/>
                  </a:lnTo>
                  <a:lnTo>
                    <a:pt x="30" y="864"/>
                  </a:lnTo>
                  <a:lnTo>
                    <a:pt x="28" y="864"/>
                  </a:lnTo>
                  <a:lnTo>
                    <a:pt x="26" y="864"/>
                  </a:lnTo>
                  <a:lnTo>
                    <a:pt x="24" y="864"/>
                  </a:lnTo>
                  <a:lnTo>
                    <a:pt x="21" y="864"/>
                  </a:lnTo>
                  <a:lnTo>
                    <a:pt x="19" y="864"/>
                  </a:lnTo>
                  <a:lnTo>
                    <a:pt x="17" y="864"/>
                  </a:lnTo>
                  <a:lnTo>
                    <a:pt x="17" y="864"/>
                  </a:lnTo>
                  <a:lnTo>
                    <a:pt x="15" y="864"/>
                  </a:lnTo>
                  <a:lnTo>
                    <a:pt x="13" y="864"/>
                  </a:lnTo>
                  <a:lnTo>
                    <a:pt x="13" y="862"/>
                  </a:lnTo>
                  <a:lnTo>
                    <a:pt x="11" y="860"/>
                  </a:lnTo>
                  <a:lnTo>
                    <a:pt x="11" y="860"/>
                  </a:lnTo>
                  <a:lnTo>
                    <a:pt x="11" y="858"/>
                  </a:lnTo>
                  <a:lnTo>
                    <a:pt x="11" y="856"/>
                  </a:lnTo>
                  <a:lnTo>
                    <a:pt x="13" y="854"/>
                  </a:lnTo>
                  <a:lnTo>
                    <a:pt x="11" y="854"/>
                  </a:lnTo>
                  <a:lnTo>
                    <a:pt x="11" y="852"/>
                  </a:lnTo>
                  <a:lnTo>
                    <a:pt x="9" y="850"/>
                  </a:lnTo>
                  <a:lnTo>
                    <a:pt x="11" y="848"/>
                  </a:lnTo>
                  <a:lnTo>
                    <a:pt x="11" y="848"/>
                  </a:lnTo>
                  <a:lnTo>
                    <a:pt x="11" y="846"/>
                  </a:lnTo>
                  <a:lnTo>
                    <a:pt x="11" y="844"/>
                  </a:lnTo>
                  <a:lnTo>
                    <a:pt x="9" y="842"/>
                  </a:lnTo>
                  <a:lnTo>
                    <a:pt x="6" y="842"/>
                  </a:lnTo>
                  <a:lnTo>
                    <a:pt x="4" y="842"/>
                  </a:lnTo>
                  <a:lnTo>
                    <a:pt x="4" y="840"/>
                  </a:lnTo>
                  <a:lnTo>
                    <a:pt x="6" y="838"/>
                  </a:lnTo>
                  <a:lnTo>
                    <a:pt x="4" y="836"/>
                  </a:lnTo>
                  <a:lnTo>
                    <a:pt x="4" y="836"/>
                  </a:lnTo>
                  <a:lnTo>
                    <a:pt x="2" y="834"/>
                  </a:lnTo>
                  <a:lnTo>
                    <a:pt x="2" y="832"/>
                  </a:lnTo>
                  <a:lnTo>
                    <a:pt x="0" y="830"/>
                  </a:lnTo>
                  <a:lnTo>
                    <a:pt x="0" y="830"/>
                  </a:lnTo>
                  <a:lnTo>
                    <a:pt x="0" y="828"/>
                  </a:lnTo>
                  <a:lnTo>
                    <a:pt x="2" y="826"/>
                  </a:lnTo>
                  <a:lnTo>
                    <a:pt x="2" y="824"/>
                  </a:lnTo>
                  <a:lnTo>
                    <a:pt x="4" y="824"/>
                  </a:lnTo>
                  <a:lnTo>
                    <a:pt x="6" y="824"/>
                  </a:lnTo>
                  <a:lnTo>
                    <a:pt x="6" y="824"/>
                  </a:lnTo>
                  <a:lnTo>
                    <a:pt x="9" y="822"/>
                  </a:lnTo>
                  <a:lnTo>
                    <a:pt x="11" y="822"/>
                  </a:lnTo>
                  <a:lnTo>
                    <a:pt x="13" y="822"/>
                  </a:lnTo>
                  <a:lnTo>
                    <a:pt x="13" y="822"/>
                  </a:lnTo>
                  <a:lnTo>
                    <a:pt x="15" y="820"/>
                  </a:lnTo>
                  <a:lnTo>
                    <a:pt x="15" y="818"/>
                  </a:lnTo>
                  <a:lnTo>
                    <a:pt x="15" y="816"/>
                  </a:lnTo>
                  <a:lnTo>
                    <a:pt x="17" y="814"/>
                  </a:lnTo>
                  <a:lnTo>
                    <a:pt x="19" y="814"/>
                  </a:lnTo>
                  <a:lnTo>
                    <a:pt x="21" y="816"/>
                  </a:lnTo>
                  <a:lnTo>
                    <a:pt x="21" y="814"/>
                  </a:lnTo>
                  <a:lnTo>
                    <a:pt x="24" y="814"/>
                  </a:lnTo>
                  <a:lnTo>
                    <a:pt x="26" y="814"/>
                  </a:lnTo>
                  <a:lnTo>
                    <a:pt x="28" y="814"/>
                  </a:lnTo>
                  <a:lnTo>
                    <a:pt x="30" y="814"/>
                  </a:lnTo>
                  <a:lnTo>
                    <a:pt x="32" y="816"/>
                  </a:lnTo>
                  <a:lnTo>
                    <a:pt x="32" y="816"/>
                  </a:lnTo>
                  <a:lnTo>
                    <a:pt x="34" y="816"/>
                  </a:lnTo>
                  <a:lnTo>
                    <a:pt x="36" y="816"/>
                  </a:lnTo>
                  <a:lnTo>
                    <a:pt x="39" y="814"/>
                  </a:lnTo>
                  <a:lnTo>
                    <a:pt x="39" y="814"/>
                  </a:lnTo>
                  <a:lnTo>
                    <a:pt x="41" y="812"/>
                  </a:lnTo>
                  <a:lnTo>
                    <a:pt x="41" y="810"/>
                  </a:lnTo>
                  <a:lnTo>
                    <a:pt x="43" y="810"/>
                  </a:lnTo>
                  <a:lnTo>
                    <a:pt x="45" y="808"/>
                  </a:lnTo>
                  <a:lnTo>
                    <a:pt x="45" y="808"/>
                  </a:lnTo>
                  <a:lnTo>
                    <a:pt x="47" y="808"/>
                  </a:lnTo>
                  <a:lnTo>
                    <a:pt x="49" y="810"/>
                  </a:lnTo>
                  <a:lnTo>
                    <a:pt x="51" y="810"/>
                  </a:lnTo>
                  <a:lnTo>
                    <a:pt x="54" y="810"/>
                  </a:lnTo>
                  <a:lnTo>
                    <a:pt x="56" y="812"/>
                  </a:lnTo>
                  <a:lnTo>
                    <a:pt x="56" y="812"/>
                  </a:lnTo>
                  <a:lnTo>
                    <a:pt x="58" y="812"/>
                  </a:lnTo>
                  <a:lnTo>
                    <a:pt x="60" y="814"/>
                  </a:lnTo>
                  <a:lnTo>
                    <a:pt x="62" y="814"/>
                  </a:lnTo>
                  <a:lnTo>
                    <a:pt x="62" y="816"/>
                  </a:lnTo>
                  <a:lnTo>
                    <a:pt x="64" y="816"/>
                  </a:lnTo>
                  <a:lnTo>
                    <a:pt x="67" y="818"/>
                  </a:lnTo>
                  <a:lnTo>
                    <a:pt x="67" y="818"/>
                  </a:lnTo>
                  <a:lnTo>
                    <a:pt x="69" y="818"/>
                  </a:lnTo>
                  <a:lnTo>
                    <a:pt x="69" y="820"/>
                  </a:lnTo>
                  <a:lnTo>
                    <a:pt x="69" y="822"/>
                  </a:lnTo>
                  <a:lnTo>
                    <a:pt x="71" y="820"/>
                  </a:lnTo>
                  <a:lnTo>
                    <a:pt x="73" y="820"/>
                  </a:lnTo>
                  <a:lnTo>
                    <a:pt x="75" y="820"/>
                  </a:lnTo>
                  <a:lnTo>
                    <a:pt x="77" y="818"/>
                  </a:lnTo>
                  <a:lnTo>
                    <a:pt x="77" y="818"/>
                  </a:lnTo>
                  <a:lnTo>
                    <a:pt x="79" y="818"/>
                  </a:lnTo>
                  <a:lnTo>
                    <a:pt x="82" y="818"/>
                  </a:lnTo>
                  <a:lnTo>
                    <a:pt x="84" y="818"/>
                  </a:lnTo>
                  <a:lnTo>
                    <a:pt x="86" y="816"/>
                  </a:lnTo>
                  <a:lnTo>
                    <a:pt x="84" y="814"/>
                  </a:lnTo>
                  <a:lnTo>
                    <a:pt x="84" y="814"/>
                  </a:lnTo>
                  <a:lnTo>
                    <a:pt x="82" y="812"/>
                  </a:lnTo>
                  <a:lnTo>
                    <a:pt x="82" y="810"/>
                  </a:lnTo>
                  <a:lnTo>
                    <a:pt x="82" y="808"/>
                  </a:lnTo>
                  <a:lnTo>
                    <a:pt x="84" y="808"/>
                  </a:lnTo>
                  <a:lnTo>
                    <a:pt x="84" y="806"/>
                  </a:lnTo>
                  <a:lnTo>
                    <a:pt x="84" y="804"/>
                  </a:lnTo>
                  <a:lnTo>
                    <a:pt x="86" y="806"/>
                  </a:lnTo>
                  <a:lnTo>
                    <a:pt x="88" y="806"/>
                  </a:lnTo>
                  <a:lnTo>
                    <a:pt x="90" y="806"/>
                  </a:lnTo>
                  <a:lnTo>
                    <a:pt x="92" y="806"/>
                  </a:lnTo>
                  <a:lnTo>
                    <a:pt x="92" y="806"/>
                  </a:lnTo>
                  <a:lnTo>
                    <a:pt x="94" y="804"/>
                  </a:lnTo>
                  <a:lnTo>
                    <a:pt x="97" y="804"/>
                  </a:lnTo>
                  <a:lnTo>
                    <a:pt x="99" y="804"/>
                  </a:lnTo>
                  <a:lnTo>
                    <a:pt x="101" y="804"/>
                  </a:lnTo>
                  <a:lnTo>
                    <a:pt x="101" y="804"/>
                  </a:lnTo>
                  <a:lnTo>
                    <a:pt x="101" y="802"/>
                  </a:lnTo>
                  <a:lnTo>
                    <a:pt x="101" y="800"/>
                  </a:lnTo>
                  <a:lnTo>
                    <a:pt x="103" y="800"/>
                  </a:lnTo>
                  <a:lnTo>
                    <a:pt x="103" y="798"/>
                  </a:lnTo>
                  <a:lnTo>
                    <a:pt x="103" y="796"/>
                  </a:lnTo>
                  <a:lnTo>
                    <a:pt x="105" y="796"/>
                  </a:lnTo>
                  <a:lnTo>
                    <a:pt x="105" y="794"/>
                  </a:lnTo>
                  <a:lnTo>
                    <a:pt x="107" y="794"/>
                  </a:lnTo>
                  <a:lnTo>
                    <a:pt x="107" y="794"/>
                  </a:lnTo>
                  <a:lnTo>
                    <a:pt x="105" y="792"/>
                  </a:lnTo>
                  <a:lnTo>
                    <a:pt x="105" y="790"/>
                  </a:lnTo>
                  <a:lnTo>
                    <a:pt x="107" y="788"/>
                  </a:lnTo>
                  <a:lnTo>
                    <a:pt x="109" y="790"/>
                  </a:lnTo>
                  <a:lnTo>
                    <a:pt x="112" y="788"/>
                  </a:lnTo>
                  <a:lnTo>
                    <a:pt x="114" y="788"/>
                  </a:lnTo>
                  <a:lnTo>
                    <a:pt x="116" y="788"/>
                  </a:lnTo>
                  <a:lnTo>
                    <a:pt x="116" y="786"/>
                  </a:lnTo>
                  <a:lnTo>
                    <a:pt x="118" y="786"/>
                  </a:lnTo>
                  <a:lnTo>
                    <a:pt x="118" y="784"/>
                  </a:lnTo>
                  <a:lnTo>
                    <a:pt x="120" y="786"/>
                  </a:lnTo>
                  <a:lnTo>
                    <a:pt x="122" y="786"/>
                  </a:lnTo>
                  <a:lnTo>
                    <a:pt x="125" y="786"/>
                  </a:lnTo>
                  <a:lnTo>
                    <a:pt x="125" y="786"/>
                  </a:lnTo>
                  <a:lnTo>
                    <a:pt x="127" y="786"/>
                  </a:lnTo>
                  <a:lnTo>
                    <a:pt x="127" y="786"/>
                  </a:lnTo>
                  <a:lnTo>
                    <a:pt x="129" y="784"/>
                  </a:lnTo>
                  <a:lnTo>
                    <a:pt x="131" y="784"/>
                  </a:lnTo>
                  <a:lnTo>
                    <a:pt x="131" y="782"/>
                  </a:lnTo>
                  <a:lnTo>
                    <a:pt x="133" y="782"/>
                  </a:lnTo>
                  <a:lnTo>
                    <a:pt x="135" y="784"/>
                  </a:lnTo>
                  <a:lnTo>
                    <a:pt x="135" y="784"/>
                  </a:lnTo>
                  <a:lnTo>
                    <a:pt x="137" y="786"/>
                  </a:lnTo>
                  <a:lnTo>
                    <a:pt x="137" y="788"/>
                  </a:lnTo>
                  <a:lnTo>
                    <a:pt x="140" y="788"/>
                  </a:lnTo>
                  <a:lnTo>
                    <a:pt x="142" y="788"/>
                  </a:lnTo>
                  <a:lnTo>
                    <a:pt x="144" y="786"/>
                  </a:lnTo>
                  <a:lnTo>
                    <a:pt x="144" y="786"/>
                  </a:lnTo>
                  <a:lnTo>
                    <a:pt x="144" y="784"/>
                  </a:lnTo>
                  <a:lnTo>
                    <a:pt x="146" y="782"/>
                  </a:lnTo>
                  <a:lnTo>
                    <a:pt x="146" y="780"/>
                  </a:lnTo>
                  <a:lnTo>
                    <a:pt x="148" y="780"/>
                  </a:lnTo>
                  <a:lnTo>
                    <a:pt x="150" y="778"/>
                  </a:lnTo>
                  <a:lnTo>
                    <a:pt x="150" y="778"/>
                  </a:lnTo>
                  <a:lnTo>
                    <a:pt x="152" y="776"/>
                  </a:lnTo>
                  <a:lnTo>
                    <a:pt x="152" y="774"/>
                  </a:lnTo>
                  <a:lnTo>
                    <a:pt x="155" y="774"/>
                  </a:lnTo>
                  <a:lnTo>
                    <a:pt x="157" y="774"/>
                  </a:lnTo>
                  <a:lnTo>
                    <a:pt x="159" y="774"/>
                  </a:lnTo>
                  <a:lnTo>
                    <a:pt x="159" y="774"/>
                  </a:lnTo>
                  <a:lnTo>
                    <a:pt x="161" y="772"/>
                  </a:lnTo>
                  <a:lnTo>
                    <a:pt x="161" y="770"/>
                  </a:lnTo>
                  <a:lnTo>
                    <a:pt x="161" y="768"/>
                  </a:lnTo>
                  <a:lnTo>
                    <a:pt x="161" y="768"/>
                  </a:lnTo>
                  <a:lnTo>
                    <a:pt x="161" y="766"/>
                  </a:lnTo>
                  <a:lnTo>
                    <a:pt x="159" y="764"/>
                  </a:lnTo>
                  <a:lnTo>
                    <a:pt x="161" y="762"/>
                  </a:lnTo>
                  <a:lnTo>
                    <a:pt x="161" y="760"/>
                  </a:lnTo>
                  <a:lnTo>
                    <a:pt x="161" y="760"/>
                  </a:lnTo>
                  <a:lnTo>
                    <a:pt x="161" y="758"/>
                  </a:lnTo>
                  <a:lnTo>
                    <a:pt x="159" y="756"/>
                  </a:lnTo>
                  <a:lnTo>
                    <a:pt x="159" y="754"/>
                  </a:lnTo>
                  <a:lnTo>
                    <a:pt x="157" y="754"/>
                  </a:lnTo>
                  <a:lnTo>
                    <a:pt x="157" y="752"/>
                  </a:lnTo>
                  <a:lnTo>
                    <a:pt x="157" y="750"/>
                  </a:lnTo>
                  <a:lnTo>
                    <a:pt x="157" y="748"/>
                  </a:lnTo>
                  <a:lnTo>
                    <a:pt x="155" y="746"/>
                  </a:lnTo>
                  <a:lnTo>
                    <a:pt x="155" y="744"/>
                  </a:lnTo>
                  <a:lnTo>
                    <a:pt x="155" y="744"/>
                  </a:lnTo>
                  <a:lnTo>
                    <a:pt x="155" y="742"/>
                  </a:lnTo>
                  <a:lnTo>
                    <a:pt x="155" y="740"/>
                  </a:lnTo>
                  <a:lnTo>
                    <a:pt x="157" y="740"/>
                  </a:lnTo>
                  <a:lnTo>
                    <a:pt x="159" y="740"/>
                  </a:lnTo>
                  <a:lnTo>
                    <a:pt x="161" y="740"/>
                  </a:lnTo>
                  <a:lnTo>
                    <a:pt x="161" y="738"/>
                  </a:lnTo>
                  <a:lnTo>
                    <a:pt x="161" y="738"/>
                  </a:lnTo>
                  <a:lnTo>
                    <a:pt x="161" y="736"/>
                  </a:lnTo>
                  <a:lnTo>
                    <a:pt x="161" y="734"/>
                  </a:lnTo>
                  <a:lnTo>
                    <a:pt x="161" y="732"/>
                  </a:lnTo>
                  <a:lnTo>
                    <a:pt x="163" y="730"/>
                  </a:lnTo>
                  <a:lnTo>
                    <a:pt x="165" y="730"/>
                  </a:lnTo>
                  <a:lnTo>
                    <a:pt x="167" y="730"/>
                  </a:lnTo>
                  <a:lnTo>
                    <a:pt x="167" y="728"/>
                  </a:lnTo>
                  <a:lnTo>
                    <a:pt x="170" y="728"/>
                  </a:lnTo>
                  <a:lnTo>
                    <a:pt x="172" y="728"/>
                  </a:lnTo>
                  <a:lnTo>
                    <a:pt x="170" y="726"/>
                  </a:lnTo>
                  <a:lnTo>
                    <a:pt x="170" y="724"/>
                  </a:lnTo>
                  <a:lnTo>
                    <a:pt x="170" y="722"/>
                  </a:lnTo>
                  <a:lnTo>
                    <a:pt x="170" y="720"/>
                  </a:lnTo>
                  <a:lnTo>
                    <a:pt x="172" y="718"/>
                  </a:lnTo>
                  <a:lnTo>
                    <a:pt x="172" y="718"/>
                  </a:lnTo>
                  <a:lnTo>
                    <a:pt x="174" y="716"/>
                  </a:lnTo>
                  <a:lnTo>
                    <a:pt x="176" y="716"/>
                  </a:lnTo>
                  <a:lnTo>
                    <a:pt x="176" y="714"/>
                  </a:lnTo>
                  <a:lnTo>
                    <a:pt x="176" y="712"/>
                  </a:lnTo>
                  <a:lnTo>
                    <a:pt x="178" y="710"/>
                  </a:lnTo>
                  <a:lnTo>
                    <a:pt x="178" y="710"/>
                  </a:lnTo>
                  <a:lnTo>
                    <a:pt x="178" y="708"/>
                  </a:lnTo>
                  <a:lnTo>
                    <a:pt x="176" y="706"/>
                  </a:lnTo>
                  <a:lnTo>
                    <a:pt x="174" y="706"/>
                  </a:lnTo>
                  <a:lnTo>
                    <a:pt x="172" y="706"/>
                  </a:lnTo>
                  <a:lnTo>
                    <a:pt x="170" y="704"/>
                  </a:lnTo>
                  <a:lnTo>
                    <a:pt x="170" y="702"/>
                  </a:lnTo>
                  <a:lnTo>
                    <a:pt x="167" y="702"/>
                  </a:lnTo>
                  <a:lnTo>
                    <a:pt x="165" y="700"/>
                  </a:lnTo>
                  <a:lnTo>
                    <a:pt x="163" y="700"/>
                  </a:lnTo>
                  <a:lnTo>
                    <a:pt x="163" y="700"/>
                  </a:lnTo>
                  <a:lnTo>
                    <a:pt x="161" y="698"/>
                  </a:lnTo>
                  <a:lnTo>
                    <a:pt x="159" y="698"/>
                  </a:lnTo>
                  <a:lnTo>
                    <a:pt x="157" y="696"/>
                  </a:lnTo>
                  <a:lnTo>
                    <a:pt x="157" y="696"/>
                  </a:lnTo>
                  <a:lnTo>
                    <a:pt x="157" y="694"/>
                  </a:lnTo>
                  <a:lnTo>
                    <a:pt x="157" y="692"/>
                  </a:lnTo>
                  <a:lnTo>
                    <a:pt x="155" y="690"/>
                  </a:lnTo>
                  <a:lnTo>
                    <a:pt x="152" y="690"/>
                  </a:lnTo>
                  <a:lnTo>
                    <a:pt x="152" y="688"/>
                  </a:lnTo>
                  <a:lnTo>
                    <a:pt x="152" y="686"/>
                  </a:lnTo>
                  <a:lnTo>
                    <a:pt x="152" y="684"/>
                  </a:lnTo>
                  <a:lnTo>
                    <a:pt x="152" y="682"/>
                  </a:lnTo>
                  <a:lnTo>
                    <a:pt x="152" y="682"/>
                  </a:lnTo>
                  <a:lnTo>
                    <a:pt x="150" y="682"/>
                  </a:lnTo>
                  <a:lnTo>
                    <a:pt x="148" y="682"/>
                  </a:lnTo>
                  <a:lnTo>
                    <a:pt x="148" y="680"/>
                  </a:lnTo>
                  <a:lnTo>
                    <a:pt x="146" y="680"/>
                  </a:lnTo>
                  <a:lnTo>
                    <a:pt x="144" y="680"/>
                  </a:lnTo>
                  <a:lnTo>
                    <a:pt x="142" y="680"/>
                  </a:lnTo>
                  <a:lnTo>
                    <a:pt x="140" y="680"/>
                  </a:lnTo>
                  <a:lnTo>
                    <a:pt x="140" y="680"/>
                  </a:lnTo>
                  <a:lnTo>
                    <a:pt x="137" y="680"/>
                  </a:lnTo>
                  <a:lnTo>
                    <a:pt x="135" y="680"/>
                  </a:lnTo>
                  <a:lnTo>
                    <a:pt x="135" y="678"/>
                  </a:lnTo>
                  <a:lnTo>
                    <a:pt x="135" y="676"/>
                  </a:lnTo>
                  <a:lnTo>
                    <a:pt x="137" y="674"/>
                  </a:lnTo>
                  <a:lnTo>
                    <a:pt x="137" y="674"/>
                  </a:lnTo>
                  <a:lnTo>
                    <a:pt x="137" y="672"/>
                  </a:lnTo>
                  <a:lnTo>
                    <a:pt x="137" y="670"/>
                  </a:lnTo>
                  <a:lnTo>
                    <a:pt x="135" y="670"/>
                  </a:lnTo>
                  <a:lnTo>
                    <a:pt x="133" y="670"/>
                  </a:lnTo>
                  <a:lnTo>
                    <a:pt x="131" y="670"/>
                  </a:lnTo>
                  <a:lnTo>
                    <a:pt x="129" y="670"/>
                  </a:lnTo>
                  <a:lnTo>
                    <a:pt x="127" y="670"/>
                  </a:lnTo>
                  <a:lnTo>
                    <a:pt x="125" y="668"/>
                  </a:lnTo>
                  <a:lnTo>
                    <a:pt x="125" y="668"/>
                  </a:lnTo>
                  <a:lnTo>
                    <a:pt x="122" y="668"/>
                  </a:lnTo>
                  <a:lnTo>
                    <a:pt x="120" y="666"/>
                  </a:lnTo>
                  <a:lnTo>
                    <a:pt x="122" y="664"/>
                  </a:lnTo>
                  <a:lnTo>
                    <a:pt x="122" y="662"/>
                  </a:lnTo>
                  <a:lnTo>
                    <a:pt x="122" y="660"/>
                  </a:lnTo>
                  <a:lnTo>
                    <a:pt x="122" y="658"/>
                  </a:lnTo>
                  <a:lnTo>
                    <a:pt x="120" y="658"/>
                  </a:lnTo>
                  <a:lnTo>
                    <a:pt x="120" y="656"/>
                  </a:lnTo>
                  <a:lnTo>
                    <a:pt x="118" y="654"/>
                  </a:lnTo>
                  <a:lnTo>
                    <a:pt x="118" y="652"/>
                  </a:lnTo>
                  <a:lnTo>
                    <a:pt x="120" y="652"/>
                  </a:lnTo>
                  <a:lnTo>
                    <a:pt x="120" y="650"/>
                  </a:lnTo>
                  <a:lnTo>
                    <a:pt x="120" y="648"/>
                  </a:lnTo>
                  <a:lnTo>
                    <a:pt x="120" y="646"/>
                  </a:lnTo>
                  <a:lnTo>
                    <a:pt x="118" y="644"/>
                  </a:lnTo>
                  <a:lnTo>
                    <a:pt x="118" y="642"/>
                  </a:lnTo>
                  <a:lnTo>
                    <a:pt x="120" y="640"/>
                  </a:lnTo>
                  <a:lnTo>
                    <a:pt x="120" y="640"/>
                  </a:lnTo>
                  <a:lnTo>
                    <a:pt x="120" y="638"/>
                  </a:lnTo>
                  <a:lnTo>
                    <a:pt x="120" y="636"/>
                  </a:lnTo>
                  <a:lnTo>
                    <a:pt x="118" y="634"/>
                  </a:lnTo>
                  <a:lnTo>
                    <a:pt x="116" y="634"/>
                  </a:lnTo>
                  <a:lnTo>
                    <a:pt x="116" y="632"/>
                  </a:lnTo>
                  <a:lnTo>
                    <a:pt x="116" y="630"/>
                  </a:lnTo>
                  <a:lnTo>
                    <a:pt x="116" y="628"/>
                  </a:lnTo>
                  <a:lnTo>
                    <a:pt x="116" y="626"/>
                  </a:lnTo>
                  <a:lnTo>
                    <a:pt x="118" y="626"/>
                  </a:lnTo>
                  <a:lnTo>
                    <a:pt x="118" y="624"/>
                  </a:lnTo>
                  <a:lnTo>
                    <a:pt x="118" y="622"/>
                  </a:lnTo>
                  <a:lnTo>
                    <a:pt x="118" y="620"/>
                  </a:lnTo>
                  <a:lnTo>
                    <a:pt x="118" y="618"/>
                  </a:lnTo>
                  <a:lnTo>
                    <a:pt x="118" y="616"/>
                  </a:lnTo>
                  <a:lnTo>
                    <a:pt x="120" y="616"/>
                  </a:lnTo>
                  <a:lnTo>
                    <a:pt x="122" y="614"/>
                  </a:lnTo>
                  <a:lnTo>
                    <a:pt x="122" y="612"/>
                  </a:lnTo>
                  <a:lnTo>
                    <a:pt x="122" y="612"/>
                  </a:lnTo>
                  <a:lnTo>
                    <a:pt x="122" y="610"/>
                  </a:lnTo>
                  <a:lnTo>
                    <a:pt x="120" y="610"/>
                  </a:lnTo>
                  <a:lnTo>
                    <a:pt x="120" y="608"/>
                  </a:lnTo>
                  <a:lnTo>
                    <a:pt x="118" y="608"/>
                  </a:lnTo>
                  <a:lnTo>
                    <a:pt x="116" y="608"/>
                  </a:lnTo>
                  <a:lnTo>
                    <a:pt x="114" y="606"/>
                  </a:lnTo>
                  <a:lnTo>
                    <a:pt x="114" y="604"/>
                  </a:lnTo>
                  <a:lnTo>
                    <a:pt x="112" y="604"/>
                  </a:lnTo>
                  <a:lnTo>
                    <a:pt x="109" y="604"/>
                  </a:lnTo>
                  <a:lnTo>
                    <a:pt x="109" y="604"/>
                  </a:lnTo>
                  <a:lnTo>
                    <a:pt x="107" y="606"/>
                  </a:lnTo>
                  <a:lnTo>
                    <a:pt x="105" y="606"/>
                  </a:lnTo>
                  <a:lnTo>
                    <a:pt x="103" y="606"/>
                  </a:lnTo>
                  <a:lnTo>
                    <a:pt x="101" y="606"/>
                  </a:lnTo>
                  <a:lnTo>
                    <a:pt x="99" y="606"/>
                  </a:lnTo>
                  <a:lnTo>
                    <a:pt x="99" y="604"/>
                  </a:lnTo>
                  <a:lnTo>
                    <a:pt x="97" y="604"/>
                  </a:lnTo>
                  <a:lnTo>
                    <a:pt x="97" y="602"/>
                  </a:lnTo>
                  <a:lnTo>
                    <a:pt x="97" y="600"/>
                  </a:lnTo>
                  <a:lnTo>
                    <a:pt x="94" y="600"/>
                  </a:lnTo>
                  <a:lnTo>
                    <a:pt x="92" y="600"/>
                  </a:lnTo>
                  <a:lnTo>
                    <a:pt x="94" y="598"/>
                  </a:lnTo>
                  <a:lnTo>
                    <a:pt x="94" y="596"/>
                  </a:lnTo>
                  <a:lnTo>
                    <a:pt x="94" y="594"/>
                  </a:lnTo>
                  <a:lnTo>
                    <a:pt x="92" y="594"/>
                  </a:lnTo>
                  <a:lnTo>
                    <a:pt x="92" y="594"/>
                  </a:lnTo>
                  <a:lnTo>
                    <a:pt x="90" y="594"/>
                  </a:lnTo>
                  <a:lnTo>
                    <a:pt x="88" y="594"/>
                  </a:lnTo>
                  <a:lnTo>
                    <a:pt x="86" y="592"/>
                  </a:lnTo>
                  <a:lnTo>
                    <a:pt x="86" y="594"/>
                  </a:lnTo>
                  <a:lnTo>
                    <a:pt x="84" y="592"/>
                  </a:lnTo>
                  <a:lnTo>
                    <a:pt x="82" y="592"/>
                  </a:lnTo>
                  <a:lnTo>
                    <a:pt x="79" y="590"/>
                  </a:lnTo>
                  <a:lnTo>
                    <a:pt x="79" y="590"/>
                  </a:lnTo>
                  <a:lnTo>
                    <a:pt x="77" y="590"/>
                  </a:lnTo>
                  <a:lnTo>
                    <a:pt x="75" y="588"/>
                  </a:lnTo>
                  <a:lnTo>
                    <a:pt x="75" y="586"/>
                  </a:lnTo>
                  <a:lnTo>
                    <a:pt x="75" y="584"/>
                  </a:lnTo>
                  <a:lnTo>
                    <a:pt x="73" y="584"/>
                  </a:lnTo>
                  <a:lnTo>
                    <a:pt x="71" y="584"/>
                  </a:lnTo>
                  <a:lnTo>
                    <a:pt x="71" y="582"/>
                  </a:lnTo>
                  <a:lnTo>
                    <a:pt x="69" y="580"/>
                  </a:lnTo>
                  <a:lnTo>
                    <a:pt x="69" y="578"/>
                  </a:lnTo>
                  <a:lnTo>
                    <a:pt x="69" y="576"/>
                  </a:lnTo>
                  <a:lnTo>
                    <a:pt x="67" y="576"/>
                  </a:lnTo>
                  <a:lnTo>
                    <a:pt x="64" y="574"/>
                  </a:lnTo>
                  <a:lnTo>
                    <a:pt x="64" y="572"/>
                  </a:lnTo>
                  <a:lnTo>
                    <a:pt x="67" y="572"/>
                  </a:lnTo>
                  <a:lnTo>
                    <a:pt x="67" y="570"/>
                  </a:lnTo>
                  <a:lnTo>
                    <a:pt x="67" y="568"/>
                  </a:lnTo>
                  <a:lnTo>
                    <a:pt x="67" y="566"/>
                  </a:lnTo>
                  <a:lnTo>
                    <a:pt x="64" y="566"/>
                  </a:lnTo>
                  <a:lnTo>
                    <a:pt x="64" y="564"/>
                  </a:lnTo>
                  <a:lnTo>
                    <a:pt x="64" y="562"/>
                  </a:lnTo>
                  <a:lnTo>
                    <a:pt x="64" y="560"/>
                  </a:lnTo>
                  <a:lnTo>
                    <a:pt x="64" y="558"/>
                  </a:lnTo>
                  <a:lnTo>
                    <a:pt x="64" y="556"/>
                  </a:lnTo>
                  <a:lnTo>
                    <a:pt x="64" y="554"/>
                  </a:lnTo>
                  <a:lnTo>
                    <a:pt x="62" y="554"/>
                  </a:lnTo>
                  <a:lnTo>
                    <a:pt x="62" y="552"/>
                  </a:lnTo>
                  <a:lnTo>
                    <a:pt x="62" y="550"/>
                  </a:lnTo>
                  <a:lnTo>
                    <a:pt x="64" y="548"/>
                  </a:lnTo>
                  <a:lnTo>
                    <a:pt x="64" y="546"/>
                  </a:lnTo>
                  <a:lnTo>
                    <a:pt x="67" y="546"/>
                  </a:lnTo>
                  <a:lnTo>
                    <a:pt x="67" y="544"/>
                  </a:lnTo>
                  <a:lnTo>
                    <a:pt x="67" y="542"/>
                  </a:lnTo>
                  <a:lnTo>
                    <a:pt x="67" y="540"/>
                  </a:lnTo>
                  <a:lnTo>
                    <a:pt x="67" y="538"/>
                  </a:lnTo>
                  <a:lnTo>
                    <a:pt x="64" y="538"/>
                  </a:lnTo>
                  <a:lnTo>
                    <a:pt x="64" y="536"/>
                  </a:lnTo>
                  <a:lnTo>
                    <a:pt x="64" y="534"/>
                  </a:lnTo>
                  <a:lnTo>
                    <a:pt x="67" y="532"/>
                  </a:lnTo>
                  <a:lnTo>
                    <a:pt x="67" y="532"/>
                  </a:lnTo>
                  <a:lnTo>
                    <a:pt x="69" y="530"/>
                  </a:lnTo>
                  <a:lnTo>
                    <a:pt x="69" y="528"/>
                  </a:lnTo>
                  <a:lnTo>
                    <a:pt x="71" y="528"/>
                  </a:lnTo>
                  <a:lnTo>
                    <a:pt x="73" y="528"/>
                  </a:lnTo>
                  <a:lnTo>
                    <a:pt x="75" y="526"/>
                  </a:lnTo>
                  <a:lnTo>
                    <a:pt x="75" y="526"/>
                  </a:lnTo>
                  <a:lnTo>
                    <a:pt x="77" y="526"/>
                  </a:lnTo>
                  <a:lnTo>
                    <a:pt x="79" y="528"/>
                  </a:lnTo>
                  <a:lnTo>
                    <a:pt x="82" y="528"/>
                  </a:lnTo>
                  <a:lnTo>
                    <a:pt x="82" y="530"/>
                  </a:lnTo>
                  <a:lnTo>
                    <a:pt x="84" y="528"/>
                  </a:lnTo>
                  <a:lnTo>
                    <a:pt x="84" y="526"/>
                  </a:lnTo>
                  <a:lnTo>
                    <a:pt x="86" y="526"/>
                  </a:lnTo>
                  <a:lnTo>
                    <a:pt x="86" y="524"/>
                  </a:lnTo>
                  <a:lnTo>
                    <a:pt x="88" y="522"/>
                  </a:lnTo>
                  <a:lnTo>
                    <a:pt x="90" y="524"/>
                  </a:lnTo>
                  <a:lnTo>
                    <a:pt x="90" y="524"/>
                  </a:lnTo>
                  <a:lnTo>
                    <a:pt x="92" y="526"/>
                  </a:lnTo>
                  <a:lnTo>
                    <a:pt x="94" y="526"/>
                  </a:lnTo>
                  <a:lnTo>
                    <a:pt x="97" y="526"/>
                  </a:lnTo>
                  <a:lnTo>
                    <a:pt x="99" y="526"/>
                  </a:lnTo>
                  <a:lnTo>
                    <a:pt x="99" y="526"/>
                  </a:lnTo>
                  <a:lnTo>
                    <a:pt x="101" y="524"/>
                  </a:lnTo>
                  <a:lnTo>
                    <a:pt x="103" y="524"/>
                  </a:lnTo>
                  <a:lnTo>
                    <a:pt x="105" y="524"/>
                  </a:lnTo>
                  <a:lnTo>
                    <a:pt x="107" y="524"/>
                  </a:lnTo>
                  <a:lnTo>
                    <a:pt x="107" y="522"/>
                  </a:lnTo>
                  <a:lnTo>
                    <a:pt x="107" y="522"/>
                  </a:lnTo>
                  <a:lnTo>
                    <a:pt x="109" y="520"/>
                  </a:lnTo>
                  <a:lnTo>
                    <a:pt x="109" y="518"/>
                  </a:lnTo>
                  <a:lnTo>
                    <a:pt x="112" y="518"/>
                  </a:lnTo>
                  <a:lnTo>
                    <a:pt x="114" y="518"/>
                  </a:lnTo>
                  <a:lnTo>
                    <a:pt x="116" y="516"/>
                  </a:lnTo>
                  <a:lnTo>
                    <a:pt x="118" y="516"/>
                  </a:lnTo>
                  <a:lnTo>
                    <a:pt x="120" y="516"/>
                  </a:lnTo>
                  <a:lnTo>
                    <a:pt x="122" y="516"/>
                  </a:lnTo>
                  <a:lnTo>
                    <a:pt x="122" y="516"/>
                  </a:lnTo>
                  <a:lnTo>
                    <a:pt x="125" y="514"/>
                  </a:lnTo>
                  <a:lnTo>
                    <a:pt x="125" y="512"/>
                  </a:lnTo>
                  <a:lnTo>
                    <a:pt x="127" y="510"/>
                  </a:lnTo>
                  <a:lnTo>
                    <a:pt x="127" y="510"/>
                  </a:lnTo>
                  <a:lnTo>
                    <a:pt x="127" y="508"/>
                  </a:lnTo>
                  <a:lnTo>
                    <a:pt x="127" y="506"/>
                  </a:lnTo>
                  <a:lnTo>
                    <a:pt x="127" y="505"/>
                  </a:lnTo>
                  <a:lnTo>
                    <a:pt x="127" y="503"/>
                  </a:lnTo>
                  <a:lnTo>
                    <a:pt x="129" y="503"/>
                  </a:lnTo>
                  <a:lnTo>
                    <a:pt x="131" y="501"/>
                  </a:lnTo>
                  <a:lnTo>
                    <a:pt x="131" y="499"/>
                  </a:lnTo>
                  <a:lnTo>
                    <a:pt x="131" y="497"/>
                  </a:lnTo>
                  <a:lnTo>
                    <a:pt x="133" y="497"/>
                  </a:lnTo>
                  <a:lnTo>
                    <a:pt x="135" y="495"/>
                  </a:lnTo>
                  <a:lnTo>
                    <a:pt x="137" y="495"/>
                  </a:lnTo>
                  <a:lnTo>
                    <a:pt x="140" y="495"/>
                  </a:lnTo>
                  <a:lnTo>
                    <a:pt x="142" y="497"/>
                  </a:lnTo>
                  <a:lnTo>
                    <a:pt x="142" y="497"/>
                  </a:lnTo>
                  <a:lnTo>
                    <a:pt x="144" y="499"/>
                  </a:lnTo>
                  <a:lnTo>
                    <a:pt x="146" y="501"/>
                  </a:lnTo>
                  <a:lnTo>
                    <a:pt x="146" y="501"/>
                  </a:lnTo>
                  <a:lnTo>
                    <a:pt x="146" y="503"/>
                  </a:lnTo>
                  <a:lnTo>
                    <a:pt x="146" y="505"/>
                  </a:lnTo>
                  <a:lnTo>
                    <a:pt x="148" y="506"/>
                  </a:lnTo>
                  <a:lnTo>
                    <a:pt x="150" y="506"/>
                  </a:lnTo>
                  <a:lnTo>
                    <a:pt x="150" y="508"/>
                  </a:lnTo>
                  <a:lnTo>
                    <a:pt x="150" y="510"/>
                  </a:lnTo>
                  <a:lnTo>
                    <a:pt x="152" y="510"/>
                  </a:lnTo>
                  <a:lnTo>
                    <a:pt x="155" y="512"/>
                  </a:lnTo>
                  <a:lnTo>
                    <a:pt x="155" y="514"/>
                  </a:lnTo>
                  <a:lnTo>
                    <a:pt x="155" y="514"/>
                  </a:lnTo>
                  <a:lnTo>
                    <a:pt x="155" y="516"/>
                  </a:lnTo>
                  <a:lnTo>
                    <a:pt x="157" y="518"/>
                  </a:lnTo>
                  <a:lnTo>
                    <a:pt x="157" y="520"/>
                  </a:lnTo>
                  <a:lnTo>
                    <a:pt x="157" y="520"/>
                  </a:lnTo>
                  <a:lnTo>
                    <a:pt x="159" y="520"/>
                  </a:lnTo>
                  <a:lnTo>
                    <a:pt x="161" y="520"/>
                  </a:lnTo>
                  <a:lnTo>
                    <a:pt x="163" y="520"/>
                  </a:lnTo>
                  <a:lnTo>
                    <a:pt x="165" y="518"/>
                  </a:lnTo>
                  <a:lnTo>
                    <a:pt x="165" y="518"/>
                  </a:lnTo>
                  <a:lnTo>
                    <a:pt x="167" y="516"/>
                  </a:lnTo>
                  <a:lnTo>
                    <a:pt x="170" y="514"/>
                  </a:lnTo>
                  <a:lnTo>
                    <a:pt x="170" y="514"/>
                  </a:lnTo>
                  <a:lnTo>
                    <a:pt x="172" y="514"/>
                  </a:lnTo>
                  <a:lnTo>
                    <a:pt x="174" y="512"/>
                  </a:lnTo>
                  <a:lnTo>
                    <a:pt x="176" y="514"/>
                  </a:lnTo>
                  <a:lnTo>
                    <a:pt x="176" y="514"/>
                  </a:lnTo>
                  <a:lnTo>
                    <a:pt x="176" y="516"/>
                  </a:lnTo>
                  <a:lnTo>
                    <a:pt x="176" y="518"/>
                  </a:lnTo>
                  <a:lnTo>
                    <a:pt x="178" y="518"/>
                  </a:lnTo>
                  <a:lnTo>
                    <a:pt x="180" y="520"/>
                  </a:lnTo>
                  <a:lnTo>
                    <a:pt x="182" y="520"/>
                  </a:lnTo>
                  <a:lnTo>
                    <a:pt x="182" y="520"/>
                  </a:lnTo>
                  <a:lnTo>
                    <a:pt x="185" y="520"/>
                  </a:lnTo>
                  <a:lnTo>
                    <a:pt x="187" y="520"/>
                  </a:lnTo>
                  <a:lnTo>
                    <a:pt x="187" y="518"/>
                  </a:lnTo>
                  <a:lnTo>
                    <a:pt x="187" y="516"/>
                  </a:lnTo>
                  <a:lnTo>
                    <a:pt x="187" y="514"/>
                  </a:lnTo>
                  <a:lnTo>
                    <a:pt x="189" y="514"/>
                  </a:lnTo>
                  <a:lnTo>
                    <a:pt x="189" y="512"/>
                  </a:lnTo>
                  <a:lnTo>
                    <a:pt x="191" y="512"/>
                  </a:lnTo>
                  <a:lnTo>
                    <a:pt x="193" y="510"/>
                  </a:lnTo>
                  <a:lnTo>
                    <a:pt x="193" y="508"/>
                  </a:lnTo>
                  <a:lnTo>
                    <a:pt x="195" y="508"/>
                  </a:lnTo>
                  <a:lnTo>
                    <a:pt x="198" y="508"/>
                  </a:lnTo>
                  <a:lnTo>
                    <a:pt x="198" y="508"/>
                  </a:lnTo>
                  <a:lnTo>
                    <a:pt x="200" y="508"/>
                  </a:lnTo>
                  <a:lnTo>
                    <a:pt x="202" y="508"/>
                  </a:lnTo>
                  <a:lnTo>
                    <a:pt x="204" y="508"/>
                  </a:lnTo>
                  <a:lnTo>
                    <a:pt x="204" y="510"/>
                  </a:lnTo>
                  <a:lnTo>
                    <a:pt x="206" y="508"/>
                  </a:lnTo>
                  <a:lnTo>
                    <a:pt x="208" y="508"/>
                  </a:lnTo>
                  <a:lnTo>
                    <a:pt x="208" y="506"/>
                  </a:lnTo>
                  <a:lnTo>
                    <a:pt x="210" y="505"/>
                  </a:lnTo>
                  <a:lnTo>
                    <a:pt x="213" y="505"/>
                  </a:lnTo>
                  <a:lnTo>
                    <a:pt x="213" y="503"/>
                  </a:lnTo>
                  <a:lnTo>
                    <a:pt x="213" y="501"/>
                  </a:lnTo>
                  <a:lnTo>
                    <a:pt x="215" y="499"/>
                  </a:lnTo>
                  <a:lnTo>
                    <a:pt x="215" y="499"/>
                  </a:lnTo>
                  <a:lnTo>
                    <a:pt x="217" y="497"/>
                  </a:lnTo>
                  <a:lnTo>
                    <a:pt x="219" y="497"/>
                  </a:lnTo>
                  <a:lnTo>
                    <a:pt x="219" y="499"/>
                  </a:lnTo>
                  <a:lnTo>
                    <a:pt x="221" y="499"/>
                  </a:lnTo>
                  <a:lnTo>
                    <a:pt x="223" y="499"/>
                  </a:lnTo>
                  <a:lnTo>
                    <a:pt x="223" y="501"/>
                  </a:lnTo>
                  <a:lnTo>
                    <a:pt x="225" y="501"/>
                  </a:lnTo>
                  <a:lnTo>
                    <a:pt x="228" y="501"/>
                  </a:lnTo>
                  <a:lnTo>
                    <a:pt x="230" y="501"/>
                  </a:lnTo>
                  <a:lnTo>
                    <a:pt x="232" y="501"/>
                  </a:lnTo>
                  <a:lnTo>
                    <a:pt x="234" y="501"/>
                  </a:lnTo>
                  <a:lnTo>
                    <a:pt x="236" y="501"/>
                  </a:lnTo>
                  <a:lnTo>
                    <a:pt x="236" y="503"/>
                  </a:lnTo>
                  <a:lnTo>
                    <a:pt x="236" y="503"/>
                  </a:lnTo>
                  <a:lnTo>
                    <a:pt x="238" y="505"/>
                  </a:lnTo>
                  <a:lnTo>
                    <a:pt x="243" y="506"/>
                  </a:lnTo>
                  <a:lnTo>
                    <a:pt x="243" y="506"/>
                  </a:lnTo>
                  <a:lnTo>
                    <a:pt x="245" y="506"/>
                  </a:lnTo>
                  <a:lnTo>
                    <a:pt x="247" y="506"/>
                  </a:lnTo>
                  <a:lnTo>
                    <a:pt x="249" y="505"/>
                  </a:lnTo>
                  <a:lnTo>
                    <a:pt x="249" y="503"/>
                  </a:lnTo>
                  <a:lnTo>
                    <a:pt x="249" y="501"/>
                  </a:lnTo>
                  <a:lnTo>
                    <a:pt x="251" y="503"/>
                  </a:lnTo>
                  <a:lnTo>
                    <a:pt x="253" y="503"/>
                  </a:lnTo>
                  <a:lnTo>
                    <a:pt x="256" y="501"/>
                  </a:lnTo>
                  <a:lnTo>
                    <a:pt x="256" y="501"/>
                  </a:lnTo>
                  <a:lnTo>
                    <a:pt x="258" y="501"/>
                  </a:lnTo>
                  <a:lnTo>
                    <a:pt x="260" y="499"/>
                  </a:lnTo>
                  <a:lnTo>
                    <a:pt x="260" y="497"/>
                  </a:lnTo>
                  <a:lnTo>
                    <a:pt x="262" y="495"/>
                  </a:lnTo>
                  <a:lnTo>
                    <a:pt x="264" y="495"/>
                  </a:lnTo>
                  <a:lnTo>
                    <a:pt x="264" y="493"/>
                  </a:lnTo>
                  <a:lnTo>
                    <a:pt x="266" y="493"/>
                  </a:lnTo>
                  <a:lnTo>
                    <a:pt x="268" y="493"/>
                  </a:lnTo>
                  <a:lnTo>
                    <a:pt x="271" y="493"/>
                  </a:lnTo>
                  <a:lnTo>
                    <a:pt x="273" y="493"/>
                  </a:lnTo>
                  <a:lnTo>
                    <a:pt x="273" y="491"/>
                  </a:lnTo>
                  <a:lnTo>
                    <a:pt x="273" y="489"/>
                  </a:lnTo>
                  <a:lnTo>
                    <a:pt x="273" y="489"/>
                  </a:lnTo>
                  <a:lnTo>
                    <a:pt x="273" y="487"/>
                  </a:lnTo>
                  <a:lnTo>
                    <a:pt x="275" y="485"/>
                  </a:lnTo>
                  <a:lnTo>
                    <a:pt x="277" y="485"/>
                  </a:lnTo>
                  <a:lnTo>
                    <a:pt x="279" y="483"/>
                  </a:lnTo>
                  <a:lnTo>
                    <a:pt x="279" y="483"/>
                  </a:lnTo>
                  <a:lnTo>
                    <a:pt x="281" y="481"/>
                  </a:lnTo>
                  <a:lnTo>
                    <a:pt x="281" y="481"/>
                  </a:lnTo>
                  <a:lnTo>
                    <a:pt x="283" y="483"/>
                  </a:lnTo>
                  <a:lnTo>
                    <a:pt x="286" y="483"/>
                  </a:lnTo>
                  <a:lnTo>
                    <a:pt x="288" y="481"/>
                  </a:lnTo>
                  <a:lnTo>
                    <a:pt x="288" y="483"/>
                  </a:lnTo>
                  <a:lnTo>
                    <a:pt x="290" y="483"/>
                  </a:lnTo>
                  <a:lnTo>
                    <a:pt x="292" y="483"/>
                  </a:lnTo>
                  <a:lnTo>
                    <a:pt x="294" y="485"/>
                  </a:lnTo>
                  <a:lnTo>
                    <a:pt x="294" y="483"/>
                  </a:lnTo>
                  <a:lnTo>
                    <a:pt x="296" y="481"/>
                  </a:lnTo>
                  <a:lnTo>
                    <a:pt x="296" y="479"/>
                  </a:lnTo>
                  <a:lnTo>
                    <a:pt x="294" y="477"/>
                  </a:lnTo>
                  <a:lnTo>
                    <a:pt x="294" y="475"/>
                  </a:lnTo>
                  <a:lnTo>
                    <a:pt x="294" y="473"/>
                  </a:lnTo>
                  <a:lnTo>
                    <a:pt x="296" y="473"/>
                  </a:lnTo>
                  <a:lnTo>
                    <a:pt x="298" y="471"/>
                  </a:lnTo>
                  <a:lnTo>
                    <a:pt x="301" y="471"/>
                  </a:lnTo>
                  <a:lnTo>
                    <a:pt x="301" y="471"/>
                  </a:lnTo>
                  <a:lnTo>
                    <a:pt x="303" y="471"/>
                  </a:lnTo>
                  <a:lnTo>
                    <a:pt x="305" y="471"/>
                  </a:lnTo>
                  <a:lnTo>
                    <a:pt x="307" y="473"/>
                  </a:lnTo>
                  <a:lnTo>
                    <a:pt x="307" y="475"/>
                  </a:lnTo>
                  <a:lnTo>
                    <a:pt x="307" y="477"/>
                  </a:lnTo>
                  <a:lnTo>
                    <a:pt x="309" y="479"/>
                  </a:lnTo>
                  <a:lnTo>
                    <a:pt x="311" y="479"/>
                  </a:lnTo>
                  <a:lnTo>
                    <a:pt x="311" y="479"/>
                  </a:lnTo>
                  <a:lnTo>
                    <a:pt x="313" y="479"/>
                  </a:lnTo>
                  <a:lnTo>
                    <a:pt x="316" y="479"/>
                  </a:lnTo>
                  <a:lnTo>
                    <a:pt x="318" y="477"/>
                  </a:lnTo>
                  <a:lnTo>
                    <a:pt x="320" y="477"/>
                  </a:lnTo>
                  <a:lnTo>
                    <a:pt x="322" y="479"/>
                  </a:lnTo>
                  <a:lnTo>
                    <a:pt x="324" y="479"/>
                  </a:lnTo>
                  <a:lnTo>
                    <a:pt x="326" y="479"/>
                  </a:lnTo>
                  <a:lnTo>
                    <a:pt x="329" y="477"/>
                  </a:lnTo>
                  <a:lnTo>
                    <a:pt x="329" y="477"/>
                  </a:lnTo>
                  <a:lnTo>
                    <a:pt x="331" y="477"/>
                  </a:lnTo>
                  <a:lnTo>
                    <a:pt x="333" y="477"/>
                  </a:lnTo>
                  <a:lnTo>
                    <a:pt x="335" y="479"/>
                  </a:lnTo>
                  <a:lnTo>
                    <a:pt x="335" y="479"/>
                  </a:lnTo>
                  <a:lnTo>
                    <a:pt x="337" y="481"/>
                  </a:lnTo>
                  <a:lnTo>
                    <a:pt x="337" y="483"/>
                  </a:lnTo>
                  <a:lnTo>
                    <a:pt x="337" y="485"/>
                  </a:lnTo>
                  <a:lnTo>
                    <a:pt x="339" y="485"/>
                  </a:lnTo>
                  <a:lnTo>
                    <a:pt x="341" y="485"/>
                  </a:lnTo>
                  <a:lnTo>
                    <a:pt x="344" y="485"/>
                  </a:lnTo>
                  <a:lnTo>
                    <a:pt x="346" y="487"/>
                  </a:lnTo>
                  <a:lnTo>
                    <a:pt x="346" y="489"/>
                  </a:lnTo>
                  <a:lnTo>
                    <a:pt x="346" y="489"/>
                  </a:lnTo>
                  <a:lnTo>
                    <a:pt x="346" y="491"/>
                  </a:lnTo>
                  <a:lnTo>
                    <a:pt x="346" y="493"/>
                  </a:lnTo>
                  <a:lnTo>
                    <a:pt x="346" y="495"/>
                  </a:lnTo>
                  <a:lnTo>
                    <a:pt x="348" y="497"/>
                  </a:lnTo>
                  <a:lnTo>
                    <a:pt x="348" y="497"/>
                  </a:lnTo>
                  <a:lnTo>
                    <a:pt x="350" y="499"/>
                  </a:lnTo>
                  <a:lnTo>
                    <a:pt x="352" y="499"/>
                  </a:lnTo>
                  <a:lnTo>
                    <a:pt x="354" y="497"/>
                  </a:lnTo>
                  <a:lnTo>
                    <a:pt x="354" y="497"/>
                  </a:lnTo>
                  <a:lnTo>
                    <a:pt x="356" y="495"/>
                  </a:lnTo>
                  <a:lnTo>
                    <a:pt x="356" y="493"/>
                  </a:lnTo>
                  <a:lnTo>
                    <a:pt x="359" y="491"/>
                  </a:lnTo>
                  <a:lnTo>
                    <a:pt x="359" y="491"/>
                  </a:lnTo>
                  <a:lnTo>
                    <a:pt x="361" y="493"/>
                  </a:lnTo>
                  <a:lnTo>
                    <a:pt x="363" y="493"/>
                  </a:lnTo>
                  <a:lnTo>
                    <a:pt x="365" y="493"/>
                  </a:lnTo>
                  <a:lnTo>
                    <a:pt x="367" y="495"/>
                  </a:lnTo>
                  <a:lnTo>
                    <a:pt x="367" y="497"/>
                  </a:lnTo>
                  <a:lnTo>
                    <a:pt x="369" y="497"/>
                  </a:lnTo>
                  <a:lnTo>
                    <a:pt x="371" y="497"/>
                  </a:lnTo>
                  <a:lnTo>
                    <a:pt x="371" y="499"/>
                  </a:lnTo>
                  <a:lnTo>
                    <a:pt x="374" y="501"/>
                  </a:lnTo>
                  <a:lnTo>
                    <a:pt x="376" y="501"/>
                  </a:lnTo>
                  <a:lnTo>
                    <a:pt x="376" y="499"/>
                  </a:lnTo>
                  <a:lnTo>
                    <a:pt x="378" y="499"/>
                  </a:lnTo>
                  <a:lnTo>
                    <a:pt x="380" y="497"/>
                  </a:lnTo>
                  <a:lnTo>
                    <a:pt x="382" y="497"/>
                  </a:lnTo>
                  <a:lnTo>
                    <a:pt x="384" y="499"/>
                  </a:lnTo>
                  <a:lnTo>
                    <a:pt x="384" y="499"/>
                  </a:lnTo>
                  <a:lnTo>
                    <a:pt x="387" y="499"/>
                  </a:lnTo>
                  <a:lnTo>
                    <a:pt x="389" y="501"/>
                  </a:lnTo>
                  <a:lnTo>
                    <a:pt x="391" y="501"/>
                  </a:lnTo>
                  <a:lnTo>
                    <a:pt x="393" y="501"/>
                  </a:lnTo>
                  <a:lnTo>
                    <a:pt x="395" y="501"/>
                  </a:lnTo>
                  <a:lnTo>
                    <a:pt x="397" y="501"/>
                  </a:lnTo>
                  <a:lnTo>
                    <a:pt x="397" y="499"/>
                  </a:lnTo>
                  <a:lnTo>
                    <a:pt x="397" y="497"/>
                  </a:lnTo>
                  <a:lnTo>
                    <a:pt x="397" y="495"/>
                  </a:lnTo>
                  <a:lnTo>
                    <a:pt x="395" y="495"/>
                  </a:lnTo>
                  <a:lnTo>
                    <a:pt x="395" y="493"/>
                  </a:lnTo>
                  <a:lnTo>
                    <a:pt x="395" y="491"/>
                  </a:lnTo>
                  <a:lnTo>
                    <a:pt x="397" y="489"/>
                  </a:lnTo>
                  <a:lnTo>
                    <a:pt x="397" y="489"/>
                  </a:lnTo>
                  <a:lnTo>
                    <a:pt x="397" y="487"/>
                  </a:lnTo>
                  <a:lnTo>
                    <a:pt x="397" y="485"/>
                  </a:lnTo>
                  <a:lnTo>
                    <a:pt x="399" y="483"/>
                  </a:lnTo>
                  <a:lnTo>
                    <a:pt x="399" y="481"/>
                  </a:lnTo>
                  <a:lnTo>
                    <a:pt x="399" y="479"/>
                  </a:lnTo>
                  <a:lnTo>
                    <a:pt x="399" y="479"/>
                  </a:lnTo>
                  <a:lnTo>
                    <a:pt x="402" y="477"/>
                  </a:lnTo>
                  <a:lnTo>
                    <a:pt x="402" y="477"/>
                  </a:lnTo>
                  <a:lnTo>
                    <a:pt x="404" y="475"/>
                  </a:lnTo>
                  <a:lnTo>
                    <a:pt x="404" y="473"/>
                  </a:lnTo>
                  <a:lnTo>
                    <a:pt x="406" y="473"/>
                  </a:lnTo>
                  <a:lnTo>
                    <a:pt x="408" y="471"/>
                  </a:lnTo>
                  <a:lnTo>
                    <a:pt x="408" y="469"/>
                  </a:lnTo>
                  <a:lnTo>
                    <a:pt x="410" y="469"/>
                  </a:lnTo>
                  <a:lnTo>
                    <a:pt x="412" y="469"/>
                  </a:lnTo>
                  <a:lnTo>
                    <a:pt x="412" y="469"/>
                  </a:lnTo>
                  <a:lnTo>
                    <a:pt x="414" y="469"/>
                  </a:lnTo>
                  <a:lnTo>
                    <a:pt x="417" y="469"/>
                  </a:lnTo>
                  <a:lnTo>
                    <a:pt x="419" y="469"/>
                  </a:lnTo>
                  <a:lnTo>
                    <a:pt x="421" y="469"/>
                  </a:lnTo>
                  <a:lnTo>
                    <a:pt x="423" y="469"/>
                  </a:lnTo>
                  <a:lnTo>
                    <a:pt x="425" y="469"/>
                  </a:lnTo>
                  <a:lnTo>
                    <a:pt x="427" y="469"/>
                  </a:lnTo>
                  <a:lnTo>
                    <a:pt x="429" y="469"/>
                  </a:lnTo>
                  <a:lnTo>
                    <a:pt x="432" y="469"/>
                  </a:lnTo>
                  <a:lnTo>
                    <a:pt x="432" y="469"/>
                  </a:lnTo>
                  <a:lnTo>
                    <a:pt x="434" y="469"/>
                  </a:lnTo>
                  <a:lnTo>
                    <a:pt x="436" y="467"/>
                  </a:lnTo>
                  <a:lnTo>
                    <a:pt x="436" y="465"/>
                  </a:lnTo>
                  <a:lnTo>
                    <a:pt x="436" y="463"/>
                  </a:lnTo>
                  <a:lnTo>
                    <a:pt x="438" y="463"/>
                  </a:lnTo>
                  <a:lnTo>
                    <a:pt x="440" y="463"/>
                  </a:lnTo>
                  <a:lnTo>
                    <a:pt x="440" y="461"/>
                  </a:lnTo>
                  <a:lnTo>
                    <a:pt x="440" y="459"/>
                  </a:lnTo>
                  <a:lnTo>
                    <a:pt x="442" y="459"/>
                  </a:lnTo>
                  <a:lnTo>
                    <a:pt x="442" y="457"/>
                  </a:lnTo>
                  <a:lnTo>
                    <a:pt x="440" y="455"/>
                  </a:lnTo>
                  <a:lnTo>
                    <a:pt x="442" y="453"/>
                  </a:lnTo>
                  <a:lnTo>
                    <a:pt x="442" y="453"/>
                  </a:lnTo>
                  <a:lnTo>
                    <a:pt x="444" y="451"/>
                  </a:lnTo>
                  <a:lnTo>
                    <a:pt x="447" y="451"/>
                  </a:lnTo>
                  <a:lnTo>
                    <a:pt x="447" y="449"/>
                  </a:lnTo>
                  <a:lnTo>
                    <a:pt x="447" y="447"/>
                  </a:lnTo>
                  <a:lnTo>
                    <a:pt x="447" y="445"/>
                  </a:lnTo>
                  <a:lnTo>
                    <a:pt x="444" y="443"/>
                  </a:lnTo>
                  <a:lnTo>
                    <a:pt x="444" y="443"/>
                  </a:lnTo>
                  <a:lnTo>
                    <a:pt x="444" y="441"/>
                  </a:lnTo>
                  <a:lnTo>
                    <a:pt x="444" y="439"/>
                  </a:lnTo>
                  <a:lnTo>
                    <a:pt x="444" y="437"/>
                  </a:lnTo>
                  <a:lnTo>
                    <a:pt x="444" y="435"/>
                  </a:lnTo>
                  <a:lnTo>
                    <a:pt x="447" y="433"/>
                  </a:lnTo>
                  <a:lnTo>
                    <a:pt x="447" y="431"/>
                  </a:lnTo>
                  <a:lnTo>
                    <a:pt x="447" y="431"/>
                  </a:lnTo>
                  <a:lnTo>
                    <a:pt x="447" y="429"/>
                  </a:lnTo>
                  <a:lnTo>
                    <a:pt x="447" y="427"/>
                  </a:lnTo>
                  <a:lnTo>
                    <a:pt x="449" y="427"/>
                  </a:lnTo>
                  <a:lnTo>
                    <a:pt x="451" y="427"/>
                  </a:lnTo>
                  <a:lnTo>
                    <a:pt x="453" y="425"/>
                  </a:lnTo>
                  <a:lnTo>
                    <a:pt x="455" y="425"/>
                  </a:lnTo>
                  <a:lnTo>
                    <a:pt x="457" y="425"/>
                  </a:lnTo>
                  <a:lnTo>
                    <a:pt x="460" y="425"/>
                  </a:lnTo>
                  <a:lnTo>
                    <a:pt x="460" y="425"/>
                  </a:lnTo>
                  <a:lnTo>
                    <a:pt x="462" y="425"/>
                  </a:lnTo>
                  <a:lnTo>
                    <a:pt x="464" y="423"/>
                  </a:lnTo>
                  <a:lnTo>
                    <a:pt x="466" y="423"/>
                  </a:lnTo>
                  <a:lnTo>
                    <a:pt x="468" y="423"/>
                  </a:lnTo>
                  <a:lnTo>
                    <a:pt x="470" y="423"/>
                  </a:lnTo>
                  <a:lnTo>
                    <a:pt x="470" y="421"/>
                  </a:lnTo>
                  <a:lnTo>
                    <a:pt x="472" y="419"/>
                  </a:lnTo>
                  <a:lnTo>
                    <a:pt x="472" y="417"/>
                  </a:lnTo>
                  <a:lnTo>
                    <a:pt x="472" y="417"/>
                  </a:lnTo>
                  <a:lnTo>
                    <a:pt x="472" y="415"/>
                  </a:lnTo>
                  <a:lnTo>
                    <a:pt x="475" y="413"/>
                  </a:lnTo>
                  <a:lnTo>
                    <a:pt x="477" y="413"/>
                  </a:lnTo>
                  <a:lnTo>
                    <a:pt x="479" y="411"/>
                  </a:lnTo>
                  <a:lnTo>
                    <a:pt x="479" y="413"/>
                  </a:lnTo>
                  <a:lnTo>
                    <a:pt x="481" y="411"/>
                  </a:lnTo>
                  <a:lnTo>
                    <a:pt x="483" y="411"/>
                  </a:lnTo>
                  <a:lnTo>
                    <a:pt x="485" y="409"/>
                  </a:lnTo>
                  <a:lnTo>
                    <a:pt x="485" y="407"/>
                  </a:lnTo>
                  <a:lnTo>
                    <a:pt x="485" y="405"/>
                  </a:lnTo>
                  <a:lnTo>
                    <a:pt x="483" y="403"/>
                  </a:lnTo>
                  <a:lnTo>
                    <a:pt x="483" y="401"/>
                  </a:lnTo>
                  <a:lnTo>
                    <a:pt x="483" y="399"/>
                  </a:lnTo>
                  <a:lnTo>
                    <a:pt x="485" y="399"/>
                  </a:lnTo>
                  <a:lnTo>
                    <a:pt x="485" y="397"/>
                  </a:lnTo>
                  <a:lnTo>
                    <a:pt x="487" y="395"/>
                  </a:lnTo>
                  <a:lnTo>
                    <a:pt x="490" y="395"/>
                  </a:lnTo>
                  <a:lnTo>
                    <a:pt x="487" y="393"/>
                  </a:lnTo>
                  <a:lnTo>
                    <a:pt x="487" y="391"/>
                  </a:lnTo>
                  <a:lnTo>
                    <a:pt x="485" y="389"/>
                  </a:lnTo>
                  <a:lnTo>
                    <a:pt x="485" y="389"/>
                  </a:lnTo>
                  <a:lnTo>
                    <a:pt x="485" y="387"/>
                  </a:lnTo>
                  <a:lnTo>
                    <a:pt x="485" y="385"/>
                  </a:lnTo>
                  <a:lnTo>
                    <a:pt x="483" y="383"/>
                  </a:lnTo>
                  <a:lnTo>
                    <a:pt x="481" y="381"/>
                  </a:lnTo>
                  <a:lnTo>
                    <a:pt x="481" y="379"/>
                  </a:lnTo>
                  <a:lnTo>
                    <a:pt x="481" y="377"/>
                  </a:lnTo>
                  <a:lnTo>
                    <a:pt x="481" y="375"/>
                  </a:lnTo>
                  <a:lnTo>
                    <a:pt x="479" y="375"/>
                  </a:lnTo>
                  <a:lnTo>
                    <a:pt x="477" y="373"/>
                  </a:lnTo>
                  <a:lnTo>
                    <a:pt x="477" y="373"/>
                  </a:lnTo>
                  <a:lnTo>
                    <a:pt x="475" y="371"/>
                  </a:lnTo>
                  <a:lnTo>
                    <a:pt x="472" y="369"/>
                  </a:lnTo>
                  <a:lnTo>
                    <a:pt x="472" y="369"/>
                  </a:lnTo>
                  <a:lnTo>
                    <a:pt x="472" y="367"/>
                  </a:lnTo>
                  <a:lnTo>
                    <a:pt x="472" y="365"/>
                  </a:lnTo>
                  <a:lnTo>
                    <a:pt x="470" y="365"/>
                  </a:lnTo>
                  <a:lnTo>
                    <a:pt x="468" y="363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4" y="361"/>
                  </a:lnTo>
                  <a:lnTo>
                    <a:pt x="464" y="361"/>
                  </a:lnTo>
                  <a:lnTo>
                    <a:pt x="464" y="359"/>
                  </a:lnTo>
                  <a:lnTo>
                    <a:pt x="466" y="357"/>
                  </a:lnTo>
                  <a:lnTo>
                    <a:pt x="466" y="357"/>
                  </a:lnTo>
                  <a:lnTo>
                    <a:pt x="468" y="355"/>
                  </a:lnTo>
                  <a:lnTo>
                    <a:pt x="470" y="353"/>
                  </a:lnTo>
                  <a:lnTo>
                    <a:pt x="470" y="353"/>
                  </a:lnTo>
                  <a:lnTo>
                    <a:pt x="472" y="353"/>
                  </a:lnTo>
                  <a:lnTo>
                    <a:pt x="475" y="351"/>
                  </a:lnTo>
                  <a:lnTo>
                    <a:pt x="475" y="349"/>
                  </a:lnTo>
                  <a:lnTo>
                    <a:pt x="475" y="347"/>
                  </a:lnTo>
                  <a:lnTo>
                    <a:pt x="477" y="347"/>
                  </a:lnTo>
                  <a:lnTo>
                    <a:pt x="479" y="345"/>
                  </a:lnTo>
                  <a:lnTo>
                    <a:pt x="481" y="343"/>
                  </a:lnTo>
                  <a:lnTo>
                    <a:pt x="481" y="343"/>
                  </a:lnTo>
                  <a:lnTo>
                    <a:pt x="483" y="343"/>
                  </a:lnTo>
                  <a:lnTo>
                    <a:pt x="485" y="345"/>
                  </a:lnTo>
                  <a:lnTo>
                    <a:pt x="487" y="345"/>
                  </a:lnTo>
                  <a:lnTo>
                    <a:pt x="490" y="345"/>
                  </a:lnTo>
                  <a:lnTo>
                    <a:pt x="492" y="345"/>
                  </a:lnTo>
                  <a:lnTo>
                    <a:pt x="494" y="345"/>
                  </a:lnTo>
                  <a:lnTo>
                    <a:pt x="494" y="345"/>
                  </a:lnTo>
                  <a:lnTo>
                    <a:pt x="496" y="343"/>
                  </a:lnTo>
                  <a:lnTo>
                    <a:pt x="498" y="343"/>
                  </a:lnTo>
                  <a:lnTo>
                    <a:pt x="500" y="343"/>
                  </a:lnTo>
                  <a:lnTo>
                    <a:pt x="502" y="341"/>
                  </a:lnTo>
                  <a:lnTo>
                    <a:pt x="502" y="341"/>
                  </a:lnTo>
                  <a:lnTo>
                    <a:pt x="502" y="339"/>
                  </a:lnTo>
                  <a:lnTo>
                    <a:pt x="505" y="337"/>
                  </a:lnTo>
                  <a:lnTo>
                    <a:pt x="505" y="335"/>
                  </a:lnTo>
                  <a:lnTo>
                    <a:pt x="507" y="335"/>
                  </a:lnTo>
                  <a:lnTo>
                    <a:pt x="507" y="333"/>
                  </a:lnTo>
                  <a:lnTo>
                    <a:pt x="507" y="331"/>
                  </a:lnTo>
                  <a:lnTo>
                    <a:pt x="507" y="331"/>
                  </a:lnTo>
                  <a:lnTo>
                    <a:pt x="509" y="329"/>
                  </a:lnTo>
                  <a:lnTo>
                    <a:pt x="511" y="327"/>
                  </a:lnTo>
                  <a:lnTo>
                    <a:pt x="513" y="329"/>
                  </a:lnTo>
                  <a:lnTo>
                    <a:pt x="515" y="327"/>
                  </a:lnTo>
                  <a:lnTo>
                    <a:pt x="515" y="327"/>
                  </a:lnTo>
                  <a:lnTo>
                    <a:pt x="515" y="325"/>
                  </a:lnTo>
                  <a:lnTo>
                    <a:pt x="518" y="325"/>
                  </a:lnTo>
                  <a:lnTo>
                    <a:pt x="520" y="325"/>
                  </a:lnTo>
                  <a:lnTo>
                    <a:pt x="520" y="323"/>
                  </a:lnTo>
                  <a:lnTo>
                    <a:pt x="520" y="323"/>
                  </a:lnTo>
                  <a:lnTo>
                    <a:pt x="520" y="321"/>
                  </a:lnTo>
                  <a:lnTo>
                    <a:pt x="520" y="319"/>
                  </a:lnTo>
                  <a:lnTo>
                    <a:pt x="520" y="317"/>
                  </a:lnTo>
                  <a:lnTo>
                    <a:pt x="522" y="317"/>
                  </a:lnTo>
                  <a:lnTo>
                    <a:pt x="524" y="317"/>
                  </a:lnTo>
                  <a:lnTo>
                    <a:pt x="526" y="319"/>
                  </a:lnTo>
                  <a:lnTo>
                    <a:pt x="526" y="317"/>
                  </a:lnTo>
                  <a:lnTo>
                    <a:pt x="528" y="315"/>
                  </a:lnTo>
                  <a:lnTo>
                    <a:pt x="530" y="315"/>
                  </a:lnTo>
                  <a:lnTo>
                    <a:pt x="530" y="313"/>
                  </a:lnTo>
                  <a:lnTo>
                    <a:pt x="533" y="313"/>
                  </a:lnTo>
                  <a:lnTo>
                    <a:pt x="535" y="313"/>
                  </a:lnTo>
                  <a:lnTo>
                    <a:pt x="535" y="311"/>
                  </a:lnTo>
                  <a:lnTo>
                    <a:pt x="537" y="309"/>
                  </a:lnTo>
                  <a:lnTo>
                    <a:pt x="535" y="307"/>
                  </a:lnTo>
                  <a:lnTo>
                    <a:pt x="537" y="307"/>
                  </a:lnTo>
                  <a:lnTo>
                    <a:pt x="537" y="305"/>
                  </a:lnTo>
                  <a:lnTo>
                    <a:pt x="535" y="303"/>
                  </a:lnTo>
                  <a:lnTo>
                    <a:pt x="535" y="301"/>
                  </a:lnTo>
                  <a:lnTo>
                    <a:pt x="533" y="303"/>
                  </a:lnTo>
                  <a:lnTo>
                    <a:pt x="530" y="301"/>
                  </a:lnTo>
                  <a:lnTo>
                    <a:pt x="528" y="301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0" y="297"/>
                  </a:lnTo>
                  <a:lnTo>
                    <a:pt x="530" y="295"/>
                  </a:lnTo>
                  <a:lnTo>
                    <a:pt x="533" y="293"/>
                  </a:lnTo>
                  <a:lnTo>
                    <a:pt x="533" y="293"/>
                  </a:lnTo>
                  <a:lnTo>
                    <a:pt x="535" y="293"/>
                  </a:lnTo>
                  <a:lnTo>
                    <a:pt x="537" y="293"/>
                  </a:lnTo>
                  <a:lnTo>
                    <a:pt x="539" y="293"/>
                  </a:lnTo>
                  <a:lnTo>
                    <a:pt x="539" y="291"/>
                  </a:lnTo>
                  <a:lnTo>
                    <a:pt x="541" y="291"/>
                  </a:lnTo>
                  <a:lnTo>
                    <a:pt x="543" y="289"/>
                  </a:lnTo>
                  <a:lnTo>
                    <a:pt x="543" y="289"/>
                  </a:lnTo>
                  <a:lnTo>
                    <a:pt x="545" y="287"/>
                  </a:lnTo>
                  <a:lnTo>
                    <a:pt x="548" y="285"/>
                  </a:lnTo>
                  <a:lnTo>
                    <a:pt x="548" y="285"/>
                  </a:lnTo>
                  <a:lnTo>
                    <a:pt x="550" y="283"/>
                  </a:lnTo>
                  <a:lnTo>
                    <a:pt x="552" y="283"/>
                  </a:lnTo>
                  <a:lnTo>
                    <a:pt x="554" y="281"/>
                  </a:lnTo>
                  <a:lnTo>
                    <a:pt x="554" y="283"/>
                  </a:lnTo>
                  <a:lnTo>
                    <a:pt x="556" y="283"/>
                  </a:lnTo>
                  <a:lnTo>
                    <a:pt x="558" y="281"/>
                  </a:lnTo>
                  <a:lnTo>
                    <a:pt x="560" y="281"/>
                  </a:lnTo>
                  <a:lnTo>
                    <a:pt x="563" y="281"/>
                  </a:lnTo>
                  <a:lnTo>
                    <a:pt x="563" y="279"/>
                  </a:lnTo>
                  <a:lnTo>
                    <a:pt x="565" y="279"/>
                  </a:lnTo>
                  <a:lnTo>
                    <a:pt x="567" y="279"/>
                  </a:lnTo>
                  <a:lnTo>
                    <a:pt x="569" y="279"/>
                  </a:lnTo>
                  <a:lnTo>
                    <a:pt x="571" y="277"/>
                  </a:lnTo>
                  <a:lnTo>
                    <a:pt x="573" y="277"/>
                  </a:lnTo>
                  <a:lnTo>
                    <a:pt x="573" y="277"/>
                  </a:lnTo>
                  <a:lnTo>
                    <a:pt x="576" y="277"/>
                  </a:lnTo>
                  <a:lnTo>
                    <a:pt x="578" y="279"/>
                  </a:lnTo>
                  <a:lnTo>
                    <a:pt x="578" y="279"/>
                  </a:lnTo>
                  <a:lnTo>
                    <a:pt x="580" y="281"/>
                  </a:lnTo>
                  <a:lnTo>
                    <a:pt x="580" y="283"/>
                  </a:lnTo>
                  <a:lnTo>
                    <a:pt x="580" y="285"/>
                  </a:lnTo>
                  <a:lnTo>
                    <a:pt x="582" y="285"/>
                  </a:lnTo>
                  <a:lnTo>
                    <a:pt x="582" y="287"/>
                  </a:lnTo>
                  <a:lnTo>
                    <a:pt x="580" y="289"/>
                  </a:lnTo>
                  <a:lnTo>
                    <a:pt x="580" y="289"/>
                  </a:lnTo>
                  <a:lnTo>
                    <a:pt x="580" y="291"/>
                  </a:lnTo>
                  <a:lnTo>
                    <a:pt x="580" y="293"/>
                  </a:lnTo>
                  <a:lnTo>
                    <a:pt x="580" y="295"/>
                  </a:lnTo>
                  <a:lnTo>
                    <a:pt x="582" y="297"/>
                  </a:lnTo>
                  <a:lnTo>
                    <a:pt x="582" y="297"/>
                  </a:lnTo>
                  <a:lnTo>
                    <a:pt x="582" y="299"/>
                  </a:lnTo>
                  <a:lnTo>
                    <a:pt x="582" y="301"/>
                  </a:lnTo>
                  <a:lnTo>
                    <a:pt x="582" y="303"/>
                  </a:lnTo>
                  <a:lnTo>
                    <a:pt x="582" y="303"/>
                  </a:lnTo>
                  <a:lnTo>
                    <a:pt x="584" y="305"/>
                  </a:lnTo>
                  <a:lnTo>
                    <a:pt x="582" y="307"/>
                  </a:lnTo>
                  <a:lnTo>
                    <a:pt x="580" y="309"/>
                  </a:lnTo>
                  <a:lnTo>
                    <a:pt x="582" y="309"/>
                  </a:lnTo>
                  <a:lnTo>
                    <a:pt x="582" y="311"/>
                  </a:lnTo>
                  <a:lnTo>
                    <a:pt x="582" y="313"/>
                  </a:lnTo>
                  <a:lnTo>
                    <a:pt x="582" y="315"/>
                  </a:lnTo>
                  <a:lnTo>
                    <a:pt x="582" y="317"/>
                  </a:lnTo>
                  <a:lnTo>
                    <a:pt x="582" y="319"/>
                  </a:lnTo>
                  <a:lnTo>
                    <a:pt x="582" y="321"/>
                  </a:lnTo>
                  <a:lnTo>
                    <a:pt x="582" y="321"/>
                  </a:lnTo>
                  <a:lnTo>
                    <a:pt x="580" y="323"/>
                  </a:lnTo>
                  <a:lnTo>
                    <a:pt x="582" y="325"/>
                  </a:lnTo>
                  <a:lnTo>
                    <a:pt x="582" y="327"/>
                  </a:lnTo>
                  <a:lnTo>
                    <a:pt x="582" y="329"/>
                  </a:lnTo>
                  <a:lnTo>
                    <a:pt x="582" y="331"/>
                  </a:lnTo>
                  <a:lnTo>
                    <a:pt x="580" y="333"/>
                  </a:lnTo>
                  <a:lnTo>
                    <a:pt x="580" y="333"/>
                  </a:lnTo>
                  <a:lnTo>
                    <a:pt x="578" y="335"/>
                  </a:lnTo>
                  <a:lnTo>
                    <a:pt x="578" y="337"/>
                  </a:lnTo>
                  <a:lnTo>
                    <a:pt x="576" y="337"/>
                  </a:lnTo>
                  <a:lnTo>
                    <a:pt x="573" y="337"/>
                  </a:lnTo>
                  <a:lnTo>
                    <a:pt x="573" y="339"/>
                  </a:lnTo>
                  <a:lnTo>
                    <a:pt x="573" y="341"/>
                  </a:lnTo>
                  <a:lnTo>
                    <a:pt x="573" y="343"/>
                  </a:lnTo>
                  <a:lnTo>
                    <a:pt x="571" y="343"/>
                  </a:lnTo>
                  <a:lnTo>
                    <a:pt x="571" y="345"/>
                  </a:lnTo>
                  <a:lnTo>
                    <a:pt x="571" y="347"/>
                  </a:lnTo>
                  <a:lnTo>
                    <a:pt x="571" y="347"/>
                  </a:lnTo>
                  <a:lnTo>
                    <a:pt x="571" y="349"/>
                  </a:lnTo>
                  <a:lnTo>
                    <a:pt x="573" y="351"/>
                  </a:lnTo>
                  <a:lnTo>
                    <a:pt x="573" y="353"/>
                  </a:lnTo>
                  <a:lnTo>
                    <a:pt x="576" y="355"/>
                  </a:lnTo>
                  <a:lnTo>
                    <a:pt x="576" y="355"/>
                  </a:lnTo>
                  <a:lnTo>
                    <a:pt x="578" y="357"/>
                  </a:lnTo>
                  <a:lnTo>
                    <a:pt x="578" y="359"/>
                  </a:lnTo>
                  <a:lnTo>
                    <a:pt x="578" y="361"/>
                  </a:lnTo>
                  <a:lnTo>
                    <a:pt x="576" y="361"/>
                  </a:lnTo>
                  <a:lnTo>
                    <a:pt x="576" y="363"/>
                  </a:lnTo>
                  <a:lnTo>
                    <a:pt x="573" y="365"/>
                  </a:lnTo>
                  <a:lnTo>
                    <a:pt x="576" y="365"/>
                  </a:lnTo>
                  <a:lnTo>
                    <a:pt x="576" y="367"/>
                  </a:lnTo>
                  <a:lnTo>
                    <a:pt x="578" y="367"/>
                  </a:lnTo>
                  <a:lnTo>
                    <a:pt x="580" y="367"/>
                  </a:lnTo>
                  <a:lnTo>
                    <a:pt x="582" y="369"/>
                  </a:lnTo>
                  <a:lnTo>
                    <a:pt x="582" y="371"/>
                  </a:lnTo>
                  <a:lnTo>
                    <a:pt x="582" y="373"/>
                  </a:lnTo>
                  <a:lnTo>
                    <a:pt x="584" y="373"/>
                  </a:lnTo>
                  <a:lnTo>
                    <a:pt x="586" y="373"/>
                  </a:lnTo>
                  <a:lnTo>
                    <a:pt x="588" y="373"/>
                  </a:lnTo>
                  <a:lnTo>
                    <a:pt x="588" y="375"/>
                  </a:lnTo>
                  <a:lnTo>
                    <a:pt x="591" y="375"/>
                  </a:lnTo>
                  <a:lnTo>
                    <a:pt x="593" y="377"/>
                  </a:lnTo>
                  <a:lnTo>
                    <a:pt x="595" y="377"/>
                  </a:lnTo>
                  <a:lnTo>
                    <a:pt x="597" y="379"/>
                  </a:lnTo>
                  <a:lnTo>
                    <a:pt x="599" y="377"/>
                  </a:lnTo>
                  <a:lnTo>
                    <a:pt x="599" y="379"/>
                  </a:lnTo>
                  <a:lnTo>
                    <a:pt x="601" y="379"/>
                  </a:lnTo>
                  <a:lnTo>
                    <a:pt x="601" y="381"/>
                  </a:lnTo>
                  <a:lnTo>
                    <a:pt x="603" y="383"/>
                  </a:lnTo>
                  <a:lnTo>
                    <a:pt x="603" y="385"/>
                  </a:lnTo>
                  <a:lnTo>
                    <a:pt x="603" y="387"/>
                  </a:lnTo>
                  <a:lnTo>
                    <a:pt x="606" y="387"/>
                  </a:lnTo>
                  <a:lnTo>
                    <a:pt x="606" y="389"/>
                  </a:lnTo>
                  <a:lnTo>
                    <a:pt x="608" y="389"/>
                  </a:lnTo>
                  <a:lnTo>
                    <a:pt x="608" y="391"/>
                  </a:lnTo>
                  <a:lnTo>
                    <a:pt x="610" y="393"/>
                  </a:lnTo>
                  <a:lnTo>
                    <a:pt x="612" y="393"/>
                  </a:lnTo>
                  <a:lnTo>
                    <a:pt x="612" y="395"/>
                  </a:lnTo>
                  <a:lnTo>
                    <a:pt x="614" y="397"/>
                  </a:lnTo>
                  <a:lnTo>
                    <a:pt x="614" y="399"/>
                  </a:lnTo>
                  <a:lnTo>
                    <a:pt x="614" y="401"/>
                  </a:lnTo>
                  <a:lnTo>
                    <a:pt x="614" y="401"/>
                  </a:lnTo>
                  <a:lnTo>
                    <a:pt x="616" y="403"/>
                  </a:lnTo>
                  <a:lnTo>
                    <a:pt x="618" y="403"/>
                  </a:lnTo>
                  <a:lnTo>
                    <a:pt x="618" y="405"/>
                  </a:lnTo>
                  <a:lnTo>
                    <a:pt x="621" y="405"/>
                  </a:lnTo>
                  <a:lnTo>
                    <a:pt x="623" y="405"/>
                  </a:lnTo>
                  <a:lnTo>
                    <a:pt x="623" y="405"/>
                  </a:lnTo>
                  <a:lnTo>
                    <a:pt x="623" y="407"/>
                  </a:lnTo>
                  <a:lnTo>
                    <a:pt x="621" y="409"/>
                  </a:lnTo>
                  <a:lnTo>
                    <a:pt x="621" y="409"/>
                  </a:lnTo>
                  <a:lnTo>
                    <a:pt x="623" y="411"/>
                  </a:lnTo>
                  <a:lnTo>
                    <a:pt x="623" y="413"/>
                  </a:lnTo>
                  <a:lnTo>
                    <a:pt x="625" y="413"/>
                  </a:lnTo>
                  <a:lnTo>
                    <a:pt x="625" y="415"/>
                  </a:lnTo>
                  <a:lnTo>
                    <a:pt x="625" y="417"/>
                  </a:lnTo>
                  <a:lnTo>
                    <a:pt x="625" y="419"/>
                  </a:lnTo>
                  <a:lnTo>
                    <a:pt x="627" y="419"/>
                  </a:lnTo>
                  <a:lnTo>
                    <a:pt x="629" y="419"/>
                  </a:lnTo>
                  <a:lnTo>
                    <a:pt x="631" y="419"/>
                  </a:lnTo>
                  <a:lnTo>
                    <a:pt x="633" y="419"/>
                  </a:lnTo>
                  <a:lnTo>
                    <a:pt x="636" y="419"/>
                  </a:lnTo>
                  <a:lnTo>
                    <a:pt x="638" y="419"/>
                  </a:lnTo>
                  <a:lnTo>
                    <a:pt x="638" y="419"/>
                  </a:lnTo>
                  <a:lnTo>
                    <a:pt x="640" y="421"/>
                  </a:lnTo>
                  <a:lnTo>
                    <a:pt x="640" y="423"/>
                  </a:lnTo>
                  <a:lnTo>
                    <a:pt x="642" y="423"/>
                  </a:lnTo>
                  <a:lnTo>
                    <a:pt x="644" y="425"/>
                  </a:lnTo>
                  <a:lnTo>
                    <a:pt x="646" y="423"/>
                  </a:lnTo>
                  <a:lnTo>
                    <a:pt x="649" y="425"/>
                  </a:lnTo>
                  <a:lnTo>
                    <a:pt x="649" y="427"/>
                  </a:lnTo>
                  <a:lnTo>
                    <a:pt x="651" y="427"/>
                  </a:lnTo>
                  <a:lnTo>
                    <a:pt x="653" y="427"/>
                  </a:lnTo>
                  <a:lnTo>
                    <a:pt x="653" y="427"/>
                  </a:lnTo>
                  <a:lnTo>
                    <a:pt x="655" y="429"/>
                  </a:lnTo>
                  <a:lnTo>
                    <a:pt x="657" y="429"/>
                  </a:lnTo>
                  <a:lnTo>
                    <a:pt x="659" y="427"/>
                  </a:lnTo>
                  <a:lnTo>
                    <a:pt x="659" y="425"/>
                  </a:lnTo>
                  <a:lnTo>
                    <a:pt x="661" y="425"/>
                  </a:lnTo>
                  <a:lnTo>
                    <a:pt x="661" y="423"/>
                  </a:lnTo>
                  <a:lnTo>
                    <a:pt x="664" y="421"/>
                  </a:lnTo>
                  <a:lnTo>
                    <a:pt x="666" y="419"/>
                  </a:lnTo>
                  <a:lnTo>
                    <a:pt x="666" y="419"/>
                  </a:lnTo>
                  <a:lnTo>
                    <a:pt x="668" y="419"/>
                  </a:lnTo>
                  <a:lnTo>
                    <a:pt x="668" y="421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72" y="427"/>
                  </a:lnTo>
                  <a:lnTo>
                    <a:pt x="674" y="427"/>
                  </a:lnTo>
                  <a:lnTo>
                    <a:pt x="674" y="429"/>
                  </a:lnTo>
                  <a:lnTo>
                    <a:pt x="676" y="429"/>
                  </a:lnTo>
                  <a:lnTo>
                    <a:pt x="679" y="431"/>
                  </a:lnTo>
                  <a:lnTo>
                    <a:pt x="681" y="431"/>
                  </a:lnTo>
                  <a:lnTo>
                    <a:pt x="683" y="431"/>
                  </a:lnTo>
                  <a:lnTo>
                    <a:pt x="685" y="431"/>
                  </a:lnTo>
                  <a:lnTo>
                    <a:pt x="685" y="429"/>
                  </a:lnTo>
                  <a:lnTo>
                    <a:pt x="687" y="429"/>
                  </a:lnTo>
                  <a:lnTo>
                    <a:pt x="689" y="429"/>
                  </a:lnTo>
                  <a:lnTo>
                    <a:pt x="689" y="431"/>
                  </a:lnTo>
                  <a:lnTo>
                    <a:pt x="691" y="431"/>
                  </a:lnTo>
                  <a:lnTo>
                    <a:pt x="691" y="433"/>
                  </a:lnTo>
                  <a:lnTo>
                    <a:pt x="694" y="435"/>
                  </a:lnTo>
                  <a:lnTo>
                    <a:pt x="696" y="435"/>
                  </a:lnTo>
                  <a:lnTo>
                    <a:pt x="698" y="437"/>
                  </a:lnTo>
                  <a:lnTo>
                    <a:pt x="698" y="437"/>
                  </a:lnTo>
                  <a:lnTo>
                    <a:pt x="700" y="439"/>
                  </a:lnTo>
                  <a:lnTo>
                    <a:pt x="700" y="439"/>
                  </a:lnTo>
                  <a:lnTo>
                    <a:pt x="700" y="441"/>
                  </a:lnTo>
                  <a:lnTo>
                    <a:pt x="702" y="443"/>
                  </a:lnTo>
                  <a:lnTo>
                    <a:pt x="700" y="445"/>
                  </a:lnTo>
                  <a:lnTo>
                    <a:pt x="700" y="447"/>
                  </a:lnTo>
                  <a:lnTo>
                    <a:pt x="698" y="449"/>
                  </a:lnTo>
                  <a:lnTo>
                    <a:pt x="698" y="449"/>
                  </a:lnTo>
                  <a:lnTo>
                    <a:pt x="696" y="449"/>
                  </a:lnTo>
                  <a:lnTo>
                    <a:pt x="694" y="449"/>
                  </a:lnTo>
                  <a:lnTo>
                    <a:pt x="694" y="451"/>
                  </a:lnTo>
                  <a:lnTo>
                    <a:pt x="696" y="451"/>
                  </a:lnTo>
                  <a:lnTo>
                    <a:pt x="694" y="453"/>
                  </a:lnTo>
                  <a:lnTo>
                    <a:pt x="694" y="453"/>
                  </a:lnTo>
                  <a:lnTo>
                    <a:pt x="694" y="455"/>
                  </a:lnTo>
                  <a:lnTo>
                    <a:pt x="691" y="457"/>
                  </a:lnTo>
                  <a:lnTo>
                    <a:pt x="691" y="459"/>
                  </a:lnTo>
                  <a:lnTo>
                    <a:pt x="689" y="459"/>
                  </a:lnTo>
                  <a:lnTo>
                    <a:pt x="687" y="461"/>
                  </a:lnTo>
                  <a:lnTo>
                    <a:pt x="685" y="461"/>
                  </a:lnTo>
                  <a:lnTo>
                    <a:pt x="685" y="463"/>
                  </a:lnTo>
                  <a:lnTo>
                    <a:pt x="683" y="465"/>
                  </a:lnTo>
                  <a:lnTo>
                    <a:pt x="683" y="465"/>
                  </a:lnTo>
                  <a:lnTo>
                    <a:pt x="681" y="467"/>
                  </a:lnTo>
                  <a:lnTo>
                    <a:pt x="681" y="469"/>
                  </a:lnTo>
                  <a:lnTo>
                    <a:pt x="681" y="471"/>
                  </a:lnTo>
                  <a:lnTo>
                    <a:pt x="681" y="473"/>
                  </a:lnTo>
                  <a:lnTo>
                    <a:pt x="681" y="475"/>
                  </a:lnTo>
                  <a:lnTo>
                    <a:pt x="681" y="473"/>
                  </a:lnTo>
                  <a:lnTo>
                    <a:pt x="683" y="473"/>
                  </a:lnTo>
                  <a:lnTo>
                    <a:pt x="685" y="473"/>
                  </a:lnTo>
                  <a:lnTo>
                    <a:pt x="687" y="473"/>
                  </a:lnTo>
                  <a:lnTo>
                    <a:pt x="689" y="473"/>
                  </a:lnTo>
                  <a:lnTo>
                    <a:pt x="691" y="475"/>
                  </a:lnTo>
                  <a:lnTo>
                    <a:pt x="691" y="475"/>
                  </a:lnTo>
                  <a:lnTo>
                    <a:pt x="694" y="475"/>
                  </a:lnTo>
                  <a:lnTo>
                    <a:pt x="696" y="475"/>
                  </a:lnTo>
                  <a:lnTo>
                    <a:pt x="696" y="477"/>
                  </a:lnTo>
                  <a:lnTo>
                    <a:pt x="698" y="479"/>
                  </a:lnTo>
                  <a:lnTo>
                    <a:pt x="698" y="479"/>
                  </a:lnTo>
                  <a:lnTo>
                    <a:pt x="700" y="481"/>
                  </a:lnTo>
                  <a:lnTo>
                    <a:pt x="702" y="483"/>
                  </a:lnTo>
                  <a:lnTo>
                    <a:pt x="702" y="483"/>
                  </a:lnTo>
                  <a:lnTo>
                    <a:pt x="704" y="485"/>
                  </a:lnTo>
                  <a:lnTo>
                    <a:pt x="707" y="487"/>
                  </a:lnTo>
                  <a:lnTo>
                    <a:pt x="707" y="487"/>
                  </a:lnTo>
                  <a:lnTo>
                    <a:pt x="709" y="487"/>
                  </a:lnTo>
                  <a:lnTo>
                    <a:pt x="711" y="487"/>
                  </a:lnTo>
                  <a:lnTo>
                    <a:pt x="713" y="487"/>
                  </a:lnTo>
                  <a:lnTo>
                    <a:pt x="713" y="489"/>
                  </a:lnTo>
                  <a:lnTo>
                    <a:pt x="715" y="491"/>
                  </a:lnTo>
                  <a:lnTo>
                    <a:pt x="715" y="491"/>
                  </a:lnTo>
                  <a:lnTo>
                    <a:pt x="715" y="493"/>
                  </a:lnTo>
                  <a:lnTo>
                    <a:pt x="713" y="495"/>
                  </a:lnTo>
                  <a:lnTo>
                    <a:pt x="713" y="497"/>
                  </a:lnTo>
                  <a:lnTo>
                    <a:pt x="713" y="499"/>
                  </a:lnTo>
                  <a:lnTo>
                    <a:pt x="715" y="501"/>
                  </a:lnTo>
                  <a:lnTo>
                    <a:pt x="715" y="501"/>
                  </a:lnTo>
                  <a:lnTo>
                    <a:pt x="717" y="503"/>
                  </a:lnTo>
                  <a:lnTo>
                    <a:pt x="719" y="503"/>
                  </a:lnTo>
                  <a:lnTo>
                    <a:pt x="719" y="505"/>
                  </a:lnTo>
                  <a:lnTo>
                    <a:pt x="722" y="506"/>
                  </a:lnTo>
                  <a:lnTo>
                    <a:pt x="722" y="506"/>
                  </a:lnTo>
                  <a:lnTo>
                    <a:pt x="724" y="508"/>
                  </a:lnTo>
                  <a:lnTo>
                    <a:pt x="724" y="510"/>
                  </a:lnTo>
                  <a:lnTo>
                    <a:pt x="722" y="512"/>
                  </a:lnTo>
                  <a:lnTo>
                    <a:pt x="722" y="514"/>
                  </a:lnTo>
                  <a:lnTo>
                    <a:pt x="724" y="514"/>
                  </a:lnTo>
                  <a:lnTo>
                    <a:pt x="726" y="516"/>
                  </a:lnTo>
                  <a:lnTo>
                    <a:pt x="726" y="518"/>
                  </a:lnTo>
                  <a:lnTo>
                    <a:pt x="726" y="520"/>
                  </a:lnTo>
                  <a:lnTo>
                    <a:pt x="726" y="522"/>
                  </a:lnTo>
                  <a:lnTo>
                    <a:pt x="726" y="522"/>
                  </a:lnTo>
                  <a:lnTo>
                    <a:pt x="728" y="524"/>
                  </a:lnTo>
                  <a:lnTo>
                    <a:pt x="728" y="524"/>
                  </a:lnTo>
                  <a:lnTo>
                    <a:pt x="728" y="524"/>
                  </a:lnTo>
                  <a:lnTo>
                    <a:pt x="726" y="526"/>
                  </a:lnTo>
                  <a:lnTo>
                    <a:pt x="726" y="526"/>
                  </a:lnTo>
                  <a:lnTo>
                    <a:pt x="724" y="528"/>
                  </a:lnTo>
                  <a:lnTo>
                    <a:pt x="724" y="530"/>
                  </a:lnTo>
                  <a:lnTo>
                    <a:pt x="722" y="530"/>
                  </a:lnTo>
                  <a:lnTo>
                    <a:pt x="719" y="532"/>
                  </a:lnTo>
                  <a:lnTo>
                    <a:pt x="719" y="534"/>
                  </a:lnTo>
                  <a:lnTo>
                    <a:pt x="719" y="536"/>
                  </a:lnTo>
                  <a:lnTo>
                    <a:pt x="719" y="538"/>
                  </a:lnTo>
                  <a:lnTo>
                    <a:pt x="719" y="538"/>
                  </a:lnTo>
                  <a:lnTo>
                    <a:pt x="722" y="538"/>
                  </a:lnTo>
                  <a:lnTo>
                    <a:pt x="724" y="538"/>
                  </a:lnTo>
                  <a:lnTo>
                    <a:pt x="724" y="536"/>
                  </a:lnTo>
                  <a:lnTo>
                    <a:pt x="726" y="536"/>
                  </a:lnTo>
                  <a:lnTo>
                    <a:pt x="726" y="534"/>
                  </a:lnTo>
                  <a:lnTo>
                    <a:pt x="728" y="534"/>
                  </a:lnTo>
                  <a:lnTo>
                    <a:pt x="730" y="534"/>
                  </a:lnTo>
                  <a:lnTo>
                    <a:pt x="732" y="534"/>
                  </a:lnTo>
                  <a:lnTo>
                    <a:pt x="734" y="534"/>
                  </a:lnTo>
                  <a:lnTo>
                    <a:pt x="734" y="536"/>
                  </a:lnTo>
                  <a:lnTo>
                    <a:pt x="734" y="538"/>
                  </a:lnTo>
                  <a:lnTo>
                    <a:pt x="737" y="538"/>
                  </a:lnTo>
                  <a:lnTo>
                    <a:pt x="739" y="538"/>
                  </a:lnTo>
                  <a:lnTo>
                    <a:pt x="739" y="536"/>
                  </a:lnTo>
                  <a:lnTo>
                    <a:pt x="741" y="536"/>
                  </a:lnTo>
                  <a:lnTo>
                    <a:pt x="743" y="536"/>
                  </a:lnTo>
                  <a:lnTo>
                    <a:pt x="743" y="536"/>
                  </a:lnTo>
                  <a:lnTo>
                    <a:pt x="745" y="538"/>
                  </a:lnTo>
                  <a:lnTo>
                    <a:pt x="745" y="538"/>
                  </a:lnTo>
                  <a:lnTo>
                    <a:pt x="745" y="540"/>
                  </a:lnTo>
                  <a:lnTo>
                    <a:pt x="743" y="542"/>
                  </a:lnTo>
                  <a:lnTo>
                    <a:pt x="745" y="542"/>
                  </a:lnTo>
                  <a:lnTo>
                    <a:pt x="747" y="544"/>
                  </a:lnTo>
                  <a:lnTo>
                    <a:pt x="749" y="544"/>
                  </a:lnTo>
                  <a:lnTo>
                    <a:pt x="752" y="544"/>
                  </a:lnTo>
                  <a:lnTo>
                    <a:pt x="752" y="542"/>
                  </a:lnTo>
                  <a:lnTo>
                    <a:pt x="754" y="542"/>
                  </a:lnTo>
                  <a:lnTo>
                    <a:pt x="756" y="542"/>
                  </a:lnTo>
                  <a:lnTo>
                    <a:pt x="756" y="542"/>
                  </a:lnTo>
                  <a:lnTo>
                    <a:pt x="756" y="540"/>
                  </a:lnTo>
                  <a:lnTo>
                    <a:pt x="758" y="538"/>
                  </a:lnTo>
                  <a:lnTo>
                    <a:pt x="758" y="536"/>
                  </a:lnTo>
                  <a:lnTo>
                    <a:pt x="758" y="534"/>
                  </a:lnTo>
                  <a:lnTo>
                    <a:pt x="758" y="534"/>
                  </a:lnTo>
                  <a:lnTo>
                    <a:pt x="758" y="532"/>
                  </a:lnTo>
                  <a:lnTo>
                    <a:pt x="760" y="530"/>
                  </a:lnTo>
                  <a:lnTo>
                    <a:pt x="762" y="530"/>
                  </a:lnTo>
                  <a:lnTo>
                    <a:pt x="762" y="528"/>
                  </a:lnTo>
                  <a:lnTo>
                    <a:pt x="760" y="526"/>
                  </a:lnTo>
                  <a:lnTo>
                    <a:pt x="762" y="524"/>
                  </a:lnTo>
                  <a:lnTo>
                    <a:pt x="762" y="524"/>
                  </a:lnTo>
                  <a:lnTo>
                    <a:pt x="762" y="522"/>
                  </a:lnTo>
                  <a:lnTo>
                    <a:pt x="764" y="520"/>
                  </a:lnTo>
                  <a:lnTo>
                    <a:pt x="767" y="520"/>
                  </a:lnTo>
                  <a:lnTo>
                    <a:pt x="767" y="520"/>
                  </a:lnTo>
                  <a:lnTo>
                    <a:pt x="769" y="518"/>
                  </a:lnTo>
                  <a:lnTo>
                    <a:pt x="769" y="516"/>
                  </a:lnTo>
                  <a:lnTo>
                    <a:pt x="771" y="514"/>
                  </a:lnTo>
                  <a:lnTo>
                    <a:pt x="771" y="514"/>
                  </a:lnTo>
                  <a:lnTo>
                    <a:pt x="773" y="512"/>
                  </a:lnTo>
                  <a:lnTo>
                    <a:pt x="773" y="512"/>
                  </a:lnTo>
                  <a:lnTo>
                    <a:pt x="773" y="510"/>
                  </a:lnTo>
                  <a:lnTo>
                    <a:pt x="771" y="510"/>
                  </a:lnTo>
                  <a:lnTo>
                    <a:pt x="771" y="510"/>
                  </a:lnTo>
                  <a:lnTo>
                    <a:pt x="769" y="508"/>
                  </a:lnTo>
                  <a:lnTo>
                    <a:pt x="769" y="506"/>
                  </a:lnTo>
                  <a:lnTo>
                    <a:pt x="769" y="506"/>
                  </a:lnTo>
                  <a:lnTo>
                    <a:pt x="769" y="506"/>
                  </a:lnTo>
                  <a:lnTo>
                    <a:pt x="767" y="506"/>
                  </a:lnTo>
                  <a:lnTo>
                    <a:pt x="767" y="505"/>
                  </a:lnTo>
                  <a:lnTo>
                    <a:pt x="764" y="505"/>
                  </a:lnTo>
                  <a:lnTo>
                    <a:pt x="764" y="503"/>
                  </a:lnTo>
                  <a:lnTo>
                    <a:pt x="762" y="503"/>
                  </a:lnTo>
                  <a:lnTo>
                    <a:pt x="762" y="501"/>
                  </a:lnTo>
                  <a:lnTo>
                    <a:pt x="760" y="501"/>
                  </a:lnTo>
                  <a:lnTo>
                    <a:pt x="758" y="501"/>
                  </a:lnTo>
                  <a:lnTo>
                    <a:pt x="756" y="501"/>
                  </a:lnTo>
                  <a:lnTo>
                    <a:pt x="754" y="499"/>
                  </a:lnTo>
                  <a:lnTo>
                    <a:pt x="752" y="499"/>
                  </a:lnTo>
                  <a:lnTo>
                    <a:pt x="752" y="499"/>
                  </a:lnTo>
                  <a:lnTo>
                    <a:pt x="752" y="497"/>
                  </a:lnTo>
                  <a:lnTo>
                    <a:pt x="752" y="495"/>
                  </a:lnTo>
                  <a:lnTo>
                    <a:pt x="752" y="495"/>
                  </a:lnTo>
                  <a:lnTo>
                    <a:pt x="749" y="493"/>
                  </a:lnTo>
                  <a:lnTo>
                    <a:pt x="752" y="491"/>
                  </a:lnTo>
                  <a:lnTo>
                    <a:pt x="752" y="489"/>
                  </a:lnTo>
                  <a:lnTo>
                    <a:pt x="749" y="487"/>
                  </a:lnTo>
                  <a:lnTo>
                    <a:pt x="749" y="485"/>
                  </a:lnTo>
                  <a:lnTo>
                    <a:pt x="747" y="485"/>
                  </a:lnTo>
                  <a:lnTo>
                    <a:pt x="745" y="485"/>
                  </a:lnTo>
                  <a:lnTo>
                    <a:pt x="745" y="483"/>
                  </a:lnTo>
                  <a:lnTo>
                    <a:pt x="743" y="483"/>
                  </a:lnTo>
                  <a:lnTo>
                    <a:pt x="743" y="481"/>
                  </a:lnTo>
                  <a:lnTo>
                    <a:pt x="745" y="481"/>
                  </a:lnTo>
                  <a:lnTo>
                    <a:pt x="745" y="479"/>
                  </a:lnTo>
                  <a:lnTo>
                    <a:pt x="745" y="477"/>
                  </a:lnTo>
                  <a:lnTo>
                    <a:pt x="747" y="477"/>
                  </a:lnTo>
                  <a:lnTo>
                    <a:pt x="749" y="477"/>
                  </a:lnTo>
                  <a:lnTo>
                    <a:pt x="749" y="477"/>
                  </a:lnTo>
                  <a:lnTo>
                    <a:pt x="749" y="475"/>
                  </a:lnTo>
                  <a:lnTo>
                    <a:pt x="752" y="475"/>
                  </a:lnTo>
                  <a:lnTo>
                    <a:pt x="754" y="473"/>
                  </a:lnTo>
                  <a:lnTo>
                    <a:pt x="754" y="473"/>
                  </a:lnTo>
                  <a:lnTo>
                    <a:pt x="754" y="471"/>
                  </a:lnTo>
                  <a:lnTo>
                    <a:pt x="754" y="469"/>
                  </a:lnTo>
                  <a:lnTo>
                    <a:pt x="754" y="467"/>
                  </a:lnTo>
                  <a:lnTo>
                    <a:pt x="754" y="465"/>
                  </a:lnTo>
                  <a:lnTo>
                    <a:pt x="754" y="463"/>
                  </a:lnTo>
                  <a:lnTo>
                    <a:pt x="752" y="463"/>
                  </a:lnTo>
                  <a:lnTo>
                    <a:pt x="752" y="461"/>
                  </a:lnTo>
                  <a:lnTo>
                    <a:pt x="749" y="459"/>
                  </a:lnTo>
                  <a:lnTo>
                    <a:pt x="749" y="457"/>
                  </a:lnTo>
                  <a:lnTo>
                    <a:pt x="749" y="457"/>
                  </a:lnTo>
                  <a:lnTo>
                    <a:pt x="749" y="455"/>
                  </a:lnTo>
                  <a:lnTo>
                    <a:pt x="749" y="453"/>
                  </a:lnTo>
                  <a:lnTo>
                    <a:pt x="752" y="451"/>
                  </a:lnTo>
                  <a:lnTo>
                    <a:pt x="752" y="449"/>
                  </a:lnTo>
                  <a:lnTo>
                    <a:pt x="752" y="449"/>
                  </a:lnTo>
                  <a:lnTo>
                    <a:pt x="754" y="447"/>
                  </a:lnTo>
                  <a:lnTo>
                    <a:pt x="756" y="447"/>
                  </a:lnTo>
                  <a:lnTo>
                    <a:pt x="758" y="445"/>
                  </a:lnTo>
                  <a:lnTo>
                    <a:pt x="760" y="445"/>
                  </a:lnTo>
                  <a:lnTo>
                    <a:pt x="760" y="445"/>
                  </a:lnTo>
                  <a:lnTo>
                    <a:pt x="762" y="443"/>
                  </a:lnTo>
                  <a:lnTo>
                    <a:pt x="764" y="445"/>
                  </a:lnTo>
                  <a:lnTo>
                    <a:pt x="767" y="443"/>
                  </a:lnTo>
                  <a:lnTo>
                    <a:pt x="769" y="443"/>
                  </a:lnTo>
                  <a:lnTo>
                    <a:pt x="771" y="443"/>
                  </a:lnTo>
                  <a:lnTo>
                    <a:pt x="771" y="441"/>
                  </a:lnTo>
                  <a:lnTo>
                    <a:pt x="771" y="439"/>
                  </a:lnTo>
                  <a:lnTo>
                    <a:pt x="771" y="437"/>
                  </a:lnTo>
                  <a:lnTo>
                    <a:pt x="773" y="437"/>
                  </a:lnTo>
                  <a:lnTo>
                    <a:pt x="773" y="435"/>
                  </a:lnTo>
                  <a:lnTo>
                    <a:pt x="773" y="433"/>
                  </a:lnTo>
                  <a:lnTo>
                    <a:pt x="773" y="431"/>
                  </a:lnTo>
                  <a:lnTo>
                    <a:pt x="773" y="429"/>
                  </a:lnTo>
                  <a:lnTo>
                    <a:pt x="771" y="427"/>
                  </a:lnTo>
                  <a:lnTo>
                    <a:pt x="771" y="425"/>
                  </a:lnTo>
                  <a:lnTo>
                    <a:pt x="771" y="425"/>
                  </a:lnTo>
                  <a:lnTo>
                    <a:pt x="769" y="423"/>
                  </a:lnTo>
                  <a:lnTo>
                    <a:pt x="769" y="421"/>
                  </a:lnTo>
                  <a:lnTo>
                    <a:pt x="769" y="419"/>
                  </a:lnTo>
                  <a:lnTo>
                    <a:pt x="771" y="419"/>
                  </a:lnTo>
                  <a:lnTo>
                    <a:pt x="775" y="417"/>
                  </a:lnTo>
                  <a:lnTo>
                    <a:pt x="775" y="417"/>
                  </a:lnTo>
                  <a:lnTo>
                    <a:pt x="777" y="417"/>
                  </a:lnTo>
                  <a:lnTo>
                    <a:pt x="777" y="415"/>
                  </a:lnTo>
                  <a:lnTo>
                    <a:pt x="780" y="415"/>
                  </a:lnTo>
                  <a:lnTo>
                    <a:pt x="782" y="413"/>
                  </a:lnTo>
                  <a:lnTo>
                    <a:pt x="784" y="413"/>
                  </a:lnTo>
                  <a:lnTo>
                    <a:pt x="784" y="411"/>
                  </a:lnTo>
                  <a:lnTo>
                    <a:pt x="786" y="411"/>
                  </a:lnTo>
                  <a:lnTo>
                    <a:pt x="786" y="409"/>
                  </a:lnTo>
                  <a:lnTo>
                    <a:pt x="788" y="407"/>
                  </a:lnTo>
                  <a:lnTo>
                    <a:pt x="788" y="405"/>
                  </a:lnTo>
                  <a:lnTo>
                    <a:pt x="790" y="405"/>
                  </a:lnTo>
                  <a:lnTo>
                    <a:pt x="792" y="403"/>
                  </a:lnTo>
                  <a:lnTo>
                    <a:pt x="792" y="403"/>
                  </a:lnTo>
                  <a:lnTo>
                    <a:pt x="795" y="401"/>
                  </a:lnTo>
                  <a:lnTo>
                    <a:pt x="795" y="399"/>
                  </a:lnTo>
                  <a:lnTo>
                    <a:pt x="797" y="399"/>
                  </a:lnTo>
                  <a:lnTo>
                    <a:pt x="799" y="399"/>
                  </a:lnTo>
                  <a:lnTo>
                    <a:pt x="801" y="399"/>
                  </a:lnTo>
                  <a:lnTo>
                    <a:pt x="801" y="399"/>
                  </a:lnTo>
                  <a:lnTo>
                    <a:pt x="803" y="399"/>
                  </a:lnTo>
                  <a:lnTo>
                    <a:pt x="803" y="397"/>
                  </a:lnTo>
                  <a:lnTo>
                    <a:pt x="805" y="395"/>
                  </a:lnTo>
                  <a:lnTo>
                    <a:pt x="805" y="393"/>
                  </a:lnTo>
                  <a:lnTo>
                    <a:pt x="807" y="393"/>
                  </a:lnTo>
                  <a:lnTo>
                    <a:pt x="805" y="391"/>
                  </a:lnTo>
                  <a:lnTo>
                    <a:pt x="807" y="389"/>
                  </a:lnTo>
                  <a:lnTo>
                    <a:pt x="807" y="387"/>
                  </a:lnTo>
                  <a:lnTo>
                    <a:pt x="807" y="385"/>
                  </a:lnTo>
                  <a:lnTo>
                    <a:pt x="807" y="383"/>
                  </a:lnTo>
                  <a:lnTo>
                    <a:pt x="810" y="383"/>
                  </a:lnTo>
                  <a:lnTo>
                    <a:pt x="812" y="383"/>
                  </a:lnTo>
                  <a:lnTo>
                    <a:pt x="814" y="381"/>
                  </a:lnTo>
                  <a:lnTo>
                    <a:pt x="814" y="379"/>
                  </a:lnTo>
                  <a:lnTo>
                    <a:pt x="814" y="377"/>
                  </a:lnTo>
                  <a:lnTo>
                    <a:pt x="814" y="375"/>
                  </a:lnTo>
                  <a:lnTo>
                    <a:pt x="814" y="375"/>
                  </a:lnTo>
                  <a:lnTo>
                    <a:pt x="816" y="373"/>
                  </a:lnTo>
                  <a:lnTo>
                    <a:pt x="818" y="373"/>
                  </a:lnTo>
                  <a:lnTo>
                    <a:pt x="820" y="373"/>
                  </a:lnTo>
                  <a:lnTo>
                    <a:pt x="822" y="373"/>
                  </a:lnTo>
                  <a:lnTo>
                    <a:pt x="822" y="371"/>
                  </a:lnTo>
                  <a:lnTo>
                    <a:pt x="822" y="369"/>
                  </a:lnTo>
                  <a:lnTo>
                    <a:pt x="822" y="369"/>
                  </a:lnTo>
                  <a:lnTo>
                    <a:pt x="822" y="367"/>
                  </a:lnTo>
                  <a:lnTo>
                    <a:pt x="822" y="365"/>
                  </a:lnTo>
                  <a:lnTo>
                    <a:pt x="822" y="363"/>
                  </a:lnTo>
                  <a:lnTo>
                    <a:pt x="825" y="361"/>
                  </a:lnTo>
                  <a:lnTo>
                    <a:pt x="822" y="359"/>
                  </a:lnTo>
                  <a:lnTo>
                    <a:pt x="825" y="359"/>
                  </a:lnTo>
                  <a:lnTo>
                    <a:pt x="827" y="357"/>
                  </a:lnTo>
                  <a:lnTo>
                    <a:pt x="827" y="355"/>
                  </a:lnTo>
                  <a:lnTo>
                    <a:pt x="827" y="353"/>
                  </a:lnTo>
                  <a:lnTo>
                    <a:pt x="829" y="353"/>
                  </a:lnTo>
                  <a:lnTo>
                    <a:pt x="829" y="351"/>
                  </a:lnTo>
                  <a:lnTo>
                    <a:pt x="831" y="349"/>
                  </a:lnTo>
                  <a:lnTo>
                    <a:pt x="831" y="347"/>
                  </a:lnTo>
                  <a:lnTo>
                    <a:pt x="833" y="347"/>
                  </a:lnTo>
                  <a:lnTo>
                    <a:pt x="833" y="345"/>
                  </a:lnTo>
                  <a:lnTo>
                    <a:pt x="833" y="343"/>
                  </a:lnTo>
                  <a:lnTo>
                    <a:pt x="833" y="341"/>
                  </a:lnTo>
                  <a:lnTo>
                    <a:pt x="833" y="339"/>
                  </a:lnTo>
                  <a:lnTo>
                    <a:pt x="835" y="339"/>
                  </a:lnTo>
                  <a:lnTo>
                    <a:pt x="838" y="337"/>
                  </a:lnTo>
                  <a:lnTo>
                    <a:pt x="838" y="337"/>
                  </a:lnTo>
                  <a:lnTo>
                    <a:pt x="838" y="335"/>
                  </a:lnTo>
                  <a:lnTo>
                    <a:pt x="838" y="333"/>
                  </a:lnTo>
                  <a:lnTo>
                    <a:pt x="835" y="331"/>
                  </a:lnTo>
                  <a:lnTo>
                    <a:pt x="835" y="331"/>
                  </a:lnTo>
                  <a:lnTo>
                    <a:pt x="838" y="329"/>
                  </a:lnTo>
                  <a:lnTo>
                    <a:pt x="838" y="327"/>
                  </a:lnTo>
                  <a:lnTo>
                    <a:pt x="838" y="325"/>
                  </a:lnTo>
                  <a:lnTo>
                    <a:pt x="838" y="323"/>
                  </a:lnTo>
                  <a:lnTo>
                    <a:pt x="838" y="323"/>
                  </a:lnTo>
                  <a:lnTo>
                    <a:pt x="835" y="321"/>
                  </a:lnTo>
                  <a:lnTo>
                    <a:pt x="833" y="321"/>
                  </a:lnTo>
                  <a:lnTo>
                    <a:pt x="833" y="319"/>
                  </a:lnTo>
                  <a:lnTo>
                    <a:pt x="831" y="317"/>
                  </a:lnTo>
                  <a:lnTo>
                    <a:pt x="831" y="317"/>
                  </a:lnTo>
                  <a:lnTo>
                    <a:pt x="831" y="315"/>
                  </a:lnTo>
                  <a:lnTo>
                    <a:pt x="831" y="313"/>
                  </a:lnTo>
                  <a:lnTo>
                    <a:pt x="833" y="311"/>
                  </a:lnTo>
                  <a:lnTo>
                    <a:pt x="833" y="311"/>
                  </a:lnTo>
                  <a:lnTo>
                    <a:pt x="831" y="309"/>
                  </a:lnTo>
                  <a:lnTo>
                    <a:pt x="831" y="307"/>
                  </a:lnTo>
                  <a:lnTo>
                    <a:pt x="831" y="305"/>
                  </a:lnTo>
                  <a:lnTo>
                    <a:pt x="833" y="305"/>
                  </a:lnTo>
                  <a:lnTo>
                    <a:pt x="831" y="303"/>
                  </a:lnTo>
                  <a:lnTo>
                    <a:pt x="833" y="301"/>
                  </a:lnTo>
                  <a:lnTo>
                    <a:pt x="833" y="299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29" y="297"/>
                  </a:lnTo>
                  <a:lnTo>
                    <a:pt x="827" y="295"/>
                  </a:lnTo>
                  <a:lnTo>
                    <a:pt x="827" y="293"/>
                  </a:lnTo>
                  <a:lnTo>
                    <a:pt x="825" y="293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89"/>
                  </a:lnTo>
                  <a:lnTo>
                    <a:pt x="822" y="287"/>
                  </a:lnTo>
                  <a:lnTo>
                    <a:pt x="822" y="285"/>
                  </a:lnTo>
                  <a:lnTo>
                    <a:pt x="822" y="283"/>
                  </a:lnTo>
                  <a:lnTo>
                    <a:pt x="825" y="283"/>
                  </a:lnTo>
                  <a:lnTo>
                    <a:pt x="827" y="283"/>
                  </a:lnTo>
                  <a:lnTo>
                    <a:pt x="829" y="281"/>
                  </a:lnTo>
                  <a:lnTo>
                    <a:pt x="831" y="281"/>
                  </a:lnTo>
                  <a:lnTo>
                    <a:pt x="831" y="279"/>
                  </a:lnTo>
                  <a:lnTo>
                    <a:pt x="831" y="277"/>
                  </a:lnTo>
                  <a:lnTo>
                    <a:pt x="831" y="275"/>
                  </a:lnTo>
                  <a:lnTo>
                    <a:pt x="831" y="275"/>
                  </a:lnTo>
                  <a:lnTo>
                    <a:pt x="831" y="273"/>
                  </a:lnTo>
                  <a:lnTo>
                    <a:pt x="831" y="271"/>
                  </a:lnTo>
                  <a:lnTo>
                    <a:pt x="831" y="269"/>
                  </a:lnTo>
                  <a:lnTo>
                    <a:pt x="831" y="267"/>
                  </a:lnTo>
                  <a:lnTo>
                    <a:pt x="831" y="265"/>
                  </a:lnTo>
                  <a:lnTo>
                    <a:pt x="833" y="263"/>
                  </a:lnTo>
                  <a:lnTo>
                    <a:pt x="835" y="263"/>
                  </a:lnTo>
                  <a:lnTo>
                    <a:pt x="838" y="263"/>
                  </a:lnTo>
                  <a:lnTo>
                    <a:pt x="838" y="263"/>
                  </a:lnTo>
                  <a:lnTo>
                    <a:pt x="840" y="261"/>
                  </a:lnTo>
                  <a:lnTo>
                    <a:pt x="842" y="261"/>
                  </a:lnTo>
                  <a:lnTo>
                    <a:pt x="844" y="261"/>
                  </a:lnTo>
                  <a:lnTo>
                    <a:pt x="846" y="261"/>
                  </a:lnTo>
                  <a:lnTo>
                    <a:pt x="848" y="261"/>
                  </a:lnTo>
                  <a:lnTo>
                    <a:pt x="850" y="261"/>
                  </a:lnTo>
                  <a:lnTo>
                    <a:pt x="850" y="261"/>
                  </a:lnTo>
                  <a:lnTo>
                    <a:pt x="853" y="261"/>
                  </a:lnTo>
                  <a:lnTo>
                    <a:pt x="855" y="261"/>
                  </a:lnTo>
                  <a:lnTo>
                    <a:pt x="857" y="259"/>
                  </a:lnTo>
                  <a:lnTo>
                    <a:pt x="857" y="259"/>
                  </a:lnTo>
                  <a:lnTo>
                    <a:pt x="859" y="261"/>
                  </a:lnTo>
                  <a:lnTo>
                    <a:pt x="861" y="261"/>
                  </a:lnTo>
                  <a:lnTo>
                    <a:pt x="861" y="263"/>
                  </a:lnTo>
                  <a:lnTo>
                    <a:pt x="859" y="265"/>
                  </a:lnTo>
                  <a:lnTo>
                    <a:pt x="859" y="267"/>
                  </a:lnTo>
                  <a:lnTo>
                    <a:pt x="861" y="267"/>
                  </a:lnTo>
                  <a:lnTo>
                    <a:pt x="861" y="269"/>
                  </a:lnTo>
                  <a:lnTo>
                    <a:pt x="863" y="269"/>
                  </a:lnTo>
                  <a:lnTo>
                    <a:pt x="865" y="271"/>
                  </a:lnTo>
                  <a:lnTo>
                    <a:pt x="865" y="273"/>
                  </a:lnTo>
                  <a:lnTo>
                    <a:pt x="865" y="273"/>
                  </a:lnTo>
                  <a:lnTo>
                    <a:pt x="868" y="275"/>
                  </a:lnTo>
                  <a:lnTo>
                    <a:pt x="870" y="275"/>
                  </a:lnTo>
                  <a:lnTo>
                    <a:pt x="872" y="277"/>
                  </a:lnTo>
                  <a:lnTo>
                    <a:pt x="874" y="275"/>
                  </a:lnTo>
                  <a:lnTo>
                    <a:pt x="874" y="275"/>
                  </a:lnTo>
                  <a:lnTo>
                    <a:pt x="876" y="273"/>
                  </a:lnTo>
                  <a:lnTo>
                    <a:pt x="876" y="271"/>
                  </a:lnTo>
                  <a:lnTo>
                    <a:pt x="876" y="269"/>
                  </a:lnTo>
                  <a:lnTo>
                    <a:pt x="876" y="267"/>
                  </a:lnTo>
                  <a:lnTo>
                    <a:pt x="876" y="267"/>
                  </a:lnTo>
                  <a:lnTo>
                    <a:pt x="878" y="265"/>
                  </a:lnTo>
                  <a:lnTo>
                    <a:pt x="880" y="263"/>
                  </a:lnTo>
                  <a:lnTo>
                    <a:pt x="880" y="263"/>
                  </a:lnTo>
                  <a:lnTo>
                    <a:pt x="883" y="263"/>
                  </a:lnTo>
                  <a:lnTo>
                    <a:pt x="885" y="261"/>
                  </a:lnTo>
                  <a:lnTo>
                    <a:pt x="885" y="261"/>
                  </a:lnTo>
                  <a:lnTo>
                    <a:pt x="887" y="259"/>
                  </a:lnTo>
                  <a:lnTo>
                    <a:pt x="887" y="259"/>
                  </a:lnTo>
                  <a:lnTo>
                    <a:pt x="887" y="261"/>
                  </a:lnTo>
                  <a:lnTo>
                    <a:pt x="887" y="263"/>
                  </a:lnTo>
                  <a:lnTo>
                    <a:pt x="887" y="265"/>
                  </a:lnTo>
                  <a:lnTo>
                    <a:pt x="887" y="267"/>
                  </a:lnTo>
                  <a:lnTo>
                    <a:pt x="887" y="267"/>
                  </a:lnTo>
                  <a:lnTo>
                    <a:pt x="887" y="269"/>
                  </a:lnTo>
                  <a:lnTo>
                    <a:pt x="887" y="271"/>
                  </a:lnTo>
                  <a:lnTo>
                    <a:pt x="889" y="273"/>
                  </a:lnTo>
                  <a:lnTo>
                    <a:pt x="889" y="275"/>
                  </a:lnTo>
                  <a:lnTo>
                    <a:pt x="887" y="277"/>
                  </a:lnTo>
                  <a:lnTo>
                    <a:pt x="887" y="279"/>
                  </a:lnTo>
                  <a:lnTo>
                    <a:pt x="887" y="279"/>
                  </a:lnTo>
                  <a:lnTo>
                    <a:pt x="887" y="281"/>
                  </a:lnTo>
                  <a:lnTo>
                    <a:pt x="887" y="283"/>
                  </a:lnTo>
                  <a:lnTo>
                    <a:pt x="887" y="285"/>
                  </a:lnTo>
                  <a:lnTo>
                    <a:pt x="887" y="287"/>
                  </a:lnTo>
                  <a:lnTo>
                    <a:pt x="887" y="289"/>
                  </a:lnTo>
                  <a:lnTo>
                    <a:pt x="887" y="291"/>
                  </a:lnTo>
                  <a:lnTo>
                    <a:pt x="885" y="293"/>
                  </a:lnTo>
                  <a:lnTo>
                    <a:pt x="885" y="295"/>
                  </a:lnTo>
                  <a:lnTo>
                    <a:pt x="885" y="297"/>
                  </a:lnTo>
                  <a:lnTo>
                    <a:pt x="887" y="297"/>
                  </a:lnTo>
                  <a:lnTo>
                    <a:pt x="887" y="299"/>
                  </a:lnTo>
                  <a:lnTo>
                    <a:pt x="889" y="301"/>
                  </a:lnTo>
                  <a:lnTo>
                    <a:pt x="889" y="303"/>
                  </a:lnTo>
                  <a:lnTo>
                    <a:pt x="889" y="305"/>
                  </a:lnTo>
                  <a:lnTo>
                    <a:pt x="889" y="307"/>
                  </a:lnTo>
                  <a:lnTo>
                    <a:pt x="891" y="309"/>
                  </a:lnTo>
                  <a:lnTo>
                    <a:pt x="889" y="309"/>
                  </a:lnTo>
                  <a:lnTo>
                    <a:pt x="889" y="311"/>
                  </a:lnTo>
                  <a:lnTo>
                    <a:pt x="889" y="313"/>
                  </a:lnTo>
                  <a:lnTo>
                    <a:pt x="889" y="315"/>
                  </a:lnTo>
                  <a:lnTo>
                    <a:pt x="891" y="315"/>
                  </a:lnTo>
                  <a:lnTo>
                    <a:pt x="891" y="315"/>
                  </a:lnTo>
                  <a:lnTo>
                    <a:pt x="893" y="317"/>
                  </a:lnTo>
                  <a:lnTo>
                    <a:pt x="895" y="317"/>
                  </a:lnTo>
                  <a:lnTo>
                    <a:pt x="898" y="319"/>
                  </a:lnTo>
                  <a:lnTo>
                    <a:pt x="900" y="319"/>
                  </a:lnTo>
                  <a:lnTo>
                    <a:pt x="900" y="321"/>
                  </a:lnTo>
                  <a:lnTo>
                    <a:pt x="900" y="323"/>
                  </a:lnTo>
                  <a:lnTo>
                    <a:pt x="902" y="323"/>
                  </a:lnTo>
                  <a:lnTo>
                    <a:pt x="902" y="325"/>
                  </a:lnTo>
                  <a:lnTo>
                    <a:pt x="902" y="327"/>
                  </a:lnTo>
                  <a:lnTo>
                    <a:pt x="904" y="329"/>
                  </a:lnTo>
                  <a:lnTo>
                    <a:pt x="904" y="331"/>
                  </a:lnTo>
                  <a:lnTo>
                    <a:pt x="904" y="331"/>
                  </a:lnTo>
                  <a:lnTo>
                    <a:pt x="906" y="333"/>
                  </a:lnTo>
                  <a:lnTo>
                    <a:pt x="906" y="335"/>
                  </a:lnTo>
                  <a:lnTo>
                    <a:pt x="908" y="337"/>
                  </a:lnTo>
                  <a:lnTo>
                    <a:pt x="908" y="337"/>
                  </a:lnTo>
                  <a:lnTo>
                    <a:pt x="911" y="339"/>
                  </a:lnTo>
                  <a:lnTo>
                    <a:pt x="911" y="341"/>
                  </a:lnTo>
                  <a:lnTo>
                    <a:pt x="913" y="341"/>
                  </a:lnTo>
                  <a:lnTo>
                    <a:pt x="915" y="343"/>
                  </a:lnTo>
                  <a:lnTo>
                    <a:pt x="915" y="343"/>
                  </a:lnTo>
                  <a:lnTo>
                    <a:pt x="917" y="343"/>
                  </a:lnTo>
                  <a:lnTo>
                    <a:pt x="919" y="343"/>
                  </a:lnTo>
                  <a:lnTo>
                    <a:pt x="919" y="345"/>
                  </a:lnTo>
                  <a:lnTo>
                    <a:pt x="921" y="345"/>
                  </a:lnTo>
                  <a:lnTo>
                    <a:pt x="923" y="345"/>
                  </a:lnTo>
                  <a:lnTo>
                    <a:pt x="926" y="347"/>
                  </a:lnTo>
                  <a:lnTo>
                    <a:pt x="926" y="347"/>
                  </a:lnTo>
                  <a:lnTo>
                    <a:pt x="928" y="347"/>
                  </a:lnTo>
                  <a:lnTo>
                    <a:pt x="930" y="347"/>
                  </a:lnTo>
                  <a:lnTo>
                    <a:pt x="932" y="347"/>
                  </a:lnTo>
                  <a:lnTo>
                    <a:pt x="934" y="347"/>
                  </a:lnTo>
                  <a:lnTo>
                    <a:pt x="936" y="349"/>
                  </a:lnTo>
                  <a:lnTo>
                    <a:pt x="936" y="351"/>
                  </a:lnTo>
                  <a:lnTo>
                    <a:pt x="938" y="349"/>
                  </a:lnTo>
                  <a:lnTo>
                    <a:pt x="941" y="351"/>
                  </a:lnTo>
                  <a:lnTo>
                    <a:pt x="943" y="351"/>
                  </a:lnTo>
                  <a:lnTo>
                    <a:pt x="945" y="349"/>
                  </a:lnTo>
                  <a:lnTo>
                    <a:pt x="947" y="349"/>
                  </a:lnTo>
                  <a:lnTo>
                    <a:pt x="947" y="347"/>
                  </a:lnTo>
                  <a:lnTo>
                    <a:pt x="949" y="347"/>
                  </a:lnTo>
                  <a:lnTo>
                    <a:pt x="951" y="345"/>
                  </a:lnTo>
                  <a:lnTo>
                    <a:pt x="951" y="347"/>
                  </a:lnTo>
                  <a:lnTo>
                    <a:pt x="953" y="345"/>
                  </a:lnTo>
                  <a:lnTo>
                    <a:pt x="953" y="343"/>
                  </a:lnTo>
                  <a:lnTo>
                    <a:pt x="956" y="345"/>
                  </a:lnTo>
                  <a:lnTo>
                    <a:pt x="956" y="347"/>
                  </a:lnTo>
                  <a:lnTo>
                    <a:pt x="958" y="347"/>
                  </a:lnTo>
                  <a:lnTo>
                    <a:pt x="960" y="347"/>
                  </a:lnTo>
                  <a:lnTo>
                    <a:pt x="962" y="349"/>
                  </a:lnTo>
                  <a:lnTo>
                    <a:pt x="964" y="349"/>
                  </a:lnTo>
                  <a:lnTo>
                    <a:pt x="966" y="347"/>
                  </a:lnTo>
                  <a:lnTo>
                    <a:pt x="966" y="347"/>
                  </a:lnTo>
                  <a:lnTo>
                    <a:pt x="966" y="345"/>
                  </a:lnTo>
                  <a:lnTo>
                    <a:pt x="966" y="343"/>
                  </a:lnTo>
                  <a:lnTo>
                    <a:pt x="969" y="341"/>
                  </a:lnTo>
                  <a:lnTo>
                    <a:pt x="969" y="339"/>
                  </a:lnTo>
                  <a:lnTo>
                    <a:pt x="969" y="339"/>
                  </a:lnTo>
                  <a:lnTo>
                    <a:pt x="969" y="337"/>
                  </a:lnTo>
                  <a:lnTo>
                    <a:pt x="969" y="335"/>
                  </a:lnTo>
                  <a:lnTo>
                    <a:pt x="966" y="335"/>
                  </a:lnTo>
                  <a:lnTo>
                    <a:pt x="969" y="333"/>
                  </a:lnTo>
                  <a:lnTo>
                    <a:pt x="969" y="331"/>
                  </a:lnTo>
                  <a:lnTo>
                    <a:pt x="971" y="329"/>
                  </a:lnTo>
                  <a:lnTo>
                    <a:pt x="969" y="329"/>
                  </a:lnTo>
                  <a:lnTo>
                    <a:pt x="969" y="327"/>
                  </a:lnTo>
                  <a:lnTo>
                    <a:pt x="971" y="325"/>
                  </a:lnTo>
                  <a:lnTo>
                    <a:pt x="973" y="325"/>
                  </a:lnTo>
                  <a:lnTo>
                    <a:pt x="975" y="323"/>
                  </a:lnTo>
                  <a:lnTo>
                    <a:pt x="975" y="323"/>
                  </a:lnTo>
                  <a:lnTo>
                    <a:pt x="977" y="325"/>
                  </a:lnTo>
                  <a:lnTo>
                    <a:pt x="979" y="325"/>
                  </a:lnTo>
                  <a:lnTo>
                    <a:pt x="979" y="327"/>
                  </a:lnTo>
                  <a:lnTo>
                    <a:pt x="981" y="329"/>
                  </a:lnTo>
                  <a:lnTo>
                    <a:pt x="984" y="329"/>
                  </a:lnTo>
                  <a:lnTo>
                    <a:pt x="986" y="331"/>
                  </a:lnTo>
                  <a:lnTo>
                    <a:pt x="986" y="329"/>
                  </a:lnTo>
                  <a:lnTo>
                    <a:pt x="988" y="327"/>
                  </a:lnTo>
                  <a:lnTo>
                    <a:pt x="990" y="327"/>
                  </a:lnTo>
                  <a:lnTo>
                    <a:pt x="992" y="327"/>
                  </a:lnTo>
                  <a:lnTo>
                    <a:pt x="994" y="325"/>
                  </a:lnTo>
                  <a:lnTo>
                    <a:pt x="994" y="325"/>
                  </a:lnTo>
                  <a:lnTo>
                    <a:pt x="996" y="323"/>
                  </a:lnTo>
                  <a:lnTo>
                    <a:pt x="999" y="323"/>
                  </a:lnTo>
                  <a:lnTo>
                    <a:pt x="1001" y="323"/>
                  </a:lnTo>
                  <a:lnTo>
                    <a:pt x="1001" y="321"/>
                  </a:lnTo>
                  <a:lnTo>
                    <a:pt x="1003" y="319"/>
                  </a:lnTo>
                  <a:lnTo>
                    <a:pt x="1003" y="319"/>
                  </a:lnTo>
                  <a:lnTo>
                    <a:pt x="1005" y="319"/>
                  </a:lnTo>
                  <a:lnTo>
                    <a:pt x="1007" y="319"/>
                  </a:lnTo>
                  <a:lnTo>
                    <a:pt x="1009" y="317"/>
                  </a:lnTo>
                  <a:lnTo>
                    <a:pt x="1011" y="317"/>
                  </a:lnTo>
                  <a:lnTo>
                    <a:pt x="1014" y="319"/>
                  </a:lnTo>
                  <a:lnTo>
                    <a:pt x="1014" y="317"/>
                  </a:lnTo>
                  <a:lnTo>
                    <a:pt x="1016" y="317"/>
                  </a:lnTo>
                  <a:lnTo>
                    <a:pt x="1018" y="315"/>
                  </a:lnTo>
                  <a:lnTo>
                    <a:pt x="1018" y="313"/>
                  </a:lnTo>
                  <a:lnTo>
                    <a:pt x="1020" y="313"/>
                  </a:lnTo>
                  <a:lnTo>
                    <a:pt x="1022" y="313"/>
                  </a:lnTo>
                  <a:lnTo>
                    <a:pt x="1024" y="311"/>
                  </a:lnTo>
                  <a:lnTo>
                    <a:pt x="1024" y="311"/>
                  </a:lnTo>
                  <a:lnTo>
                    <a:pt x="1026" y="313"/>
                  </a:lnTo>
                  <a:lnTo>
                    <a:pt x="1026" y="313"/>
                  </a:lnTo>
                  <a:lnTo>
                    <a:pt x="1029" y="315"/>
                  </a:lnTo>
                  <a:lnTo>
                    <a:pt x="1031" y="315"/>
                  </a:lnTo>
                  <a:lnTo>
                    <a:pt x="1031" y="317"/>
                  </a:lnTo>
                  <a:lnTo>
                    <a:pt x="1033" y="315"/>
                  </a:lnTo>
                  <a:lnTo>
                    <a:pt x="1033" y="313"/>
                  </a:lnTo>
                  <a:lnTo>
                    <a:pt x="1033" y="313"/>
                  </a:lnTo>
                  <a:lnTo>
                    <a:pt x="1035" y="313"/>
                  </a:lnTo>
                  <a:lnTo>
                    <a:pt x="1037" y="311"/>
                  </a:lnTo>
                  <a:lnTo>
                    <a:pt x="1039" y="311"/>
                  </a:lnTo>
                  <a:lnTo>
                    <a:pt x="1042" y="311"/>
                  </a:lnTo>
                  <a:lnTo>
                    <a:pt x="1039" y="313"/>
                  </a:lnTo>
                  <a:lnTo>
                    <a:pt x="1042" y="315"/>
                  </a:lnTo>
                  <a:lnTo>
                    <a:pt x="1042" y="317"/>
                  </a:lnTo>
                  <a:lnTo>
                    <a:pt x="1044" y="319"/>
                  </a:lnTo>
                  <a:lnTo>
                    <a:pt x="1046" y="319"/>
                  </a:lnTo>
                  <a:lnTo>
                    <a:pt x="1046" y="321"/>
                  </a:lnTo>
                  <a:lnTo>
                    <a:pt x="1048" y="321"/>
                  </a:lnTo>
                  <a:lnTo>
                    <a:pt x="1050" y="323"/>
                  </a:lnTo>
                  <a:lnTo>
                    <a:pt x="1052" y="323"/>
                  </a:lnTo>
                  <a:lnTo>
                    <a:pt x="1052" y="323"/>
                  </a:lnTo>
                  <a:lnTo>
                    <a:pt x="1052" y="325"/>
                  </a:lnTo>
                  <a:lnTo>
                    <a:pt x="1052" y="327"/>
                  </a:lnTo>
                  <a:lnTo>
                    <a:pt x="1050" y="329"/>
                  </a:lnTo>
                  <a:lnTo>
                    <a:pt x="1050" y="329"/>
                  </a:lnTo>
                  <a:lnTo>
                    <a:pt x="1048" y="331"/>
                  </a:lnTo>
                  <a:lnTo>
                    <a:pt x="1048" y="333"/>
                  </a:lnTo>
                  <a:lnTo>
                    <a:pt x="1048" y="335"/>
                  </a:lnTo>
                  <a:lnTo>
                    <a:pt x="1050" y="335"/>
                  </a:lnTo>
                  <a:lnTo>
                    <a:pt x="1050" y="337"/>
                  </a:lnTo>
                  <a:lnTo>
                    <a:pt x="1052" y="337"/>
                  </a:lnTo>
                  <a:lnTo>
                    <a:pt x="1054" y="339"/>
                  </a:lnTo>
                  <a:lnTo>
                    <a:pt x="1052" y="341"/>
                  </a:lnTo>
                  <a:lnTo>
                    <a:pt x="1054" y="341"/>
                  </a:lnTo>
                  <a:lnTo>
                    <a:pt x="1054" y="343"/>
                  </a:lnTo>
                  <a:lnTo>
                    <a:pt x="1052" y="345"/>
                  </a:lnTo>
                  <a:lnTo>
                    <a:pt x="1052" y="345"/>
                  </a:lnTo>
                  <a:lnTo>
                    <a:pt x="1052" y="347"/>
                  </a:lnTo>
                  <a:lnTo>
                    <a:pt x="1052" y="349"/>
                  </a:lnTo>
                  <a:lnTo>
                    <a:pt x="1054" y="351"/>
                  </a:lnTo>
                  <a:lnTo>
                    <a:pt x="1054" y="351"/>
                  </a:lnTo>
                  <a:lnTo>
                    <a:pt x="1057" y="351"/>
                  </a:lnTo>
                  <a:lnTo>
                    <a:pt x="1059" y="353"/>
                  </a:lnTo>
                  <a:lnTo>
                    <a:pt x="1061" y="353"/>
                  </a:lnTo>
                  <a:lnTo>
                    <a:pt x="1063" y="353"/>
                  </a:lnTo>
                  <a:lnTo>
                    <a:pt x="1065" y="353"/>
                  </a:lnTo>
                  <a:lnTo>
                    <a:pt x="1067" y="355"/>
                  </a:lnTo>
                  <a:lnTo>
                    <a:pt x="1067" y="357"/>
                  </a:lnTo>
                  <a:lnTo>
                    <a:pt x="1069" y="357"/>
                  </a:lnTo>
                  <a:lnTo>
                    <a:pt x="1072" y="357"/>
                  </a:lnTo>
                  <a:lnTo>
                    <a:pt x="1072" y="359"/>
                  </a:lnTo>
                  <a:lnTo>
                    <a:pt x="1072" y="361"/>
                  </a:lnTo>
                  <a:lnTo>
                    <a:pt x="1072" y="363"/>
                  </a:lnTo>
                  <a:lnTo>
                    <a:pt x="1074" y="365"/>
                  </a:lnTo>
                  <a:lnTo>
                    <a:pt x="1072" y="365"/>
                  </a:lnTo>
                  <a:lnTo>
                    <a:pt x="1072" y="367"/>
                  </a:lnTo>
                  <a:lnTo>
                    <a:pt x="1072" y="369"/>
                  </a:lnTo>
                  <a:lnTo>
                    <a:pt x="1069" y="371"/>
                  </a:lnTo>
                  <a:lnTo>
                    <a:pt x="1069" y="371"/>
                  </a:lnTo>
                  <a:lnTo>
                    <a:pt x="1069" y="373"/>
                  </a:lnTo>
                  <a:lnTo>
                    <a:pt x="1069" y="373"/>
                  </a:lnTo>
                  <a:lnTo>
                    <a:pt x="1072" y="375"/>
                  </a:lnTo>
                  <a:lnTo>
                    <a:pt x="1074" y="375"/>
                  </a:lnTo>
                  <a:lnTo>
                    <a:pt x="1076" y="377"/>
                  </a:lnTo>
                  <a:lnTo>
                    <a:pt x="1076" y="377"/>
                  </a:lnTo>
                  <a:lnTo>
                    <a:pt x="1078" y="377"/>
                  </a:lnTo>
                  <a:lnTo>
                    <a:pt x="1078" y="375"/>
                  </a:lnTo>
                  <a:lnTo>
                    <a:pt x="1080" y="373"/>
                  </a:lnTo>
                  <a:lnTo>
                    <a:pt x="1082" y="373"/>
                  </a:lnTo>
                  <a:lnTo>
                    <a:pt x="1084" y="373"/>
                  </a:lnTo>
                  <a:lnTo>
                    <a:pt x="1087" y="373"/>
                  </a:lnTo>
                  <a:lnTo>
                    <a:pt x="1089" y="375"/>
                  </a:lnTo>
                  <a:lnTo>
                    <a:pt x="1089" y="375"/>
                  </a:lnTo>
                  <a:lnTo>
                    <a:pt x="1091" y="375"/>
                  </a:lnTo>
                  <a:lnTo>
                    <a:pt x="1093" y="375"/>
                  </a:lnTo>
                  <a:lnTo>
                    <a:pt x="1095" y="375"/>
                  </a:lnTo>
                  <a:lnTo>
                    <a:pt x="1097" y="373"/>
                  </a:lnTo>
                  <a:lnTo>
                    <a:pt x="1100" y="373"/>
                  </a:lnTo>
                  <a:lnTo>
                    <a:pt x="1100" y="371"/>
                  </a:lnTo>
                  <a:lnTo>
                    <a:pt x="1100" y="369"/>
                  </a:lnTo>
                  <a:lnTo>
                    <a:pt x="1102" y="367"/>
                  </a:lnTo>
                  <a:lnTo>
                    <a:pt x="1104" y="367"/>
                  </a:lnTo>
                  <a:lnTo>
                    <a:pt x="1104" y="365"/>
                  </a:lnTo>
                  <a:lnTo>
                    <a:pt x="1106" y="363"/>
                  </a:lnTo>
                  <a:lnTo>
                    <a:pt x="1108" y="363"/>
                  </a:lnTo>
                  <a:lnTo>
                    <a:pt x="1108" y="361"/>
                  </a:lnTo>
                  <a:lnTo>
                    <a:pt x="1108" y="359"/>
                  </a:lnTo>
                  <a:lnTo>
                    <a:pt x="1108" y="357"/>
                  </a:lnTo>
                  <a:lnTo>
                    <a:pt x="1106" y="357"/>
                  </a:lnTo>
                  <a:lnTo>
                    <a:pt x="1104" y="355"/>
                  </a:lnTo>
                  <a:lnTo>
                    <a:pt x="1104" y="353"/>
                  </a:lnTo>
                  <a:lnTo>
                    <a:pt x="1104" y="351"/>
                  </a:lnTo>
                  <a:lnTo>
                    <a:pt x="1104" y="349"/>
                  </a:lnTo>
                  <a:lnTo>
                    <a:pt x="1102" y="349"/>
                  </a:lnTo>
                  <a:lnTo>
                    <a:pt x="1102" y="347"/>
                  </a:lnTo>
                  <a:lnTo>
                    <a:pt x="1102" y="345"/>
                  </a:lnTo>
                  <a:lnTo>
                    <a:pt x="1100" y="345"/>
                  </a:lnTo>
                  <a:lnTo>
                    <a:pt x="1097" y="345"/>
                  </a:lnTo>
                  <a:lnTo>
                    <a:pt x="1097" y="343"/>
                  </a:lnTo>
                  <a:lnTo>
                    <a:pt x="1097" y="341"/>
                  </a:lnTo>
                  <a:lnTo>
                    <a:pt x="1095" y="341"/>
                  </a:lnTo>
                  <a:lnTo>
                    <a:pt x="1093" y="339"/>
                  </a:lnTo>
                  <a:lnTo>
                    <a:pt x="1091" y="339"/>
                  </a:lnTo>
                  <a:lnTo>
                    <a:pt x="1089" y="337"/>
                  </a:lnTo>
                  <a:lnTo>
                    <a:pt x="1089" y="335"/>
                  </a:lnTo>
                  <a:lnTo>
                    <a:pt x="1089" y="333"/>
                  </a:lnTo>
                  <a:lnTo>
                    <a:pt x="1089" y="333"/>
                  </a:lnTo>
                  <a:lnTo>
                    <a:pt x="1087" y="331"/>
                  </a:lnTo>
                  <a:lnTo>
                    <a:pt x="1087" y="329"/>
                  </a:lnTo>
                  <a:lnTo>
                    <a:pt x="1087" y="327"/>
                  </a:lnTo>
                  <a:lnTo>
                    <a:pt x="1087" y="325"/>
                  </a:lnTo>
                  <a:lnTo>
                    <a:pt x="1087" y="323"/>
                  </a:lnTo>
                  <a:lnTo>
                    <a:pt x="1087" y="323"/>
                  </a:lnTo>
                  <a:lnTo>
                    <a:pt x="1089" y="321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3" y="319"/>
                  </a:lnTo>
                  <a:lnTo>
                    <a:pt x="1093" y="317"/>
                  </a:lnTo>
                  <a:lnTo>
                    <a:pt x="1093" y="315"/>
                  </a:lnTo>
                  <a:lnTo>
                    <a:pt x="1093" y="313"/>
                  </a:lnTo>
                  <a:lnTo>
                    <a:pt x="1093" y="311"/>
                  </a:lnTo>
                  <a:lnTo>
                    <a:pt x="1095" y="309"/>
                  </a:lnTo>
                  <a:lnTo>
                    <a:pt x="1095" y="309"/>
                  </a:lnTo>
                  <a:lnTo>
                    <a:pt x="1097" y="307"/>
                  </a:lnTo>
                  <a:lnTo>
                    <a:pt x="1100" y="307"/>
                  </a:lnTo>
                  <a:lnTo>
                    <a:pt x="1102" y="307"/>
                  </a:lnTo>
                  <a:lnTo>
                    <a:pt x="1104" y="307"/>
                  </a:lnTo>
                  <a:lnTo>
                    <a:pt x="1104" y="305"/>
                  </a:lnTo>
                  <a:lnTo>
                    <a:pt x="1104" y="303"/>
                  </a:lnTo>
                  <a:lnTo>
                    <a:pt x="1104" y="301"/>
                  </a:lnTo>
                  <a:lnTo>
                    <a:pt x="1104" y="299"/>
                  </a:lnTo>
                  <a:lnTo>
                    <a:pt x="1104" y="299"/>
                  </a:lnTo>
                  <a:lnTo>
                    <a:pt x="1104" y="297"/>
                  </a:lnTo>
                  <a:lnTo>
                    <a:pt x="1104" y="295"/>
                  </a:lnTo>
                  <a:lnTo>
                    <a:pt x="1102" y="295"/>
                  </a:lnTo>
                  <a:lnTo>
                    <a:pt x="1100" y="297"/>
                  </a:lnTo>
                  <a:lnTo>
                    <a:pt x="1100" y="295"/>
                  </a:lnTo>
                  <a:lnTo>
                    <a:pt x="1100" y="293"/>
                  </a:lnTo>
                  <a:lnTo>
                    <a:pt x="1097" y="291"/>
                  </a:lnTo>
                  <a:lnTo>
                    <a:pt x="1097" y="291"/>
                  </a:lnTo>
                  <a:lnTo>
                    <a:pt x="1095" y="289"/>
                  </a:lnTo>
                  <a:lnTo>
                    <a:pt x="1093" y="289"/>
                  </a:lnTo>
                  <a:lnTo>
                    <a:pt x="1091" y="289"/>
                  </a:lnTo>
                  <a:lnTo>
                    <a:pt x="1091" y="289"/>
                  </a:lnTo>
                  <a:lnTo>
                    <a:pt x="1089" y="291"/>
                  </a:lnTo>
                  <a:lnTo>
                    <a:pt x="1087" y="291"/>
                  </a:lnTo>
                  <a:lnTo>
                    <a:pt x="1087" y="291"/>
                  </a:lnTo>
                  <a:lnTo>
                    <a:pt x="1084" y="293"/>
                  </a:lnTo>
                  <a:lnTo>
                    <a:pt x="1082" y="293"/>
                  </a:lnTo>
                  <a:lnTo>
                    <a:pt x="1080" y="293"/>
                  </a:lnTo>
                  <a:lnTo>
                    <a:pt x="1078" y="293"/>
                  </a:lnTo>
                  <a:lnTo>
                    <a:pt x="1078" y="293"/>
                  </a:lnTo>
                  <a:lnTo>
                    <a:pt x="1078" y="291"/>
                  </a:lnTo>
                  <a:lnTo>
                    <a:pt x="1076" y="291"/>
                  </a:lnTo>
                  <a:lnTo>
                    <a:pt x="1074" y="291"/>
                  </a:lnTo>
                  <a:lnTo>
                    <a:pt x="1072" y="291"/>
                  </a:lnTo>
                  <a:lnTo>
                    <a:pt x="1072" y="289"/>
                  </a:lnTo>
                  <a:lnTo>
                    <a:pt x="1072" y="287"/>
                  </a:lnTo>
                  <a:lnTo>
                    <a:pt x="1072" y="285"/>
                  </a:lnTo>
                  <a:lnTo>
                    <a:pt x="1069" y="285"/>
                  </a:lnTo>
                  <a:lnTo>
                    <a:pt x="1067" y="285"/>
                  </a:lnTo>
                  <a:lnTo>
                    <a:pt x="1065" y="283"/>
                  </a:lnTo>
                  <a:lnTo>
                    <a:pt x="1065" y="281"/>
                  </a:lnTo>
                  <a:lnTo>
                    <a:pt x="1067" y="281"/>
                  </a:lnTo>
                  <a:lnTo>
                    <a:pt x="1067" y="279"/>
                  </a:lnTo>
                  <a:lnTo>
                    <a:pt x="1069" y="277"/>
                  </a:lnTo>
                  <a:lnTo>
                    <a:pt x="1069" y="275"/>
                  </a:lnTo>
                  <a:lnTo>
                    <a:pt x="1069" y="273"/>
                  </a:lnTo>
                  <a:lnTo>
                    <a:pt x="1069" y="273"/>
                  </a:lnTo>
                  <a:lnTo>
                    <a:pt x="1067" y="271"/>
                  </a:lnTo>
                  <a:lnTo>
                    <a:pt x="1065" y="269"/>
                  </a:lnTo>
                  <a:lnTo>
                    <a:pt x="1067" y="267"/>
                  </a:lnTo>
                  <a:lnTo>
                    <a:pt x="1067" y="265"/>
                  </a:lnTo>
                  <a:lnTo>
                    <a:pt x="1067" y="265"/>
                  </a:lnTo>
                  <a:lnTo>
                    <a:pt x="1067" y="263"/>
                  </a:lnTo>
                  <a:lnTo>
                    <a:pt x="1067" y="261"/>
                  </a:lnTo>
                  <a:lnTo>
                    <a:pt x="1067" y="259"/>
                  </a:lnTo>
                  <a:lnTo>
                    <a:pt x="1065" y="257"/>
                  </a:lnTo>
                  <a:lnTo>
                    <a:pt x="1067" y="257"/>
                  </a:lnTo>
                  <a:lnTo>
                    <a:pt x="1069" y="255"/>
                  </a:lnTo>
                  <a:lnTo>
                    <a:pt x="1069" y="253"/>
                  </a:lnTo>
                  <a:lnTo>
                    <a:pt x="1069" y="251"/>
                  </a:lnTo>
                  <a:lnTo>
                    <a:pt x="1067" y="249"/>
                  </a:lnTo>
                  <a:lnTo>
                    <a:pt x="1069" y="247"/>
                  </a:lnTo>
                  <a:lnTo>
                    <a:pt x="1067" y="247"/>
                  </a:lnTo>
                  <a:lnTo>
                    <a:pt x="1065" y="245"/>
                  </a:lnTo>
                  <a:lnTo>
                    <a:pt x="1067" y="243"/>
                  </a:lnTo>
                  <a:lnTo>
                    <a:pt x="1067" y="243"/>
                  </a:lnTo>
                  <a:lnTo>
                    <a:pt x="1069" y="243"/>
                  </a:lnTo>
                  <a:lnTo>
                    <a:pt x="1072" y="241"/>
                  </a:lnTo>
                  <a:lnTo>
                    <a:pt x="1074" y="239"/>
                  </a:lnTo>
                  <a:lnTo>
                    <a:pt x="1074" y="239"/>
                  </a:lnTo>
                  <a:lnTo>
                    <a:pt x="1074" y="237"/>
                  </a:lnTo>
                  <a:lnTo>
                    <a:pt x="1076" y="235"/>
                  </a:lnTo>
                  <a:lnTo>
                    <a:pt x="1078" y="235"/>
                  </a:lnTo>
                  <a:lnTo>
                    <a:pt x="1078" y="233"/>
                  </a:lnTo>
                  <a:lnTo>
                    <a:pt x="1078" y="231"/>
                  </a:lnTo>
                  <a:lnTo>
                    <a:pt x="1076" y="229"/>
                  </a:lnTo>
                  <a:lnTo>
                    <a:pt x="1078" y="229"/>
                  </a:lnTo>
                  <a:lnTo>
                    <a:pt x="1080" y="229"/>
                  </a:lnTo>
                  <a:lnTo>
                    <a:pt x="1082" y="227"/>
                  </a:lnTo>
                  <a:lnTo>
                    <a:pt x="1082" y="227"/>
                  </a:lnTo>
                  <a:lnTo>
                    <a:pt x="1082" y="225"/>
                  </a:lnTo>
                  <a:lnTo>
                    <a:pt x="1082" y="223"/>
                  </a:lnTo>
                  <a:lnTo>
                    <a:pt x="1082" y="221"/>
                  </a:lnTo>
                  <a:lnTo>
                    <a:pt x="1082" y="219"/>
                  </a:lnTo>
                  <a:lnTo>
                    <a:pt x="1082" y="217"/>
                  </a:lnTo>
                  <a:lnTo>
                    <a:pt x="1082" y="217"/>
                  </a:lnTo>
                  <a:lnTo>
                    <a:pt x="1084" y="215"/>
                  </a:lnTo>
                  <a:lnTo>
                    <a:pt x="1087" y="215"/>
                  </a:lnTo>
                  <a:lnTo>
                    <a:pt x="1087" y="217"/>
                  </a:lnTo>
                  <a:lnTo>
                    <a:pt x="1089" y="217"/>
                  </a:lnTo>
                  <a:lnTo>
                    <a:pt x="1091" y="217"/>
                  </a:lnTo>
                  <a:lnTo>
                    <a:pt x="1093" y="217"/>
                  </a:lnTo>
                  <a:lnTo>
                    <a:pt x="1095" y="215"/>
                  </a:lnTo>
                  <a:lnTo>
                    <a:pt x="1095" y="215"/>
                  </a:lnTo>
                  <a:lnTo>
                    <a:pt x="1097" y="213"/>
                  </a:lnTo>
                  <a:lnTo>
                    <a:pt x="1100" y="213"/>
                  </a:lnTo>
                  <a:lnTo>
                    <a:pt x="1102" y="213"/>
                  </a:lnTo>
                  <a:lnTo>
                    <a:pt x="1104" y="211"/>
                  </a:lnTo>
                  <a:lnTo>
                    <a:pt x="1106" y="211"/>
                  </a:lnTo>
                  <a:lnTo>
                    <a:pt x="1106" y="209"/>
                  </a:lnTo>
                  <a:lnTo>
                    <a:pt x="1108" y="209"/>
                  </a:lnTo>
                  <a:lnTo>
                    <a:pt x="1110" y="209"/>
                  </a:lnTo>
                  <a:lnTo>
                    <a:pt x="1112" y="209"/>
                  </a:lnTo>
                  <a:lnTo>
                    <a:pt x="1112" y="209"/>
                  </a:lnTo>
                  <a:lnTo>
                    <a:pt x="1115" y="209"/>
                  </a:lnTo>
                  <a:lnTo>
                    <a:pt x="1117" y="211"/>
                  </a:lnTo>
                  <a:lnTo>
                    <a:pt x="1119" y="211"/>
                  </a:lnTo>
                  <a:lnTo>
                    <a:pt x="1119" y="209"/>
                  </a:lnTo>
                  <a:lnTo>
                    <a:pt x="1119" y="209"/>
                  </a:lnTo>
                  <a:lnTo>
                    <a:pt x="1121" y="207"/>
                  </a:lnTo>
                  <a:lnTo>
                    <a:pt x="1123" y="205"/>
                  </a:lnTo>
                  <a:lnTo>
                    <a:pt x="1125" y="205"/>
                  </a:lnTo>
                  <a:lnTo>
                    <a:pt x="1125" y="205"/>
                  </a:lnTo>
                  <a:lnTo>
                    <a:pt x="1125" y="207"/>
                  </a:lnTo>
                  <a:lnTo>
                    <a:pt x="1125" y="209"/>
                  </a:lnTo>
                  <a:lnTo>
                    <a:pt x="1127" y="209"/>
                  </a:lnTo>
                  <a:lnTo>
                    <a:pt x="1130" y="211"/>
                  </a:lnTo>
                  <a:lnTo>
                    <a:pt x="1130" y="213"/>
                  </a:lnTo>
                  <a:lnTo>
                    <a:pt x="1132" y="215"/>
                  </a:lnTo>
                  <a:lnTo>
                    <a:pt x="1130" y="215"/>
                  </a:lnTo>
                  <a:lnTo>
                    <a:pt x="1130" y="217"/>
                  </a:lnTo>
                  <a:lnTo>
                    <a:pt x="1127" y="219"/>
                  </a:lnTo>
                  <a:lnTo>
                    <a:pt x="1127" y="221"/>
                  </a:lnTo>
                  <a:lnTo>
                    <a:pt x="1127" y="221"/>
                  </a:lnTo>
                  <a:lnTo>
                    <a:pt x="1127" y="223"/>
                  </a:lnTo>
                  <a:lnTo>
                    <a:pt x="1127" y="225"/>
                  </a:lnTo>
                  <a:lnTo>
                    <a:pt x="1127" y="227"/>
                  </a:lnTo>
                  <a:lnTo>
                    <a:pt x="1127" y="229"/>
                  </a:lnTo>
                  <a:lnTo>
                    <a:pt x="1130" y="231"/>
                  </a:lnTo>
                  <a:lnTo>
                    <a:pt x="1132" y="229"/>
                  </a:lnTo>
                  <a:lnTo>
                    <a:pt x="1134" y="229"/>
                  </a:lnTo>
                  <a:lnTo>
                    <a:pt x="1134" y="227"/>
                  </a:lnTo>
                  <a:lnTo>
                    <a:pt x="1136" y="229"/>
                  </a:lnTo>
                  <a:lnTo>
                    <a:pt x="1138" y="229"/>
                  </a:lnTo>
                  <a:lnTo>
                    <a:pt x="1140" y="231"/>
                  </a:lnTo>
                  <a:lnTo>
                    <a:pt x="1140" y="231"/>
                  </a:lnTo>
                  <a:lnTo>
                    <a:pt x="1140" y="233"/>
                  </a:lnTo>
                  <a:lnTo>
                    <a:pt x="1142" y="235"/>
                  </a:lnTo>
                  <a:lnTo>
                    <a:pt x="1142" y="237"/>
                  </a:lnTo>
                  <a:lnTo>
                    <a:pt x="1142" y="239"/>
                  </a:lnTo>
                  <a:lnTo>
                    <a:pt x="1145" y="239"/>
                  </a:lnTo>
                  <a:lnTo>
                    <a:pt x="1147" y="239"/>
                  </a:lnTo>
                  <a:lnTo>
                    <a:pt x="1147" y="241"/>
                  </a:lnTo>
                  <a:lnTo>
                    <a:pt x="1149" y="239"/>
                  </a:lnTo>
                  <a:lnTo>
                    <a:pt x="1151" y="239"/>
                  </a:lnTo>
                  <a:lnTo>
                    <a:pt x="1153" y="239"/>
                  </a:lnTo>
                  <a:lnTo>
                    <a:pt x="1155" y="239"/>
                  </a:lnTo>
                  <a:lnTo>
                    <a:pt x="1155" y="241"/>
                  </a:lnTo>
                  <a:lnTo>
                    <a:pt x="1157" y="241"/>
                  </a:lnTo>
                  <a:lnTo>
                    <a:pt x="1157" y="241"/>
                  </a:lnTo>
                  <a:lnTo>
                    <a:pt x="1160" y="239"/>
                  </a:lnTo>
                  <a:lnTo>
                    <a:pt x="1160" y="237"/>
                  </a:lnTo>
                  <a:lnTo>
                    <a:pt x="1162" y="237"/>
                  </a:lnTo>
                  <a:lnTo>
                    <a:pt x="1164" y="237"/>
                  </a:lnTo>
                  <a:lnTo>
                    <a:pt x="1166" y="237"/>
                  </a:lnTo>
                  <a:lnTo>
                    <a:pt x="1168" y="237"/>
                  </a:lnTo>
                  <a:lnTo>
                    <a:pt x="1170" y="239"/>
                  </a:lnTo>
                  <a:lnTo>
                    <a:pt x="1170" y="239"/>
                  </a:lnTo>
                  <a:lnTo>
                    <a:pt x="1173" y="241"/>
                  </a:lnTo>
                  <a:lnTo>
                    <a:pt x="1175" y="241"/>
                  </a:lnTo>
                  <a:lnTo>
                    <a:pt x="1177" y="241"/>
                  </a:lnTo>
                  <a:lnTo>
                    <a:pt x="1177" y="239"/>
                  </a:lnTo>
                  <a:lnTo>
                    <a:pt x="1179" y="239"/>
                  </a:lnTo>
                  <a:lnTo>
                    <a:pt x="1181" y="239"/>
                  </a:lnTo>
                  <a:lnTo>
                    <a:pt x="1183" y="239"/>
                  </a:lnTo>
                  <a:lnTo>
                    <a:pt x="1183" y="241"/>
                  </a:lnTo>
                  <a:lnTo>
                    <a:pt x="1185" y="243"/>
                  </a:lnTo>
                  <a:lnTo>
                    <a:pt x="1188" y="245"/>
                  </a:lnTo>
                  <a:lnTo>
                    <a:pt x="1192" y="247"/>
                  </a:lnTo>
                  <a:lnTo>
                    <a:pt x="1192" y="245"/>
                  </a:lnTo>
                  <a:lnTo>
                    <a:pt x="1194" y="243"/>
                  </a:lnTo>
                  <a:lnTo>
                    <a:pt x="1194" y="241"/>
                  </a:lnTo>
                  <a:lnTo>
                    <a:pt x="1196" y="241"/>
                  </a:lnTo>
                  <a:lnTo>
                    <a:pt x="1198" y="241"/>
                  </a:lnTo>
                  <a:lnTo>
                    <a:pt x="1196" y="239"/>
                  </a:lnTo>
                  <a:lnTo>
                    <a:pt x="1198" y="237"/>
                  </a:lnTo>
                  <a:lnTo>
                    <a:pt x="1198" y="235"/>
                  </a:lnTo>
                  <a:lnTo>
                    <a:pt x="1198" y="233"/>
                  </a:lnTo>
                  <a:lnTo>
                    <a:pt x="1198" y="233"/>
                  </a:lnTo>
                  <a:lnTo>
                    <a:pt x="1198" y="231"/>
                  </a:lnTo>
                  <a:lnTo>
                    <a:pt x="1198" y="229"/>
                  </a:lnTo>
                  <a:lnTo>
                    <a:pt x="1200" y="227"/>
                  </a:lnTo>
                  <a:lnTo>
                    <a:pt x="1200" y="225"/>
                  </a:lnTo>
                  <a:lnTo>
                    <a:pt x="1200" y="223"/>
                  </a:lnTo>
                  <a:lnTo>
                    <a:pt x="1203" y="223"/>
                  </a:lnTo>
                  <a:lnTo>
                    <a:pt x="1200" y="221"/>
                  </a:lnTo>
                  <a:lnTo>
                    <a:pt x="1200" y="219"/>
                  </a:lnTo>
                  <a:lnTo>
                    <a:pt x="1200" y="217"/>
                  </a:lnTo>
                  <a:lnTo>
                    <a:pt x="1200" y="215"/>
                  </a:lnTo>
                  <a:lnTo>
                    <a:pt x="1200" y="213"/>
                  </a:lnTo>
                  <a:lnTo>
                    <a:pt x="1203" y="213"/>
                  </a:lnTo>
                  <a:lnTo>
                    <a:pt x="1203" y="211"/>
                  </a:lnTo>
                  <a:lnTo>
                    <a:pt x="1200" y="211"/>
                  </a:lnTo>
                  <a:lnTo>
                    <a:pt x="1198" y="209"/>
                  </a:lnTo>
                  <a:lnTo>
                    <a:pt x="1198" y="207"/>
                  </a:lnTo>
                  <a:lnTo>
                    <a:pt x="1196" y="207"/>
                  </a:lnTo>
                  <a:lnTo>
                    <a:pt x="1194" y="205"/>
                  </a:lnTo>
                  <a:lnTo>
                    <a:pt x="1194" y="203"/>
                  </a:lnTo>
                  <a:lnTo>
                    <a:pt x="1192" y="203"/>
                  </a:lnTo>
                  <a:lnTo>
                    <a:pt x="1190" y="201"/>
                  </a:lnTo>
                  <a:lnTo>
                    <a:pt x="1190" y="201"/>
                  </a:lnTo>
                  <a:lnTo>
                    <a:pt x="1188" y="201"/>
                  </a:lnTo>
                  <a:lnTo>
                    <a:pt x="1185" y="201"/>
                  </a:lnTo>
                  <a:lnTo>
                    <a:pt x="1183" y="201"/>
                  </a:lnTo>
                  <a:lnTo>
                    <a:pt x="1181" y="201"/>
                  </a:lnTo>
                  <a:lnTo>
                    <a:pt x="1179" y="203"/>
                  </a:lnTo>
                  <a:lnTo>
                    <a:pt x="1177" y="203"/>
                  </a:lnTo>
                  <a:lnTo>
                    <a:pt x="1175" y="203"/>
                  </a:lnTo>
                  <a:lnTo>
                    <a:pt x="1175" y="201"/>
                  </a:lnTo>
                  <a:lnTo>
                    <a:pt x="1175" y="199"/>
                  </a:lnTo>
                  <a:lnTo>
                    <a:pt x="1175" y="199"/>
                  </a:lnTo>
                  <a:lnTo>
                    <a:pt x="1173" y="197"/>
                  </a:lnTo>
                  <a:lnTo>
                    <a:pt x="1173" y="195"/>
                  </a:lnTo>
                  <a:lnTo>
                    <a:pt x="1173" y="193"/>
                  </a:lnTo>
                  <a:lnTo>
                    <a:pt x="1173" y="191"/>
                  </a:lnTo>
                  <a:lnTo>
                    <a:pt x="1173" y="189"/>
                  </a:lnTo>
                  <a:lnTo>
                    <a:pt x="1173" y="189"/>
                  </a:lnTo>
                  <a:lnTo>
                    <a:pt x="1170" y="187"/>
                  </a:lnTo>
                  <a:lnTo>
                    <a:pt x="1170" y="185"/>
                  </a:lnTo>
                  <a:lnTo>
                    <a:pt x="1168" y="183"/>
                  </a:lnTo>
                  <a:lnTo>
                    <a:pt x="1168" y="181"/>
                  </a:lnTo>
                  <a:lnTo>
                    <a:pt x="1170" y="181"/>
                  </a:lnTo>
                  <a:lnTo>
                    <a:pt x="1173" y="181"/>
                  </a:lnTo>
                  <a:lnTo>
                    <a:pt x="1173" y="179"/>
                  </a:lnTo>
                  <a:lnTo>
                    <a:pt x="1175" y="177"/>
                  </a:lnTo>
                  <a:lnTo>
                    <a:pt x="1175" y="175"/>
                  </a:lnTo>
                  <a:lnTo>
                    <a:pt x="1177" y="175"/>
                  </a:lnTo>
                  <a:lnTo>
                    <a:pt x="1177" y="173"/>
                  </a:lnTo>
                  <a:lnTo>
                    <a:pt x="1179" y="173"/>
                  </a:lnTo>
                  <a:lnTo>
                    <a:pt x="1179" y="171"/>
                  </a:lnTo>
                  <a:lnTo>
                    <a:pt x="1179" y="169"/>
                  </a:lnTo>
                  <a:lnTo>
                    <a:pt x="1179" y="167"/>
                  </a:lnTo>
                  <a:lnTo>
                    <a:pt x="1177" y="167"/>
                  </a:lnTo>
                  <a:lnTo>
                    <a:pt x="1177" y="165"/>
                  </a:lnTo>
                  <a:lnTo>
                    <a:pt x="1175" y="163"/>
                  </a:lnTo>
                  <a:lnTo>
                    <a:pt x="1175" y="163"/>
                  </a:lnTo>
                  <a:lnTo>
                    <a:pt x="1177" y="161"/>
                  </a:lnTo>
                  <a:lnTo>
                    <a:pt x="1177" y="159"/>
                  </a:lnTo>
                  <a:lnTo>
                    <a:pt x="1179" y="159"/>
                  </a:lnTo>
                  <a:lnTo>
                    <a:pt x="1181" y="157"/>
                  </a:lnTo>
                  <a:lnTo>
                    <a:pt x="1181" y="157"/>
                  </a:lnTo>
                  <a:lnTo>
                    <a:pt x="1183" y="155"/>
                  </a:lnTo>
                  <a:lnTo>
                    <a:pt x="1185" y="155"/>
                  </a:lnTo>
                  <a:lnTo>
                    <a:pt x="1188" y="153"/>
                  </a:lnTo>
                  <a:lnTo>
                    <a:pt x="1188" y="151"/>
                  </a:lnTo>
                  <a:lnTo>
                    <a:pt x="1188" y="151"/>
                  </a:lnTo>
                  <a:lnTo>
                    <a:pt x="1185" y="149"/>
                  </a:lnTo>
                  <a:lnTo>
                    <a:pt x="1185" y="147"/>
                  </a:lnTo>
                  <a:lnTo>
                    <a:pt x="1185" y="146"/>
                  </a:lnTo>
                  <a:lnTo>
                    <a:pt x="1183" y="144"/>
                  </a:lnTo>
                  <a:lnTo>
                    <a:pt x="1183" y="144"/>
                  </a:lnTo>
                  <a:lnTo>
                    <a:pt x="1181" y="142"/>
                  </a:lnTo>
                  <a:lnTo>
                    <a:pt x="1181" y="140"/>
                  </a:lnTo>
                  <a:lnTo>
                    <a:pt x="1181" y="140"/>
                  </a:lnTo>
                  <a:lnTo>
                    <a:pt x="1181" y="138"/>
                  </a:lnTo>
                  <a:lnTo>
                    <a:pt x="1183" y="138"/>
                  </a:lnTo>
                  <a:lnTo>
                    <a:pt x="1185" y="136"/>
                  </a:lnTo>
                  <a:lnTo>
                    <a:pt x="1188" y="136"/>
                  </a:lnTo>
                  <a:lnTo>
                    <a:pt x="1188" y="134"/>
                  </a:lnTo>
                  <a:lnTo>
                    <a:pt x="1190" y="134"/>
                  </a:lnTo>
                  <a:lnTo>
                    <a:pt x="1190" y="132"/>
                  </a:lnTo>
                  <a:lnTo>
                    <a:pt x="1190" y="130"/>
                  </a:lnTo>
                  <a:lnTo>
                    <a:pt x="1190" y="128"/>
                  </a:lnTo>
                  <a:lnTo>
                    <a:pt x="1190" y="126"/>
                  </a:lnTo>
                  <a:lnTo>
                    <a:pt x="1192" y="124"/>
                  </a:lnTo>
                  <a:lnTo>
                    <a:pt x="1190" y="124"/>
                  </a:lnTo>
                  <a:lnTo>
                    <a:pt x="1192" y="122"/>
                  </a:lnTo>
                  <a:lnTo>
                    <a:pt x="1194" y="120"/>
                  </a:lnTo>
                  <a:lnTo>
                    <a:pt x="1192" y="120"/>
                  </a:lnTo>
                  <a:lnTo>
                    <a:pt x="1192" y="118"/>
                  </a:lnTo>
                  <a:lnTo>
                    <a:pt x="1194" y="116"/>
                  </a:lnTo>
                  <a:lnTo>
                    <a:pt x="1194" y="114"/>
                  </a:lnTo>
                  <a:lnTo>
                    <a:pt x="1194" y="112"/>
                  </a:lnTo>
                  <a:lnTo>
                    <a:pt x="1196" y="112"/>
                  </a:lnTo>
                  <a:lnTo>
                    <a:pt x="1198" y="112"/>
                  </a:lnTo>
                  <a:lnTo>
                    <a:pt x="1198" y="114"/>
                  </a:lnTo>
                  <a:lnTo>
                    <a:pt x="1200" y="114"/>
                  </a:lnTo>
                  <a:lnTo>
                    <a:pt x="1200" y="114"/>
                  </a:lnTo>
                  <a:lnTo>
                    <a:pt x="1203" y="114"/>
                  </a:lnTo>
                  <a:lnTo>
                    <a:pt x="1203" y="116"/>
                  </a:lnTo>
                  <a:lnTo>
                    <a:pt x="1205" y="116"/>
                  </a:lnTo>
                  <a:lnTo>
                    <a:pt x="1207" y="116"/>
                  </a:lnTo>
                  <a:lnTo>
                    <a:pt x="1207" y="116"/>
                  </a:lnTo>
                  <a:lnTo>
                    <a:pt x="1209" y="116"/>
                  </a:lnTo>
                  <a:lnTo>
                    <a:pt x="1211" y="116"/>
                  </a:lnTo>
                  <a:lnTo>
                    <a:pt x="1213" y="116"/>
                  </a:lnTo>
                  <a:lnTo>
                    <a:pt x="1215" y="116"/>
                  </a:lnTo>
                  <a:lnTo>
                    <a:pt x="1218" y="114"/>
                  </a:lnTo>
                  <a:lnTo>
                    <a:pt x="1220" y="114"/>
                  </a:lnTo>
                  <a:lnTo>
                    <a:pt x="1220" y="116"/>
                  </a:lnTo>
                  <a:lnTo>
                    <a:pt x="1220" y="118"/>
                  </a:lnTo>
                  <a:lnTo>
                    <a:pt x="1218" y="120"/>
                  </a:lnTo>
                  <a:lnTo>
                    <a:pt x="1218" y="120"/>
                  </a:lnTo>
                  <a:lnTo>
                    <a:pt x="1220" y="118"/>
                  </a:lnTo>
                  <a:lnTo>
                    <a:pt x="1222" y="118"/>
                  </a:lnTo>
                  <a:lnTo>
                    <a:pt x="1224" y="118"/>
                  </a:lnTo>
                  <a:lnTo>
                    <a:pt x="1226" y="116"/>
                  </a:lnTo>
                  <a:lnTo>
                    <a:pt x="1226" y="116"/>
                  </a:lnTo>
                  <a:lnTo>
                    <a:pt x="1228" y="116"/>
                  </a:lnTo>
                  <a:lnTo>
                    <a:pt x="1231" y="114"/>
                  </a:lnTo>
                  <a:lnTo>
                    <a:pt x="1231" y="112"/>
                  </a:lnTo>
                  <a:lnTo>
                    <a:pt x="1233" y="112"/>
                  </a:lnTo>
                  <a:lnTo>
                    <a:pt x="1235" y="112"/>
                  </a:lnTo>
                  <a:lnTo>
                    <a:pt x="1237" y="110"/>
                  </a:lnTo>
                  <a:lnTo>
                    <a:pt x="1239" y="110"/>
                  </a:lnTo>
                  <a:lnTo>
                    <a:pt x="1239" y="108"/>
                  </a:lnTo>
                  <a:lnTo>
                    <a:pt x="1241" y="108"/>
                  </a:lnTo>
                  <a:lnTo>
                    <a:pt x="1243" y="108"/>
                  </a:lnTo>
                  <a:lnTo>
                    <a:pt x="1246" y="108"/>
                  </a:lnTo>
                  <a:lnTo>
                    <a:pt x="1248" y="108"/>
                  </a:lnTo>
                  <a:lnTo>
                    <a:pt x="1250" y="108"/>
                  </a:lnTo>
                  <a:lnTo>
                    <a:pt x="1250" y="106"/>
                  </a:lnTo>
                  <a:lnTo>
                    <a:pt x="1252" y="104"/>
                  </a:lnTo>
                  <a:lnTo>
                    <a:pt x="1254" y="104"/>
                  </a:lnTo>
                  <a:lnTo>
                    <a:pt x="1254" y="104"/>
                  </a:lnTo>
                  <a:lnTo>
                    <a:pt x="1256" y="106"/>
                  </a:lnTo>
                  <a:lnTo>
                    <a:pt x="1258" y="106"/>
                  </a:lnTo>
                  <a:lnTo>
                    <a:pt x="1261" y="106"/>
                  </a:lnTo>
                  <a:lnTo>
                    <a:pt x="1261" y="106"/>
                  </a:lnTo>
                  <a:lnTo>
                    <a:pt x="1263" y="108"/>
                  </a:lnTo>
                  <a:lnTo>
                    <a:pt x="1263" y="110"/>
                  </a:lnTo>
                  <a:lnTo>
                    <a:pt x="1263" y="112"/>
                  </a:lnTo>
                  <a:lnTo>
                    <a:pt x="1263" y="112"/>
                  </a:lnTo>
                  <a:lnTo>
                    <a:pt x="1265" y="114"/>
                  </a:lnTo>
                  <a:lnTo>
                    <a:pt x="1265" y="114"/>
                  </a:lnTo>
                  <a:lnTo>
                    <a:pt x="1267" y="114"/>
                  </a:lnTo>
                  <a:lnTo>
                    <a:pt x="1269" y="116"/>
                  </a:lnTo>
                  <a:lnTo>
                    <a:pt x="1269" y="116"/>
                  </a:lnTo>
                  <a:lnTo>
                    <a:pt x="1271" y="118"/>
                  </a:lnTo>
                  <a:lnTo>
                    <a:pt x="1273" y="118"/>
                  </a:lnTo>
                  <a:lnTo>
                    <a:pt x="1273" y="118"/>
                  </a:lnTo>
                  <a:lnTo>
                    <a:pt x="1276" y="120"/>
                  </a:lnTo>
                  <a:lnTo>
                    <a:pt x="1278" y="120"/>
                  </a:lnTo>
                  <a:lnTo>
                    <a:pt x="1280" y="120"/>
                  </a:lnTo>
                  <a:lnTo>
                    <a:pt x="1282" y="120"/>
                  </a:lnTo>
                  <a:lnTo>
                    <a:pt x="1282" y="122"/>
                  </a:lnTo>
                  <a:lnTo>
                    <a:pt x="1284" y="124"/>
                  </a:lnTo>
                  <a:lnTo>
                    <a:pt x="1284" y="126"/>
                  </a:lnTo>
                  <a:lnTo>
                    <a:pt x="1282" y="126"/>
                  </a:lnTo>
                  <a:lnTo>
                    <a:pt x="1280" y="128"/>
                  </a:lnTo>
                  <a:lnTo>
                    <a:pt x="1280" y="130"/>
                  </a:lnTo>
                  <a:lnTo>
                    <a:pt x="1278" y="132"/>
                  </a:lnTo>
                  <a:lnTo>
                    <a:pt x="1278" y="132"/>
                  </a:lnTo>
                  <a:lnTo>
                    <a:pt x="1276" y="134"/>
                  </a:lnTo>
                  <a:lnTo>
                    <a:pt x="1276" y="134"/>
                  </a:lnTo>
                  <a:lnTo>
                    <a:pt x="1273" y="136"/>
                  </a:lnTo>
                  <a:lnTo>
                    <a:pt x="1273" y="136"/>
                  </a:lnTo>
                  <a:lnTo>
                    <a:pt x="1273" y="138"/>
                  </a:lnTo>
                  <a:lnTo>
                    <a:pt x="1276" y="140"/>
                  </a:lnTo>
                  <a:lnTo>
                    <a:pt x="1278" y="140"/>
                  </a:lnTo>
                  <a:lnTo>
                    <a:pt x="1280" y="140"/>
                  </a:lnTo>
                  <a:lnTo>
                    <a:pt x="1282" y="140"/>
                  </a:lnTo>
                  <a:lnTo>
                    <a:pt x="1282" y="140"/>
                  </a:lnTo>
                  <a:lnTo>
                    <a:pt x="1284" y="140"/>
                  </a:lnTo>
                  <a:lnTo>
                    <a:pt x="1286" y="138"/>
                  </a:lnTo>
                  <a:lnTo>
                    <a:pt x="1288" y="138"/>
                  </a:lnTo>
                  <a:lnTo>
                    <a:pt x="1291" y="138"/>
                  </a:lnTo>
                  <a:lnTo>
                    <a:pt x="1291" y="136"/>
                  </a:lnTo>
                  <a:lnTo>
                    <a:pt x="1293" y="136"/>
                  </a:lnTo>
                  <a:lnTo>
                    <a:pt x="1293" y="138"/>
                  </a:lnTo>
                  <a:lnTo>
                    <a:pt x="1295" y="138"/>
                  </a:lnTo>
                  <a:lnTo>
                    <a:pt x="1297" y="140"/>
                  </a:lnTo>
                  <a:lnTo>
                    <a:pt x="1297" y="142"/>
                  </a:lnTo>
                  <a:lnTo>
                    <a:pt x="1299" y="142"/>
                  </a:lnTo>
                  <a:lnTo>
                    <a:pt x="1299" y="144"/>
                  </a:lnTo>
                  <a:lnTo>
                    <a:pt x="1301" y="144"/>
                  </a:lnTo>
                  <a:lnTo>
                    <a:pt x="1304" y="144"/>
                  </a:lnTo>
                  <a:lnTo>
                    <a:pt x="1306" y="142"/>
                  </a:lnTo>
                  <a:lnTo>
                    <a:pt x="1306" y="142"/>
                  </a:lnTo>
                  <a:lnTo>
                    <a:pt x="1308" y="142"/>
                  </a:lnTo>
                  <a:lnTo>
                    <a:pt x="1308" y="142"/>
                  </a:lnTo>
                  <a:lnTo>
                    <a:pt x="1310" y="144"/>
                  </a:lnTo>
                  <a:lnTo>
                    <a:pt x="1312" y="144"/>
                  </a:lnTo>
                  <a:lnTo>
                    <a:pt x="1314" y="144"/>
                  </a:lnTo>
                  <a:lnTo>
                    <a:pt x="1316" y="144"/>
                  </a:lnTo>
                  <a:lnTo>
                    <a:pt x="1316" y="146"/>
                  </a:lnTo>
                  <a:lnTo>
                    <a:pt x="1316" y="147"/>
                  </a:lnTo>
                  <a:lnTo>
                    <a:pt x="1319" y="147"/>
                  </a:lnTo>
                  <a:lnTo>
                    <a:pt x="1321" y="147"/>
                  </a:lnTo>
                  <a:lnTo>
                    <a:pt x="1323" y="147"/>
                  </a:lnTo>
                  <a:lnTo>
                    <a:pt x="1325" y="146"/>
                  </a:lnTo>
                  <a:lnTo>
                    <a:pt x="1325" y="146"/>
                  </a:lnTo>
                  <a:lnTo>
                    <a:pt x="1327" y="146"/>
                  </a:lnTo>
                  <a:lnTo>
                    <a:pt x="1329" y="146"/>
                  </a:lnTo>
                  <a:lnTo>
                    <a:pt x="1331" y="144"/>
                  </a:lnTo>
                  <a:lnTo>
                    <a:pt x="1331" y="144"/>
                  </a:lnTo>
                  <a:lnTo>
                    <a:pt x="1334" y="144"/>
                  </a:lnTo>
                  <a:lnTo>
                    <a:pt x="1336" y="144"/>
                  </a:lnTo>
                  <a:lnTo>
                    <a:pt x="1338" y="144"/>
                  </a:lnTo>
                  <a:lnTo>
                    <a:pt x="1340" y="144"/>
                  </a:lnTo>
                  <a:lnTo>
                    <a:pt x="1342" y="144"/>
                  </a:lnTo>
                  <a:lnTo>
                    <a:pt x="1344" y="144"/>
                  </a:lnTo>
                  <a:lnTo>
                    <a:pt x="1346" y="144"/>
                  </a:lnTo>
                  <a:lnTo>
                    <a:pt x="1349" y="144"/>
                  </a:lnTo>
                  <a:lnTo>
                    <a:pt x="1349" y="144"/>
                  </a:lnTo>
                  <a:lnTo>
                    <a:pt x="1351" y="146"/>
                  </a:lnTo>
                  <a:lnTo>
                    <a:pt x="1353" y="146"/>
                  </a:lnTo>
                  <a:lnTo>
                    <a:pt x="1355" y="146"/>
                  </a:lnTo>
                  <a:lnTo>
                    <a:pt x="1355" y="146"/>
                  </a:lnTo>
                  <a:lnTo>
                    <a:pt x="1357" y="146"/>
                  </a:lnTo>
                  <a:lnTo>
                    <a:pt x="1359" y="144"/>
                  </a:lnTo>
                  <a:lnTo>
                    <a:pt x="1362" y="144"/>
                  </a:lnTo>
                  <a:lnTo>
                    <a:pt x="1364" y="146"/>
                  </a:lnTo>
                  <a:lnTo>
                    <a:pt x="1364" y="146"/>
                  </a:lnTo>
                  <a:lnTo>
                    <a:pt x="1364" y="144"/>
                  </a:lnTo>
                  <a:lnTo>
                    <a:pt x="1364" y="142"/>
                  </a:lnTo>
                  <a:lnTo>
                    <a:pt x="1366" y="140"/>
                  </a:lnTo>
                  <a:lnTo>
                    <a:pt x="1366" y="140"/>
                  </a:lnTo>
                  <a:lnTo>
                    <a:pt x="1366" y="138"/>
                  </a:lnTo>
                  <a:lnTo>
                    <a:pt x="1368" y="136"/>
                  </a:lnTo>
                  <a:lnTo>
                    <a:pt x="1368" y="134"/>
                  </a:lnTo>
                  <a:lnTo>
                    <a:pt x="1368" y="132"/>
                  </a:lnTo>
                  <a:lnTo>
                    <a:pt x="1370" y="132"/>
                  </a:lnTo>
                  <a:lnTo>
                    <a:pt x="1368" y="130"/>
                  </a:lnTo>
                  <a:lnTo>
                    <a:pt x="1370" y="130"/>
                  </a:lnTo>
                  <a:lnTo>
                    <a:pt x="1372" y="128"/>
                  </a:lnTo>
                  <a:lnTo>
                    <a:pt x="1374" y="128"/>
                  </a:lnTo>
                  <a:lnTo>
                    <a:pt x="1374" y="126"/>
                  </a:lnTo>
                  <a:lnTo>
                    <a:pt x="1377" y="126"/>
                  </a:lnTo>
                  <a:lnTo>
                    <a:pt x="1379" y="124"/>
                  </a:lnTo>
                  <a:lnTo>
                    <a:pt x="1379" y="124"/>
                  </a:lnTo>
                  <a:lnTo>
                    <a:pt x="1381" y="122"/>
                  </a:lnTo>
                  <a:lnTo>
                    <a:pt x="1381" y="120"/>
                  </a:lnTo>
                  <a:lnTo>
                    <a:pt x="1381" y="120"/>
                  </a:lnTo>
                  <a:lnTo>
                    <a:pt x="1379" y="118"/>
                  </a:lnTo>
                  <a:lnTo>
                    <a:pt x="1379" y="116"/>
                  </a:lnTo>
                  <a:lnTo>
                    <a:pt x="1379" y="114"/>
                  </a:lnTo>
                  <a:lnTo>
                    <a:pt x="1379" y="114"/>
                  </a:lnTo>
                  <a:lnTo>
                    <a:pt x="1379" y="112"/>
                  </a:lnTo>
                  <a:lnTo>
                    <a:pt x="1377" y="110"/>
                  </a:lnTo>
                  <a:lnTo>
                    <a:pt x="1379" y="108"/>
                  </a:lnTo>
                  <a:lnTo>
                    <a:pt x="1379" y="108"/>
                  </a:lnTo>
                  <a:lnTo>
                    <a:pt x="1381" y="106"/>
                  </a:lnTo>
                  <a:lnTo>
                    <a:pt x="1381" y="104"/>
                  </a:lnTo>
                  <a:lnTo>
                    <a:pt x="1381" y="102"/>
                  </a:lnTo>
                  <a:lnTo>
                    <a:pt x="1381" y="100"/>
                  </a:lnTo>
                  <a:lnTo>
                    <a:pt x="1383" y="98"/>
                  </a:lnTo>
                  <a:lnTo>
                    <a:pt x="1385" y="98"/>
                  </a:lnTo>
                  <a:lnTo>
                    <a:pt x="1385" y="96"/>
                  </a:lnTo>
                  <a:lnTo>
                    <a:pt x="1385" y="94"/>
                  </a:lnTo>
                  <a:lnTo>
                    <a:pt x="1385" y="94"/>
                  </a:lnTo>
                  <a:lnTo>
                    <a:pt x="1385" y="92"/>
                  </a:lnTo>
                  <a:lnTo>
                    <a:pt x="1385" y="90"/>
                  </a:lnTo>
                  <a:lnTo>
                    <a:pt x="1385" y="88"/>
                  </a:lnTo>
                  <a:lnTo>
                    <a:pt x="1383" y="86"/>
                  </a:lnTo>
                  <a:lnTo>
                    <a:pt x="1385" y="84"/>
                  </a:lnTo>
                  <a:lnTo>
                    <a:pt x="1387" y="84"/>
                  </a:lnTo>
                  <a:lnTo>
                    <a:pt x="1389" y="82"/>
                  </a:lnTo>
                  <a:lnTo>
                    <a:pt x="1389" y="80"/>
                  </a:lnTo>
                  <a:lnTo>
                    <a:pt x="1389" y="78"/>
                  </a:lnTo>
                  <a:lnTo>
                    <a:pt x="1389" y="78"/>
                  </a:lnTo>
                  <a:lnTo>
                    <a:pt x="1392" y="78"/>
                  </a:lnTo>
                  <a:lnTo>
                    <a:pt x="1394" y="78"/>
                  </a:lnTo>
                  <a:lnTo>
                    <a:pt x="1396" y="78"/>
                  </a:lnTo>
                  <a:lnTo>
                    <a:pt x="1398" y="78"/>
                  </a:lnTo>
                  <a:lnTo>
                    <a:pt x="1398" y="78"/>
                  </a:lnTo>
                  <a:lnTo>
                    <a:pt x="1400" y="76"/>
                  </a:lnTo>
                  <a:lnTo>
                    <a:pt x="1402" y="76"/>
                  </a:lnTo>
                  <a:lnTo>
                    <a:pt x="1402" y="74"/>
                  </a:lnTo>
                  <a:lnTo>
                    <a:pt x="1404" y="72"/>
                  </a:lnTo>
                  <a:lnTo>
                    <a:pt x="1407" y="72"/>
                  </a:lnTo>
                  <a:lnTo>
                    <a:pt x="1404" y="70"/>
                  </a:lnTo>
                  <a:lnTo>
                    <a:pt x="1404" y="68"/>
                  </a:lnTo>
                  <a:lnTo>
                    <a:pt x="1404" y="66"/>
                  </a:lnTo>
                  <a:lnTo>
                    <a:pt x="1404" y="64"/>
                  </a:lnTo>
                  <a:lnTo>
                    <a:pt x="1404" y="62"/>
                  </a:lnTo>
                  <a:lnTo>
                    <a:pt x="1407" y="64"/>
                  </a:lnTo>
                  <a:lnTo>
                    <a:pt x="1409" y="64"/>
                  </a:lnTo>
                  <a:lnTo>
                    <a:pt x="1409" y="62"/>
                  </a:lnTo>
                  <a:lnTo>
                    <a:pt x="1411" y="62"/>
                  </a:lnTo>
                  <a:lnTo>
                    <a:pt x="1413" y="60"/>
                  </a:lnTo>
                  <a:lnTo>
                    <a:pt x="1413" y="60"/>
                  </a:lnTo>
                  <a:lnTo>
                    <a:pt x="1415" y="62"/>
                  </a:lnTo>
                  <a:lnTo>
                    <a:pt x="1417" y="62"/>
                  </a:lnTo>
                  <a:lnTo>
                    <a:pt x="1417" y="62"/>
                  </a:lnTo>
                  <a:lnTo>
                    <a:pt x="1419" y="62"/>
                  </a:lnTo>
                  <a:lnTo>
                    <a:pt x="1422" y="60"/>
                  </a:lnTo>
                  <a:lnTo>
                    <a:pt x="1424" y="60"/>
                  </a:lnTo>
                  <a:lnTo>
                    <a:pt x="1426" y="60"/>
                  </a:lnTo>
                  <a:lnTo>
                    <a:pt x="1428" y="60"/>
                  </a:lnTo>
                  <a:lnTo>
                    <a:pt x="1428" y="60"/>
                  </a:lnTo>
                  <a:lnTo>
                    <a:pt x="1430" y="58"/>
                  </a:lnTo>
                  <a:lnTo>
                    <a:pt x="1432" y="58"/>
                  </a:lnTo>
                  <a:lnTo>
                    <a:pt x="1432" y="56"/>
                  </a:lnTo>
                  <a:lnTo>
                    <a:pt x="1435" y="56"/>
                  </a:lnTo>
                  <a:lnTo>
                    <a:pt x="1437" y="56"/>
                  </a:lnTo>
                  <a:lnTo>
                    <a:pt x="1439" y="56"/>
                  </a:lnTo>
                  <a:lnTo>
                    <a:pt x="1441" y="54"/>
                  </a:lnTo>
                  <a:lnTo>
                    <a:pt x="1441" y="54"/>
                  </a:lnTo>
                  <a:lnTo>
                    <a:pt x="1443" y="54"/>
                  </a:lnTo>
                  <a:lnTo>
                    <a:pt x="1445" y="54"/>
                  </a:lnTo>
                  <a:lnTo>
                    <a:pt x="1447" y="54"/>
                  </a:lnTo>
                  <a:lnTo>
                    <a:pt x="1450" y="52"/>
                  </a:lnTo>
                  <a:lnTo>
                    <a:pt x="1450" y="52"/>
                  </a:lnTo>
                  <a:lnTo>
                    <a:pt x="1452" y="50"/>
                  </a:lnTo>
                  <a:lnTo>
                    <a:pt x="1454" y="52"/>
                  </a:lnTo>
                  <a:lnTo>
                    <a:pt x="1456" y="52"/>
                  </a:lnTo>
                  <a:lnTo>
                    <a:pt x="1456" y="54"/>
                  </a:lnTo>
                  <a:lnTo>
                    <a:pt x="1458" y="52"/>
                  </a:lnTo>
                  <a:lnTo>
                    <a:pt x="1458" y="50"/>
                  </a:lnTo>
                  <a:lnTo>
                    <a:pt x="1460" y="52"/>
                  </a:lnTo>
                  <a:lnTo>
                    <a:pt x="1462" y="50"/>
                  </a:lnTo>
                  <a:lnTo>
                    <a:pt x="1465" y="52"/>
                  </a:lnTo>
                  <a:lnTo>
                    <a:pt x="1465" y="52"/>
                  </a:lnTo>
                  <a:lnTo>
                    <a:pt x="1467" y="54"/>
                  </a:lnTo>
                  <a:lnTo>
                    <a:pt x="1469" y="54"/>
                  </a:lnTo>
                  <a:lnTo>
                    <a:pt x="1469" y="56"/>
                  </a:lnTo>
                  <a:lnTo>
                    <a:pt x="1471" y="58"/>
                  </a:lnTo>
                  <a:lnTo>
                    <a:pt x="1471" y="58"/>
                  </a:lnTo>
                  <a:lnTo>
                    <a:pt x="1473" y="60"/>
                  </a:lnTo>
                  <a:lnTo>
                    <a:pt x="1475" y="60"/>
                  </a:lnTo>
                  <a:lnTo>
                    <a:pt x="1477" y="62"/>
                  </a:lnTo>
                  <a:lnTo>
                    <a:pt x="1480" y="60"/>
                  </a:lnTo>
                  <a:lnTo>
                    <a:pt x="1482" y="60"/>
                  </a:lnTo>
                  <a:lnTo>
                    <a:pt x="1482" y="60"/>
                  </a:lnTo>
                  <a:lnTo>
                    <a:pt x="1484" y="58"/>
                  </a:lnTo>
                  <a:lnTo>
                    <a:pt x="1484" y="58"/>
                  </a:lnTo>
                  <a:lnTo>
                    <a:pt x="1486" y="56"/>
                  </a:lnTo>
                  <a:lnTo>
                    <a:pt x="1488" y="56"/>
                  </a:lnTo>
                  <a:lnTo>
                    <a:pt x="1488" y="54"/>
                  </a:lnTo>
                  <a:lnTo>
                    <a:pt x="1490" y="52"/>
                  </a:lnTo>
                  <a:lnTo>
                    <a:pt x="1490" y="52"/>
                  </a:lnTo>
                  <a:lnTo>
                    <a:pt x="1493" y="50"/>
                  </a:lnTo>
                  <a:lnTo>
                    <a:pt x="1493" y="48"/>
                  </a:lnTo>
                  <a:lnTo>
                    <a:pt x="1495" y="48"/>
                  </a:lnTo>
                  <a:lnTo>
                    <a:pt x="1497" y="48"/>
                  </a:lnTo>
                  <a:lnTo>
                    <a:pt x="1497" y="46"/>
                  </a:lnTo>
                  <a:lnTo>
                    <a:pt x="1497" y="44"/>
                  </a:lnTo>
                  <a:lnTo>
                    <a:pt x="1499" y="44"/>
                  </a:lnTo>
                  <a:lnTo>
                    <a:pt x="1499" y="42"/>
                  </a:lnTo>
                  <a:lnTo>
                    <a:pt x="1501" y="42"/>
                  </a:lnTo>
                  <a:lnTo>
                    <a:pt x="1503" y="42"/>
                  </a:lnTo>
                  <a:lnTo>
                    <a:pt x="1505" y="42"/>
                  </a:lnTo>
                  <a:lnTo>
                    <a:pt x="1505" y="42"/>
                  </a:lnTo>
                  <a:lnTo>
                    <a:pt x="1508" y="42"/>
                  </a:lnTo>
                  <a:lnTo>
                    <a:pt x="1508" y="42"/>
                  </a:lnTo>
                  <a:lnTo>
                    <a:pt x="1510" y="44"/>
                  </a:lnTo>
                  <a:lnTo>
                    <a:pt x="1510" y="46"/>
                  </a:lnTo>
                  <a:lnTo>
                    <a:pt x="1512" y="46"/>
                  </a:lnTo>
                  <a:lnTo>
                    <a:pt x="1514" y="46"/>
                  </a:lnTo>
                  <a:lnTo>
                    <a:pt x="1514" y="48"/>
                  </a:lnTo>
                  <a:lnTo>
                    <a:pt x="1516" y="50"/>
                  </a:lnTo>
                  <a:lnTo>
                    <a:pt x="1518" y="52"/>
                  </a:lnTo>
                  <a:lnTo>
                    <a:pt x="1518" y="50"/>
                  </a:lnTo>
                  <a:lnTo>
                    <a:pt x="1520" y="50"/>
                  </a:lnTo>
                  <a:lnTo>
                    <a:pt x="1523" y="50"/>
                  </a:lnTo>
                  <a:lnTo>
                    <a:pt x="1525" y="48"/>
                  </a:lnTo>
                  <a:lnTo>
                    <a:pt x="1527" y="48"/>
                  </a:lnTo>
                  <a:lnTo>
                    <a:pt x="1529" y="48"/>
                  </a:lnTo>
                  <a:lnTo>
                    <a:pt x="1529" y="46"/>
                  </a:lnTo>
                  <a:lnTo>
                    <a:pt x="1531" y="46"/>
                  </a:lnTo>
                  <a:lnTo>
                    <a:pt x="1531" y="44"/>
                  </a:lnTo>
                  <a:lnTo>
                    <a:pt x="1533" y="42"/>
                  </a:lnTo>
                  <a:lnTo>
                    <a:pt x="1535" y="42"/>
                  </a:lnTo>
                  <a:lnTo>
                    <a:pt x="1538" y="42"/>
                  </a:lnTo>
                  <a:lnTo>
                    <a:pt x="1538" y="40"/>
                  </a:lnTo>
                  <a:lnTo>
                    <a:pt x="1540" y="40"/>
                  </a:lnTo>
                  <a:lnTo>
                    <a:pt x="1542" y="40"/>
                  </a:lnTo>
                  <a:lnTo>
                    <a:pt x="1544" y="40"/>
                  </a:lnTo>
                  <a:lnTo>
                    <a:pt x="1544" y="40"/>
                  </a:lnTo>
                  <a:lnTo>
                    <a:pt x="1546" y="42"/>
                  </a:lnTo>
                  <a:lnTo>
                    <a:pt x="1546" y="44"/>
                  </a:lnTo>
                  <a:lnTo>
                    <a:pt x="1548" y="44"/>
                  </a:lnTo>
                  <a:lnTo>
                    <a:pt x="1551" y="44"/>
                  </a:lnTo>
                  <a:lnTo>
                    <a:pt x="1553" y="46"/>
                  </a:lnTo>
                  <a:lnTo>
                    <a:pt x="1555" y="46"/>
                  </a:lnTo>
                  <a:lnTo>
                    <a:pt x="1555" y="48"/>
                  </a:lnTo>
                  <a:lnTo>
                    <a:pt x="1557" y="46"/>
                  </a:lnTo>
                  <a:lnTo>
                    <a:pt x="1559" y="46"/>
                  </a:lnTo>
                  <a:lnTo>
                    <a:pt x="1561" y="46"/>
                  </a:lnTo>
                  <a:lnTo>
                    <a:pt x="1563" y="46"/>
                  </a:lnTo>
                  <a:lnTo>
                    <a:pt x="1566" y="46"/>
                  </a:lnTo>
                  <a:lnTo>
                    <a:pt x="1568" y="46"/>
                  </a:lnTo>
                  <a:lnTo>
                    <a:pt x="1568" y="46"/>
                  </a:lnTo>
                  <a:lnTo>
                    <a:pt x="1570" y="46"/>
                  </a:lnTo>
                  <a:lnTo>
                    <a:pt x="1572" y="48"/>
                  </a:lnTo>
                  <a:lnTo>
                    <a:pt x="1572" y="50"/>
                  </a:lnTo>
                  <a:lnTo>
                    <a:pt x="1574" y="52"/>
                  </a:lnTo>
                  <a:lnTo>
                    <a:pt x="1574" y="52"/>
                  </a:lnTo>
                  <a:lnTo>
                    <a:pt x="1576" y="54"/>
                  </a:lnTo>
                  <a:lnTo>
                    <a:pt x="1576" y="54"/>
                  </a:lnTo>
                  <a:lnTo>
                    <a:pt x="1578" y="56"/>
                  </a:lnTo>
                  <a:lnTo>
                    <a:pt x="1581" y="56"/>
                  </a:lnTo>
                  <a:lnTo>
                    <a:pt x="1583" y="56"/>
                  </a:lnTo>
                  <a:lnTo>
                    <a:pt x="1585" y="54"/>
                  </a:lnTo>
                  <a:lnTo>
                    <a:pt x="1587" y="54"/>
                  </a:lnTo>
                  <a:lnTo>
                    <a:pt x="1587" y="54"/>
                  </a:lnTo>
                  <a:lnTo>
                    <a:pt x="1587" y="52"/>
                  </a:lnTo>
                  <a:lnTo>
                    <a:pt x="1589" y="50"/>
                  </a:lnTo>
                  <a:lnTo>
                    <a:pt x="1589" y="48"/>
                  </a:lnTo>
                  <a:lnTo>
                    <a:pt x="1591" y="48"/>
                  </a:lnTo>
                  <a:lnTo>
                    <a:pt x="1593" y="46"/>
                  </a:lnTo>
                  <a:lnTo>
                    <a:pt x="1593" y="46"/>
                  </a:lnTo>
                  <a:lnTo>
                    <a:pt x="1596" y="46"/>
                  </a:lnTo>
                  <a:lnTo>
                    <a:pt x="1598" y="46"/>
                  </a:lnTo>
                  <a:lnTo>
                    <a:pt x="1600" y="46"/>
                  </a:lnTo>
                  <a:lnTo>
                    <a:pt x="1602" y="46"/>
                  </a:lnTo>
                  <a:lnTo>
                    <a:pt x="1604" y="46"/>
                  </a:lnTo>
                  <a:lnTo>
                    <a:pt x="1606" y="46"/>
                  </a:lnTo>
                  <a:lnTo>
                    <a:pt x="1608" y="46"/>
                  </a:lnTo>
                  <a:lnTo>
                    <a:pt x="1608" y="44"/>
                  </a:lnTo>
                  <a:lnTo>
                    <a:pt x="1611" y="42"/>
                  </a:lnTo>
                  <a:lnTo>
                    <a:pt x="1611" y="42"/>
                  </a:lnTo>
                  <a:lnTo>
                    <a:pt x="1613" y="42"/>
                  </a:lnTo>
                  <a:lnTo>
                    <a:pt x="1615" y="40"/>
                  </a:lnTo>
                  <a:lnTo>
                    <a:pt x="1615" y="38"/>
                  </a:lnTo>
                  <a:lnTo>
                    <a:pt x="1617" y="38"/>
                  </a:lnTo>
                  <a:lnTo>
                    <a:pt x="1619" y="38"/>
                  </a:lnTo>
                  <a:lnTo>
                    <a:pt x="1619" y="36"/>
                  </a:lnTo>
                  <a:lnTo>
                    <a:pt x="1621" y="36"/>
                  </a:lnTo>
                  <a:lnTo>
                    <a:pt x="1624" y="36"/>
                  </a:lnTo>
                  <a:lnTo>
                    <a:pt x="1626" y="34"/>
                  </a:lnTo>
                  <a:lnTo>
                    <a:pt x="1626" y="34"/>
                  </a:lnTo>
                  <a:lnTo>
                    <a:pt x="1628" y="32"/>
                  </a:lnTo>
                  <a:lnTo>
                    <a:pt x="1630" y="30"/>
                  </a:lnTo>
                  <a:lnTo>
                    <a:pt x="1630" y="30"/>
                  </a:lnTo>
                  <a:lnTo>
                    <a:pt x="1632" y="28"/>
                  </a:lnTo>
                  <a:lnTo>
                    <a:pt x="1632" y="28"/>
                  </a:lnTo>
                  <a:lnTo>
                    <a:pt x="1634" y="26"/>
                  </a:lnTo>
                  <a:lnTo>
                    <a:pt x="1636" y="26"/>
                  </a:lnTo>
                  <a:lnTo>
                    <a:pt x="1639" y="26"/>
                  </a:lnTo>
                  <a:lnTo>
                    <a:pt x="1641" y="26"/>
                  </a:lnTo>
                  <a:lnTo>
                    <a:pt x="1643" y="26"/>
                  </a:lnTo>
                  <a:lnTo>
                    <a:pt x="1643" y="24"/>
                  </a:lnTo>
                  <a:lnTo>
                    <a:pt x="1643" y="24"/>
                  </a:lnTo>
                  <a:lnTo>
                    <a:pt x="1645" y="24"/>
                  </a:lnTo>
                  <a:lnTo>
                    <a:pt x="1647" y="24"/>
                  </a:lnTo>
                  <a:lnTo>
                    <a:pt x="1649" y="22"/>
                  </a:lnTo>
                  <a:lnTo>
                    <a:pt x="1649" y="22"/>
                  </a:lnTo>
                  <a:lnTo>
                    <a:pt x="1651" y="20"/>
                  </a:lnTo>
                  <a:lnTo>
                    <a:pt x="1651" y="22"/>
                  </a:lnTo>
                  <a:lnTo>
                    <a:pt x="1654" y="20"/>
                  </a:lnTo>
                  <a:lnTo>
                    <a:pt x="1656" y="20"/>
                  </a:lnTo>
                  <a:lnTo>
                    <a:pt x="1658" y="20"/>
                  </a:lnTo>
                  <a:lnTo>
                    <a:pt x="1660" y="20"/>
                  </a:lnTo>
                  <a:lnTo>
                    <a:pt x="1662" y="22"/>
                  </a:lnTo>
                  <a:lnTo>
                    <a:pt x="1664" y="20"/>
                  </a:lnTo>
                  <a:lnTo>
                    <a:pt x="1666" y="20"/>
                  </a:lnTo>
                  <a:lnTo>
                    <a:pt x="1666" y="18"/>
                  </a:lnTo>
                  <a:lnTo>
                    <a:pt x="1666" y="16"/>
                  </a:lnTo>
                  <a:lnTo>
                    <a:pt x="1669" y="16"/>
                  </a:lnTo>
                  <a:lnTo>
                    <a:pt x="1671" y="14"/>
                  </a:lnTo>
                  <a:lnTo>
                    <a:pt x="1673" y="14"/>
                  </a:lnTo>
                  <a:lnTo>
                    <a:pt x="1675" y="14"/>
                  </a:lnTo>
                  <a:lnTo>
                    <a:pt x="1675" y="16"/>
                  </a:lnTo>
                  <a:lnTo>
                    <a:pt x="1677" y="16"/>
                  </a:lnTo>
                  <a:lnTo>
                    <a:pt x="1679" y="16"/>
                  </a:lnTo>
                  <a:lnTo>
                    <a:pt x="1682" y="14"/>
                  </a:lnTo>
                  <a:lnTo>
                    <a:pt x="1682" y="12"/>
                  </a:lnTo>
                  <a:lnTo>
                    <a:pt x="1682" y="10"/>
                  </a:lnTo>
                  <a:lnTo>
                    <a:pt x="1684" y="10"/>
                  </a:lnTo>
                  <a:lnTo>
                    <a:pt x="1684" y="8"/>
                  </a:lnTo>
                  <a:lnTo>
                    <a:pt x="1686" y="8"/>
                  </a:lnTo>
                  <a:lnTo>
                    <a:pt x="1688" y="8"/>
                  </a:lnTo>
                  <a:lnTo>
                    <a:pt x="1690" y="8"/>
                  </a:lnTo>
                  <a:lnTo>
                    <a:pt x="1692" y="8"/>
                  </a:lnTo>
                  <a:lnTo>
                    <a:pt x="1694" y="8"/>
                  </a:lnTo>
                  <a:lnTo>
                    <a:pt x="1694" y="8"/>
                  </a:lnTo>
                  <a:lnTo>
                    <a:pt x="1697" y="6"/>
                  </a:lnTo>
                  <a:lnTo>
                    <a:pt x="1699" y="6"/>
                  </a:lnTo>
                  <a:lnTo>
                    <a:pt x="1701" y="6"/>
                  </a:lnTo>
                  <a:lnTo>
                    <a:pt x="1703" y="6"/>
                  </a:lnTo>
                  <a:lnTo>
                    <a:pt x="1703" y="6"/>
                  </a:lnTo>
                  <a:lnTo>
                    <a:pt x="1705" y="4"/>
                  </a:lnTo>
                  <a:lnTo>
                    <a:pt x="1707" y="4"/>
                  </a:lnTo>
                  <a:lnTo>
                    <a:pt x="1709" y="2"/>
                  </a:lnTo>
                  <a:lnTo>
                    <a:pt x="1712" y="2"/>
                  </a:lnTo>
                  <a:lnTo>
                    <a:pt x="1712" y="0"/>
                  </a:lnTo>
                  <a:lnTo>
                    <a:pt x="1714" y="0"/>
                  </a:lnTo>
                  <a:lnTo>
                    <a:pt x="1716" y="2"/>
                  </a:lnTo>
                  <a:lnTo>
                    <a:pt x="1718" y="2"/>
                  </a:lnTo>
                  <a:lnTo>
                    <a:pt x="1720" y="2"/>
                  </a:lnTo>
                  <a:lnTo>
                    <a:pt x="1722" y="2"/>
                  </a:lnTo>
                  <a:lnTo>
                    <a:pt x="1722" y="4"/>
                  </a:lnTo>
                  <a:lnTo>
                    <a:pt x="1724" y="4"/>
                  </a:lnTo>
                  <a:lnTo>
                    <a:pt x="1727" y="6"/>
                  </a:lnTo>
                  <a:lnTo>
                    <a:pt x="1727" y="8"/>
                  </a:lnTo>
                  <a:lnTo>
                    <a:pt x="1729" y="8"/>
                  </a:lnTo>
                  <a:lnTo>
                    <a:pt x="1729" y="10"/>
                  </a:lnTo>
                  <a:lnTo>
                    <a:pt x="1729" y="12"/>
                  </a:lnTo>
                  <a:lnTo>
                    <a:pt x="1727" y="12"/>
                  </a:lnTo>
                  <a:lnTo>
                    <a:pt x="1724" y="14"/>
                  </a:lnTo>
                  <a:lnTo>
                    <a:pt x="1722" y="14"/>
                  </a:lnTo>
                  <a:lnTo>
                    <a:pt x="1722" y="16"/>
                  </a:lnTo>
                  <a:lnTo>
                    <a:pt x="1722" y="18"/>
                  </a:lnTo>
                  <a:lnTo>
                    <a:pt x="1722" y="18"/>
                  </a:lnTo>
                  <a:lnTo>
                    <a:pt x="1722" y="20"/>
                  </a:lnTo>
                  <a:lnTo>
                    <a:pt x="1722" y="22"/>
                  </a:lnTo>
                  <a:lnTo>
                    <a:pt x="1720" y="24"/>
                  </a:lnTo>
                  <a:lnTo>
                    <a:pt x="1720" y="26"/>
                  </a:lnTo>
                  <a:lnTo>
                    <a:pt x="1720" y="28"/>
                  </a:lnTo>
                  <a:lnTo>
                    <a:pt x="1718" y="28"/>
                  </a:lnTo>
                  <a:lnTo>
                    <a:pt x="1716" y="28"/>
                  </a:lnTo>
                  <a:lnTo>
                    <a:pt x="1714" y="28"/>
                  </a:lnTo>
                  <a:lnTo>
                    <a:pt x="1712" y="28"/>
                  </a:lnTo>
                  <a:lnTo>
                    <a:pt x="1709" y="28"/>
                  </a:lnTo>
                  <a:lnTo>
                    <a:pt x="1709" y="30"/>
                  </a:lnTo>
                  <a:lnTo>
                    <a:pt x="1707" y="30"/>
                  </a:lnTo>
                  <a:lnTo>
                    <a:pt x="1705" y="30"/>
                  </a:lnTo>
                  <a:lnTo>
                    <a:pt x="1703" y="30"/>
                  </a:lnTo>
                  <a:lnTo>
                    <a:pt x="1701" y="30"/>
                  </a:lnTo>
                  <a:lnTo>
                    <a:pt x="1701" y="30"/>
                  </a:lnTo>
                  <a:lnTo>
                    <a:pt x="1699" y="32"/>
                  </a:lnTo>
                  <a:lnTo>
                    <a:pt x="1697" y="32"/>
                  </a:lnTo>
                  <a:lnTo>
                    <a:pt x="1697" y="34"/>
                  </a:lnTo>
                  <a:lnTo>
                    <a:pt x="1694" y="36"/>
                  </a:lnTo>
                  <a:lnTo>
                    <a:pt x="1694" y="38"/>
                  </a:lnTo>
                  <a:lnTo>
                    <a:pt x="1697" y="38"/>
                  </a:lnTo>
                  <a:lnTo>
                    <a:pt x="1697" y="40"/>
                  </a:lnTo>
                  <a:lnTo>
                    <a:pt x="1697" y="42"/>
                  </a:lnTo>
                  <a:lnTo>
                    <a:pt x="1699" y="44"/>
                  </a:lnTo>
                  <a:lnTo>
                    <a:pt x="1697" y="46"/>
                  </a:lnTo>
                  <a:lnTo>
                    <a:pt x="1699" y="46"/>
                  </a:lnTo>
                  <a:lnTo>
                    <a:pt x="1701" y="46"/>
                  </a:lnTo>
                  <a:lnTo>
                    <a:pt x="1701" y="48"/>
                  </a:lnTo>
                  <a:lnTo>
                    <a:pt x="1701" y="50"/>
                  </a:lnTo>
                  <a:lnTo>
                    <a:pt x="1701" y="52"/>
                  </a:lnTo>
                  <a:lnTo>
                    <a:pt x="1699" y="54"/>
                  </a:lnTo>
                  <a:lnTo>
                    <a:pt x="1699" y="54"/>
                  </a:lnTo>
                  <a:lnTo>
                    <a:pt x="1701" y="56"/>
                  </a:lnTo>
                  <a:lnTo>
                    <a:pt x="1701" y="58"/>
                  </a:lnTo>
                  <a:lnTo>
                    <a:pt x="1703" y="58"/>
                  </a:lnTo>
                  <a:lnTo>
                    <a:pt x="1705" y="58"/>
                  </a:lnTo>
                  <a:lnTo>
                    <a:pt x="1707" y="60"/>
                  </a:lnTo>
                  <a:lnTo>
                    <a:pt x="1707" y="60"/>
                  </a:lnTo>
                  <a:lnTo>
                    <a:pt x="1709" y="62"/>
                  </a:lnTo>
                  <a:lnTo>
                    <a:pt x="1709" y="64"/>
                  </a:lnTo>
                  <a:lnTo>
                    <a:pt x="1709" y="66"/>
                  </a:lnTo>
                  <a:lnTo>
                    <a:pt x="1709" y="68"/>
                  </a:lnTo>
                  <a:lnTo>
                    <a:pt x="1707" y="68"/>
                  </a:lnTo>
                  <a:lnTo>
                    <a:pt x="1707" y="70"/>
                  </a:lnTo>
                  <a:lnTo>
                    <a:pt x="1707" y="72"/>
                  </a:lnTo>
                  <a:lnTo>
                    <a:pt x="1705" y="74"/>
                  </a:lnTo>
                  <a:lnTo>
                    <a:pt x="1703" y="74"/>
                  </a:lnTo>
                  <a:lnTo>
                    <a:pt x="1705" y="76"/>
                  </a:lnTo>
                  <a:lnTo>
                    <a:pt x="1707" y="76"/>
                  </a:lnTo>
                  <a:lnTo>
                    <a:pt x="1707" y="76"/>
                  </a:lnTo>
                  <a:lnTo>
                    <a:pt x="1709" y="76"/>
                  </a:lnTo>
                  <a:lnTo>
                    <a:pt x="1712" y="76"/>
                  </a:lnTo>
                  <a:lnTo>
                    <a:pt x="1714" y="76"/>
                  </a:lnTo>
                  <a:lnTo>
                    <a:pt x="1714" y="76"/>
                  </a:lnTo>
                  <a:lnTo>
                    <a:pt x="1716" y="78"/>
                  </a:lnTo>
                  <a:lnTo>
                    <a:pt x="1718" y="78"/>
                  </a:lnTo>
                  <a:lnTo>
                    <a:pt x="1718" y="78"/>
                  </a:lnTo>
                  <a:lnTo>
                    <a:pt x="1720" y="80"/>
                  </a:lnTo>
                  <a:lnTo>
                    <a:pt x="1720" y="82"/>
                  </a:lnTo>
                  <a:lnTo>
                    <a:pt x="1720" y="84"/>
                  </a:lnTo>
                  <a:lnTo>
                    <a:pt x="1720" y="84"/>
                  </a:lnTo>
                  <a:lnTo>
                    <a:pt x="1722" y="86"/>
                  </a:lnTo>
                  <a:lnTo>
                    <a:pt x="1722" y="88"/>
                  </a:lnTo>
                  <a:lnTo>
                    <a:pt x="1724" y="88"/>
                  </a:lnTo>
                  <a:lnTo>
                    <a:pt x="1724" y="90"/>
                  </a:lnTo>
                  <a:lnTo>
                    <a:pt x="1727" y="90"/>
                  </a:lnTo>
                  <a:lnTo>
                    <a:pt x="1727" y="88"/>
                  </a:lnTo>
                  <a:lnTo>
                    <a:pt x="1729" y="88"/>
                  </a:lnTo>
                  <a:lnTo>
                    <a:pt x="1731" y="88"/>
                  </a:lnTo>
                  <a:lnTo>
                    <a:pt x="1731" y="86"/>
                  </a:lnTo>
                  <a:lnTo>
                    <a:pt x="1731" y="84"/>
                  </a:lnTo>
                  <a:lnTo>
                    <a:pt x="1733" y="82"/>
                  </a:lnTo>
                  <a:lnTo>
                    <a:pt x="1735" y="84"/>
                  </a:lnTo>
                  <a:lnTo>
                    <a:pt x="1737" y="84"/>
                  </a:lnTo>
                  <a:lnTo>
                    <a:pt x="1739" y="84"/>
                  </a:lnTo>
                  <a:lnTo>
                    <a:pt x="1742" y="84"/>
                  </a:lnTo>
                  <a:lnTo>
                    <a:pt x="1742" y="86"/>
                  </a:lnTo>
                  <a:lnTo>
                    <a:pt x="1744" y="86"/>
                  </a:lnTo>
                  <a:lnTo>
                    <a:pt x="1744" y="88"/>
                  </a:lnTo>
                  <a:lnTo>
                    <a:pt x="1744" y="90"/>
                  </a:lnTo>
                  <a:lnTo>
                    <a:pt x="1746" y="90"/>
                  </a:lnTo>
                  <a:lnTo>
                    <a:pt x="1746" y="92"/>
                  </a:lnTo>
                  <a:lnTo>
                    <a:pt x="1748" y="92"/>
                  </a:lnTo>
                  <a:lnTo>
                    <a:pt x="1748" y="94"/>
                  </a:lnTo>
                  <a:lnTo>
                    <a:pt x="1748" y="96"/>
                  </a:lnTo>
                  <a:lnTo>
                    <a:pt x="1748" y="98"/>
                  </a:lnTo>
                  <a:lnTo>
                    <a:pt x="1750" y="98"/>
                  </a:lnTo>
                  <a:lnTo>
                    <a:pt x="1750" y="100"/>
                  </a:lnTo>
                  <a:lnTo>
                    <a:pt x="1750" y="102"/>
                  </a:lnTo>
                  <a:lnTo>
                    <a:pt x="1752" y="102"/>
                  </a:lnTo>
                  <a:lnTo>
                    <a:pt x="1755" y="102"/>
                  </a:lnTo>
                  <a:lnTo>
                    <a:pt x="1755" y="104"/>
                  </a:lnTo>
                  <a:lnTo>
                    <a:pt x="1755" y="106"/>
                  </a:lnTo>
                  <a:lnTo>
                    <a:pt x="1752" y="108"/>
                  </a:lnTo>
                  <a:lnTo>
                    <a:pt x="1752" y="108"/>
                  </a:lnTo>
                  <a:lnTo>
                    <a:pt x="1750" y="110"/>
                  </a:lnTo>
                  <a:lnTo>
                    <a:pt x="1748" y="112"/>
                  </a:lnTo>
                  <a:lnTo>
                    <a:pt x="1748" y="114"/>
                  </a:lnTo>
                  <a:lnTo>
                    <a:pt x="1748" y="114"/>
                  </a:lnTo>
                  <a:lnTo>
                    <a:pt x="1750" y="116"/>
                  </a:lnTo>
                  <a:lnTo>
                    <a:pt x="1750" y="118"/>
                  </a:lnTo>
                  <a:lnTo>
                    <a:pt x="1750" y="120"/>
                  </a:lnTo>
                  <a:lnTo>
                    <a:pt x="1748" y="120"/>
                  </a:lnTo>
                  <a:lnTo>
                    <a:pt x="1748" y="122"/>
                  </a:lnTo>
                  <a:lnTo>
                    <a:pt x="1748" y="124"/>
                  </a:lnTo>
                  <a:lnTo>
                    <a:pt x="1748" y="126"/>
                  </a:lnTo>
                  <a:lnTo>
                    <a:pt x="1748" y="126"/>
                  </a:lnTo>
                  <a:lnTo>
                    <a:pt x="1750" y="128"/>
                  </a:lnTo>
                  <a:lnTo>
                    <a:pt x="1752" y="126"/>
                  </a:lnTo>
                  <a:lnTo>
                    <a:pt x="1755" y="128"/>
                  </a:lnTo>
                  <a:lnTo>
                    <a:pt x="1755" y="126"/>
                  </a:lnTo>
                  <a:lnTo>
                    <a:pt x="1757" y="126"/>
                  </a:lnTo>
                  <a:lnTo>
                    <a:pt x="1759" y="126"/>
                  </a:lnTo>
                  <a:lnTo>
                    <a:pt x="1761" y="128"/>
                  </a:lnTo>
                  <a:lnTo>
                    <a:pt x="1763" y="128"/>
                  </a:lnTo>
                  <a:lnTo>
                    <a:pt x="1765" y="128"/>
                  </a:lnTo>
                  <a:lnTo>
                    <a:pt x="1765" y="130"/>
                  </a:lnTo>
                  <a:lnTo>
                    <a:pt x="1767" y="128"/>
                  </a:lnTo>
                  <a:lnTo>
                    <a:pt x="1770" y="130"/>
                  </a:lnTo>
                  <a:lnTo>
                    <a:pt x="1772" y="130"/>
                  </a:lnTo>
                  <a:lnTo>
                    <a:pt x="1772" y="132"/>
                  </a:lnTo>
                  <a:lnTo>
                    <a:pt x="1772" y="134"/>
                  </a:lnTo>
                  <a:lnTo>
                    <a:pt x="1772" y="136"/>
                  </a:lnTo>
                  <a:lnTo>
                    <a:pt x="1774" y="138"/>
                  </a:lnTo>
                  <a:lnTo>
                    <a:pt x="1774" y="138"/>
                  </a:lnTo>
                  <a:lnTo>
                    <a:pt x="1774" y="140"/>
                  </a:lnTo>
                  <a:lnTo>
                    <a:pt x="1774" y="142"/>
                  </a:lnTo>
                  <a:lnTo>
                    <a:pt x="1776" y="144"/>
                  </a:lnTo>
                  <a:lnTo>
                    <a:pt x="1776" y="146"/>
                  </a:lnTo>
                  <a:lnTo>
                    <a:pt x="1778" y="147"/>
                  </a:lnTo>
                  <a:lnTo>
                    <a:pt x="1778" y="147"/>
                  </a:lnTo>
                  <a:lnTo>
                    <a:pt x="1778" y="149"/>
                  </a:lnTo>
                  <a:lnTo>
                    <a:pt x="1778" y="151"/>
                  </a:lnTo>
                  <a:lnTo>
                    <a:pt x="1780" y="153"/>
                  </a:lnTo>
                  <a:lnTo>
                    <a:pt x="1782" y="153"/>
                  </a:lnTo>
                  <a:lnTo>
                    <a:pt x="1785" y="155"/>
                  </a:lnTo>
                  <a:lnTo>
                    <a:pt x="1785" y="155"/>
                  </a:lnTo>
                  <a:lnTo>
                    <a:pt x="1787" y="157"/>
                  </a:lnTo>
                  <a:lnTo>
                    <a:pt x="1789" y="157"/>
                  </a:lnTo>
                  <a:lnTo>
                    <a:pt x="1789" y="159"/>
                  </a:lnTo>
                  <a:lnTo>
                    <a:pt x="1791" y="159"/>
                  </a:lnTo>
                  <a:lnTo>
                    <a:pt x="1793" y="159"/>
                  </a:lnTo>
                  <a:lnTo>
                    <a:pt x="1793" y="161"/>
                  </a:lnTo>
                  <a:lnTo>
                    <a:pt x="1795" y="161"/>
                  </a:lnTo>
                  <a:lnTo>
                    <a:pt x="1797" y="163"/>
                  </a:lnTo>
                  <a:lnTo>
                    <a:pt x="1800" y="163"/>
                  </a:lnTo>
                  <a:lnTo>
                    <a:pt x="1800" y="163"/>
                  </a:lnTo>
                  <a:lnTo>
                    <a:pt x="1802" y="163"/>
                  </a:lnTo>
                  <a:lnTo>
                    <a:pt x="1804" y="163"/>
                  </a:lnTo>
                  <a:lnTo>
                    <a:pt x="1806" y="163"/>
                  </a:lnTo>
                  <a:lnTo>
                    <a:pt x="1808" y="163"/>
                  </a:lnTo>
                  <a:lnTo>
                    <a:pt x="1808" y="165"/>
                  </a:lnTo>
                  <a:lnTo>
                    <a:pt x="1810" y="167"/>
                  </a:lnTo>
                  <a:lnTo>
                    <a:pt x="1810" y="167"/>
                  </a:lnTo>
                  <a:lnTo>
                    <a:pt x="1813" y="167"/>
                  </a:lnTo>
                  <a:lnTo>
                    <a:pt x="1815" y="167"/>
                  </a:lnTo>
                  <a:lnTo>
                    <a:pt x="1817" y="167"/>
                  </a:lnTo>
                  <a:lnTo>
                    <a:pt x="1817" y="167"/>
                  </a:lnTo>
                  <a:lnTo>
                    <a:pt x="1819" y="167"/>
                  </a:lnTo>
                  <a:lnTo>
                    <a:pt x="1821" y="167"/>
                  </a:lnTo>
                  <a:lnTo>
                    <a:pt x="1823" y="167"/>
                  </a:lnTo>
                  <a:lnTo>
                    <a:pt x="1825" y="169"/>
                  </a:lnTo>
                  <a:lnTo>
                    <a:pt x="1825" y="169"/>
                  </a:lnTo>
                  <a:lnTo>
                    <a:pt x="1828" y="171"/>
                  </a:lnTo>
                  <a:lnTo>
                    <a:pt x="1828" y="171"/>
                  </a:lnTo>
                  <a:lnTo>
                    <a:pt x="1830" y="173"/>
                  </a:lnTo>
                  <a:lnTo>
                    <a:pt x="1832" y="175"/>
                  </a:lnTo>
                  <a:lnTo>
                    <a:pt x="1834" y="175"/>
                  </a:lnTo>
                  <a:lnTo>
                    <a:pt x="1834" y="175"/>
                  </a:lnTo>
                  <a:lnTo>
                    <a:pt x="1836" y="177"/>
                  </a:lnTo>
                  <a:lnTo>
                    <a:pt x="1838" y="177"/>
                  </a:lnTo>
                  <a:lnTo>
                    <a:pt x="1838" y="177"/>
                  </a:lnTo>
                  <a:lnTo>
                    <a:pt x="1840" y="175"/>
                  </a:lnTo>
                  <a:lnTo>
                    <a:pt x="1843" y="175"/>
                  </a:lnTo>
                  <a:lnTo>
                    <a:pt x="1845" y="175"/>
                  </a:lnTo>
                  <a:lnTo>
                    <a:pt x="1847" y="175"/>
                  </a:lnTo>
                  <a:lnTo>
                    <a:pt x="1849" y="175"/>
                  </a:lnTo>
                  <a:lnTo>
                    <a:pt x="1849" y="175"/>
                  </a:lnTo>
                  <a:lnTo>
                    <a:pt x="1851" y="173"/>
                  </a:lnTo>
                  <a:lnTo>
                    <a:pt x="1853" y="173"/>
                  </a:lnTo>
                  <a:lnTo>
                    <a:pt x="1855" y="173"/>
                  </a:lnTo>
                  <a:lnTo>
                    <a:pt x="1858" y="173"/>
                  </a:lnTo>
                  <a:lnTo>
                    <a:pt x="1858" y="175"/>
                  </a:lnTo>
                  <a:lnTo>
                    <a:pt x="1860" y="175"/>
                  </a:lnTo>
                  <a:lnTo>
                    <a:pt x="1862" y="175"/>
                  </a:lnTo>
                  <a:lnTo>
                    <a:pt x="1864" y="175"/>
                  </a:lnTo>
                  <a:lnTo>
                    <a:pt x="1864" y="175"/>
                  </a:lnTo>
                  <a:lnTo>
                    <a:pt x="1866" y="173"/>
                  </a:lnTo>
                  <a:lnTo>
                    <a:pt x="1868" y="173"/>
                  </a:lnTo>
                  <a:lnTo>
                    <a:pt x="1870" y="173"/>
                  </a:lnTo>
                  <a:lnTo>
                    <a:pt x="1873" y="173"/>
                  </a:lnTo>
                  <a:lnTo>
                    <a:pt x="1875" y="173"/>
                  </a:lnTo>
                  <a:lnTo>
                    <a:pt x="1877" y="175"/>
                  </a:lnTo>
                  <a:lnTo>
                    <a:pt x="1877" y="175"/>
                  </a:lnTo>
                  <a:lnTo>
                    <a:pt x="1879" y="177"/>
                  </a:lnTo>
                  <a:lnTo>
                    <a:pt x="1881" y="177"/>
                  </a:lnTo>
                  <a:lnTo>
                    <a:pt x="1883" y="177"/>
                  </a:lnTo>
                  <a:lnTo>
                    <a:pt x="1883" y="179"/>
                  </a:lnTo>
                  <a:lnTo>
                    <a:pt x="1886" y="179"/>
                  </a:lnTo>
                  <a:lnTo>
                    <a:pt x="1888" y="181"/>
                  </a:lnTo>
                  <a:lnTo>
                    <a:pt x="1888" y="183"/>
                  </a:lnTo>
                  <a:lnTo>
                    <a:pt x="1890" y="181"/>
                  </a:lnTo>
                  <a:lnTo>
                    <a:pt x="1892" y="181"/>
                  </a:lnTo>
                  <a:lnTo>
                    <a:pt x="1892" y="179"/>
                  </a:lnTo>
                  <a:lnTo>
                    <a:pt x="1894" y="177"/>
                  </a:lnTo>
                  <a:lnTo>
                    <a:pt x="1894" y="177"/>
                  </a:lnTo>
                  <a:lnTo>
                    <a:pt x="1896" y="177"/>
                  </a:lnTo>
                  <a:lnTo>
                    <a:pt x="1898" y="177"/>
                  </a:lnTo>
                  <a:lnTo>
                    <a:pt x="1901" y="177"/>
                  </a:lnTo>
                  <a:lnTo>
                    <a:pt x="1903" y="177"/>
                  </a:lnTo>
                  <a:lnTo>
                    <a:pt x="1905" y="177"/>
                  </a:lnTo>
                  <a:lnTo>
                    <a:pt x="1907" y="177"/>
                  </a:lnTo>
                  <a:lnTo>
                    <a:pt x="1907" y="179"/>
                  </a:lnTo>
                  <a:lnTo>
                    <a:pt x="1909" y="181"/>
                  </a:lnTo>
                  <a:lnTo>
                    <a:pt x="1909" y="181"/>
                  </a:lnTo>
                  <a:lnTo>
                    <a:pt x="1911" y="183"/>
                  </a:lnTo>
                  <a:lnTo>
                    <a:pt x="1913" y="181"/>
                  </a:lnTo>
                  <a:lnTo>
                    <a:pt x="1913" y="183"/>
                  </a:lnTo>
                  <a:lnTo>
                    <a:pt x="1916" y="183"/>
                  </a:lnTo>
                  <a:lnTo>
                    <a:pt x="1918" y="183"/>
                  </a:lnTo>
                  <a:lnTo>
                    <a:pt x="1918" y="183"/>
                  </a:lnTo>
                  <a:lnTo>
                    <a:pt x="1920" y="183"/>
                  </a:lnTo>
                  <a:lnTo>
                    <a:pt x="1920" y="185"/>
                  </a:lnTo>
                  <a:lnTo>
                    <a:pt x="1920" y="187"/>
                  </a:lnTo>
                  <a:lnTo>
                    <a:pt x="1920" y="189"/>
                  </a:lnTo>
                  <a:lnTo>
                    <a:pt x="1920" y="191"/>
                  </a:lnTo>
                  <a:lnTo>
                    <a:pt x="1922" y="191"/>
                  </a:lnTo>
                  <a:lnTo>
                    <a:pt x="1924" y="193"/>
                  </a:lnTo>
                  <a:lnTo>
                    <a:pt x="1926" y="193"/>
                  </a:lnTo>
                  <a:lnTo>
                    <a:pt x="1928" y="193"/>
                  </a:lnTo>
                  <a:lnTo>
                    <a:pt x="1928" y="191"/>
                  </a:lnTo>
                  <a:lnTo>
                    <a:pt x="1931" y="191"/>
                  </a:lnTo>
                  <a:lnTo>
                    <a:pt x="1933" y="191"/>
                  </a:lnTo>
                  <a:lnTo>
                    <a:pt x="1935" y="191"/>
                  </a:lnTo>
                  <a:lnTo>
                    <a:pt x="1937" y="191"/>
                  </a:lnTo>
                  <a:lnTo>
                    <a:pt x="1939" y="191"/>
                  </a:lnTo>
                  <a:lnTo>
                    <a:pt x="1939" y="191"/>
                  </a:lnTo>
                  <a:lnTo>
                    <a:pt x="1941" y="191"/>
                  </a:lnTo>
                  <a:lnTo>
                    <a:pt x="1944" y="189"/>
                  </a:lnTo>
                  <a:lnTo>
                    <a:pt x="1946" y="189"/>
                  </a:lnTo>
                  <a:lnTo>
                    <a:pt x="1948" y="189"/>
                  </a:lnTo>
                  <a:lnTo>
                    <a:pt x="1950" y="189"/>
                  </a:lnTo>
                  <a:lnTo>
                    <a:pt x="1950" y="191"/>
                  </a:lnTo>
                  <a:lnTo>
                    <a:pt x="1952" y="191"/>
                  </a:lnTo>
                  <a:lnTo>
                    <a:pt x="1954" y="191"/>
                  </a:lnTo>
                  <a:lnTo>
                    <a:pt x="1956" y="191"/>
                  </a:lnTo>
                  <a:lnTo>
                    <a:pt x="1959" y="191"/>
                  </a:lnTo>
                  <a:lnTo>
                    <a:pt x="1959" y="191"/>
                  </a:lnTo>
                  <a:lnTo>
                    <a:pt x="1961" y="191"/>
                  </a:lnTo>
                  <a:lnTo>
                    <a:pt x="1963" y="191"/>
                  </a:lnTo>
                  <a:lnTo>
                    <a:pt x="1965" y="193"/>
                  </a:lnTo>
                  <a:lnTo>
                    <a:pt x="1965" y="193"/>
                  </a:lnTo>
                  <a:lnTo>
                    <a:pt x="1967" y="193"/>
                  </a:lnTo>
                  <a:lnTo>
                    <a:pt x="1969" y="191"/>
                  </a:lnTo>
                  <a:lnTo>
                    <a:pt x="1971" y="191"/>
                  </a:lnTo>
                  <a:lnTo>
                    <a:pt x="1974" y="193"/>
                  </a:lnTo>
                  <a:lnTo>
                    <a:pt x="1974" y="193"/>
                  </a:lnTo>
                  <a:lnTo>
                    <a:pt x="1976" y="191"/>
                  </a:lnTo>
                  <a:lnTo>
                    <a:pt x="1978" y="191"/>
                  </a:lnTo>
                  <a:lnTo>
                    <a:pt x="1980" y="193"/>
                  </a:lnTo>
                  <a:lnTo>
                    <a:pt x="1980" y="193"/>
                  </a:lnTo>
                  <a:lnTo>
                    <a:pt x="1982" y="193"/>
                  </a:lnTo>
                  <a:lnTo>
                    <a:pt x="1984" y="193"/>
                  </a:lnTo>
                  <a:lnTo>
                    <a:pt x="1986" y="193"/>
                  </a:lnTo>
                  <a:lnTo>
                    <a:pt x="1989" y="193"/>
                  </a:lnTo>
                  <a:lnTo>
                    <a:pt x="1991" y="191"/>
                  </a:lnTo>
                  <a:lnTo>
                    <a:pt x="1993" y="191"/>
                  </a:lnTo>
                  <a:lnTo>
                    <a:pt x="1995" y="191"/>
                  </a:lnTo>
                  <a:lnTo>
                    <a:pt x="1995" y="191"/>
                  </a:lnTo>
                  <a:lnTo>
                    <a:pt x="1997" y="191"/>
                  </a:lnTo>
                  <a:lnTo>
                    <a:pt x="1999" y="191"/>
                  </a:lnTo>
                  <a:lnTo>
                    <a:pt x="2001" y="193"/>
                  </a:lnTo>
                  <a:lnTo>
                    <a:pt x="2004" y="193"/>
                  </a:lnTo>
                  <a:lnTo>
                    <a:pt x="2004" y="193"/>
                  </a:lnTo>
                  <a:lnTo>
                    <a:pt x="2006" y="193"/>
                  </a:lnTo>
                  <a:lnTo>
                    <a:pt x="2008" y="193"/>
                  </a:lnTo>
                  <a:lnTo>
                    <a:pt x="2010" y="195"/>
                  </a:lnTo>
                  <a:lnTo>
                    <a:pt x="2012" y="195"/>
                  </a:lnTo>
                  <a:lnTo>
                    <a:pt x="2012" y="195"/>
                  </a:lnTo>
                  <a:lnTo>
                    <a:pt x="2014" y="195"/>
                  </a:lnTo>
                  <a:lnTo>
                    <a:pt x="2017" y="195"/>
                  </a:lnTo>
                  <a:lnTo>
                    <a:pt x="2019" y="195"/>
                  </a:lnTo>
                  <a:lnTo>
                    <a:pt x="2021" y="195"/>
                  </a:lnTo>
                  <a:lnTo>
                    <a:pt x="2023" y="195"/>
                  </a:lnTo>
                  <a:lnTo>
                    <a:pt x="2023" y="195"/>
                  </a:lnTo>
                  <a:lnTo>
                    <a:pt x="2025" y="197"/>
                  </a:lnTo>
                  <a:lnTo>
                    <a:pt x="2025" y="197"/>
                  </a:lnTo>
                  <a:lnTo>
                    <a:pt x="2027" y="199"/>
                  </a:lnTo>
                  <a:lnTo>
                    <a:pt x="2029" y="199"/>
                  </a:lnTo>
                  <a:lnTo>
                    <a:pt x="2029" y="201"/>
                  </a:lnTo>
                  <a:lnTo>
                    <a:pt x="2032" y="201"/>
                  </a:lnTo>
                  <a:lnTo>
                    <a:pt x="2034" y="201"/>
                  </a:lnTo>
                  <a:lnTo>
                    <a:pt x="2036" y="203"/>
                  </a:lnTo>
                  <a:lnTo>
                    <a:pt x="2038" y="201"/>
                  </a:lnTo>
                  <a:lnTo>
                    <a:pt x="2038" y="203"/>
                  </a:lnTo>
                  <a:lnTo>
                    <a:pt x="2040" y="203"/>
                  </a:lnTo>
                  <a:lnTo>
                    <a:pt x="2042" y="205"/>
                  </a:lnTo>
                  <a:lnTo>
                    <a:pt x="2042" y="207"/>
                  </a:lnTo>
                  <a:lnTo>
                    <a:pt x="2042" y="207"/>
                  </a:lnTo>
                  <a:lnTo>
                    <a:pt x="2044" y="209"/>
                  </a:lnTo>
                  <a:lnTo>
                    <a:pt x="2047" y="207"/>
                  </a:lnTo>
                  <a:lnTo>
                    <a:pt x="2047" y="207"/>
                  </a:lnTo>
                  <a:lnTo>
                    <a:pt x="2049" y="205"/>
                  </a:lnTo>
                  <a:lnTo>
                    <a:pt x="2051" y="205"/>
                  </a:lnTo>
                  <a:lnTo>
                    <a:pt x="2051" y="207"/>
                  </a:lnTo>
                  <a:lnTo>
                    <a:pt x="2053" y="205"/>
                  </a:lnTo>
                  <a:lnTo>
                    <a:pt x="2055" y="205"/>
                  </a:lnTo>
                  <a:lnTo>
                    <a:pt x="2057" y="205"/>
                  </a:lnTo>
                  <a:lnTo>
                    <a:pt x="2059" y="205"/>
                  </a:lnTo>
                  <a:lnTo>
                    <a:pt x="2059" y="205"/>
                  </a:lnTo>
                  <a:lnTo>
                    <a:pt x="2062" y="205"/>
                  </a:lnTo>
                  <a:lnTo>
                    <a:pt x="2064" y="205"/>
                  </a:lnTo>
                  <a:lnTo>
                    <a:pt x="2066" y="207"/>
                  </a:lnTo>
                  <a:lnTo>
                    <a:pt x="2068" y="207"/>
                  </a:lnTo>
                  <a:lnTo>
                    <a:pt x="2070" y="207"/>
                  </a:lnTo>
                  <a:lnTo>
                    <a:pt x="2070" y="207"/>
                  </a:lnTo>
                  <a:lnTo>
                    <a:pt x="2072" y="207"/>
                  </a:lnTo>
                  <a:lnTo>
                    <a:pt x="2072" y="205"/>
                  </a:lnTo>
                  <a:lnTo>
                    <a:pt x="2075" y="203"/>
                  </a:lnTo>
                  <a:lnTo>
                    <a:pt x="2075" y="203"/>
                  </a:lnTo>
                  <a:lnTo>
                    <a:pt x="2077" y="201"/>
                  </a:lnTo>
                  <a:lnTo>
                    <a:pt x="2077" y="199"/>
                  </a:lnTo>
                  <a:lnTo>
                    <a:pt x="2079" y="201"/>
                  </a:lnTo>
                  <a:lnTo>
                    <a:pt x="2081" y="201"/>
                  </a:lnTo>
                  <a:lnTo>
                    <a:pt x="2083" y="199"/>
                  </a:lnTo>
                  <a:lnTo>
                    <a:pt x="2085" y="199"/>
                  </a:lnTo>
                  <a:lnTo>
                    <a:pt x="2085" y="199"/>
                  </a:lnTo>
                  <a:lnTo>
                    <a:pt x="2085" y="197"/>
                  </a:lnTo>
                  <a:lnTo>
                    <a:pt x="2085" y="195"/>
                  </a:lnTo>
                  <a:lnTo>
                    <a:pt x="2087" y="195"/>
                  </a:lnTo>
                  <a:lnTo>
                    <a:pt x="2090" y="197"/>
                  </a:lnTo>
                  <a:lnTo>
                    <a:pt x="2092" y="197"/>
                  </a:lnTo>
                  <a:lnTo>
                    <a:pt x="2092" y="197"/>
                  </a:lnTo>
                  <a:lnTo>
                    <a:pt x="2094" y="197"/>
                  </a:lnTo>
                  <a:lnTo>
                    <a:pt x="2096" y="197"/>
                  </a:lnTo>
                  <a:lnTo>
                    <a:pt x="2096" y="199"/>
                  </a:lnTo>
                  <a:lnTo>
                    <a:pt x="2096" y="201"/>
                  </a:lnTo>
                  <a:lnTo>
                    <a:pt x="2096" y="203"/>
                  </a:lnTo>
                  <a:lnTo>
                    <a:pt x="2098" y="203"/>
                  </a:lnTo>
                  <a:lnTo>
                    <a:pt x="2100" y="203"/>
                  </a:lnTo>
                  <a:lnTo>
                    <a:pt x="2102" y="203"/>
                  </a:lnTo>
                  <a:lnTo>
                    <a:pt x="2105" y="203"/>
                  </a:lnTo>
                  <a:lnTo>
                    <a:pt x="2107" y="203"/>
                  </a:lnTo>
                  <a:lnTo>
                    <a:pt x="2109" y="203"/>
                  </a:lnTo>
                  <a:lnTo>
                    <a:pt x="2109" y="203"/>
                  </a:lnTo>
                  <a:lnTo>
                    <a:pt x="2111" y="203"/>
                  </a:lnTo>
                  <a:lnTo>
                    <a:pt x="2113" y="203"/>
                  </a:lnTo>
                  <a:lnTo>
                    <a:pt x="2115" y="203"/>
                  </a:lnTo>
                  <a:lnTo>
                    <a:pt x="2117" y="203"/>
                  </a:lnTo>
                  <a:lnTo>
                    <a:pt x="2120" y="201"/>
                  </a:lnTo>
                  <a:lnTo>
                    <a:pt x="2122" y="201"/>
                  </a:lnTo>
                  <a:lnTo>
                    <a:pt x="2122" y="201"/>
                  </a:lnTo>
                  <a:lnTo>
                    <a:pt x="2124" y="199"/>
                  </a:lnTo>
                  <a:lnTo>
                    <a:pt x="2126" y="199"/>
                  </a:lnTo>
                  <a:lnTo>
                    <a:pt x="2126" y="201"/>
                  </a:lnTo>
                  <a:lnTo>
                    <a:pt x="2126" y="203"/>
                  </a:lnTo>
                  <a:lnTo>
                    <a:pt x="2128" y="203"/>
                  </a:lnTo>
                  <a:lnTo>
                    <a:pt x="2128" y="205"/>
                  </a:lnTo>
                  <a:lnTo>
                    <a:pt x="2130" y="205"/>
                  </a:lnTo>
                  <a:lnTo>
                    <a:pt x="2132" y="207"/>
                  </a:lnTo>
                  <a:lnTo>
                    <a:pt x="2135" y="205"/>
                  </a:lnTo>
                  <a:lnTo>
                    <a:pt x="2135" y="205"/>
                  </a:lnTo>
                  <a:lnTo>
                    <a:pt x="2137" y="203"/>
                  </a:lnTo>
                  <a:lnTo>
                    <a:pt x="2139" y="203"/>
                  </a:lnTo>
                  <a:lnTo>
                    <a:pt x="2141" y="203"/>
                  </a:lnTo>
                  <a:lnTo>
                    <a:pt x="2143" y="203"/>
                  </a:lnTo>
                  <a:lnTo>
                    <a:pt x="2145" y="203"/>
                  </a:lnTo>
                  <a:lnTo>
                    <a:pt x="2145" y="205"/>
                  </a:lnTo>
                  <a:lnTo>
                    <a:pt x="2148" y="207"/>
                  </a:lnTo>
                  <a:lnTo>
                    <a:pt x="2148" y="209"/>
                  </a:lnTo>
                  <a:lnTo>
                    <a:pt x="2148" y="209"/>
                  </a:lnTo>
                  <a:lnTo>
                    <a:pt x="2150" y="209"/>
                  </a:lnTo>
                  <a:lnTo>
                    <a:pt x="2152" y="207"/>
                  </a:lnTo>
                  <a:lnTo>
                    <a:pt x="2152" y="207"/>
                  </a:lnTo>
                  <a:lnTo>
                    <a:pt x="2154" y="205"/>
                  </a:lnTo>
                  <a:lnTo>
                    <a:pt x="2156" y="207"/>
                  </a:lnTo>
                  <a:lnTo>
                    <a:pt x="2158" y="207"/>
                  </a:lnTo>
                  <a:lnTo>
                    <a:pt x="2160" y="207"/>
                  </a:lnTo>
                  <a:lnTo>
                    <a:pt x="2163" y="207"/>
                  </a:lnTo>
                  <a:lnTo>
                    <a:pt x="2165" y="207"/>
                  </a:lnTo>
                  <a:lnTo>
                    <a:pt x="2165" y="207"/>
                  </a:lnTo>
                  <a:lnTo>
                    <a:pt x="2167" y="209"/>
                  </a:lnTo>
                  <a:lnTo>
                    <a:pt x="2169" y="209"/>
                  </a:lnTo>
                  <a:lnTo>
                    <a:pt x="2171" y="209"/>
                  </a:lnTo>
                  <a:lnTo>
                    <a:pt x="2171" y="211"/>
                  </a:lnTo>
                  <a:lnTo>
                    <a:pt x="2173" y="211"/>
                  </a:lnTo>
                  <a:lnTo>
                    <a:pt x="2175" y="213"/>
                  </a:lnTo>
                  <a:lnTo>
                    <a:pt x="2178" y="213"/>
                  </a:lnTo>
                  <a:lnTo>
                    <a:pt x="2180" y="213"/>
                  </a:lnTo>
                  <a:lnTo>
                    <a:pt x="2180" y="213"/>
                  </a:lnTo>
                  <a:lnTo>
                    <a:pt x="2182" y="213"/>
                  </a:lnTo>
                  <a:lnTo>
                    <a:pt x="2184" y="215"/>
                  </a:lnTo>
                  <a:lnTo>
                    <a:pt x="2186" y="213"/>
                  </a:lnTo>
                  <a:lnTo>
                    <a:pt x="2188" y="213"/>
                  </a:lnTo>
                  <a:lnTo>
                    <a:pt x="2190" y="213"/>
                  </a:lnTo>
                  <a:lnTo>
                    <a:pt x="2193" y="213"/>
                  </a:lnTo>
                  <a:lnTo>
                    <a:pt x="2193" y="215"/>
                  </a:lnTo>
                  <a:lnTo>
                    <a:pt x="2193" y="217"/>
                  </a:lnTo>
                  <a:lnTo>
                    <a:pt x="2193" y="219"/>
                  </a:lnTo>
                  <a:lnTo>
                    <a:pt x="2193" y="221"/>
                  </a:lnTo>
                  <a:lnTo>
                    <a:pt x="2190" y="221"/>
                  </a:lnTo>
                  <a:lnTo>
                    <a:pt x="2188" y="221"/>
                  </a:lnTo>
                  <a:lnTo>
                    <a:pt x="2188" y="223"/>
                  </a:lnTo>
                  <a:lnTo>
                    <a:pt x="2190" y="225"/>
                  </a:lnTo>
                  <a:lnTo>
                    <a:pt x="2190" y="227"/>
                  </a:lnTo>
                  <a:lnTo>
                    <a:pt x="2190" y="229"/>
                  </a:lnTo>
                  <a:lnTo>
                    <a:pt x="2190" y="229"/>
                  </a:lnTo>
                  <a:lnTo>
                    <a:pt x="2190" y="231"/>
                  </a:lnTo>
                  <a:lnTo>
                    <a:pt x="2190" y="233"/>
                  </a:lnTo>
                  <a:lnTo>
                    <a:pt x="2188" y="233"/>
                  </a:lnTo>
                  <a:lnTo>
                    <a:pt x="2188" y="235"/>
                  </a:lnTo>
                  <a:lnTo>
                    <a:pt x="2186" y="237"/>
                  </a:lnTo>
                  <a:lnTo>
                    <a:pt x="2188" y="239"/>
                  </a:lnTo>
                  <a:lnTo>
                    <a:pt x="2188" y="241"/>
                  </a:lnTo>
                  <a:lnTo>
                    <a:pt x="2188" y="243"/>
                  </a:lnTo>
                  <a:lnTo>
                    <a:pt x="2188" y="243"/>
                  </a:lnTo>
                  <a:lnTo>
                    <a:pt x="2188" y="245"/>
                  </a:lnTo>
                  <a:lnTo>
                    <a:pt x="2186" y="247"/>
                  </a:lnTo>
                  <a:lnTo>
                    <a:pt x="2184" y="249"/>
                  </a:lnTo>
                  <a:lnTo>
                    <a:pt x="2184" y="249"/>
                  </a:lnTo>
                  <a:lnTo>
                    <a:pt x="2182" y="247"/>
                  </a:lnTo>
                  <a:lnTo>
                    <a:pt x="2180" y="249"/>
                  </a:lnTo>
                  <a:lnTo>
                    <a:pt x="2178" y="249"/>
                  </a:lnTo>
                  <a:lnTo>
                    <a:pt x="2175" y="249"/>
                  </a:lnTo>
                  <a:lnTo>
                    <a:pt x="2175" y="247"/>
                  </a:lnTo>
                  <a:lnTo>
                    <a:pt x="2173" y="247"/>
                  </a:lnTo>
                  <a:lnTo>
                    <a:pt x="2173" y="247"/>
                  </a:lnTo>
                  <a:lnTo>
                    <a:pt x="2171" y="247"/>
                  </a:lnTo>
                  <a:lnTo>
                    <a:pt x="2169" y="247"/>
                  </a:lnTo>
                  <a:lnTo>
                    <a:pt x="2167" y="247"/>
                  </a:lnTo>
                  <a:lnTo>
                    <a:pt x="2167" y="249"/>
                  </a:lnTo>
                  <a:lnTo>
                    <a:pt x="2165" y="249"/>
                  </a:lnTo>
                  <a:lnTo>
                    <a:pt x="2163" y="249"/>
                  </a:lnTo>
                  <a:lnTo>
                    <a:pt x="2160" y="249"/>
                  </a:lnTo>
                  <a:lnTo>
                    <a:pt x="2160" y="249"/>
                  </a:lnTo>
                  <a:lnTo>
                    <a:pt x="2158" y="249"/>
                  </a:lnTo>
                  <a:lnTo>
                    <a:pt x="2156" y="251"/>
                  </a:lnTo>
                  <a:lnTo>
                    <a:pt x="2156" y="253"/>
                  </a:lnTo>
                  <a:lnTo>
                    <a:pt x="2154" y="253"/>
                  </a:lnTo>
                  <a:lnTo>
                    <a:pt x="2154" y="255"/>
                  </a:lnTo>
                  <a:lnTo>
                    <a:pt x="2152" y="257"/>
                  </a:lnTo>
                  <a:lnTo>
                    <a:pt x="2152" y="259"/>
                  </a:lnTo>
                  <a:lnTo>
                    <a:pt x="2152" y="259"/>
                  </a:lnTo>
                  <a:lnTo>
                    <a:pt x="2152" y="261"/>
                  </a:lnTo>
                  <a:lnTo>
                    <a:pt x="2152" y="263"/>
                  </a:lnTo>
                  <a:lnTo>
                    <a:pt x="2152" y="265"/>
                  </a:lnTo>
                  <a:lnTo>
                    <a:pt x="2150" y="265"/>
                  </a:lnTo>
                  <a:lnTo>
                    <a:pt x="2150" y="267"/>
                  </a:lnTo>
                  <a:lnTo>
                    <a:pt x="2148" y="267"/>
                  </a:lnTo>
                  <a:lnTo>
                    <a:pt x="2145" y="269"/>
                  </a:lnTo>
                  <a:lnTo>
                    <a:pt x="2145" y="269"/>
                  </a:lnTo>
                  <a:lnTo>
                    <a:pt x="2143" y="271"/>
                  </a:lnTo>
                  <a:lnTo>
                    <a:pt x="2141" y="271"/>
                  </a:lnTo>
                  <a:lnTo>
                    <a:pt x="2141" y="273"/>
                  </a:lnTo>
                  <a:lnTo>
                    <a:pt x="2139" y="273"/>
                  </a:lnTo>
                  <a:lnTo>
                    <a:pt x="2137" y="273"/>
                  </a:lnTo>
                  <a:lnTo>
                    <a:pt x="2135" y="275"/>
                  </a:lnTo>
                  <a:lnTo>
                    <a:pt x="2135" y="277"/>
                  </a:lnTo>
                  <a:lnTo>
                    <a:pt x="2135" y="277"/>
                  </a:lnTo>
                  <a:lnTo>
                    <a:pt x="2132" y="277"/>
                  </a:lnTo>
                  <a:lnTo>
                    <a:pt x="2130" y="279"/>
                  </a:lnTo>
                  <a:lnTo>
                    <a:pt x="2128" y="279"/>
                  </a:lnTo>
                  <a:lnTo>
                    <a:pt x="2126" y="279"/>
                  </a:lnTo>
                  <a:lnTo>
                    <a:pt x="2126" y="281"/>
                  </a:lnTo>
                  <a:lnTo>
                    <a:pt x="2124" y="281"/>
                  </a:lnTo>
                  <a:lnTo>
                    <a:pt x="2122" y="283"/>
                  </a:lnTo>
                  <a:lnTo>
                    <a:pt x="2122" y="285"/>
                  </a:lnTo>
                  <a:lnTo>
                    <a:pt x="2120" y="283"/>
                  </a:lnTo>
                  <a:lnTo>
                    <a:pt x="2117" y="283"/>
                  </a:lnTo>
                  <a:lnTo>
                    <a:pt x="2115" y="283"/>
                  </a:lnTo>
                  <a:lnTo>
                    <a:pt x="2113" y="285"/>
                  </a:lnTo>
                  <a:lnTo>
                    <a:pt x="2111" y="285"/>
                  </a:lnTo>
                  <a:lnTo>
                    <a:pt x="2111" y="287"/>
                  </a:lnTo>
                  <a:lnTo>
                    <a:pt x="2111" y="289"/>
                  </a:lnTo>
                  <a:lnTo>
                    <a:pt x="2113" y="289"/>
                  </a:lnTo>
                  <a:lnTo>
                    <a:pt x="2113" y="291"/>
                  </a:lnTo>
                  <a:lnTo>
                    <a:pt x="2113" y="293"/>
                  </a:lnTo>
                  <a:lnTo>
                    <a:pt x="2115" y="295"/>
                  </a:lnTo>
                  <a:lnTo>
                    <a:pt x="2115" y="295"/>
                  </a:lnTo>
                  <a:lnTo>
                    <a:pt x="2115" y="297"/>
                  </a:lnTo>
                  <a:lnTo>
                    <a:pt x="2113" y="299"/>
                  </a:lnTo>
                  <a:lnTo>
                    <a:pt x="2113" y="301"/>
                  </a:lnTo>
                  <a:lnTo>
                    <a:pt x="2111" y="301"/>
                  </a:lnTo>
                  <a:lnTo>
                    <a:pt x="2109" y="301"/>
                  </a:lnTo>
                  <a:lnTo>
                    <a:pt x="2107" y="301"/>
                  </a:lnTo>
                  <a:lnTo>
                    <a:pt x="2107" y="303"/>
                  </a:lnTo>
                  <a:lnTo>
                    <a:pt x="2105" y="305"/>
                  </a:lnTo>
                  <a:lnTo>
                    <a:pt x="2105" y="307"/>
                  </a:lnTo>
                  <a:lnTo>
                    <a:pt x="2107" y="307"/>
                  </a:lnTo>
                  <a:lnTo>
                    <a:pt x="2105" y="307"/>
                  </a:lnTo>
                  <a:lnTo>
                    <a:pt x="2102" y="309"/>
                  </a:lnTo>
                  <a:lnTo>
                    <a:pt x="2102" y="311"/>
                  </a:lnTo>
                  <a:lnTo>
                    <a:pt x="2100" y="311"/>
                  </a:lnTo>
                  <a:lnTo>
                    <a:pt x="2098" y="311"/>
                  </a:lnTo>
                  <a:lnTo>
                    <a:pt x="2096" y="311"/>
                  </a:lnTo>
                  <a:lnTo>
                    <a:pt x="2094" y="311"/>
                  </a:lnTo>
                  <a:lnTo>
                    <a:pt x="2094" y="313"/>
                  </a:lnTo>
                  <a:lnTo>
                    <a:pt x="2094" y="315"/>
                  </a:lnTo>
                  <a:lnTo>
                    <a:pt x="2096" y="315"/>
                  </a:lnTo>
                  <a:lnTo>
                    <a:pt x="2096" y="315"/>
                  </a:lnTo>
                  <a:lnTo>
                    <a:pt x="2098" y="317"/>
                  </a:lnTo>
                  <a:lnTo>
                    <a:pt x="2098" y="319"/>
                  </a:lnTo>
                  <a:lnTo>
                    <a:pt x="2098" y="321"/>
                  </a:lnTo>
                  <a:lnTo>
                    <a:pt x="2100" y="323"/>
                  </a:lnTo>
                  <a:lnTo>
                    <a:pt x="2100" y="325"/>
                  </a:lnTo>
                  <a:lnTo>
                    <a:pt x="2100" y="325"/>
                  </a:lnTo>
                  <a:lnTo>
                    <a:pt x="2100" y="327"/>
                  </a:lnTo>
                  <a:lnTo>
                    <a:pt x="2100" y="329"/>
                  </a:lnTo>
                  <a:lnTo>
                    <a:pt x="2102" y="331"/>
                  </a:lnTo>
                  <a:lnTo>
                    <a:pt x="2105" y="331"/>
                  </a:lnTo>
                  <a:lnTo>
                    <a:pt x="2105" y="333"/>
                  </a:lnTo>
                  <a:lnTo>
                    <a:pt x="2105" y="335"/>
                  </a:lnTo>
                  <a:lnTo>
                    <a:pt x="2107" y="335"/>
                  </a:lnTo>
                  <a:lnTo>
                    <a:pt x="2109" y="337"/>
                  </a:lnTo>
                  <a:lnTo>
                    <a:pt x="2109" y="337"/>
                  </a:lnTo>
                  <a:lnTo>
                    <a:pt x="2109" y="339"/>
                  </a:lnTo>
                  <a:lnTo>
                    <a:pt x="2107" y="339"/>
                  </a:lnTo>
                  <a:lnTo>
                    <a:pt x="2107" y="341"/>
                  </a:lnTo>
                  <a:lnTo>
                    <a:pt x="2109" y="343"/>
                  </a:lnTo>
                  <a:lnTo>
                    <a:pt x="2107" y="345"/>
                  </a:lnTo>
                  <a:lnTo>
                    <a:pt x="2107" y="345"/>
                  </a:lnTo>
                  <a:lnTo>
                    <a:pt x="2107" y="347"/>
                  </a:lnTo>
                  <a:lnTo>
                    <a:pt x="2109" y="347"/>
                  </a:lnTo>
                  <a:lnTo>
                    <a:pt x="2111" y="347"/>
                  </a:lnTo>
                  <a:lnTo>
                    <a:pt x="2111" y="349"/>
                  </a:lnTo>
                  <a:lnTo>
                    <a:pt x="2113" y="347"/>
                  </a:lnTo>
                  <a:lnTo>
                    <a:pt x="2115" y="347"/>
                  </a:lnTo>
                  <a:lnTo>
                    <a:pt x="2115" y="347"/>
                  </a:lnTo>
                  <a:lnTo>
                    <a:pt x="2117" y="345"/>
                  </a:lnTo>
                  <a:lnTo>
                    <a:pt x="2117" y="343"/>
                  </a:lnTo>
                  <a:lnTo>
                    <a:pt x="2117" y="341"/>
                  </a:lnTo>
                  <a:lnTo>
                    <a:pt x="2117" y="341"/>
                  </a:lnTo>
                  <a:lnTo>
                    <a:pt x="2120" y="341"/>
                  </a:lnTo>
                  <a:lnTo>
                    <a:pt x="2122" y="341"/>
                  </a:lnTo>
                  <a:lnTo>
                    <a:pt x="2124" y="341"/>
                  </a:lnTo>
                  <a:lnTo>
                    <a:pt x="2124" y="341"/>
                  </a:lnTo>
                  <a:lnTo>
                    <a:pt x="2126" y="341"/>
                  </a:lnTo>
                  <a:lnTo>
                    <a:pt x="2128" y="341"/>
                  </a:lnTo>
                  <a:lnTo>
                    <a:pt x="2130" y="341"/>
                  </a:lnTo>
                  <a:lnTo>
                    <a:pt x="2132" y="341"/>
                  </a:lnTo>
                  <a:lnTo>
                    <a:pt x="2132" y="343"/>
                  </a:lnTo>
                  <a:lnTo>
                    <a:pt x="2135" y="343"/>
                  </a:lnTo>
                  <a:lnTo>
                    <a:pt x="2137" y="343"/>
                  </a:lnTo>
                  <a:lnTo>
                    <a:pt x="2139" y="343"/>
                  </a:lnTo>
                  <a:lnTo>
                    <a:pt x="2139" y="343"/>
                  </a:lnTo>
                  <a:lnTo>
                    <a:pt x="2141" y="343"/>
                  </a:lnTo>
                  <a:lnTo>
                    <a:pt x="2143" y="343"/>
                  </a:lnTo>
                  <a:lnTo>
                    <a:pt x="2143" y="345"/>
                  </a:lnTo>
                  <a:lnTo>
                    <a:pt x="2145" y="345"/>
                  </a:lnTo>
                  <a:lnTo>
                    <a:pt x="2148" y="345"/>
                  </a:lnTo>
                  <a:lnTo>
                    <a:pt x="2148" y="345"/>
                  </a:lnTo>
                  <a:lnTo>
                    <a:pt x="2150" y="345"/>
                  </a:lnTo>
                  <a:lnTo>
                    <a:pt x="2152" y="347"/>
                  </a:lnTo>
                  <a:lnTo>
                    <a:pt x="2154" y="347"/>
                  </a:lnTo>
                  <a:lnTo>
                    <a:pt x="2154" y="349"/>
                  </a:lnTo>
                  <a:lnTo>
                    <a:pt x="2156" y="351"/>
                  </a:lnTo>
                  <a:lnTo>
                    <a:pt x="2154" y="353"/>
                  </a:lnTo>
                  <a:lnTo>
                    <a:pt x="2154" y="353"/>
                  </a:lnTo>
                  <a:lnTo>
                    <a:pt x="2156" y="355"/>
                  </a:lnTo>
                  <a:lnTo>
                    <a:pt x="2156" y="355"/>
                  </a:lnTo>
                  <a:lnTo>
                    <a:pt x="2158" y="355"/>
                  </a:lnTo>
                  <a:lnTo>
                    <a:pt x="2160" y="353"/>
                  </a:lnTo>
                  <a:lnTo>
                    <a:pt x="2160" y="353"/>
                  </a:lnTo>
                  <a:lnTo>
                    <a:pt x="2163" y="353"/>
                  </a:lnTo>
                  <a:lnTo>
                    <a:pt x="2163" y="353"/>
                  </a:lnTo>
                  <a:lnTo>
                    <a:pt x="2165" y="353"/>
                  </a:lnTo>
                  <a:lnTo>
                    <a:pt x="2167" y="355"/>
                  </a:lnTo>
                  <a:lnTo>
                    <a:pt x="2169" y="355"/>
                  </a:lnTo>
                  <a:lnTo>
                    <a:pt x="2171" y="355"/>
                  </a:lnTo>
                  <a:lnTo>
                    <a:pt x="2173" y="353"/>
                  </a:lnTo>
                  <a:lnTo>
                    <a:pt x="2173" y="353"/>
                  </a:lnTo>
                  <a:lnTo>
                    <a:pt x="2175" y="351"/>
                  </a:lnTo>
                  <a:lnTo>
                    <a:pt x="2178" y="353"/>
                  </a:lnTo>
                  <a:lnTo>
                    <a:pt x="2178" y="353"/>
                  </a:lnTo>
                  <a:lnTo>
                    <a:pt x="2180" y="353"/>
                  </a:lnTo>
                  <a:lnTo>
                    <a:pt x="2182" y="355"/>
                  </a:lnTo>
                  <a:lnTo>
                    <a:pt x="2184" y="355"/>
                  </a:lnTo>
                  <a:lnTo>
                    <a:pt x="2184" y="355"/>
                  </a:lnTo>
                  <a:lnTo>
                    <a:pt x="2186" y="357"/>
                  </a:lnTo>
                  <a:lnTo>
                    <a:pt x="2186" y="359"/>
                  </a:lnTo>
                  <a:lnTo>
                    <a:pt x="2184" y="361"/>
                  </a:lnTo>
                  <a:lnTo>
                    <a:pt x="2184" y="363"/>
                  </a:lnTo>
                  <a:lnTo>
                    <a:pt x="2182" y="365"/>
                  </a:lnTo>
                  <a:lnTo>
                    <a:pt x="2184" y="365"/>
                  </a:lnTo>
                  <a:lnTo>
                    <a:pt x="2184" y="367"/>
                  </a:lnTo>
                  <a:lnTo>
                    <a:pt x="2182" y="369"/>
                  </a:lnTo>
                  <a:lnTo>
                    <a:pt x="2182" y="371"/>
                  </a:lnTo>
                  <a:lnTo>
                    <a:pt x="2182" y="373"/>
                  </a:lnTo>
                  <a:lnTo>
                    <a:pt x="2180" y="375"/>
                  </a:lnTo>
                  <a:lnTo>
                    <a:pt x="2178" y="375"/>
                  </a:lnTo>
                  <a:lnTo>
                    <a:pt x="2175" y="377"/>
                  </a:lnTo>
                  <a:lnTo>
                    <a:pt x="2175" y="377"/>
                  </a:lnTo>
                  <a:lnTo>
                    <a:pt x="2175" y="379"/>
                  </a:lnTo>
                  <a:lnTo>
                    <a:pt x="2173" y="381"/>
                  </a:lnTo>
                  <a:lnTo>
                    <a:pt x="2171" y="381"/>
                  </a:lnTo>
                  <a:lnTo>
                    <a:pt x="2171" y="383"/>
                  </a:lnTo>
                  <a:lnTo>
                    <a:pt x="2169" y="383"/>
                  </a:lnTo>
                  <a:lnTo>
                    <a:pt x="2167" y="385"/>
                  </a:lnTo>
                  <a:lnTo>
                    <a:pt x="2167" y="387"/>
                  </a:lnTo>
                  <a:lnTo>
                    <a:pt x="2167" y="387"/>
                  </a:lnTo>
                  <a:lnTo>
                    <a:pt x="2165" y="389"/>
                  </a:lnTo>
                  <a:lnTo>
                    <a:pt x="2165" y="391"/>
                  </a:lnTo>
                  <a:lnTo>
                    <a:pt x="2163" y="391"/>
                  </a:lnTo>
                  <a:lnTo>
                    <a:pt x="2160" y="391"/>
                  </a:lnTo>
                  <a:lnTo>
                    <a:pt x="2160" y="393"/>
                  </a:lnTo>
                  <a:lnTo>
                    <a:pt x="2160" y="395"/>
                  </a:lnTo>
                  <a:lnTo>
                    <a:pt x="2158" y="395"/>
                  </a:lnTo>
                  <a:lnTo>
                    <a:pt x="2156" y="395"/>
                  </a:lnTo>
                  <a:lnTo>
                    <a:pt x="2154" y="397"/>
                  </a:lnTo>
                  <a:lnTo>
                    <a:pt x="2152" y="397"/>
                  </a:lnTo>
                  <a:lnTo>
                    <a:pt x="2152" y="397"/>
                  </a:lnTo>
                  <a:lnTo>
                    <a:pt x="2150" y="399"/>
                  </a:lnTo>
                  <a:lnTo>
                    <a:pt x="2150" y="401"/>
                  </a:lnTo>
                  <a:lnTo>
                    <a:pt x="2150" y="401"/>
                  </a:lnTo>
                  <a:lnTo>
                    <a:pt x="2148" y="403"/>
                  </a:lnTo>
                  <a:lnTo>
                    <a:pt x="2148" y="403"/>
                  </a:lnTo>
                  <a:lnTo>
                    <a:pt x="2145" y="405"/>
                  </a:lnTo>
                  <a:lnTo>
                    <a:pt x="2145" y="405"/>
                  </a:lnTo>
                  <a:lnTo>
                    <a:pt x="2143" y="407"/>
                  </a:lnTo>
                  <a:lnTo>
                    <a:pt x="2141" y="407"/>
                  </a:lnTo>
                  <a:lnTo>
                    <a:pt x="2139" y="407"/>
                  </a:lnTo>
                  <a:lnTo>
                    <a:pt x="2139" y="407"/>
                  </a:lnTo>
                  <a:lnTo>
                    <a:pt x="2137" y="409"/>
                  </a:lnTo>
                  <a:lnTo>
                    <a:pt x="2137" y="411"/>
                  </a:lnTo>
                  <a:lnTo>
                    <a:pt x="2137" y="411"/>
                  </a:lnTo>
                  <a:lnTo>
                    <a:pt x="2137" y="413"/>
                  </a:lnTo>
                  <a:lnTo>
                    <a:pt x="2139" y="413"/>
                  </a:lnTo>
                  <a:lnTo>
                    <a:pt x="2141" y="413"/>
                  </a:lnTo>
                  <a:lnTo>
                    <a:pt x="2141" y="415"/>
                  </a:lnTo>
                  <a:lnTo>
                    <a:pt x="2141" y="417"/>
                  </a:lnTo>
                  <a:lnTo>
                    <a:pt x="2141" y="419"/>
                  </a:lnTo>
                  <a:lnTo>
                    <a:pt x="2139" y="421"/>
                  </a:lnTo>
                  <a:lnTo>
                    <a:pt x="2139" y="423"/>
                  </a:lnTo>
                  <a:lnTo>
                    <a:pt x="2139" y="425"/>
                  </a:lnTo>
                  <a:lnTo>
                    <a:pt x="2137" y="427"/>
                  </a:lnTo>
                  <a:lnTo>
                    <a:pt x="2137" y="427"/>
                  </a:lnTo>
                  <a:lnTo>
                    <a:pt x="2135" y="427"/>
                  </a:lnTo>
                  <a:lnTo>
                    <a:pt x="2132" y="429"/>
                  </a:lnTo>
                  <a:lnTo>
                    <a:pt x="2132" y="429"/>
                  </a:lnTo>
                  <a:lnTo>
                    <a:pt x="2132" y="431"/>
                  </a:lnTo>
                  <a:lnTo>
                    <a:pt x="2132" y="433"/>
                  </a:lnTo>
                  <a:lnTo>
                    <a:pt x="2135" y="433"/>
                  </a:lnTo>
                  <a:lnTo>
                    <a:pt x="2135" y="435"/>
                  </a:lnTo>
                  <a:lnTo>
                    <a:pt x="2137" y="437"/>
                  </a:lnTo>
                  <a:lnTo>
                    <a:pt x="2137" y="439"/>
                  </a:lnTo>
                  <a:lnTo>
                    <a:pt x="2139" y="439"/>
                  </a:lnTo>
                  <a:lnTo>
                    <a:pt x="2141" y="441"/>
                  </a:lnTo>
                  <a:lnTo>
                    <a:pt x="2141" y="441"/>
                  </a:lnTo>
                  <a:lnTo>
                    <a:pt x="2143" y="441"/>
                  </a:lnTo>
                  <a:lnTo>
                    <a:pt x="2145" y="443"/>
                  </a:lnTo>
                  <a:lnTo>
                    <a:pt x="2145" y="443"/>
                  </a:lnTo>
                  <a:lnTo>
                    <a:pt x="2148" y="445"/>
                  </a:lnTo>
                  <a:lnTo>
                    <a:pt x="2148" y="445"/>
                  </a:lnTo>
                  <a:lnTo>
                    <a:pt x="2150" y="447"/>
                  </a:lnTo>
                  <a:lnTo>
                    <a:pt x="2152" y="447"/>
                  </a:lnTo>
                  <a:lnTo>
                    <a:pt x="2154" y="447"/>
                  </a:lnTo>
                  <a:lnTo>
                    <a:pt x="2154" y="445"/>
                  </a:lnTo>
                  <a:lnTo>
                    <a:pt x="2156" y="445"/>
                  </a:lnTo>
                  <a:lnTo>
                    <a:pt x="2158" y="445"/>
                  </a:lnTo>
                  <a:lnTo>
                    <a:pt x="2160" y="445"/>
                  </a:lnTo>
                  <a:lnTo>
                    <a:pt x="2160" y="445"/>
                  </a:lnTo>
                  <a:lnTo>
                    <a:pt x="2163" y="443"/>
                  </a:lnTo>
                  <a:lnTo>
                    <a:pt x="2163" y="441"/>
                  </a:lnTo>
                  <a:lnTo>
                    <a:pt x="2163" y="439"/>
                  </a:lnTo>
                  <a:lnTo>
                    <a:pt x="2165" y="439"/>
                  </a:lnTo>
                  <a:lnTo>
                    <a:pt x="2167" y="437"/>
                  </a:lnTo>
                  <a:lnTo>
                    <a:pt x="2167" y="435"/>
                  </a:lnTo>
                  <a:lnTo>
                    <a:pt x="2169" y="437"/>
                  </a:lnTo>
                  <a:lnTo>
                    <a:pt x="2171" y="437"/>
                  </a:lnTo>
                  <a:lnTo>
                    <a:pt x="2173" y="437"/>
                  </a:lnTo>
                  <a:lnTo>
                    <a:pt x="2173" y="437"/>
                  </a:lnTo>
                  <a:lnTo>
                    <a:pt x="2175" y="437"/>
                  </a:lnTo>
                  <a:lnTo>
                    <a:pt x="2178" y="437"/>
                  </a:lnTo>
                  <a:lnTo>
                    <a:pt x="2180" y="437"/>
                  </a:lnTo>
                  <a:lnTo>
                    <a:pt x="2180" y="435"/>
                  </a:lnTo>
                  <a:lnTo>
                    <a:pt x="2182" y="435"/>
                  </a:lnTo>
                  <a:lnTo>
                    <a:pt x="2184" y="437"/>
                  </a:lnTo>
                  <a:lnTo>
                    <a:pt x="2184" y="439"/>
                  </a:lnTo>
                  <a:lnTo>
                    <a:pt x="2184" y="441"/>
                  </a:lnTo>
                  <a:lnTo>
                    <a:pt x="2184" y="443"/>
                  </a:lnTo>
                  <a:lnTo>
                    <a:pt x="2182" y="443"/>
                  </a:lnTo>
                  <a:lnTo>
                    <a:pt x="2182" y="445"/>
                  </a:lnTo>
                  <a:lnTo>
                    <a:pt x="2182" y="447"/>
                  </a:lnTo>
                  <a:lnTo>
                    <a:pt x="2182" y="449"/>
                  </a:lnTo>
                  <a:lnTo>
                    <a:pt x="2182" y="451"/>
                  </a:lnTo>
                  <a:lnTo>
                    <a:pt x="2182" y="453"/>
                  </a:lnTo>
                  <a:lnTo>
                    <a:pt x="2182" y="455"/>
                  </a:lnTo>
                  <a:lnTo>
                    <a:pt x="2184" y="457"/>
                  </a:lnTo>
                  <a:lnTo>
                    <a:pt x="2184" y="457"/>
                  </a:lnTo>
                  <a:lnTo>
                    <a:pt x="2182" y="459"/>
                  </a:lnTo>
                  <a:lnTo>
                    <a:pt x="2182" y="461"/>
                  </a:lnTo>
                  <a:lnTo>
                    <a:pt x="2180" y="463"/>
                  </a:lnTo>
                  <a:lnTo>
                    <a:pt x="2180" y="463"/>
                  </a:lnTo>
                  <a:lnTo>
                    <a:pt x="2178" y="465"/>
                  </a:lnTo>
                  <a:lnTo>
                    <a:pt x="2178" y="467"/>
                  </a:lnTo>
                  <a:lnTo>
                    <a:pt x="2178" y="469"/>
                  </a:lnTo>
                  <a:lnTo>
                    <a:pt x="2178" y="469"/>
                  </a:lnTo>
                  <a:lnTo>
                    <a:pt x="2175" y="471"/>
                  </a:lnTo>
                  <a:lnTo>
                    <a:pt x="2175" y="473"/>
                  </a:lnTo>
                  <a:lnTo>
                    <a:pt x="2173" y="475"/>
                  </a:lnTo>
                  <a:lnTo>
                    <a:pt x="2171" y="475"/>
                  </a:lnTo>
                  <a:lnTo>
                    <a:pt x="2171" y="477"/>
                  </a:lnTo>
                  <a:lnTo>
                    <a:pt x="2171" y="477"/>
                  </a:lnTo>
                  <a:lnTo>
                    <a:pt x="2171" y="477"/>
                  </a:lnTo>
                  <a:lnTo>
                    <a:pt x="2171" y="479"/>
                  </a:lnTo>
                  <a:lnTo>
                    <a:pt x="2171" y="481"/>
                  </a:lnTo>
                  <a:lnTo>
                    <a:pt x="2171" y="483"/>
                  </a:lnTo>
                  <a:lnTo>
                    <a:pt x="2171" y="485"/>
                  </a:lnTo>
                  <a:lnTo>
                    <a:pt x="2169" y="485"/>
                  </a:lnTo>
                  <a:lnTo>
                    <a:pt x="2169" y="487"/>
                  </a:lnTo>
                  <a:lnTo>
                    <a:pt x="2169" y="489"/>
                  </a:lnTo>
                  <a:lnTo>
                    <a:pt x="2167" y="491"/>
                  </a:lnTo>
                  <a:lnTo>
                    <a:pt x="2167" y="493"/>
                  </a:lnTo>
                  <a:lnTo>
                    <a:pt x="2167" y="491"/>
                  </a:lnTo>
                  <a:lnTo>
                    <a:pt x="2167" y="493"/>
                  </a:lnTo>
                  <a:lnTo>
                    <a:pt x="2165" y="495"/>
                  </a:lnTo>
                  <a:lnTo>
                    <a:pt x="2167" y="497"/>
                  </a:lnTo>
                  <a:lnTo>
                    <a:pt x="2167" y="497"/>
                  </a:lnTo>
                  <a:lnTo>
                    <a:pt x="2169" y="499"/>
                  </a:lnTo>
                  <a:lnTo>
                    <a:pt x="2171" y="499"/>
                  </a:lnTo>
                  <a:lnTo>
                    <a:pt x="2171" y="501"/>
                  </a:lnTo>
                  <a:lnTo>
                    <a:pt x="2171" y="503"/>
                  </a:lnTo>
                  <a:lnTo>
                    <a:pt x="2173" y="505"/>
                  </a:lnTo>
                  <a:lnTo>
                    <a:pt x="2173" y="506"/>
                  </a:lnTo>
                  <a:lnTo>
                    <a:pt x="2173" y="508"/>
                  </a:lnTo>
                  <a:lnTo>
                    <a:pt x="2173" y="508"/>
                  </a:lnTo>
                  <a:lnTo>
                    <a:pt x="2175" y="510"/>
                  </a:lnTo>
                  <a:lnTo>
                    <a:pt x="2175" y="512"/>
                  </a:lnTo>
                  <a:lnTo>
                    <a:pt x="2178" y="512"/>
                  </a:lnTo>
                  <a:lnTo>
                    <a:pt x="2180" y="512"/>
                  </a:lnTo>
                  <a:lnTo>
                    <a:pt x="2182" y="512"/>
                  </a:lnTo>
                  <a:lnTo>
                    <a:pt x="2182" y="514"/>
                  </a:lnTo>
                  <a:lnTo>
                    <a:pt x="2184" y="514"/>
                  </a:lnTo>
                  <a:lnTo>
                    <a:pt x="2186" y="512"/>
                  </a:lnTo>
                  <a:lnTo>
                    <a:pt x="2186" y="512"/>
                  </a:lnTo>
                  <a:lnTo>
                    <a:pt x="2188" y="514"/>
                  </a:lnTo>
                  <a:lnTo>
                    <a:pt x="2190" y="512"/>
                  </a:lnTo>
                  <a:lnTo>
                    <a:pt x="2193" y="512"/>
                  </a:lnTo>
                  <a:lnTo>
                    <a:pt x="2195" y="512"/>
                  </a:lnTo>
                  <a:lnTo>
                    <a:pt x="2197" y="512"/>
                  </a:lnTo>
                  <a:lnTo>
                    <a:pt x="2197" y="514"/>
                  </a:lnTo>
                  <a:lnTo>
                    <a:pt x="2199" y="514"/>
                  </a:lnTo>
                  <a:lnTo>
                    <a:pt x="2199" y="514"/>
                  </a:lnTo>
                  <a:lnTo>
                    <a:pt x="2201" y="514"/>
                  </a:lnTo>
                  <a:lnTo>
                    <a:pt x="2201" y="516"/>
                  </a:lnTo>
                  <a:lnTo>
                    <a:pt x="2203" y="516"/>
                  </a:lnTo>
                  <a:lnTo>
                    <a:pt x="2206" y="518"/>
                  </a:lnTo>
                  <a:lnTo>
                    <a:pt x="2208" y="520"/>
                  </a:lnTo>
                  <a:lnTo>
                    <a:pt x="2208" y="520"/>
                  </a:lnTo>
                  <a:lnTo>
                    <a:pt x="2210" y="522"/>
                  </a:lnTo>
                  <a:lnTo>
                    <a:pt x="2212" y="522"/>
                  </a:lnTo>
                  <a:lnTo>
                    <a:pt x="2214" y="524"/>
                  </a:lnTo>
                  <a:lnTo>
                    <a:pt x="2216" y="524"/>
                  </a:lnTo>
                  <a:lnTo>
                    <a:pt x="2216" y="524"/>
                  </a:lnTo>
                  <a:lnTo>
                    <a:pt x="2218" y="526"/>
                  </a:lnTo>
                  <a:lnTo>
                    <a:pt x="2218" y="528"/>
                  </a:lnTo>
                  <a:lnTo>
                    <a:pt x="2221" y="528"/>
                  </a:lnTo>
                  <a:lnTo>
                    <a:pt x="2221" y="528"/>
                  </a:lnTo>
                  <a:lnTo>
                    <a:pt x="2223" y="530"/>
                  </a:lnTo>
                  <a:lnTo>
                    <a:pt x="2225" y="528"/>
                  </a:lnTo>
                  <a:lnTo>
                    <a:pt x="2227" y="528"/>
                  </a:lnTo>
                  <a:lnTo>
                    <a:pt x="2227" y="530"/>
                  </a:lnTo>
                  <a:lnTo>
                    <a:pt x="2229" y="530"/>
                  </a:lnTo>
                  <a:lnTo>
                    <a:pt x="2231" y="532"/>
                  </a:lnTo>
                  <a:lnTo>
                    <a:pt x="2233" y="532"/>
                  </a:lnTo>
                  <a:lnTo>
                    <a:pt x="2236" y="532"/>
                  </a:lnTo>
                  <a:lnTo>
                    <a:pt x="2238" y="532"/>
                  </a:lnTo>
                  <a:lnTo>
                    <a:pt x="2238" y="534"/>
                  </a:lnTo>
                  <a:lnTo>
                    <a:pt x="2240" y="536"/>
                  </a:lnTo>
                  <a:lnTo>
                    <a:pt x="2240" y="538"/>
                  </a:lnTo>
                  <a:lnTo>
                    <a:pt x="2242" y="540"/>
                  </a:lnTo>
                  <a:lnTo>
                    <a:pt x="2242" y="540"/>
                  </a:lnTo>
                  <a:lnTo>
                    <a:pt x="2244" y="542"/>
                  </a:lnTo>
                  <a:lnTo>
                    <a:pt x="2246" y="542"/>
                  </a:lnTo>
                  <a:lnTo>
                    <a:pt x="2246" y="544"/>
                  </a:lnTo>
                  <a:lnTo>
                    <a:pt x="2248" y="546"/>
                  </a:lnTo>
                  <a:lnTo>
                    <a:pt x="2251" y="546"/>
                  </a:lnTo>
                  <a:lnTo>
                    <a:pt x="2251" y="548"/>
                  </a:lnTo>
                  <a:lnTo>
                    <a:pt x="2251" y="550"/>
                  </a:lnTo>
                  <a:lnTo>
                    <a:pt x="2251" y="552"/>
                  </a:lnTo>
                  <a:lnTo>
                    <a:pt x="2251" y="554"/>
                  </a:lnTo>
                  <a:lnTo>
                    <a:pt x="2251" y="556"/>
                  </a:lnTo>
                  <a:lnTo>
                    <a:pt x="2253" y="556"/>
                  </a:lnTo>
                  <a:lnTo>
                    <a:pt x="2253" y="558"/>
                  </a:lnTo>
                  <a:lnTo>
                    <a:pt x="2255" y="558"/>
                  </a:lnTo>
                  <a:lnTo>
                    <a:pt x="2257" y="560"/>
                  </a:lnTo>
                  <a:lnTo>
                    <a:pt x="2257" y="562"/>
                  </a:lnTo>
                  <a:lnTo>
                    <a:pt x="2259" y="564"/>
                  </a:lnTo>
                  <a:lnTo>
                    <a:pt x="2259" y="564"/>
                  </a:lnTo>
                  <a:lnTo>
                    <a:pt x="2261" y="566"/>
                  </a:lnTo>
                  <a:lnTo>
                    <a:pt x="2263" y="568"/>
                  </a:lnTo>
                  <a:lnTo>
                    <a:pt x="2263" y="568"/>
                  </a:lnTo>
                  <a:lnTo>
                    <a:pt x="2266" y="570"/>
                  </a:lnTo>
                  <a:lnTo>
                    <a:pt x="2268" y="570"/>
                  </a:lnTo>
                  <a:lnTo>
                    <a:pt x="2270" y="572"/>
                  </a:lnTo>
                  <a:lnTo>
                    <a:pt x="2272" y="572"/>
                  </a:lnTo>
                  <a:lnTo>
                    <a:pt x="2272" y="572"/>
                  </a:lnTo>
                  <a:lnTo>
                    <a:pt x="2274" y="574"/>
                  </a:lnTo>
                  <a:lnTo>
                    <a:pt x="2276" y="574"/>
                  </a:lnTo>
                  <a:lnTo>
                    <a:pt x="2279" y="576"/>
                  </a:lnTo>
                  <a:lnTo>
                    <a:pt x="2279" y="578"/>
                  </a:lnTo>
                  <a:lnTo>
                    <a:pt x="2276" y="578"/>
                  </a:lnTo>
                  <a:lnTo>
                    <a:pt x="2276" y="580"/>
                  </a:lnTo>
                  <a:lnTo>
                    <a:pt x="2274" y="580"/>
                  </a:lnTo>
                  <a:lnTo>
                    <a:pt x="2272" y="582"/>
                  </a:lnTo>
                  <a:lnTo>
                    <a:pt x="2272" y="582"/>
                  </a:lnTo>
                  <a:lnTo>
                    <a:pt x="2270" y="584"/>
                  </a:lnTo>
                  <a:lnTo>
                    <a:pt x="2268" y="586"/>
                  </a:lnTo>
                  <a:lnTo>
                    <a:pt x="2268" y="586"/>
                  </a:lnTo>
                  <a:lnTo>
                    <a:pt x="2266" y="588"/>
                  </a:lnTo>
                  <a:lnTo>
                    <a:pt x="2263" y="588"/>
                  </a:lnTo>
                  <a:lnTo>
                    <a:pt x="2263" y="590"/>
                  </a:lnTo>
                  <a:lnTo>
                    <a:pt x="2263" y="592"/>
                  </a:lnTo>
                  <a:lnTo>
                    <a:pt x="2261" y="594"/>
                  </a:lnTo>
                  <a:lnTo>
                    <a:pt x="2261" y="594"/>
                  </a:lnTo>
                  <a:lnTo>
                    <a:pt x="2259" y="596"/>
                  </a:lnTo>
                  <a:lnTo>
                    <a:pt x="2259" y="598"/>
                  </a:lnTo>
                  <a:lnTo>
                    <a:pt x="2259" y="598"/>
                  </a:lnTo>
                  <a:lnTo>
                    <a:pt x="2257" y="598"/>
                  </a:lnTo>
                  <a:lnTo>
                    <a:pt x="2255" y="600"/>
                  </a:lnTo>
                  <a:lnTo>
                    <a:pt x="2253" y="600"/>
                  </a:lnTo>
                  <a:lnTo>
                    <a:pt x="2251" y="600"/>
                  </a:lnTo>
                  <a:lnTo>
                    <a:pt x="2246" y="600"/>
                  </a:lnTo>
                  <a:lnTo>
                    <a:pt x="2244" y="600"/>
                  </a:lnTo>
                  <a:lnTo>
                    <a:pt x="2242" y="600"/>
                  </a:lnTo>
                  <a:lnTo>
                    <a:pt x="2242" y="600"/>
                  </a:lnTo>
                  <a:lnTo>
                    <a:pt x="2240" y="600"/>
                  </a:lnTo>
                  <a:lnTo>
                    <a:pt x="2238" y="600"/>
                  </a:lnTo>
                  <a:lnTo>
                    <a:pt x="2233" y="598"/>
                  </a:lnTo>
                  <a:lnTo>
                    <a:pt x="2233" y="598"/>
                  </a:lnTo>
                  <a:lnTo>
                    <a:pt x="2231" y="596"/>
                  </a:lnTo>
                  <a:lnTo>
                    <a:pt x="2229" y="596"/>
                  </a:lnTo>
                  <a:lnTo>
                    <a:pt x="2227" y="594"/>
                  </a:lnTo>
                  <a:lnTo>
                    <a:pt x="2227" y="594"/>
                  </a:lnTo>
                  <a:lnTo>
                    <a:pt x="2225" y="594"/>
                  </a:lnTo>
                  <a:lnTo>
                    <a:pt x="2223" y="596"/>
                  </a:lnTo>
                  <a:lnTo>
                    <a:pt x="2221" y="596"/>
                  </a:lnTo>
                  <a:lnTo>
                    <a:pt x="2218" y="596"/>
                  </a:lnTo>
                  <a:lnTo>
                    <a:pt x="2218" y="596"/>
                  </a:lnTo>
                  <a:lnTo>
                    <a:pt x="2218" y="594"/>
                  </a:lnTo>
                  <a:lnTo>
                    <a:pt x="2218" y="592"/>
                  </a:lnTo>
                  <a:lnTo>
                    <a:pt x="2218" y="592"/>
                  </a:lnTo>
                  <a:lnTo>
                    <a:pt x="2221" y="592"/>
                  </a:lnTo>
                  <a:lnTo>
                    <a:pt x="2221" y="590"/>
                  </a:lnTo>
                  <a:lnTo>
                    <a:pt x="2223" y="590"/>
                  </a:lnTo>
                  <a:lnTo>
                    <a:pt x="2225" y="590"/>
                  </a:lnTo>
                  <a:lnTo>
                    <a:pt x="2227" y="590"/>
                  </a:lnTo>
                  <a:lnTo>
                    <a:pt x="2229" y="590"/>
                  </a:lnTo>
                  <a:lnTo>
                    <a:pt x="2229" y="590"/>
                  </a:lnTo>
                  <a:lnTo>
                    <a:pt x="2231" y="590"/>
                  </a:lnTo>
                  <a:lnTo>
                    <a:pt x="2231" y="590"/>
                  </a:lnTo>
                  <a:lnTo>
                    <a:pt x="2233" y="590"/>
                  </a:lnTo>
                  <a:lnTo>
                    <a:pt x="2233" y="592"/>
                  </a:lnTo>
                  <a:lnTo>
                    <a:pt x="2236" y="592"/>
                  </a:lnTo>
                  <a:lnTo>
                    <a:pt x="2238" y="594"/>
                  </a:lnTo>
                  <a:lnTo>
                    <a:pt x="2238" y="594"/>
                  </a:lnTo>
                  <a:lnTo>
                    <a:pt x="2240" y="592"/>
                  </a:lnTo>
                  <a:lnTo>
                    <a:pt x="2242" y="592"/>
                  </a:lnTo>
                  <a:lnTo>
                    <a:pt x="2242" y="590"/>
                  </a:lnTo>
                  <a:lnTo>
                    <a:pt x="2242" y="590"/>
                  </a:lnTo>
                  <a:lnTo>
                    <a:pt x="2244" y="588"/>
                  </a:lnTo>
                  <a:lnTo>
                    <a:pt x="2246" y="588"/>
                  </a:lnTo>
                  <a:lnTo>
                    <a:pt x="2246" y="586"/>
                  </a:lnTo>
                  <a:lnTo>
                    <a:pt x="2244" y="586"/>
                  </a:lnTo>
                  <a:lnTo>
                    <a:pt x="2244" y="588"/>
                  </a:lnTo>
                  <a:lnTo>
                    <a:pt x="2242" y="588"/>
                  </a:lnTo>
                  <a:lnTo>
                    <a:pt x="2240" y="586"/>
                  </a:lnTo>
                  <a:lnTo>
                    <a:pt x="2240" y="588"/>
                  </a:lnTo>
                  <a:lnTo>
                    <a:pt x="2238" y="588"/>
                  </a:lnTo>
                  <a:lnTo>
                    <a:pt x="2238" y="586"/>
                  </a:lnTo>
                  <a:lnTo>
                    <a:pt x="2238" y="586"/>
                  </a:lnTo>
                  <a:lnTo>
                    <a:pt x="2236" y="586"/>
                  </a:lnTo>
                  <a:lnTo>
                    <a:pt x="2236" y="584"/>
                  </a:lnTo>
                  <a:lnTo>
                    <a:pt x="2233" y="584"/>
                  </a:lnTo>
                  <a:lnTo>
                    <a:pt x="2233" y="582"/>
                  </a:lnTo>
                  <a:lnTo>
                    <a:pt x="2233" y="582"/>
                  </a:lnTo>
                  <a:lnTo>
                    <a:pt x="2233" y="580"/>
                  </a:lnTo>
                  <a:lnTo>
                    <a:pt x="2236" y="578"/>
                  </a:lnTo>
                  <a:lnTo>
                    <a:pt x="2233" y="578"/>
                  </a:lnTo>
                  <a:lnTo>
                    <a:pt x="2233" y="578"/>
                  </a:lnTo>
                  <a:lnTo>
                    <a:pt x="2231" y="578"/>
                  </a:lnTo>
                  <a:lnTo>
                    <a:pt x="2231" y="578"/>
                  </a:lnTo>
                  <a:lnTo>
                    <a:pt x="2229" y="578"/>
                  </a:lnTo>
                  <a:lnTo>
                    <a:pt x="2227" y="578"/>
                  </a:lnTo>
                  <a:lnTo>
                    <a:pt x="2225" y="578"/>
                  </a:lnTo>
                  <a:lnTo>
                    <a:pt x="2227" y="578"/>
                  </a:lnTo>
                  <a:lnTo>
                    <a:pt x="2225" y="578"/>
                  </a:lnTo>
                  <a:lnTo>
                    <a:pt x="2225" y="576"/>
                  </a:lnTo>
                  <a:lnTo>
                    <a:pt x="2227" y="576"/>
                  </a:lnTo>
                  <a:lnTo>
                    <a:pt x="2227" y="574"/>
                  </a:lnTo>
                  <a:lnTo>
                    <a:pt x="2227" y="574"/>
                  </a:lnTo>
                  <a:lnTo>
                    <a:pt x="2227" y="572"/>
                  </a:lnTo>
                  <a:lnTo>
                    <a:pt x="2227" y="574"/>
                  </a:lnTo>
                  <a:lnTo>
                    <a:pt x="2229" y="574"/>
                  </a:lnTo>
                  <a:lnTo>
                    <a:pt x="2229" y="574"/>
                  </a:lnTo>
                  <a:lnTo>
                    <a:pt x="2229" y="574"/>
                  </a:lnTo>
                  <a:lnTo>
                    <a:pt x="2229" y="572"/>
                  </a:lnTo>
                  <a:lnTo>
                    <a:pt x="2231" y="572"/>
                  </a:lnTo>
                  <a:lnTo>
                    <a:pt x="2231" y="572"/>
                  </a:lnTo>
                  <a:lnTo>
                    <a:pt x="2231" y="570"/>
                  </a:lnTo>
                  <a:lnTo>
                    <a:pt x="2231" y="570"/>
                  </a:lnTo>
                  <a:lnTo>
                    <a:pt x="2229" y="570"/>
                  </a:lnTo>
                  <a:lnTo>
                    <a:pt x="2229" y="568"/>
                  </a:lnTo>
                  <a:lnTo>
                    <a:pt x="2229" y="568"/>
                  </a:lnTo>
                  <a:lnTo>
                    <a:pt x="2229" y="566"/>
                  </a:lnTo>
                  <a:lnTo>
                    <a:pt x="2229" y="566"/>
                  </a:lnTo>
                  <a:lnTo>
                    <a:pt x="2229" y="566"/>
                  </a:lnTo>
                  <a:lnTo>
                    <a:pt x="2227" y="564"/>
                  </a:lnTo>
                  <a:lnTo>
                    <a:pt x="2227" y="562"/>
                  </a:lnTo>
                  <a:lnTo>
                    <a:pt x="2227" y="560"/>
                  </a:lnTo>
                  <a:lnTo>
                    <a:pt x="2225" y="560"/>
                  </a:lnTo>
                  <a:lnTo>
                    <a:pt x="2225" y="560"/>
                  </a:lnTo>
                  <a:lnTo>
                    <a:pt x="2225" y="558"/>
                  </a:lnTo>
                  <a:lnTo>
                    <a:pt x="2225" y="558"/>
                  </a:lnTo>
                  <a:lnTo>
                    <a:pt x="2223" y="556"/>
                  </a:lnTo>
                  <a:lnTo>
                    <a:pt x="2221" y="554"/>
                  </a:lnTo>
                  <a:lnTo>
                    <a:pt x="2221" y="554"/>
                  </a:lnTo>
                  <a:lnTo>
                    <a:pt x="2218" y="554"/>
                  </a:lnTo>
                  <a:lnTo>
                    <a:pt x="2216" y="552"/>
                  </a:lnTo>
                  <a:lnTo>
                    <a:pt x="2214" y="552"/>
                  </a:lnTo>
                  <a:lnTo>
                    <a:pt x="2212" y="552"/>
                  </a:lnTo>
                  <a:lnTo>
                    <a:pt x="2212" y="550"/>
                  </a:lnTo>
                  <a:lnTo>
                    <a:pt x="2212" y="550"/>
                  </a:lnTo>
                  <a:lnTo>
                    <a:pt x="2212" y="548"/>
                  </a:lnTo>
                  <a:lnTo>
                    <a:pt x="2212" y="548"/>
                  </a:lnTo>
                  <a:lnTo>
                    <a:pt x="2210" y="546"/>
                  </a:lnTo>
                  <a:lnTo>
                    <a:pt x="2208" y="546"/>
                  </a:lnTo>
                  <a:lnTo>
                    <a:pt x="2208" y="544"/>
                  </a:lnTo>
                  <a:lnTo>
                    <a:pt x="2206" y="542"/>
                  </a:lnTo>
                  <a:lnTo>
                    <a:pt x="2206" y="542"/>
                  </a:lnTo>
                  <a:lnTo>
                    <a:pt x="2203" y="540"/>
                  </a:lnTo>
                  <a:lnTo>
                    <a:pt x="2203" y="540"/>
                  </a:lnTo>
                  <a:lnTo>
                    <a:pt x="2201" y="538"/>
                  </a:lnTo>
                  <a:lnTo>
                    <a:pt x="2199" y="536"/>
                  </a:lnTo>
                  <a:lnTo>
                    <a:pt x="2199" y="536"/>
                  </a:lnTo>
                  <a:lnTo>
                    <a:pt x="2197" y="536"/>
                  </a:lnTo>
                  <a:lnTo>
                    <a:pt x="2195" y="534"/>
                  </a:lnTo>
                  <a:lnTo>
                    <a:pt x="2193" y="532"/>
                  </a:lnTo>
                  <a:lnTo>
                    <a:pt x="2193" y="532"/>
                  </a:lnTo>
                  <a:lnTo>
                    <a:pt x="2190" y="530"/>
                  </a:lnTo>
                  <a:lnTo>
                    <a:pt x="2188" y="530"/>
                  </a:lnTo>
                  <a:lnTo>
                    <a:pt x="2188" y="528"/>
                  </a:lnTo>
                  <a:lnTo>
                    <a:pt x="2186" y="526"/>
                  </a:lnTo>
                  <a:lnTo>
                    <a:pt x="2186" y="526"/>
                  </a:lnTo>
                  <a:lnTo>
                    <a:pt x="2186" y="526"/>
                  </a:lnTo>
                  <a:lnTo>
                    <a:pt x="2184" y="524"/>
                  </a:lnTo>
                  <a:lnTo>
                    <a:pt x="2184" y="526"/>
                  </a:lnTo>
                  <a:lnTo>
                    <a:pt x="2182" y="526"/>
                  </a:lnTo>
                  <a:lnTo>
                    <a:pt x="2180" y="524"/>
                  </a:lnTo>
                  <a:lnTo>
                    <a:pt x="2178" y="524"/>
                  </a:lnTo>
                  <a:lnTo>
                    <a:pt x="2175" y="524"/>
                  </a:lnTo>
                  <a:lnTo>
                    <a:pt x="2175" y="524"/>
                  </a:lnTo>
                  <a:lnTo>
                    <a:pt x="2173" y="524"/>
                  </a:lnTo>
                  <a:lnTo>
                    <a:pt x="2173" y="522"/>
                  </a:lnTo>
                  <a:lnTo>
                    <a:pt x="2171" y="522"/>
                  </a:lnTo>
                  <a:lnTo>
                    <a:pt x="2169" y="522"/>
                  </a:lnTo>
                  <a:lnTo>
                    <a:pt x="2167" y="520"/>
                  </a:lnTo>
                  <a:lnTo>
                    <a:pt x="2165" y="520"/>
                  </a:lnTo>
                  <a:lnTo>
                    <a:pt x="2163" y="520"/>
                  </a:lnTo>
                  <a:lnTo>
                    <a:pt x="2163" y="520"/>
                  </a:lnTo>
                  <a:lnTo>
                    <a:pt x="2160" y="520"/>
                  </a:lnTo>
                  <a:lnTo>
                    <a:pt x="2160" y="518"/>
                  </a:lnTo>
                  <a:lnTo>
                    <a:pt x="2158" y="516"/>
                  </a:lnTo>
                  <a:lnTo>
                    <a:pt x="2158" y="516"/>
                  </a:lnTo>
                  <a:lnTo>
                    <a:pt x="2158" y="518"/>
                  </a:lnTo>
                  <a:lnTo>
                    <a:pt x="2158" y="518"/>
                  </a:lnTo>
                  <a:lnTo>
                    <a:pt x="2156" y="518"/>
                  </a:lnTo>
                  <a:lnTo>
                    <a:pt x="2156" y="518"/>
                  </a:lnTo>
                  <a:lnTo>
                    <a:pt x="2156" y="518"/>
                  </a:lnTo>
                  <a:lnTo>
                    <a:pt x="2156" y="520"/>
                  </a:lnTo>
                  <a:lnTo>
                    <a:pt x="2154" y="518"/>
                  </a:lnTo>
                  <a:lnTo>
                    <a:pt x="2154" y="520"/>
                  </a:lnTo>
                  <a:lnTo>
                    <a:pt x="2156" y="520"/>
                  </a:lnTo>
                  <a:lnTo>
                    <a:pt x="2156" y="522"/>
                  </a:lnTo>
                  <a:lnTo>
                    <a:pt x="2158" y="520"/>
                  </a:lnTo>
                  <a:lnTo>
                    <a:pt x="2158" y="520"/>
                  </a:lnTo>
                  <a:lnTo>
                    <a:pt x="2158" y="520"/>
                  </a:lnTo>
                  <a:lnTo>
                    <a:pt x="2158" y="522"/>
                  </a:lnTo>
                  <a:lnTo>
                    <a:pt x="2156" y="522"/>
                  </a:lnTo>
                  <a:lnTo>
                    <a:pt x="2156" y="524"/>
                  </a:lnTo>
                  <a:lnTo>
                    <a:pt x="2154" y="526"/>
                  </a:lnTo>
                  <a:lnTo>
                    <a:pt x="2152" y="526"/>
                  </a:lnTo>
                  <a:lnTo>
                    <a:pt x="2152" y="528"/>
                  </a:lnTo>
                  <a:lnTo>
                    <a:pt x="2152" y="530"/>
                  </a:lnTo>
                  <a:lnTo>
                    <a:pt x="2152" y="530"/>
                  </a:lnTo>
                  <a:lnTo>
                    <a:pt x="2154" y="532"/>
                  </a:lnTo>
                  <a:lnTo>
                    <a:pt x="2152" y="532"/>
                  </a:lnTo>
                  <a:lnTo>
                    <a:pt x="2152" y="534"/>
                  </a:lnTo>
                  <a:lnTo>
                    <a:pt x="2152" y="534"/>
                  </a:lnTo>
                  <a:lnTo>
                    <a:pt x="2150" y="534"/>
                  </a:lnTo>
                  <a:lnTo>
                    <a:pt x="2148" y="534"/>
                  </a:lnTo>
                  <a:lnTo>
                    <a:pt x="2145" y="532"/>
                  </a:lnTo>
                  <a:lnTo>
                    <a:pt x="2145" y="532"/>
                  </a:lnTo>
                  <a:lnTo>
                    <a:pt x="2145" y="532"/>
                  </a:lnTo>
                  <a:lnTo>
                    <a:pt x="2148" y="534"/>
                  </a:lnTo>
                  <a:lnTo>
                    <a:pt x="2150" y="534"/>
                  </a:lnTo>
                  <a:lnTo>
                    <a:pt x="2152" y="534"/>
                  </a:lnTo>
                  <a:lnTo>
                    <a:pt x="2154" y="534"/>
                  </a:lnTo>
                  <a:lnTo>
                    <a:pt x="2154" y="536"/>
                  </a:lnTo>
                  <a:lnTo>
                    <a:pt x="2152" y="536"/>
                  </a:lnTo>
                  <a:lnTo>
                    <a:pt x="2152" y="536"/>
                  </a:lnTo>
                  <a:lnTo>
                    <a:pt x="2152" y="536"/>
                  </a:lnTo>
                  <a:lnTo>
                    <a:pt x="2152" y="538"/>
                  </a:lnTo>
                  <a:lnTo>
                    <a:pt x="2152" y="536"/>
                  </a:lnTo>
                  <a:lnTo>
                    <a:pt x="2150" y="536"/>
                  </a:lnTo>
                  <a:lnTo>
                    <a:pt x="2150" y="534"/>
                  </a:lnTo>
                  <a:lnTo>
                    <a:pt x="2150" y="534"/>
                  </a:lnTo>
                  <a:lnTo>
                    <a:pt x="2150" y="536"/>
                  </a:lnTo>
                  <a:lnTo>
                    <a:pt x="2152" y="538"/>
                  </a:lnTo>
                  <a:lnTo>
                    <a:pt x="2152" y="538"/>
                  </a:lnTo>
                  <a:lnTo>
                    <a:pt x="2154" y="540"/>
                  </a:lnTo>
                  <a:lnTo>
                    <a:pt x="2154" y="540"/>
                  </a:lnTo>
                  <a:lnTo>
                    <a:pt x="2156" y="540"/>
                  </a:lnTo>
                  <a:lnTo>
                    <a:pt x="2156" y="542"/>
                  </a:lnTo>
                  <a:lnTo>
                    <a:pt x="2156" y="540"/>
                  </a:lnTo>
                  <a:lnTo>
                    <a:pt x="2156" y="542"/>
                  </a:lnTo>
                  <a:lnTo>
                    <a:pt x="2158" y="542"/>
                  </a:lnTo>
                  <a:lnTo>
                    <a:pt x="2160" y="542"/>
                  </a:lnTo>
                  <a:lnTo>
                    <a:pt x="2163" y="542"/>
                  </a:lnTo>
                  <a:lnTo>
                    <a:pt x="2163" y="544"/>
                  </a:lnTo>
                  <a:lnTo>
                    <a:pt x="2163" y="546"/>
                  </a:lnTo>
                  <a:lnTo>
                    <a:pt x="2160" y="546"/>
                  </a:lnTo>
                  <a:lnTo>
                    <a:pt x="2158" y="546"/>
                  </a:lnTo>
                  <a:lnTo>
                    <a:pt x="2156" y="546"/>
                  </a:lnTo>
                  <a:lnTo>
                    <a:pt x="2156" y="546"/>
                  </a:lnTo>
                  <a:lnTo>
                    <a:pt x="2154" y="548"/>
                  </a:lnTo>
                  <a:lnTo>
                    <a:pt x="2152" y="548"/>
                  </a:lnTo>
                  <a:lnTo>
                    <a:pt x="2150" y="550"/>
                  </a:lnTo>
                  <a:lnTo>
                    <a:pt x="2150" y="550"/>
                  </a:lnTo>
                  <a:lnTo>
                    <a:pt x="2148" y="552"/>
                  </a:lnTo>
                  <a:lnTo>
                    <a:pt x="2145" y="552"/>
                  </a:lnTo>
                  <a:lnTo>
                    <a:pt x="2143" y="554"/>
                  </a:lnTo>
                  <a:lnTo>
                    <a:pt x="2143" y="554"/>
                  </a:lnTo>
                  <a:lnTo>
                    <a:pt x="2141" y="554"/>
                  </a:lnTo>
                  <a:lnTo>
                    <a:pt x="2139" y="554"/>
                  </a:lnTo>
                  <a:lnTo>
                    <a:pt x="2137" y="554"/>
                  </a:lnTo>
                  <a:lnTo>
                    <a:pt x="2135" y="552"/>
                  </a:lnTo>
                  <a:lnTo>
                    <a:pt x="2135" y="552"/>
                  </a:lnTo>
                  <a:lnTo>
                    <a:pt x="2132" y="552"/>
                  </a:lnTo>
                  <a:lnTo>
                    <a:pt x="2132" y="552"/>
                  </a:lnTo>
                  <a:lnTo>
                    <a:pt x="2130" y="550"/>
                  </a:lnTo>
                  <a:lnTo>
                    <a:pt x="2130" y="550"/>
                  </a:lnTo>
                  <a:lnTo>
                    <a:pt x="2128" y="548"/>
                  </a:lnTo>
                  <a:lnTo>
                    <a:pt x="2126" y="550"/>
                  </a:lnTo>
                  <a:lnTo>
                    <a:pt x="2124" y="550"/>
                  </a:lnTo>
                  <a:lnTo>
                    <a:pt x="2126" y="550"/>
                  </a:lnTo>
                  <a:lnTo>
                    <a:pt x="2126" y="550"/>
                  </a:lnTo>
                  <a:lnTo>
                    <a:pt x="2128" y="550"/>
                  </a:lnTo>
                  <a:lnTo>
                    <a:pt x="2130" y="550"/>
                  </a:lnTo>
                  <a:lnTo>
                    <a:pt x="2130" y="550"/>
                  </a:lnTo>
                  <a:lnTo>
                    <a:pt x="2130" y="552"/>
                  </a:lnTo>
                  <a:lnTo>
                    <a:pt x="2132" y="554"/>
                  </a:lnTo>
                  <a:lnTo>
                    <a:pt x="2132" y="554"/>
                  </a:lnTo>
                  <a:lnTo>
                    <a:pt x="2132" y="556"/>
                  </a:lnTo>
                  <a:lnTo>
                    <a:pt x="2132" y="554"/>
                  </a:lnTo>
                  <a:lnTo>
                    <a:pt x="2135" y="554"/>
                  </a:lnTo>
                  <a:lnTo>
                    <a:pt x="2137" y="554"/>
                  </a:lnTo>
                  <a:lnTo>
                    <a:pt x="2137" y="556"/>
                  </a:lnTo>
                  <a:lnTo>
                    <a:pt x="2135" y="556"/>
                  </a:lnTo>
                  <a:lnTo>
                    <a:pt x="2135" y="558"/>
                  </a:lnTo>
                  <a:lnTo>
                    <a:pt x="2135" y="560"/>
                  </a:lnTo>
                  <a:lnTo>
                    <a:pt x="2132" y="560"/>
                  </a:lnTo>
                  <a:lnTo>
                    <a:pt x="2130" y="562"/>
                  </a:lnTo>
                  <a:lnTo>
                    <a:pt x="2130" y="562"/>
                  </a:lnTo>
                  <a:lnTo>
                    <a:pt x="2128" y="564"/>
                  </a:lnTo>
                  <a:lnTo>
                    <a:pt x="2126" y="564"/>
                  </a:lnTo>
                  <a:lnTo>
                    <a:pt x="2126" y="566"/>
                  </a:lnTo>
                  <a:lnTo>
                    <a:pt x="2124" y="566"/>
                  </a:lnTo>
                  <a:lnTo>
                    <a:pt x="2122" y="566"/>
                  </a:lnTo>
                  <a:lnTo>
                    <a:pt x="2120" y="566"/>
                  </a:lnTo>
                  <a:lnTo>
                    <a:pt x="2117" y="568"/>
                  </a:lnTo>
                  <a:lnTo>
                    <a:pt x="2115" y="568"/>
                  </a:lnTo>
                  <a:lnTo>
                    <a:pt x="2115" y="568"/>
                  </a:lnTo>
                  <a:lnTo>
                    <a:pt x="2113" y="568"/>
                  </a:lnTo>
                  <a:lnTo>
                    <a:pt x="2111" y="568"/>
                  </a:lnTo>
                  <a:lnTo>
                    <a:pt x="2111" y="566"/>
                  </a:lnTo>
                  <a:lnTo>
                    <a:pt x="2109" y="566"/>
                  </a:lnTo>
                  <a:lnTo>
                    <a:pt x="2109" y="566"/>
                  </a:lnTo>
                  <a:lnTo>
                    <a:pt x="2109" y="564"/>
                  </a:lnTo>
                  <a:lnTo>
                    <a:pt x="2107" y="564"/>
                  </a:lnTo>
                  <a:lnTo>
                    <a:pt x="2107" y="562"/>
                  </a:lnTo>
                  <a:lnTo>
                    <a:pt x="2105" y="562"/>
                  </a:lnTo>
                  <a:lnTo>
                    <a:pt x="2102" y="562"/>
                  </a:lnTo>
                  <a:lnTo>
                    <a:pt x="2102" y="564"/>
                  </a:lnTo>
                  <a:lnTo>
                    <a:pt x="2100" y="562"/>
                  </a:lnTo>
                  <a:lnTo>
                    <a:pt x="2098" y="564"/>
                  </a:lnTo>
                  <a:lnTo>
                    <a:pt x="2096" y="562"/>
                  </a:lnTo>
                  <a:lnTo>
                    <a:pt x="2094" y="562"/>
                  </a:lnTo>
                  <a:lnTo>
                    <a:pt x="2094" y="560"/>
                  </a:lnTo>
                  <a:lnTo>
                    <a:pt x="2092" y="560"/>
                  </a:lnTo>
                  <a:lnTo>
                    <a:pt x="2090" y="560"/>
                  </a:lnTo>
                  <a:lnTo>
                    <a:pt x="2087" y="558"/>
                  </a:lnTo>
                  <a:lnTo>
                    <a:pt x="2085" y="558"/>
                  </a:lnTo>
                  <a:lnTo>
                    <a:pt x="2085" y="556"/>
                  </a:lnTo>
                  <a:lnTo>
                    <a:pt x="2083" y="556"/>
                  </a:lnTo>
                  <a:lnTo>
                    <a:pt x="2081" y="556"/>
                  </a:lnTo>
                  <a:lnTo>
                    <a:pt x="2079" y="556"/>
                  </a:lnTo>
                  <a:lnTo>
                    <a:pt x="2077" y="556"/>
                  </a:lnTo>
                  <a:lnTo>
                    <a:pt x="2075" y="556"/>
                  </a:lnTo>
                  <a:lnTo>
                    <a:pt x="2075" y="554"/>
                  </a:lnTo>
                  <a:lnTo>
                    <a:pt x="2072" y="554"/>
                  </a:lnTo>
                  <a:lnTo>
                    <a:pt x="2070" y="554"/>
                  </a:lnTo>
                  <a:lnTo>
                    <a:pt x="2068" y="554"/>
                  </a:lnTo>
                  <a:lnTo>
                    <a:pt x="2068" y="552"/>
                  </a:lnTo>
                  <a:lnTo>
                    <a:pt x="2066" y="552"/>
                  </a:lnTo>
                  <a:lnTo>
                    <a:pt x="2064" y="554"/>
                  </a:lnTo>
                  <a:lnTo>
                    <a:pt x="2064" y="554"/>
                  </a:lnTo>
                  <a:lnTo>
                    <a:pt x="2062" y="554"/>
                  </a:lnTo>
                  <a:lnTo>
                    <a:pt x="2059" y="556"/>
                  </a:lnTo>
                  <a:lnTo>
                    <a:pt x="2057" y="556"/>
                  </a:lnTo>
                  <a:lnTo>
                    <a:pt x="2055" y="556"/>
                  </a:lnTo>
                  <a:lnTo>
                    <a:pt x="2053" y="556"/>
                  </a:lnTo>
                  <a:lnTo>
                    <a:pt x="2051" y="556"/>
                  </a:lnTo>
                  <a:lnTo>
                    <a:pt x="2049" y="556"/>
                  </a:lnTo>
                  <a:lnTo>
                    <a:pt x="2047" y="558"/>
                  </a:lnTo>
                  <a:lnTo>
                    <a:pt x="2047" y="558"/>
                  </a:lnTo>
                  <a:lnTo>
                    <a:pt x="2044" y="560"/>
                  </a:lnTo>
                  <a:lnTo>
                    <a:pt x="2042" y="560"/>
                  </a:lnTo>
                  <a:lnTo>
                    <a:pt x="2040" y="560"/>
                  </a:lnTo>
                  <a:lnTo>
                    <a:pt x="2038" y="560"/>
                  </a:lnTo>
                  <a:lnTo>
                    <a:pt x="2038" y="562"/>
                  </a:lnTo>
                  <a:lnTo>
                    <a:pt x="2038" y="564"/>
                  </a:lnTo>
                  <a:lnTo>
                    <a:pt x="2038" y="566"/>
                  </a:lnTo>
                  <a:lnTo>
                    <a:pt x="2036" y="566"/>
                  </a:lnTo>
                  <a:lnTo>
                    <a:pt x="2036" y="568"/>
                  </a:lnTo>
                  <a:lnTo>
                    <a:pt x="2034" y="568"/>
                  </a:lnTo>
                  <a:lnTo>
                    <a:pt x="2032" y="570"/>
                  </a:lnTo>
                  <a:lnTo>
                    <a:pt x="2032" y="572"/>
                  </a:lnTo>
                  <a:lnTo>
                    <a:pt x="2029" y="572"/>
                  </a:lnTo>
                  <a:lnTo>
                    <a:pt x="2029" y="574"/>
                  </a:lnTo>
                  <a:lnTo>
                    <a:pt x="2027" y="576"/>
                  </a:lnTo>
                  <a:lnTo>
                    <a:pt x="2027" y="578"/>
                  </a:lnTo>
                  <a:lnTo>
                    <a:pt x="2025" y="578"/>
                  </a:lnTo>
                  <a:lnTo>
                    <a:pt x="2025" y="580"/>
                  </a:lnTo>
                  <a:lnTo>
                    <a:pt x="2025" y="582"/>
                  </a:lnTo>
                  <a:lnTo>
                    <a:pt x="2025" y="584"/>
                  </a:lnTo>
                  <a:lnTo>
                    <a:pt x="2023" y="586"/>
                  </a:lnTo>
                  <a:lnTo>
                    <a:pt x="2023" y="588"/>
                  </a:lnTo>
                  <a:lnTo>
                    <a:pt x="2023" y="590"/>
                  </a:lnTo>
                  <a:lnTo>
                    <a:pt x="2021" y="590"/>
                  </a:lnTo>
                  <a:lnTo>
                    <a:pt x="2019" y="590"/>
                  </a:lnTo>
                  <a:lnTo>
                    <a:pt x="2017" y="592"/>
                  </a:lnTo>
                  <a:lnTo>
                    <a:pt x="2017" y="592"/>
                  </a:lnTo>
                  <a:lnTo>
                    <a:pt x="2014" y="590"/>
                  </a:lnTo>
                  <a:lnTo>
                    <a:pt x="2012" y="590"/>
                  </a:lnTo>
                  <a:lnTo>
                    <a:pt x="2010" y="590"/>
                  </a:lnTo>
                  <a:lnTo>
                    <a:pt x="2010" y="592"/>
                  </a:lnTo>
                  <a:lnTo>
                    <a:pt x="2008" y="592"/>
                  </a:lnTo>
                  <a:lnTo>
                    <a:pt x="2006" y="592"/>
                  </a:lnTo>
                  <a:lnTo>
                    <a:pt x="2004" y="592"/>
                  </a:lnTo>
                  <a:lnTo>
                    <a:pt x="2001" y="592"/>
                  </a:lnTo>
                  <a:lnTo>
                    <a:pt x="1999" y="592"/>
                  </a:lnTo>
                  <a:lnTo>
                    <a:pt x="1997" y="594"/>
                  </a:lnTo>
                  <a:lnTo>
                    <a:pt x="1995" y="594"/>
                  </a:lnTo>
                  <a:lnTo>
                    <a:pt x="1993" y="594"/>
                  </a:lnTo>
                  <a:lnTo>
                    <a:pt x="1991" y="594"/>
                  </a:lnTo>
                  <a:lnTo>
                    <a:pt x="1989" y="594"/>
                  </a:lnTo>
                  <a:lnTo>
                    <a:pt x="1986" y="594"/>
                  </a:lnTo>
                  <a:lnTo>
                    <a:pt x="1986" y="596"/>
                  </a:lnTo>
                  <a:lnTo>
                    <a:pt x="1984" y="596"/>
                  </a:lnTo>
                  <a:lnTo>
                    <a:pt x="1982" y="596"/>
                  </a:lnTo>
                  <a:lnTo>
                    <a:pt x="1980" y="598"/>
                  </a:lnTo>
                  <a:lnTo>
                    <a:pt x="1978" y="598"/>
                  </a:lnTo>
                  <a:lnTo>
                    <a:pt x="1976" y="598"/>
                  </a:lnTo>
                  <a:lnTo>
                    <a:pt x="1974" y="598"/>
                  </a:lnTo>
                  <a:lnTo>
                    <a:pt x="1971" y="600"/>
                  </a:lnTo>
                  <a:lnTo>
                    <a:pt x="1971" y="600"/>
                  </a:lnTo>
                  <a:lnTo>
                    <a:pt x="1969" y="600"/>
                  </a:lnTo>
                  <a:lnTo>
                    <a:pt x="1967" y="600"/>
                  </a:lnTo>
                  <a:lnTo>
                    <a:pt x="1965" y="600"/>
                  </a:lnTo>
                  <a:lnTo>
                    <a:pt x="1963" y="602"/>
                  </a:lnTo>
                  <a:lnTo>
                    <a:pt x="1963" y="602"/>
                  </a:lnTo>
                  <a:lnTo>
                    <a:pt x="1961" y="604"/>
                  </a:lnTo>
                  <a:lnTo>
                    <a:pt x="1959" y="604"/>
                  </a:lnTo>
                  <a:lnTo>
                    <a:pt x="1959" y="606"/>
                  </a:lnTo>
                  <a:lnTo>
                    <a:pt x="1959" y="608"/>
                  </a:lnTo>
                  <a:lnTo>
                    <a:pt x="1959" y="608"/>
                  </a:lnTo>
                  <a:lnTo>
                    <a:pt x="1956" y="608"/>
                  </a:lnTo>
                  <a:lnTo>
                    <a:pt x="1956" y="610"/>
                  </a:lnTo>
                  <a:lnTo>
                    <a:pt x="1954" y="610"/>
                  </a:lnTo>
                  <a:lnTo>
                    <a:pt x="1952" y="610"/>
                  </a:lnTo>
                  <a:lnTo>
                    <a:pt x="1952" y="612"/>
                  </a:lnTo>
                  <a:lnTo>
                    <a:pt x="1952" y="612"/>
                  </a:lnTo>
                  <a:lnTo>
                    <a:pt x="1950" y="612"/>
                  </a:lnTo>
                  <a:lnTo>
                    <a:pt x="1948" y="614"/>
                  </a:lnTo>
                  <a:lnTo>
                    <a:pt x="1948" y="614"/>
                  </a:lnTo>
                  <a:lnTo>
                    <a:pt x="1946" y="616"/>
                  </a:lnTo>
                  <a:lnTo>
                    <a:pt x="1944" y="616"/>
                  </a:lnTo>
                  <a:lnTo>
                    <a:pt x="1941" y="618"/>
                  </a:lnTo>
                  <a:lnTo>
                    <a:pt x="1939" y="618"/>
                  </a:lnTo>
                  <a:lnTo>
                    <a:pt x="1939" y="620"/>
                  </a:lnTo>
                  <a:lnTo>
                    <a:pt x="1937" y="620"/>
                  </a:lnTo>
                  <a:lnTo>
                    <a:pt x="1935" y="622"/>
                  </a:lnTo>
                  <a:lnTo>
                    <a:pt x="1933" y="622"/>
                  </a:lnTo>
                  <a:lnTo>
                    <a:pt x="1931" y="624"/>
                  </a:lnTo>
                  <a:lnTo>
                    <a:pt x="1931" y="624"/>
                  </a:lnTo>
                  <a:lnTo>
                    <a:pt x="1928" y="626"/>
                  </a:lnTo>
                  <a:lnTo>
                    <a:pt x="1926" y="626"/>
                  </a:lnTo>
                  <a:lnTo>
                    <a:pt x="1926" y="628"/>
                  </a:lnTo>
                  <a:lnTo>
                    <a:pt x="1924" y="630"/>
                  </a:lnTo>
                  <a:lnTo>
                    <a:pt x="1922" y="630"/>
                  </a:lnTo>
                  <a:lnTo>
                    <a:pt x="1920" y="632"/>
                  </a:lnTo>
                  <a:lnTo>
                    <a:pt x="1920" y="632"/>
                  </a:lnTo>
                  <a:lnTo>
                    <a:pt x="1918" y="634"/>
                  </a:lnTo>
                  <a:lnTo>
                    <a:pt x="1916" y="636"/>
                  </a:lnTo>
                  <a:lnTo>
                    <a:pt x="1913" y="636"/>
                  </a:lnTo>
                  <a:lnTo>
                    <a:pt x="1913" y="638"/>
                  </a:lnTo>
                  <a:lnTo>
                    <a:pt x="1911" y="638"/>
                  </a:lnTo>
                  <a:lnTo>
                    <a:pt x="1909" y="638"/>
                  </a:lnTo>
                  <a:lnTo>
                    <a:pt x="1907" y="638"/>
                  </a:lnTo>
                  <a:lnTo>
                    <a:pt x="1907" y="640"/>
                  </a:lnTo>
                  <a:lnTo>
                    <a:pt x="1905" y="642"/>
                  </a:lnTo>
                  <a:lnTo>
                    <a:pt x="1907" y="640"/>
                  </a:lnTo>
                  <a:lnTo>
                    <a:pt x="1905" y="640"/>
                  </a:lnTo>
                  <a:lnTo>
                    <a:pt x="1905" y="642"/>
                  </a:lnTo>
                  <a:lnTo>
                    <a:pt x="1903" y="642"/>
                  </a:lnTo>
                  <a:lnTo>
                    <a:pt x="1905" y="640"/>
                  </a:lnTo>
                  <a:lnTo>
                    <a:pt x="1903" y="642"/>
                  </a:lnTo>
                  <a:lnTo>
                    <a:pt x="1903" y="642"/>
                  </a:lnTo>
                  <a:lnTo>
                    <a:pt x="1901" y="642"/>
                  </a:lnTo>
                  <a:lnTo>
                    <a:pt x="1898" y="642"/>
                  </a:lnTo>
                  <a:lnTo>
                    <a:pt x="1898" y="644"/>
                  </a:lnTo>
                  <a:lnTo>
                    <a:pt x="1896" y="644"/>
                  </a:lnTo>
                  <a:lnTo>
                    <a:pt x="1896" y="644"/>
                  </a:lnTo>
                  <a:lnTo>
                    <a:pt x="1894" y="646"/>
                  </a:lnTo>
                  <a:lnTo>
                    <a:pt x="1892" y="646"/>
                  </a:lnTo>
                  <a:lnTo>
                    <a:pt x="1890" y="646"/>
                  </a:lnTo>
                  <a:lnTo>
                    <a:pt x="1888" y="648"/>
                  </a:lnTo>
                  <a:lnTo>
                    <a:pt x="1888" y="648"/>
                  </a:lnTo>
                  <a:lnTo>
                    <a:pt x="1886" y="650"/>
                  </a:lnTo>
                  <a:lnTo>
                    <a:pt x="1883" y="650"/>
                  </a:lnTo>
                  <a:lnTo>
                    <a:pt x="1881" y="652"/>
                  </a:lnTo>
                  <a:lnTo>
                    <a:pt x="1879" y="652"/>
                  </a:lnTo>
                  <a:lnTo>
                    <a:pt x="1879" y="654"/>
                  </a:lnTo>
                  <a:lnTo>
                    <a:pt x="1877" y="654"/>
                  </a:lnTo>
                  <a:lnTo>
                    <a:pt x="1875" y="656"/>
                  </a:lnTo>
                  <a:lnTo>
                    <a:pt x="1873" y="656"/>
                  </a:lnTo>
                  <a:lnTo>
                    <a:pt x="1870" y="658"/>
                  </a:lnTo>
                  <a:lnTo>
                    <a:pt x="1870" y="658"/>
                  </a:lnTo>
                  <a:lnTo>
                    <a:pt x="1868" y="660"/>
                  </a:lnTo>
                  <a:lnTo>
                    <a:pt x="1866" y="660"/>
                  </a:lnTo>
                  <a:lnTo>
                    <a:pt x="1866" y="662"/>
                  </a:lnTo>
                  <a:lnTo>
                    <a:pt x="1864" y="662"/>
                  </a:lnTo>
                  <a:lnTo>
                    <a:pt x="1862" y="662"/>
                  </a:lnTo>
                  <a:lnTo>
                    <a:pt x="1860" y="664"/>
                  </a:lnTo>
                  <a:lnTo>
                    <a:pt x="1858" y="664"/>
                  </a:lnTo>
                  <a:lnTo>
                    <a:pt x="1855" y="664"/>
                  </a:lnTo>
                  <a:lnTo>
                    <a:pt x="1853" y="666"/>
                  </a:lnTo>
                  <a:lnTo>
                    <a:pt x="1853" y="666"/>
                  </a:lnTo>
                  <a:lnTo>
                    <a:pt x="1851" y="668"/>
                  </a:lnTo>
                  <a:lnTo>
                    <a:pt x="1849" y="668"/>
                  </a:lnTo>
                  <a:lnTo>
                    <a:pt x="1847" y="670"/>
                  </a:lnTo>
                  <a:lnTo>
                    <a:pt x="1845" y="670"/>
                  </a:lnTo>
                  <a:lnTo>
                    <a:pt x="1845" y="670"/>
                  </a:lnTo>
                  <a:lnTo>
                    <a:pt x="1843" y="672"/>
                  </a:lnTo>
                  <a:lnTo>
                    <a:pt x="1840" y="672"/>
                  </a:lnTo>
                  <a:lnTo>
                    <a:pt x="1838" y="674"/>
                  </a:lnTo>
                  <a:lnTo>
                    <a:pt x="1836" y="674"/>
                  </a:lnTo>
                  <a:lnTo>
                    <a:pt x="1834" y="674"/>
                  </a:lnTo>
                  <a:lnTo>
                    <a:pt x="1832" y="676"/>
                  </a:lnTo>
                  <a:lnTo>
                    <a:pt x="1830" y="676"/>
                  </a:lnTo>
                  <a:lnTo>
                    <a:pt x="1830" y="678"/>
                  </a:lnTo>
                  <a:lnTo>
                    <a:pt x="1830" y="680"/>
                  </a:lnTo>
                  <a:lnTo>
                    <a:pt x="1830" y="682"/>
                  </a:lnTo>
                  <a:lnTo>
                    <a:pt x="1828" y="684"/>
                  </a:lnTo>
                  <a:lnTo>
                    <a:pt x="1828" y="686"/>
                  </a:lnTo>
                  <a:lnTo>
                    <a:pt x="1825" y="686"/>
                  </a:lnTo>
                  <a:lnTo>
                    <a:pt x="1823" y="686"/>
                  </a:lnTo>
                  <a:lnTo>
                    <a:pt x="1821" y="686"/>
                  </a:lnTo>
                  <a:lnTo>
                    <a:pt x="1819" y="686"/>
                  </a:lnTo>
                  <a:lnTo>
                    <a:pt x="1817" y="686"/>
                  </a:lnTo>
                  <a:lnTo>
                    <a:pt x="1815" y="686"/>
                  </a:lnTo>
                  <a:lnTo>
                    <a:pt x="1813" y="686"/>
                  </a:lnTo>
                  <a:lnTo>
                    <a:pt x="1810" y="688"/>
                  </a:lnTo>
                  <a:lnTo>
                    <a:pt x="1810" y="688"/>
                  </a:lnTo>
                  <a:lnTo>
                    <a:pt x="1808" y="690"/>
                  </a:lnTo>
                  <a:lnTo>
                    <a:pt x="1806" y="690"/>
                  </a:lnTo>
                  <a:lnTo>
                    <a:pt x="1804" y="690"/>
                  </a:lnTo>
                  <a:lnTo>
                    <a:pt x="1802" y="690"/>
                  </a:lnTo>
                  <a:lnTo>
                    <a:pt x="1802" y="692"/>
                  </a:lnTo>
                  <a:lnTo>
                    <a:pt x="1800" y="694"/>
                  </a:lnTo>
                  <a:lnTo>
                    <a:pt x="1797" y="694"/>
                  </a:lnTo>
                  <a:lnTo>
                    <a:pt x="1795" y="696"/>
                  </a:lnTo>
                  <a:lnTo>
                    <a:pt x="1795" y="696"/>
                  </a:lnTo>
                  <a:lnTo>
                    <a:pt x="1793" y="698"/>
                  </a:lnTo>
                  <a:lnTo>
                    <a:pt x="1791" y="700"/>
                  </a:lnTo>
                  <a:lnTo>
                    <a:pt x="1789" y="700"/>
                  </a:lnTo>
                  <a:lnTo>
                    <a:pt x="1789" y="702"/>
                  </a:lnTo>
                  <a:lnTo>
                    <a:pt x="1787" y="702"/>
                  </a:lnTo>
                  <a:lnTo>
                    <a:pt x="1787" y="704"/>
                  </a:lnTo>
                  <a:lnTo>
                    <a:pt x="1785" y="706"/>
                  </a:lnTo>
                  <a:lnTo>
                    <a:pt x="1785" y="708"/>
                  </a:lnTo>
                  <a:lnTo>
                    <a:pt x="1785" y="710"/>
                  </a:lnTo>
                  <a:lnTo>
                    <a:pt x="1782" y="712"/>
                  </a:lnTo>
                  <a:lnTo>
                    <a:pt x="1782" y="714"/>
                  </a:lnTo>
                  <a:lnTo>
                    <a:pt x="1782" y="714"/>
                  </a:lnTo>
                  <a:lnTo>
                    <a:pt x="1780" y="716"/>
                  </a:lnTo>
                  <a:lnTo>
                    <a:pt x="1778" y="716"/>
                  </a:lnTo>
                  <a:lnTo>
                    <a:pt x="1776" y="718"/>
                  </a:lnTo>
                  <a:lnTo>
                    <a:pt x="1776" y="720"/>
                  </a:lnTo>
                  <a:lnTo>
                    <a:pt x="1774" y="720"/>
                  </a:lnTo>
                  <a:lnTo>
                    <a:pt x="1774" y="722"/>
                  </a:lnTo>
                  <a:lnTo>
                    <a:pt x="1772" y="724"/>
                  </a:lnTo>
                  <a:lnTo>
                    <a:pt x="1772" y="726"/>
                  </a:lnTo>
                  <a:lnTo>
                    <a:pt x="1772" y="728"/>
                  </a:lnTo>
                  <a:lnTo>
                    <a:pt x="1772" y="728"/>
                  </a:lnTo>
                  <a:lnTo>
                    <a:pt x="1772" y="730"/>
                  </a:lnTo>
                  <a:lnTo>
                    <a:pt x="1772" y="732"/>
                  </a:lnTo>
                  <a:lnTo>
                    <a:pt x="1772" y="734"/>
                  </a:lnTo>
                  <a:lnTo>
                    <a:pt x="1772" y="736"/>
                  </a:lnTo>
                  <a:lnTo>
                    <a:pt x="1770" y="738"/>
                  </a:lnTo>
                  <a:lnTo>
                    <a:pt x="1770" y="740"/>
                  </a:lnTo>
                  <a:lnTo>
                    <a:pt x="1770" y="742"/>
                  </a:lnTo>
                  <a:lnTo>
                    <a:pt x="1772" y="744"/>
                  </a:lnTo>
                  <a:lnTo>
                    <a:pt x="1772" y="746"/>
                  </a:lnTo>
                  <a:lnTo>
                    <a:pt x="1772" y="748"/>
                  </a:lnTo>
                  <a:lnTo>
                    <a:pt x="1772" y="750"/>
                  </a:lnTo>
                  <a:lnTo>
                    <a:pt x="1774" y="750"/>
                  </a:lnTo>
                  <a:lnTo>
                    <a:pt x="1774" y="752"/>
                  </a:lnTo>
                  <a:lnTo>
                    <a:pt x="1774" y="754"/>
                  </a:lnTo>
                  <a:lnTo>
                    <a:pt x="1774" y="756"/>
                  </a:lnTo>
                  <a:lnTo>
                    <a:pt x="1774" y="758"/>
                  </a:lnTo>
                  <a:lnTo>
                    <a:pt x="1774" y="760"/>
                  </a:lnTo>
                  <a:lnTo>
                    <a:pt x="1774" y="762"/>
                  </a:lnTo>
                  <a:lnTo>
                    <a:pt x="1774" y="764"/>
                  </a:lnTo>
                  <a:lnTo>
                    <a:pt x="1776" y="766"/>
                  </a:lnTo>
                  <a:lnTo>
                    <a:pt x="1778" y="766"/>
                  </a:lnTo>
                  <a:lnTo>
                    <a:pt x="1778" y="768"/>
                  </a:lnTo>
                  <a:lnTo>
                    <a:pt x="1780" y="770"/>
                  </a:lnTo>
                  <a:lnTo>
                    <a:pt x="1780" y="770"/>
                  </a:lnTo>
                  <a:lnTo>
                    <a:pt x="1782" y="772"/>
                  </a:lnTo>
                  <a:lnTo>
                    <a:pt x="1785" y="774"/>
                  </a:lnTo>
                  <a:lnTo>
                    <a:pt x="1785" y="776"/>
                  </a:lnTo>
                  <a:lnTo>
                    <a:pt x="1785" y="778"/>
                  </a:lnTo>
                  <a:lnTo>
                    <a:pt x="1785" y="778"/>
                  </a:lnTo>
                  <a:lnTo>
                    <a:pt x="1787" y="780"/>
                  </a:lnTo>
                  <a:lnTo>
                    <a:pt x="1787" y="782"/>
                  </a:lnTo>
                  <a:lnTo>
                    <a:pt x="1787" y="784"/>
                  </a:lnTo>
                  <a:lnTo>
                    <a:pt x="1787" y="786"/>
                  </a:lnTo>
                  <a:lnTo>
                    <a:pt x="1787" y="788"/>
                  </a:lnTo>
                  <a:lnTo>
                    <a:pt x="1789" y="788"/>
                  </a:lnTo>
                  <a:lnTo>
                    <a:pt x="1789" y="790"/>
                  </a:lnTo>
                  <a:lnTo>
                    <a:pt x="1791" y="790"/>
                  </a:lnTo>
                  <a:lnTo>
                    <a:pt x="1793" y="792"/>
                  </a:lnTo>
                  <a:lnTo>
                    <a:pt x="1793" y="794"/>
                  </a:lnTo>
                  <a:lnTo>
                    <a:pt x="1793" y="794"/>
                  </a:lnTo>
                  <a:lnTo>
                    <a:pt x="1795" y="794"/>
                  </a:lnTo>
                  <a:lnTo>
                    <a:pt x="1793" y="796"/>
                  </a:lnTo>
                  <a:lnTo>
                    <a:pt x="1793" y="798"/>
                  </a:lnTo>
                  <a:lnTo>
                    <a:pt x="1793" y="800"/>
                  </a:lnTo>
                  <a:lnTo>
                    <a:pt x="1793" y="802"/>
                  </a:lnTo>
                  <a:lnTo>
                    <a:pt x="1793" y="804"/>
                  </a:lnTo>
                  <a:lnTo>
                    <a:pt x="1791" y="806"/>
                  </a:lnTo>
                  <a:lnTo>
                    <a:pt x="1791" y="808"/>
                  </a:lnTo>
                  <a:lnTo>
                    <a:pt x="1791" y="810"/>
                  </a:lnTo>
                  <a:lnTo>
                    <a:pt x="1791" y="810"/>
                  </a:lnTo>
                  <a:lnTo>
                    <a:pt x="1793" y="812"/>
                  </a:lnTo>
                  <a:lnTo>
                    <a:pt x="1793" y="814"/>
                  </a:lnTo>
                  <a:lnTo>
                    <a:pt x="1793" y="816"/>
                  </a:lnTo>
                  <a:lnTo>
                    <a:pt x="1793" y="818"/>
                  </a:lnTo>
                  <a:lnTo>
                    <a:pt x="1795" y="820"/>
                  </a:lnTo>
                  <a:lnTo>
                    <a:pt x="1795" y="822"/>
                  </a:lnTo>
                  <a:lnTo>
                    <a:pt x="1795" y="824"/>
                  </a:lnTo>
                  <a:lnTo>
                    <a:pt x="1797" y="826"/>
                  </a:lnTo>
                  <a:lnTo>
                    <a:pt x="1797" y="826"/>
                  </a:lnTo>
                  <a:lnTo>
                    <a:pt x="1800" y="828"/>
                  </a:lnTo>
                  <a:lnTo>
                    <a:pt x="1802" y="828"/>
                  </a:lnTo>
                  <a:lnTo>
                    <a:pt x="1802" y="830"/>
                  </a:lnTo>
                  <a:lnTo>
                    <a:pt x="1802" y="832"/>
                  </a:lnTo>
                  <a:lnTo>
                    <a:pt x="1802" y="834"/>
                  </a:lnTo>
                  <a:lnTo>
                    <a:pt x="1804" y="836"/>
                  </a:lnTo>
                  <a:lnTo>
                    <a:pt x="1804" y="834"/>
                  </a:lnTo>
                  <a:lnTo>
                    <a:pt x="1806" y="834"/>
                  </a:lnTo>
                  <a:lnTo>
                    <a:pt x="1806" y="834"/>
                  </a:lnTo>
                  <a:lnTo>
                    <a:pt x="1808" y="836"/>
                  </a:lnTo>
                  <a:lnTo>
                    <a:pt x="1810" y="838"/>
                  </a:lnTo>
                  <a:lnTo>
                    <a:pt x="1813" y="838"/>
                  </a:lnTo>
                  <a:lnTo>
                    <a:pt x="1813" y="840"/>
                  </a:lnTo>
                  <a:lnTo>
                    <a:pt x="1815" y="842"/>
                  </a:lnTo>
                  <a:lnTo>
                    <a:pt x="1815" y="842"/>
                  </a:lnTo>
                  <a:lnTo>
                    <a:pt x="1817" y="844"/>
                  </a:lnTo>
                  <a:lnTo>
                    <a:pt x="1819" y="844"/>
                  </a:lnTo>
                  <a:lnTo>
                    <a:pt x="1819" y="844"/>
                  </a:lnTo>
                  <a:lnTo>
                    <a:pt x="1821" y="846"/>
                  </a:lnTo>
                  <a:lnTo>
                    <a:pt x="1823" y="848"/>
                  </a:lnTo>
                  <a:lnTo>
                    <a:pt x="1823" y="848"/>
                  </a:lnTo>
                  <a:lnTo>
                    <a:pt x="1825" y="850"/>
                  </a:lnTo>
                  <a:lnTo>
                    <a:pt x="1828" y="850"/>
                  </a:lnTo>
                  <a:lnTo>
                    <a:pt x="1828" y="852"/>
                  </a:lnTo>
                  <a:lnTo>
                    <a:pt x="1830" y="852"/>
                  </a:lnTo>
                  <a:lnTo>
                    <a:pt x="1832" y="854"/>
                  </a:lnTo>
                  <a:lnTo>
                    <a:pt x="1832" y="856"/>
                  </a:lnTo>
                  <a:lnTo>
                    <a:pt x="1834" y="856"/>
                  </a:lnTo>
                  <a:lnTo>
                    <a:pt x="1836" y="858"/>
                  </a:lnTo>
                  <a:lnTo>
                    <a:pt x="1836" y="860"/>
                  </a:lnTo>
                  <a:lnTo>
                    <a:pt x="1838" y="860"/>
                  </a:lnTo>
                  <a:lnTo>
                    <a:pt x="1838" y="862"/>
                  </a:lnTo>
                  <a:lnTo>
                    <a:pt x="1840" y="864"/>
                  </a:lnTo>
                  <a:lnTo>
                    <a:pt x="1840" y="864"/>
                  </a:lnTo>
                  <a:lnTo>
                    <a:pt x="1843" y="862"/>
                  </a:lnTo>
                  <a:lnTo>
                    <a:pt x="1845" y="862"/>
                  </a:lnTo>
                  <a:lnTo>
                    <a:pt x="1847" y="862"/>
                  </a:lnTo>
                  <a:lnTo>
                    <a:pt x="1849" y="860"/>
                  </a:lnTo>
                  <a:lnTo>
                    <a:pt x="1851" y="862"/>
                  </a:lnTo>
                  <a:lnTo>
                    <a:pt x="1853" y="862"/>
                  </a:lnTo>
                  <a:lnTo>
                    <a:pt x="1853" y="864"/>
                  </a:lnTo>
                  <a:lnTo>
                    <a:pt x="1855" y="865"/>
                  </a:lnTo>
                  <a:lnTo>
                    <a:pt x="1855" y="867"/>
                  </a:lnTo>
                  <a:lnTo>
                    <a:pt x="1855" y="867"/>
                  </a:lnTo>
                  <a:lnTo>
                    <a:pt x="1858" y="867"/>
                  </a:lnTo>
                  <a:lnTo>
                    <a:pt x="1860" y="869"/>
                  </a:lnTo>
                  <a:lnTo>
                    <a:pt x="1862" y="869"/>
                  </a:lnTo>
                  <a:lnTo>
                    <a:pt x="1860" y="871"/>
                  </a:lnTo>
                  <a:lnTo>
                    <a:pt x="1860" y="873"/>
                  </a:lnTo>
                  <a:lnTo>
                    <a:pt x="1862" y="873"/>
                  </a:lnTo>
                  <a:lnTo>
                    <a:pt x="1862" y="875"/>
                  </a:lnTo>
                  <a:lnTo>
                    <a:pt x="1862" y="877"/>
                  </a:lnTo>
                  <a:lnTo>
                    <a:pt x="1862" y="879"/>
                  </a:lnTo>
                  <a:lnTo>
                    <a:pt x="1862" y="881"/>
                  </a:lnTo>
                  <a:lnTo>
                    <a:pt x="1860" y="881"/>
                  </a:lnTo>
                  <a:lnTo>
                    <a:pt x="1860" y="883"/>
                  </a:lnTo>
                  <a:lnTo>
                    <a:pt x="1860" y="885"/>
                  </a:lnTo>
                  <a:lnTo>
                    <a:pt x="1858" y="887"/>
                  </a:lnTo>
                  <a:lnTo>
                    <a:pt x="1858" y="889"/>
                  </a:lnTo>
                  <a:lnTo>
                    <a:pt x="1855" y="889"/>
                  </a:lnTo>
                  <a:lnTo>
                    <a:pt x="1855" y="891"/>
                  </a:lnTo>
                  <a:lnTo>
                    <a:pt x="1855" y="893"/>
                  </a:lnTo>
                  <a:lnTo>
                    <a:pt x="1853" y="893"/>
                  </a:lnTo>
                  <a:lnTo>
                    <a:pt x="1853" y="895"/>
                  </a:lnTo>
                  <a:lnTo>
                    <a:pt x="1851" y="897"/>
                  </a:lnTo>
                  <a:lnTo>
                    <a:pt x="1851" y="899"/>
                  </a:lnTo>
                  <a:lnTo>
                    <a:pt x="1853" y="901"/>
                  </a:lnTo>
                  <a:lnTo>
                    <a:pt x="1853" y="903"/>
                  </a:lnTo>
                  <a:lnTo>
                    <a:pt x="1851" y="903"/>
                  </a:lnTo>
                  <a:lnTo>
                    <a:pt x="1851" y="905"/>
                  </a:lnTo>
                  <a:lnTo>
                    <a:pt x="1849" y="907"/>
                  </a:lnTo>
                  <a:lnTo>
                    <a:pt x="1849" y="909"/>
                  </a:lnTo>
                  <a:lnTo>
                    <a:pt x="1849" y="911"/>
                  </a:lnTo>
                  <a:lnTo>
                    <a:pt x="1847" y="913"/>
                  </a:lnTo>
                  <a:lnTo>
                    <a:pt x="1847" y="915"/>
                  </a:lnTo>
                  <a:lnTo>
                    <a:pt x="1847" y="917"/>
                  </a:lnTo>
                  <a:lnTo>
                    <a:pt x="1847" y="917"/>
                  </a:lnTo>
                  <a:lnTo>
                    <a:pt x="1845" y="919"/>
                  </a:lnTo>
                  <a:lnTo>
                    <a:pt x="1845" y="921"/>
                  </a:lnTo>
                  <a:lnTo>
                    <a:pt x="1845" y="923"/>
                  </a:lnTo>
                  <a:lnTo>
                    <a:pt x="1843" y="925"/>
                  </a:lnTo>
                  <a:lnTo>
                    <a:pt x="1843" y="927"/>
                  </a:lnTo>
                  <a:lnTo>
                    <a:pt x="1843" y="929"/>
                  </a:lnTo>
                  <a:lnTo>
                    <a:pt x="1840" y="929"/>
                  </a:lnTo>
                  <a:lnTo>
                    <a:pt x="1840" y="929"/>
                  </a:lnTo>
                  <a:lnTo>
                    <a:pt x="1838" y="931"/>
                  </a:lnTo>
                  <a:lnTo>
                    <a:pt x="1838" y="933"/>
                  </a:lnTo>
                  <a:lnTo>
                    <a:pt x="1836" y="935"/>
                  </a:lnTo>
                  <a:lnTo>
                    <a:pt x="1836" y="935"/>
                  </a:lnTo>
                  <a:lnTo>
                    <a:pt x="1834" y="937"/>
                  </a:lnTo>
                  <a:lnTo>
                    <a:pt x="1832" y="937"/>
                  </a:lnTo>
                  <a:lnTo>
                    <a:pt x="1832" y="939"/>
                  </a:lnTo>
                  <a:lnTo>
                    <a:pt x="1830" y="941"/>
                  </a:lnTo>
                  <a:lnTo>
                    <a:pt x="1828" y="943"/>
                  </a:lnTo>
                  <a:lnTo>
                    <a:pt x="1828" y="943"/>
                  </a:lnTo>
                  <a:lnTo>
                    <a:pt x="1825" y="945"/>
                  </a:lnTo>
                  <a:lnTo>
                    <a:pt x="1823" y="943"/>
                  </a:lnTo>
                  <a:lnTo>
                    <a:pt x="1823" y="945"/>
                  </a:lnTo>
                  <a:lnTo>
                    <a:pt x="1821" y="947"/>
                  </a:lnTo>
                  <a:lnTo>
                    <a:pt x="1819" y="947"/>
                  </a:lnTo>
                  <a:lnTo>
                    <a:pt x="1819" y="949"/>
                  </a:lnTo>
                  <a:lnTo>
                    <a:pt x="1817" y="949"/>
                  </a:lnTo>
                  <a:lnTo>
                    <a:pt x="1815" y="949"/>
                  </a:lnTo>
                  <a:lnTo>
                    <a:pt x="1813" y="949"/>
                  </a:lnTo>
                  <a:lnTo>
                    <a:pt x="1810" y="949"/>
                  </a:lnTo>
                  <a:lnTo>
                    <a:pt x="1808" y="947"/>
                  </a:lnTo>
                  <a:lnTo>
                    <a:pt x="1808" y="947"/>
                  </a:lnTo>
                  <a:lnTo>
                    <a:pt x="1806" y="947"/>
                  </a:lnTo>
                  <a:lnTo>
                    <a:pt x="1804" y="945"/>
                  </a:lnTo>
                  <a:lnTo>
                    <a:pt x="1802" y="945"/>
                  </a:lnTo>
                  <a:lnTo>
                    <a:pt x="1800" y="945"/>
                  </a:lnTo>
                  <a:lnTo>
                    <a:pt x="1797" y="945"/>
                  </a:lnTo>
                  <a:lnTo>
                    <a:pt x="1795" y="945"/>
                  </a:lnTo>
                  <a:lnTo>
                    <a:pt x="1793" y="945"/>
                  </a:lnTo>
                  <a:lnTo>
                    <a:pt x="1791" y="943"/>
                  </a:lnTo>
                  <a:lnTo>
                    <a:pt x="1793" y="943"/>
                  </a:lnTo>
                  <a:lnTo>
                    <a:pt x="1793" y="943"/>
                  </a:lnTo>
                  <a:lnTo>
                    <a:pt x="1795" y="943"/>
                  </a:lnTo>
                  <a:lnTo>
                    <a:pt x="1797" y="943"/>
                  </a:lnTo>
                  <a:lnTo>
                    <a:pt x="1800" y="941"/>
                  </a:lnTo>
                  <a:lnTo>
                    <a:pt x="1800" y="939"/>
                  </a:lnTo>
                  <a:lnTo>
                    <a:pt x="1800" y="937"/>
                  </a:lnTo>
                  <a:lnTo>
                    <a:pt x="1802" y="937"/>
                  </a:lnTo>
                  <a:lnTo>
                    <a:pt x="1802" y="935"/>
                  </a:lnTo>
                  <a:lnTo>
                    <a:pt x="1802" y="935"/>
                  </a:lnTo>
                  <a:lnTo>
                    <a:pt x="1800" y="933"/>
                  </a:lnTo>
                  <a:lnTo>
                    <a:pt x="1800" y="931"/>
                  </a:lnTo>
                  <a:lnTo>
                    <a:pt x="1797" y="931"/>
                  </a:lnTo>
                  <a:lnTo>
                    <a:pt x="1795" y="929"/>
                  </a:lnTo>
                  <a:lnTo>
                    <a:pt x="1793" y="927"/>
                  </a:lnTo>
                  <a:lnTo>
                    <a:pt x="1793" y="927"/>
                  </a:lnTo>
                  <a:lnTo>
                    <a:pt x="1793" y="927"/>
                  </a:lnTo>
                  <a:lnTo>
                    <a:pt x="1791" y="927"/>
                  </a:lnTo>
                  <a:lnTo>
                    <a:pt x="1789" y="927"/>
                  </a:lnTo>
                  <a:lnTo>
                    <a:pt x="1787" y="927"/>
                  </a:lnTo>
                  <a:lnTo>
                    <a:pt x="1785" y="927"/>
                  </a:lnTo>
                  <a:lnTo>
                    <a:pt x="1785" y="929"/>
                  </a:lnTo>
                  <a:lnTo>
                    <a:pt x="1785" y="931"/>
                  </a:lnTo>
                  <a:lnTo>
                    <a:pt x="1782" y="931"/>
                  </a:lnTo>
                  <a:lnTo>
                    <a:pt x="1780" y="933"/>
                  </a:lnTo>
                  <a:lnTo>
                    <a:pt x="1780" y="935"/>
                  </a:lnTo>
                  <a:lnTo>
                    <a:pt x="1778" y="935"/>
                  </a:lnTo>
                  <a:lnTo>
                    <a:pt x="1778" y="937"/>
                  </a:lnTo>
                  <a:lnTo>
                    <a:pt x="1776" y="939"/>
                  </a:lnTo>
                  <a:lnTo>
                    <a:pt x="1778" y="939"/>
                  </a:lnTo>
                  <a:lnTo>
                    <a:pt x="1778" y="939"/>
                  </a:lnTo>
                  <a:lnTo>
                    <a:pt x="1780" y="937"/>
                  </a:lnTo>
                  <a:lnTo>
                    <a:pt x="1782" y="935"/>
                  </a:lnTo>
                  <a:lnTo>
                    <a:pt x="1785" y="935"/>
                  </a:lnTo>
                  <a:lnTo>
                    <a:pt x="1782" y="937"/>
                  </a:lnTo>
                  <a:lnTo>
                    <a:pt x="1782" y="939"/>
                  </a:lnTo>
                  <a:lnTo>
                    <a:pt x="1782" y="939"/>
                  </a:lnTo>
                  <a:lnTo>
                    <a:pt x="1780" y="941"/>
                  </a:lnTo>
                  <a:lnTo>
                    <a:pt x="1780" y="943"/>
                  </a:lnTo>
                  <a:lnTo>
                    <a:pt x="1780" y="945"/>
                  </a:lnTo>
                  <a:lnTo>
                    <a:pt x="1778" y="947"/>
                  </a:lnTo>
                  <a:lnTo>
                    <a:pt x="1778" y="949"/>
                  </a:lnTo>
                  <a:lnTo>
                    <a:pt x="1778" y="949"/>
                  </a:lnTo>
                  <a:lnTo>
                    <a:pt x="1776" y="951"/>
                  </a:lnTo>
                  <a:lnTo>
                    <a:pt x="1776" y="953"/>
                  </a:lnTo>
                  <a:lnTo>
                    <a:pt x="1776" y="955"/>
                  </a:lnTo>
                  <a:lnTo>
                    <a:pt x="1776" y="957"/>
                  </a:lnTo>
                  <a:lnTo>
                    <a:pt x="1776" y="959"/>
                  </a:lnTo>
                  <a:lnTo>
                    <a:pt x="1776" y="961"/>
                  </a:lnTo>
                  <a:lnTo>
                    <a:pt x="1774" y="963"/>
                  </a:lnTo>
                  <a:lnTo>
                    <a:pt x="1774" y="965"/>
                  </a:lnTo>
                  <a:lnTo>
                    <a:pt x="1774" y="967"/>
                  </a:lnTo>
                  <a:lnTo>
                    <a:pt x="1774" y="969"/>
                  </a:lnTo>
                  <a:lnTo>
                    <a:pt x="1774" y="969"/>
                  </a:lnTo>
                  <a:lnTo>
                    <a:pt x="1774" y="971"/>
                  </a:lnTo>
                  <a:lnTo>
                    <a:pt x="1774" y="973"/>
                  </a:lnTo>
                  <a:lnTo>
                    <a:pt x="1774" y="975"/>
                  </a:lnTo>
                  <a:lnTo>
                    <a:pt x="1772" y="977"/>
                  </a:lnTo>
                  <a:lnTo>
                    <a:pt x="1772" y="979"/>
                  </a:lnTo>
                  <a:lnTo>
                    <a:pt x="1772" y="981"/>
                  </a:lnTo>
                  <a:lnTo>
                    <a:pt x="1772" y="983"/>
                  </a:lnTo>
                  <a:lnTo>
                    <a:pt x="1772" y="985"/>
                  </a:lnTo>
                  <a:lnTo>
                    <a:pt x="1772" y="987"/>
                  </a:lnTo>
                  <a:lnTo>
                    <a:pt x="1774" y="989"/>
                  </a:lnTo>
                  <a:lnTo>
                    <a:pt x="1774" y="991"/>
                  </a:lnTo>
                  <a:lnTo>
                    <a:pt x="1774" y="993"/>
                  </a:lnTo>
                  <a:lnTo>
                    <a:pt x="1774" y="995"/>
                  </a:lnTo>
                  <a:lnTo>
                    <a:pt x="1774" y="995"/>
                  </a:lnTo>
                  <a:lnTo>
                    <a:pt x="1776" y="995"/>
                  </a:lnTo>
                  <a:lnTo>
                    <a:pt x="1776" y="997"/>
                  </a:lnTo>
                  <a:lnTo>
                    <a:pt x="1776" y="999"/>
                  </a:lnTo>
                  <a:lnTo>
                    <a:pt x="1776" y="1001"/>
                  </a:lnTo>
                  <a:lnTo>
                    <a:pt x="1776" y="1003"/>
                  </a:lnTo>
                  <a:lnTo>
                    <a:pt x="1776" y="1005"/>
                  </a:lnTo>
                  <a:lnTo>
                    <a:pt x="1776" y="1005"/>
                  </a:lnTo>
                  <a:lnTo>
                    <a:pt x="1776" y="1007"/>
                  </a:lnTo>
                  <a:lnTo>
                    <a:pt x="1778" y="1009"/>
                  </a:lnTo>
                  <a:lnTo>
                    <a:pt x="1778" y="1011"/>
                  </a:lnTo>
                  <a:lnTo>
                    <a:pt x="1780" y="1011"/>
                  </a:lnTo>
                  <a:lnTo>
                    <a:pt x="1782" y="1013"/>
                  </a:lnTo>
                  <a:lnTo>
                    <a:pt x="1782" y="1013"/>
                  </a:lnTo>
                  <a:lnTo>
                    <a:pt x="1785" y="1015"/>
                  </a:lnTo>
                  <a:lnTo>
                    <a:pt x="1785" y="1017"/>
                  </a:lnTo>
                  <a:lnTo>
                    <a:pt x="1787" y="1017"/>
                  </a:lnTo>
                  <a:lnTo>
                    <a:pt x="1787" y="1019"/>
                  </a:lnTo>
                  <a:lnTo>
                    <a:pt x="1787" y="1021"/>
                  </a:lnTo>
                  <a:lnTo>
                    <a:pt x="1789" y="1023"/>
                  </a:lnTo>
                  <a:lnTo>
                    <a:pt x="1789" y="1025"/>
                  </a:lnTo>
                  <a:lnTo>
                    <a:pt x="1789" y="1027"/>
                  </a:lnTo>
                  <a:lnTo>
                    <a:pt x="1789" y="1029"/>
                  </a:lnTo>
                  <a:lnTo>
                    <a:pt x="1789" y="1031"/>
                  </a:lnTo>
                  <a:lnTo>
                    <a:pt x="1791" y="1031"/>
                  </a:lnTo>
                  <a:lnTo>
                    <a:pt x="1791" y="1033"/>
                  </a:lnTo>
                  <a:lnTo>
                    <a:pt x="1789" y="1035"/>
                  </a:lnTo>
                  <a:lnTo>
                    <a:pt x="1789" y="1037"/>
                  </a:lnTo>
                  <a:lnTo>
                    <a:pt x="1789" y="1039"/>
                  </a:lnTo>
                  <a:lnTo>
                    <a:pt x="1789" y="1041"/>
                  </a:lnTo>
                  <a:lnTo>
                    <a:pt x="1789" y="1043"/>
                  </a:lnTo>
                  <a:lnTo>
                    <a:pt x="1789" y="1045"/>
                  </a:lnTo>
                  <a:lnTo>
                    <a:pt x="1789" y="1047"/>
                  </a:lnTo>
                  <a:lnTo>
                    <a:pt x="1789" y="1049"/>
                  </a:lnTo>
                  <a:lnTo>
                    <a:pt x="1789" y="1051"/>
                  </a:lnTo>
                  <a:lnTo>
                    <a:pt x="1789" y="1053"/>
                  </a:lnTo>
                  <a:lnTo>
                    <a:pt x="1789" y="1055"/>
                  </a:lnTo>
                  <a:lnTo>
                    <a:pt x="1789" y="1055"/>
                  </a:lnTo>
                  <a:lnTo>
                    <a:pt x="1789" y="1057"/>
                  </a:lnTo>
                  <a:lnTo>
                    <a:pt x="1789" y="1059"/>
                  </a:lnTo>
                  <a:lnTo>
                    <a:pt x="1789" y="1061"/>
                  </a:lnTo>
                  <a:lnTo>
                    <a:pt x="1789" y="1063"/>
                  </a:lnTo>
                  <a:lnTo>
                    <a:pt x="1789" y="1065"/>
                  </a:lnTo>
                  <a:lnTo>
                    <a:pt x="1789" y="1067"/>
                  </a:lnTo>
                  <a:lnTo>
                    <a:pt x="1789" y="1069"/>
                  </a:lnTo>
                  <a:lnTo>
                    <a:pt x="1791" y="1069"/>
                  </a:lnTo>
                  <a:lnTo>
                    <a:pt x="1793" y="1069"/>
                  </a:lnTo>
                  <a:lnTo>
                    <a:pt x="1795" y="1069"/>
                  </a:lnTo>
                  <a:lnTo>
                    <a:pt x="1797" y="1069"/>
                  </a:lnTo>
                  <a:lnTo>
                    <a:pt x="1797" y="1069"/>
                  </a:lnTo>
                  <a:lnTo>
                    <a:pt x="1800" y="1069"/>
                  </a:lnTo>
                  <a:lnTo>
                    <a:pt x="1797" y="1069"/>
                  </a:lnTo>
                  <a:lnTo>
                    <a:pt x="1795" y="1069"/>
                  </a:lnTo>
                  <a:lnTo>
                    <a:pt x="1793" y="1069"/>
                  </a:lnTo>
                  <a:lnTo>
                    <a:pt x="1791" y="1069"/>
                  </a:lnTo>
                  <a:lnTo>
                    <a:pt x="1789" y="1071"/>
                  </a:lnTo>
                  <a:lnTo>
                    <a:pt x="1791" y="1071"/>
                  </a:lnTo>
                  <a:lnTo>
                    <a:pt x="1793" y="1071"/>
                  </a:lnTo>
                  <a:lnTo>
                    <a:pt x="1791" y="1073"/>
                  </a:lnTo>
                  <a:lnTo>
                    <a:pt x="1791" y="1071"/>
                  </a:lnTo>
                  <a:lnTo>
                    <a:pt x="1791" y="1073"/>
                  </a:lnTo>
                  <a:lnTo>
                    <a:pt x="1791" y="1075"/>
                  </a:lnTo>
                  <a:lnTo>
                    <a:pt x="1793" y="1073"/>
                  </a:lnTo>
                  <a:lnTo>
                    <a:pt x="1793" y="1073"/>
                  </a:lnTo>
                  <a:lnTo>
                    <a:pt x="1795" y="1071"/>
                  </a:lnTo>
                  <a:lnTo>
                    <a:pt x="1797" y="1071"/>
                  </a:lnTo>
                  <a:lnTo>
                    <a:pt x="1800" y="1071"/>
                  </a:lnTo>
                  <a:lnTo>
                    <a:pt x="1797" y="1071"/>
                  </a:lnTo>
                  <a:lnTo>
                    <a:pt x="1797" y="1071"/>
                  </a:lnTo>
                  <a:lnTo>
                    <a:pt x="1795" y="1073"/>
                  </a:lnTo>
                  <a:lnTo>
                    <a:pt x="1793" y="1073"/>
                  </a:lnTo>
                  <a:lnTo>
                    <a:pt x="1791" y="1075"/>
                  </a:lnTo>
                  <a:lnTo>
                    <a:pt x="1791" y="1075"/>
                  </a:lnTo>
                  <a:lnTo>
                    <a:pt x="1791" y="1077"/>
                  </a:lnTo>
                  <a:lnTo>
                    <a:pt x="1791" y="1079"/>
                  </a:lnTo>
                  <a:lnTo>
                    <a:pt x="1791" y="1081"/>
                  </a:lnTo>
                  <a:lnTo>
                    <a:pt x="1791" y="1083"/>
                  </a:lnTo>
                  <a:lnTo>
                    <a:pt x="1793" y="1085"/>
                  </a:lnTo>
                  <a:lnTo>
                    <a:pt x="1793" y="1087"/>
                  </a:lnTo>
                  <a:lnTo>
                    <a:pt x="1793" y="1089"/>
                  </a:lnTo>
                  <a:lnTo>
                    <a:pt x="1795" y="1089"/>
                  </a:lnTo>
                  <a:lnTo>
                    <a:pt x="1795" y="1091"/>
                  </a:lnTo>
                  <a:lnTo>
                    <a:pt x="1795" y="1093"/>
                  </a:lnTo>
                  <a:lnTo>
                    <a:pt x="1797" y="1095"/>
                  </a:lnTo>
                  <a:lnTo>
                    <a:pt x="1797" y="1097"/>
                  </a:lnTo>
                  <a:lnTo>
                    <a:pt x="1797" y="1099"/>
                  </a:lnTo>
                  <a:lnTo>
                    <a:pt x="1800" y="1101"/>
                  </a:lnTo>
                  <a:lnTo>
                    <a:pt x="1800" y="1101"/>
                  </a:lnTo>
                  <a:lnTo>
                    <a:pt x="1802" y="1103"/>
                  </a:lnTo>
                  <a:lnTo>
                    <a:pt x="1802" y="1105"/>
                  </a:lnTo>
                  <a:lnTo>
                    <a:pt x="1804" y="1107"/>
                  </a:lnTo>
                  <a:lnTo>
                    <a:pt x="1804" y="1109"/>
                  </a:lnTo>
                  <a:lnTo>
                    <a:pt x="1804" y="1111"/>
                  </a:lnTo>
                  <a:lnTo>
                    <a:pt x="1804" y="1113"/>
                  </a:lnTo>
                  <a:lnTo>
                    <a:pt x="1804" y="1113"/>
                  </a:lnTo>
                  <a:lnTo>
                    <a:pt x="1804" y="1115"/>
                  </a:lnTo>
                  <a:lnTo>
                    <a:pt x="1804" y="1117"/>
                  </a:lnTo>
                  <a:lnTo>
                    <a:pt x="1804" y="1119"/>
                  </a:lnTo>
                  <a:lnTo>
                    <a:pt x="1804" y="1121"/>
                  </a:lnTo>
                  <a:lnTo>
                    <a:pt x="1804" y="1123"/>
                  </a:lnTo>
                  <a:lnTo>
                    <a:pt x="1804" y="1125"/>
                  </a:lnTo>
                  <a:lnTo>
                    <a:pt x="1804" y="1127"/>
                  </a:lnTo>
                  <a:lnTo>
                    <a:pt x="1806" y="1129"/>
                  </a:lnTo>
                  <a:lnTo>
                    <a:pt x="1806" y="1131"/>
                  </a:lnTo>
                  <a:lnTo>
                    <a:pt x="1808" y="1131"/>
                  </a:lnTo>
                  <a:lnTo>
                    <a:pt x="1808" y="1133"/>
                  </a:lnTo>
                  <a:lnTo>
                    <a:pt x="1808" y="1135"/>
                  </a:lnTo>
                  <a:lnTo>
                    <a:pt x="1810" y="1137"/>
                  </a:lnTo>
                  <a:lnTo>
                    <a:pt x="1810" y="1139"/>
                  </a:lnTo>
                  <a:lnTo>
                    <a:pt x="1810" y="1141"/>
                  </a:lnTo>
                  <a:lnTo>
                    <a:pt x="1813" y="1143"/>
                  </a:lnTo>
                  <a:lnTo>
                    <a:pt x="1813" y="1143"/>
                  </a:lnTo>
                  <a:lnTo>
                    <a:pt x="1813" y="1145"/>
                  </a:lnTo>
                  <a:lnTo>
                    <a:pt x="1815" y="1147"/>
                  </a:lnTo>
                  <a:lnTo>
                    <a:pt x="1815" y="1149"/>
                  </a:lnTo>
                  <a:lnTo>
                    <a:pt x="1815" y="1151"/>
                  </a:lnTo>
                  <a:lnTo>
                    <a:pt x="1815" y="1153"/>
                  </a:lnTo>
                  <a:lnTo>
                    <a:pt x="1815" y="1155"/>
                  </a:lnTo>
                  <a:lnTo>
                    <a:pt x="1815" y="1157"/>
                  </a:lnTo>
                  <a:lnTo>
                    <a:pt x="1817" y="1159"/>
                  </a:lnTo>
                  <a:lnTo>
                    <a:pt x="1817" y="1161"/>
                  </a:lnTo>
                  <a:lnTo>
                    <a:pt x="1817" y="1163"/>
                  </a:lnTo>
                  <a:lnTo>
                    <a:pt x="1819" y="1163"/>
                  </a:lnTo>
                  <a:lnTo>
                    <a:pt x="1819" y="1165"/>
                  </a:lnTo>
                  <a:lnTo>
                    <a:pt x="1819" y="1167"/>
                  </a:lnTo>
                  <a:lnTo>
                    <a:pt x="1819" y="1169"/>
                  </a:lnTo>
                  <a:lnTo>
                    <a:pt x="1821" y="1169"/>
                  </a:lnTo>
                  <a:lnTo>
                    <a:pt x="1821" y="1171"/>
                  </a:lnTo>
                  <a:lnTo>
                    <a:pt x="1821" y="1173"/>
                  </a:lnTo>
                  <a:lnTo>
                    <a:pt x="1823" y="1175"/>
                  </a:lnTo>
                  <a:lnTo>
                    <a:pt x="1823" y="1177"/>
                  </a:lnTo>
                  <a:lnTo>
                    <a:pt x="1825" y="1179"/>
                  </a:lnTo>
                  <a:lnTo>
                    <a:pt x="1825" y="1179"/>
                  </a:lnTo>
                  <a:lnTo>
                    <a:pt x="1828" y="1181"/>
                  </a:lnTo>
                  <a:lnTo>
                    <a:pt x="1828" y="1183"/>
                  </a:lnTo>
                  <a:lnTo>
                    <a:pt x="1830" y="1185"/>
                  </a:lnTo>
                  <a:lnTo>
                    <a:pt x="1830" y="1187"/>
                  </a:lnTo>
                  <a:lnTo>
                    <a:pt x="1832" y="1187"/>
                  </a:lnTo>
                  <a:lnTo>
                    <a:pt x="1832" y="1189"/>
                  </a:lnTo>
                  <a:lnTo>
                    <a:pt x="1834" y="1189"/>
                  </a:lnTo>
                  <a:lnTo>
                    <a:pt x="1834" y="1189"/>
                  </a:lnTo>
                  <a:lnTo>
                    <a:pt x="1834" y="1191"/>
                  </a:lnTo>
                  <a:lnTo>
                    <a:pt x="1836" y="1193"/>
                  </a:lnTo>
                  <a:lnTo>
                    <a:pt x="1838" y="1195"/>
                  </a:lnTo>
                  <a:lnTo>
                    <a:pt x="1838" y="1195"/>
                  </a:lnTo>
                  <a:lnTo>
                    <a:pt x="1840" y="1197"/>
                  </a:lnTo>
                  <a:lnTo>
                    <a:pt x="1840" y="1199"/>
                  </a:lnTo>
                  <a:lnTo>
                    <a:pt x="1843" y="1199"/>
                  </a:lnTo>
                  <a:lnTo>
                    <a:pt x="1845" y="1201"/>
                  </a:lnTo>
                  <a:lnTo>
                    <a:pt x="1845" y="1203"/>
                  </a:lnTo>
                  <a:lnTo>
                    <a:pt x="1847" y="1203"/>
                  </a:lnTo>
                  <a:lnTo>
                    <a:pt x="1849" y="1205"/>
                  </a:lnTo>
                  <a:lnTo>
                    <a:pt x="1849" y="1207"/>
                  </a:lnTo>
                  <a:lnTo>
                    <a:pt x="1851" y="1207"/>
                  </a:lnTo>
                  <a:lnTo>
                    <a:pt x="1851" y="1209"/>
                  </a:lnTo>
                  <a:lnTo>
                    <a:pt x="1853" y="1211"/>
                  </a:lnTo>
                  <a:lnTo>
                    <a:pt x="1855" y="1213"/>
                  </a:lnTo>
                  <a:lnTo>
                    <a:pt x="1855" y="1213"/>
                  </a:lnTo>
                  <a:lnTo>
                    <a:pt x="1858" y="1215"/>
                  </a:lnTo>
                  <a:lnTo>
                    <a:pt x="1860" y="1217"/>
                  </a:lnTo>
                  <a:lnTo>
                    <a:pt x="1860" y="1217"/>
                  </a:lnTo>
                  <a:lnTo>
                    <a:pt x="1862" y="1219"/>
                  </a:lnTo>
                  <a:lnTo>
                    <a:pt x="1862" y="1221"/>
                  </a:lnTo>
                  <a:lnTo>
                    <a:pt x="1864" y="1221"/>
                  </a:lnTo>
                  <a:lnTo>
                    <a:pt x="1866" y="1223"/>
                  </a:lnTo>
                  <a:lnTo>
                    <a:pt x="1866" y="1224"/>
                  </a:lnTo>
                  <a:lnTo>
                    <a:pt x="1868" y="1224"/>
                  </a:lnTo>
                  <a:lnTo>
                    <a:pt x="1868" y="1226"/>
                  </a:lnTo>
                  <a:lnTo>
                    <a:pt x="1870" y="1228"/>
                  </a:lnTo>
                  <a:lnTo>
                    <a:pt x="1873" y="1228"/>
                  </a:lnTo>
                  <a:lnTo>
                    <a:pt x="1873" y="1230"/>
                  </a:lnTo>
                  <a:lnTo>
                    <a:pt x="1875" y="1232"/>
                  </a:lnTo>
                  <a:lnTo>
                    <a:pt x="1877" y="1232"/>
                  </a:lnTo>
                  <a:lnTo>
                    <a:pt x="1877" y="1234"/>
                  </a:lnTo>
                  <a:lnTo>
                    <a:pt x="1879" y="1236"/>
                  </a:lnTo>
                  <a:lnTo>
                    <a:pt x="1881" y="1236"/>
                  </a:lnTo>
                  <a:lnTo>
                    <a:pt x="1881" y="1238"/>
                  </a:lnTo>
                  <a:lnTo>
                    <a:pt x="1883" y="1238"/>
                  </a:lnTo>
                  <a:lnTo>
                    <a:pt x="1886" y="1240"/>
                  </a:lnTo>
                  <a:lnTo>
                    <a:pt x="1888" y="1240"/>
                  </a:lnTo>
                  <a:lnTo>
                    <a:pt x="1890" y="1240"/>
                  </a:lnTo>
                  <a:lnTo>
                    <a:pt x="1890" y="1238"/>
                  </a:lnTo>
                  <a:lnTo>
                    <a:pt x="1890" y="1238"/>
                  </a:lnTo>
                  <a:lnTo>
                    <a:pt x="1892" y="1240"/>
                  </a:lnTo>
                  <a:lnTo>
                    <a:pt x="1892" y="1242"/>
                  </a:lnTo>
                  <a:lnTo>
                    <a:pt x="1894" y="1244"/>
                  </a:lnTo>
                  <a:lnTo>
                    <a:pt x="1894" y="1244"/>
                  </a:lnTo>
                  <a:lnTo>
                    <a:pt x="1896" y="1246"/>
                  </a:lnTo>
                  <a:lnTo>
                    <a:pt x="1898" y="1248"/>
                  </a:lnTo>
                  <a:lnTo>
                    <a:pt x="1898" y="1250"/>
                  </a:lnTo>
                  <a:lnTo>
                    <a:pt x="1901" y="1250"/>
                  </a:lnTo>
                  <a:lnTo>
                    <a:pt x="1901" y="1252"/>
                  </a:lnTo>
                  <a:lnTo>
                    <a:pt x="1903" y="1254"/>
                  </a:lnTo>
                  <a:lnTo>
                    <a:pt x="1905" y="1254"/>
                  </a:lnTo>
                  <a:lnTo>
                    <a:pt x="1905" y="1256"/>
                  </a:lnTo>
                  <a:lnTo>
                    <a:pt x="1907" y="1258"/>
                  </a:lnTo>
                  <a:lnTo>
                    <a:pt x="1909" y="1258"/>
                  </a:lnTo>
                  <a:lnTo>
                    <a:pt x="1909" y="1260"/>
                  </a:lnTo>
                  <a:lnTo>
                    <a:pt x="1911" y="1262"/>
                  </a:lnTo>
                  <a:lnTo>
                    <a:pt x="1913" y="1264"/>
                  </a:lnTo>
                  <a:lnTo>
                    <a:pt x="1916" y="1264"/>
                  </a:lnTo>
                  <a:lnTo>
                    <a:pt x="1918" y="1266"/>
                  </a:lnTo>
                  <a:lnTo>
                    <a:pt x="1918" y="1266"/>
                  </a:lnTo>
                  <a:lnTo>
                    <a:pt x="1920" y="1268"/>
                  </a:lnTo>
                  <a:lnTo>
                    <a:pt x="1920" y="1270"/>
                  </a:lnTo>
                  <a:lnTo>
                    <a:pt x="1922" y="1270"/>
                  </a:lnTo>
                  <a:lnTo>
                    <a:pt x="1924" y="1272"/>
                  </a:lnTo>
                  <a:lnTo>
                    <a:pt x="1926" y="1272"/>
                  </a:lnTo>
                  <a:lnTo>
                    <a:pt x="1926" y="1274"/>
                  </a:lnTo>
                  <a:lnTo>
                    <a:pt x="1928" y="1274"/>
                  </a:lnTo>
                  <a:lnTo>
                    <a:pt x="1931" y="1276"/>
                  </a:lnTo>
                  <a:lnTo>
                    <a:pt x="1933" y="1276"/>
                  </a:lnTo>
                  <a:lnTo>
                    <a:pt x="1933" y="1278"/>
                  </a:lnTo>
                  <a:lnTo>
                    <a:pt x="1935" y="1278"/>
                  </a:lnTo>
                  <a:lnTo>
                    <a:pt x="1937" y="1280"/>
                  </a:lnTo>
                  <a:lnTo>
                    <a:pt x="1939" y="1280"/>
                  </a:lnTo>
                  <a:lnTo>
                    <a:pt x="1941" y="1280"/>
                  </a:lnTo>
                  <a:lnTo>
                    <a:pt x="1941" y="1282"/>
                  </a:lnTo>
                  <a:lnTo>
                    <a:pt x="1944" y="1282"/>
                  </a:lnTo>
                  <a:lnTo>
                    <a:pt x="1946" y="1282"/>
                  </a:lnTo>
                  <a:lnTo>
                    <a:pt x="1950" y="1282"/>
                  </a:lnTo>
                  <a:lnTo>
                    <a:pt x="1950" y="1282"/>
                  </a:lnTo>
                  <a:lnTo>
                    <a:pt x="1952" y="1282"/>
                  </a:lnTo>
                  <a:lnTo>
                    <a:pt x="1954" y="1282"/>
                  </a:lnTo>
                  <a:lnTo>
                    <a:pt x="1956" y="1282"/>
                  </a:lnTo>
                  <a:lnTo>
                    <a:pt x="1959" y="1282"/>
                  </a:lnTo>
                  <a:lnTo>
                    <a:pt x="1959" y="1282"/>
                  </a:lnTo>
                  <a:lnTo>
                    <a:pt x="1961" y="1282"/>
                  </a:lnTo>
                  <a:lnTo>
                    <a:pt x="1963" y="1282"/>
                  </a:lnTo>
                  <a:lnTo>
                    <a:pt x="1965" y="1282"/>
                  </a:lnTo>
                  <a:lnTo>
                    <a:pt x="1967" y="1284"/>
                  </a:lnTo>
                  <a:lnTo>
                    <a:pt x="1969" y="1284"/>
                  </a:lnTo>
                  <a:lnTo>
                    <a:pt x="1971" y="1286"/>
                  </a:lnTo>
                  <a:lnTo>
                    <a:pt x="1971" y="1286"/>
                  </a:lnTo>
                  <a:lnTo>
                    <a:pt x="1974" y="1288"/>
                  </a:lnTo>
                  <a:lnTo>
                    <a:pt x="1976" y="1288"/>
                  </a:lnTo>
                  <a:lnTo>
                    <a:pt x="1978" y="1288"/>
                  </a:lnTo>
                  <a:lnTo>
                    <a:pt x="1980" y="1290"/>
                  </a:lnTo>
                  <a:lnTo>
                    <a:pt x="1980" y="1290"/>
                  </a:lnTo>
                  <a:lnTo>
                    <a:pt x="1982" y="1292"/>
                  </a:lnTo>
                  <a:lnTo>
                    <a:pt x="1984" y="1292"/>
                  </a:lnTo>
                  <a:lnTo>
                    <a:pt x="1986" y="1294"/>
                  </a:lnTo>
                  <a:lnTo>
                    <a:pt x="1989" y="1294"/>
                  </a:lnTo>
                  <a:lnTo>
                    <a:pt x="1989" y="1294"/>
                  </a:lnTo>
                  <a:lnTo>
                    <a:pt x="1991" y="1296"/>
                  </a:lnTo>
                  <a:lnTo>
                    <a:pt x="1993" y="1296"/>
                  </a:lnTo>
                  <a:lnTo>
                    <a:pt x="1995" y="1298"/>
                  </a:lnTo>
                  <a:lnTo>
                    <a:pt x="1997" y="1298"/>
                  </a:lnTo>
                  <a:lnTo>
                    <a:pt x="1999" y="1298"/>
                  </a:lnTo>
                  <a:lnTo>
                    <a:pt x="1999" y="1300"/>
                  </a:lnTo>
                  <a:lnTo>
                    <a:pt x="1999" y="1300"/>
                  </a:lnTo>
                  <a:lnTo>
                    <a:pt x="1999" y="1298"/>
                  </a:lnTo>
                  <a:lnTo>
                    <a:pt x="1999" y="1298"/>
                  </a:lnTo>
                  <a:lnTo>
                    <a:pt x="1999" y="1298"/>
                  </a:lnTo>
                  <a:lnTo>
                    <a:pt x="1999" y="1300"/>
                  </a:lnTo>
                  <a:lnTo>
                    <a:pt x="1999" y="1300"/>
                  </a:lnTo>
                  <a:lnTo>
                    <a:pt x="1999" y="1298"/>
                  </a:lnTo>
                  <a:lnTo>
                    <a:pt x="1999" y="1298"/>
                  </a:lnTo>
                  <a:lnTo>
                    <a:pt x="2001" y="1300"/>
                  </a:lnTo>
                  <a:lnTo>
                    <a:pt x="2004" y="1300"/>
                  </a:lnTo>
                  <a:lnTo>
                    <a:pt x="2004" y="1302"/>
                  </a:lnTo>
                  <a:lnTo>
                    <a:pt x="2006" y="1304"/>
                  </a:lnTo>
                  <a:lnTo>
                    <a:pt x="2008" y="1304"/>
                  </a:lnTo>
                  <a:lnTo>
                    <a:pt x="2008" y="1306"/>
                  </a:lnTo>
                  <a:lnTo>
                    <a:pt x="2010" y="1308"/>
                  </a:lnTo>
                  <a:lnTo>
                    <a:pt x="2012" y="1308"/>
                  </a:lnTo>
                  <a:lnTo>
                    <a:pt x="2012" y="1310"/>
                  </a:lnTo>
                  <a:lnTo>
                    <a:pt x="2014" y="1312"/>
                  </a:lnTo>
                  <a:lnTo>
                    <a:pt x="2017" y="1312"/>
                  </a:lnTo>
                  <a:lnTo>
                    <a:pt x="2017" y="1314"/>
                  </a:lnTo>
                  <a:lnTo>
                    <a:pt x="2019" y="1314"/>
                  </a:lnTo>
                  <a:lnTo>
                    <a:pt x="2021" y="1316"/>
                  </a:lnTo>
                  <a:lnTo>
                    <a:pt x="2023" y="1318"/>
                  </a:lnTo>
                  <a:lnTo>
                    <a:pt x="2023" y="1318"/>
                  </a:lnTo>
                  <a:lnTo>
                    <a:pt x="2025" y="1320"/>
                  </a:lnTo>
                  <a:lnTo>
                    <a:pt x="2027" y="1320"/>
                  </a:lnTo>
                  <a:lnTo>
                    <a:pt x="2027" y="1322"/>
                  </a:lnTo>
                  <a:lnTo>
                    <a:pt x="2029" y="1324"/>
                  </a:lnTo>
                  <a:lnTo>
                    <a:pt x="2032" y="1324"/>
                  </a:lnTo>
                  <a:lnTo>
                    <a:pt x="2034" y="1326"/>
                  </a:lnTo>
                  <a:lnTo>
                    <a:pt x="2034" y="1326"/>
                  </a:lnTo>
                  <a:lnTo>
                    <a:pt x="2036" y="1326"/>
                  </a:lnTo>
                  <a:lnTo>
                    <a:pt x="2036" y="1326"/>
                  </a:lnTo>
                  <a:lnTo>
                    <a:pt x="2036" y="1326"/>
                  </a:lnTo>
                  <a:lnTo>
                    <a:pt x="2038" y="1326"/>
                  </a:lnTo>
                  <a:lnTo>
                    <a:pt x="2038" y="1326"/>
                  </a:lnTo>
                  <a:lnTo>
                    <a:pt x="2040" y="1328"/>
                  </a:lnTo>
                  <a:lnTo>
                    <a:pt x="2042" y="1330"/>
                  </a:lnTo>
                  <a:lnTo>
                    <a:pt x="2042" y="1330"/>
                  </a:lnTo>
                  <a:lnTo>
                    <a:pt x="2044" y="1332"/>
                  </a:lnTo>
                  <a:lnTo>
                    <a:pt x="2047" y="1332"/>
                  </a:lnTo>
                  <a:lnTo>
                    <a:pt x="2049" y="1334"/>
                  </a:lnTo>
                  <a:lnTo>
                    <a:pt x="2051" y="1334"/>
                  </a:lnTo>
                  <a:lnTo>
                    <a:pt x="2051" y="1336"/>
                  </a:lnTo>
                  <a:lnTo>
                    <a:pt x="2053" y="1336"/>
                  </a:lnTo>
                  <a:lnTo>
                    <a:pt x="2055" y="1338"/>
                  </a:lnTo>
                  <a:lnTo>
                    <a:pt x="2055" y="1340"/>
                  </a:lnTo>
                  <a:lnTo>
                    <a:pt x="2057" y="1340"/>
                  </a:lnTo>
                  <a:lnTo>
                    <a:pt x="2059" y="1342"/>
                  </a:lnTo>
                  <a:lnTo>
                    <a:pt x="2059" y="1344"/>
                  </a:lnTo>
                  <a:lnTo>
                    <a:pt x="2062" y="1344"/>
                  </a:lnTo>
                  <a:lnTo>
                    <a:pt x="2064" y="1346"/>
                  </a:lnTo>
                  <a:lnTo>
                    <a:pt x="2064" y="1346"/>
                  </a:lnTo>
                  <a:lnTo>
                    <a:pt x="2066" y="1348"/>
                  </a:lnTo>
                  <a:lnTo>
                    <a:pt x="2068" y="1350"/>
                  </a:lnTo>
                  <a:lnTo>
                    <a:pt x="2068" y="1350"/>
                  </a:lnTo>
                  <a:lnTo>
                    <a:pt x="2070" y="1352"/>
                  </a:lnTo>
                  <a:lnTo>
                    <a:pt x="2072" y="1354"/>
                  </a:lnTo>
                  <a:lnTo>
                    <a:pt x="2072" y="1354"/>
                  </a:lnTo>
                  <a:lnTo>
                    <a:pt x="2075" y="1356"/>
                  </a:lnTo>
                  <a:lnTo>
                    <a:pt x="2077" y="1356"/>
                  </a:lnTo>
                  <a:lnTo>
                    <a:pt x="2079" y="1358"/>
                  </a:lnTo>
                  <a:lnTo>
                    <a:pt x="2079" y="1360"/>
                  </a:lnTo>
                  <a:lnTo>
                    <a:pt x="2081" y="1360"/>
                  </a:lnTo>
                  <a:lnTo>
                    <a:pt x="2083" y="1362"/>
                  </a:lnTo>
                  <a:lnTo>
                    <a:pt x="2085" y="1362"/>
                  </a:lnTo>
                  <a:lnTo>
                    <a:pt x="2085" y="1364"/>
                  </a:lnTo>
                  <a:lnTo>
                    <a:pt x="2087" y="1364"/>
                  </a:lnTo>
                  <a:lnTo>
                    <a:pt x="2090" y="1366"/>
                  </a:lnTo>
                  <a:lnTo>
                    <a:pt x="2090" y="1366"/>
                  </a:lnTo>
                  <a:lnTo>
                    <a:pt x="2092" y="1368"/>
                  </a:lnTo>
                  <a:lnTo>
                    <a:pt x="2094" y="1368"/>
                  </a:lnTo>
                  <a:lnTo>
                    <a:pt x="2094" y="1370"/>
                  </a:lnTo>
                  <a:lnTo>
                    <a:pt x="2096" y="1372"/>
                  </a:lnTo>
                  <a:lnTo>
                    <a:pt x="2098" y="1372"/>
                  </a:lnTo>
                  <a:lnTo>
                    <a:pt x="2100" y="1374"/>
                  </a:lnTo>
                  <a:lnTo>
                    <a:pt x="2100" y="1374"/>
                  </a:lnTo>
                  <a:lnTo>
                    <a:pt x="2102" y="1376"/>
                  </a:lnTo>
                  <a:lnTo>
                    <a:pt x="2105" y="1378"/>
                  </a:lnTo>
                  <a:lnTo>
                    <a:pt x="2105" y="1378"/>
                  </a:lnTo>
                  <a:lnTo>
                    <a:pt x="2107" y="1378"/>
                  </a:lnTo>
                  <a:lnTo>
                    <a:pt x="2107" y="1380"/>
                  </a:lnTo>
                  <a:lnTo>
                    <a:pt x="2109" y="1380"/>
                  </a:lnTo>
                  <a:lnTo>
                    <a:pt x="2111" y="1382"/>
                  </a:lnTo>
                  <a:lnTo>
                    <a:pt x="2111" y="1382"/>
                  </a:lnTo>
                  <a:lnTo>
                    <a:pt x="2113" y="1384"/>
                  </a:lnTo>
                  <a:lnTo>
                    <a:pt x="2115" y="1386"/>
                  </a:lnTo>
                  <a:lnTo>
                    <a:pt x="2117" y="1386"/>
                  </a:lnTo>
                  <a:lnTo>
                    <a:pt x="2117" y="1388"/>
                  </a:lnTo>
                  <a:lnTo>
                    <a:pt x="2120" y="1388"/>
                  </a:lnTo>
                  <a:lnTo>
                    <a:pt x="2122" y="1390"/>
                  </a:lnTo>
                  <a:lnTo>
                    <a:pt x="2124" y="1390"/>
                  </a:lnTo>
                  <a:lnTo>
                    <a:pt x="2124" y="1392"/>
                  </a:lnTo>
                  <a:lnTo>
                    <a:pt x="2126" y="1392"/>
                  </a:lnTo>
                  <a:lnTo>
                    <a:pt x="2128" y="1394"/>
                  </a:lnTo>
                  <a:lnTo>
                    <a:pt x="2130" y="1394"/>
                  </a:lnTo>
                  <a:lnTo>
                    <a:pt x="2130" y="1396"/>
                  </a:lnTo>
                  <a:lnTo>
                    <a:pt x="2132" y="1396"/>
                  </a:lnTo>
                  <a:lnTo>
                    <a:pt x="2135" y="1398"/>
                  </a:lnTo>
                  <a:lnTo>
                    <a:pt x="2137" y="1398"/>
                  </a:lnTo>
                  <a:lnTo>
                    <a:pt x="2139" y="1400"/>
                  </a:lnTo>
                  <a:lnTo>
                    <a:pt x="2141" y="1400"/>
                  </a:lnTo>
                  <a:lnTo>
                    <a:pt x="2141" y="1400"/>
                  </a:lnTo>
                  <a:lnTo>
                    <a:pt x="2143" y="1402"/>
                  </a:lnTo>
                  <a:lnTo>
                    <a:pt x="2145" y="1402"/>
                  </a:lnTo>
                  <a:lnTo>
                    <a:pt x="2148" y="1404"/>
                  </a:lnTo>
                  <a:lnTo>
                    <a:pt x="2150" y="1404"/>
                  </a:lnTo>
                  <a:lnTo>
                    <a:pt x="2152" y="1404"/>
                  </a:lnTo>
                  <a:lnTo>
                    <a:pt x="2154" y="1406"/>
                  </a:lnTo>
                  <a:lnTo>
                    <a:pt x="2154" y="1406"/>
                  </a:lnTo>
                  <a:lnTo>
                    <a:pt x="2156" y="1406"/>
                  </a:lnTo>
                  <a:lnTo>
                    <a:pt x="2158" y="1408"/>
                  </a:lnTo>
                  <a:lnTo>
                    <a:pt x="2160" y="1408"/>
                  </a:lnTo>
                  <a:lnTo>
                    <a:pt x="2163" y="1410"/>
                  </a:lnTo>
                  <a:lnTo>
                    <a:pt x="2163" y="1410"/>
                  </a:lnTo>
                  <a:lnTo>
                    <a:pt x="2165" y="1412"/>
                  </a:lnTo>
                  <a:lnTo>
                    <a:pt x="2167" y="1412"/>
                  </a:lnTo>
                  <a:lnTo>
                    <a:pt x="2169" y="1414"/>
                  </a:lnTo>
                  <a:lnTo>
                    <a:pt x="2169" y="1414"/>
                  </a:lnTo>
                  <a:lnTo>
                    <a:pt x="2171" y="1416"/>
                  </a:lnTo>
                  <a:lnTo>
                    <a:pt x="2173" y="1416"/>
                  </a:lnTo>
                  <a:lnTo>
                    <a:pt x="2175" y="1416"/>
                  </a:lnTo>
                  <a:lnTo>
                    <a:pt x="2178" y="1418"/>
                  </a:lnTo>
                  <a:lnTo>
                    <a:pt x="2180" y="1418"/>
                  </a:lnTo>
                  <a:lnTo>
                    <a:pt x="2182" y="1418"/>
                  </a:lnTo>
                  <a:lnTo>
                    <a:pt x="2184" y="1420"/>
                  </a:lnTo>
                  <a:lnTo>
                    <a:pt x="2184" y="1420"/>
                  </a:lnTo>
                  <a:lnTo>
                    <a:pt x="2186" y="1420"/>
                  </a:lnTo>
                  <a:lnTo>
                    <a:pt x="2188" y="1420"/>
                  </a:lnTo>
                  <a:lnTo>
                    <a:pt x="2190" y="1420"/>
                  </a:lnTo>
                  <a:lnTo>
                    <a:pt x="2193" y="1420"/>
                  </a:lnTo>
                  <a:lnTo>
                    <a:pt x="2195" y="1420"/>
                  </a:lnTo>
                  <a:lnTo>
                    <a:pt x="2197" y="1418"/>
                  </a:lnTo>
                  <a:lnTo>
                    <a:pt x="2197" y="1416"/>
                  </a:lnTo>
                  <a:lnTo>
                    <a:pt x="2197" y="1414"/>
                  </a:lnTo>
                  <a:lnTo>
                    <a:pt x="2197" y="1414"/>
                  </a:lnTo>
                  <a:lnTo>
                    <a:pt x="2199" y="1416"/>
                  </a:lnTo>
                  <a:lnTo>
                    <a:pt x="2199" y="1418"/>
                  </a:lnTo>
                  <a:lnTo>
                    <a:pt x="2199" y="1416"/>
                  </a:lnTo>
                  <a:lnTo>
                    <a:pt x="2201" y="1416"/>
                  </a:lnTo>
                  <a:lnTo>
                    <a:pt x="2201" y="1414"/>
                  </a:lnTo>
                  <a:lnTo>
                    <a:pt x="2201" y="1414"/>
                  </a:lnTo>
                  <a:lnTo>
                    <a:pt x="2199" y="1412"/>
                  </a:lnTo>
                  <a:lnTo>
                    <a:pt x="2199" y="1412"/>
                  </a:lnTo>
                  <a:lnTo>
                    <a:pt x="2197" y="1412"/>
                  </a:lnTo>
                  <a:lnTo>
                    <a:pt x="2199" y="1412"/>
                  </a:lnTo>
                  <a:lnTo>
                    <a:pt x="2199" y="1412"/>
                  </a:lnTo>
                  <a:lnTo>
                    <a:pt x="2201" y="1410"/>
                  </a:lnTo>
                  <a:lnTo>
                    <a:pt x="2201" y="1412"/>
                  </a:lnTo>
                  <a:lnTo>
                    <a:pt x="2203" y="1412"/>
                  </a:lnTo>
                  <a:lnTo>
                    <a:pt x="2206" y="1414"/>
                  </a:lnTo>
                  <a:lnTo>
                    <a:pt x="2208" y="1414"/>
                  </a:lnTo>
                  <a:lnTo>
                    <a:pt x="2210" y="1416"/>
                  </a:lnTo>
                  <a:lnTo>
                    <a:pt x="2210" y="1416"/>
                  </a:lnTo>
                  <a:lnTo>
                    <a:pt x="2210" y="1418"/>
                  </a:lnTo>
                  <a:lnTo>
                    <a:pt x="2212" y="1418"/>
                  </a:lnTo>
                  <a:lnTo>
                    <a:pt x="2214" y="1420"/>
                  </a:lnTo>
                  <a:lnTo>
                    <a:pt x="2216" y="1422"/>
                  </a:lnTo>
                  <a:lnTo>
                    <a:pt x="2216" y="1422"/>
                  </a:lnTo>
                  <a:lnTo>
                    <a:pt x="2218" y="1424"/>
                  </a:lnTo>
                  <a:lnTo>
                    <a:pt x="2218" y="1426"/>
                  </a:lnTo>
                  <a:lnTo>
                    <a:pt x="2221" y="1426"/>
                  </a:lnTo>
                  <a:lnTo>
                    <a:pt x="2221" y="1428"/>
                  </a:lnTo>
                  <a:lnTo>
                    <a:pt x="2221" y="1430"/>
                  </a:lnTo>
                  <a:lnTo>
                    <a:pt x="2221" y="1430"/>
                  </a:lnTo>
                  <a:lnTo>
                    <a:pt x="2221" y="1432"/>
                  </a:lnTo>
                  <a:lnTo>
                    <a:pt x="2223" y="1434"/>
                  </a:lnTo>
                  <a:lnTo>
                    <a:pt x="2223" y="1434"/>
                  </a:lnTo>
                  <a:lnTo>
                    <a:pt x="2225" y="1436"/>
                  </a:lnTo>
                  <a:lnTo>
                    <a:pt x="2227" y="1436"/>
                  </a:lnTo>
                  <a:lnTo>
                    <a:pt x="2229" y="1436"/>
                  </a:lnTo>
                  <a:lnTo>
                    <a:pt x="2231" y="1436"/>
                  </a:lnTo>
                  <a:lnTo>
                    <a:pt x="2231" y="1438"/>
                  </a:lnTo>
                  <a:lnTo>
                    <a:pt x="2233" y="1438"/>
                  </a:lnTo>
                  <a:lnTo>
                    <a:pt x="2236" y="1438"/>
                  </a:lnTo>
                  <a:lnTo>
                    <a:pt x="2238" y="1440"/>
                  </a:lnTo>
                  <a:lnTo>
                    <a:pt x="2238" y="1442"/>
                  </a:lnTo>
                  <a:lnTo>
                    <a:pt x="2240" y="1442"/>
                  </a:lnTo>
                  <a:lnTo>
                    <a:pt x="2242" y="1444"/>
                  </a:lnTo>
                  <a:lnTo>
                    <a:pt x="2240" y="1446"/>
                  </a:lnTo>
                  <a:lnTo>
                    <a:pt x="2240" y="1446"/>
                  </a:lnTo>
                  <a:lnTo>
                    <a:pt x="2240" y="1448"/>
                  </a:lnTo>
                  <a:lnTo>
                    <a:pt x="2240" y="1450"/>
                  </a:lnTo>
                  <a:lnTo>
                    <a:pt x="2240" y="1452"/>
                  </a:lnTo>
                  <a:lnTo>
                    <a:pt x="2240" y="1454"/>
                  </a:lnTo>
                  <a:lnTo>
                    <a:pt x="2240" y="1456"/>
                  </a:lnTo>
                  <a:lnTo>
                    <a:pt x="2240" y="1456"/>
                  </a:lnTo>
                  <a:lnTo>
                    <a:pt x="2240" y="1458"/>
                  </a:lnTo>
                  <a:lnTo>
                    <a:pt x="2240" y="1460"/>
                  </a:lnTo>
                  <a:lnTo>
                    <a:pt x="2240" y="1460"/>
                  </a:lnTo>
                  <a:lnTo>
                    <a:pt x="2242" y="1462"/>
                  </a:lnTo>
                  <a:lnTo>
                    <a:pt x="2242" y="1464"/>
                  </a:lnTo>
                  <a:lnTo>
                    <a:pt x="2242" y="1466"/>
                  </a:lnTo>
                  <a:lnTo>
                    <a:pt x="2244" y="1468"/>
                  </a:lnTo>
                  <a:lnTo>
                    <a:pt x="2244" y="1470"/>
                  </a:lnTo>
                  <a:lnTo>
                    <a:pt x="2246" y="1470"/>
                  </a:lnTo>
                  <a:lnTo>
                    <a:pt x="2248" y="1472"/>
                  </a:lnTo>
                  <a:lnTo>
                    <a:pt x="2248" y="1474"/>
                  </a:lnTo>
                  <a:lnTo>
                    <a:pt x="2248" y="1474"/>
                  </a:lnTo>
                  <a:lnTo>
                    <a:pt x="2248" y="1476"/>
                  </a:lnTo>
                  <a:lnTo>
                    <a:pt x="2251" y="1478"/>
                  </a:lnTo>
                  <a:lnTo>
                    <a:pt x="2251" y="1480"/>
                  </a:lnTo>
                  <a:lnTo>
                    <a:pt x="2253" y="1482"/>
                  </a:lnTo>
                  <a:lnTo>
                    <a:pt x="2253" y="1484"/>
                  </a:lnTo>
                  <a:lnTo>
                    <a:pt x="2253" y="1486"/>
                  </a:lnTo>
                  <a:lnTo>
                    <a:pt x="2255" y="1486"/>
                  </a:lnTo>
                  <a:lnTo>
                    <a:pt x="2255" y="1488"/>
                  </a:lnTo>
                  <a:lnTo>
                    <a:pt x="2257" y="1490"/>
                  </a:lnTo>
                  <a:lnTo>
                    <a:pt x="2257" y="1492"/>
                  </a:lnTo>
                  <a:lnTo>
                    <a:pt x="2259" y="1494"/>
                  </a:lnTo>
                  <a:lnTo>
                    <a:pt x="2259" y="1496"/>
                  </a:lnTo>
                  <a:lnTo>
                    <a:pt x="2259" y="1496"/>
                  </a:lnTo>
                  <a:lnTo>
                    <a:pt x="2259" y="1498"/>
                  </a:lnTo>
                  <a:lnTo>
                    <a:pt x="2261" y="1500"/>
                  </a:lnTo>
                  <a:lnTo>
                    <a:pt x="2261" y="1502"/>
                  </a:lnTo>
                  <a:lnTo>
                    <a:pt x="2261" y="1504"/>
                  </a:lnTo>
                  <a:lnTo>
                    <a:pt x="2263" y="1506"/>
                  </a:lnTo>
                  <a:lnTo>
                    <a:pt x="2263" y="1508"/>
                  </a:lnTo>
                  <a:lnTo>
                    <a:pt x="2263" y="1510"/>
                  </a:lnTo>
                  <a:lnTo>
                    <a:pt x="2266" y="1510"/>
                  </a:lnTo>
                  <a:lnTo>
                    <a:pt x="2266" y="1512"/>
                  </a:lnTo>
                  <a:lnTo>
                    <a:pt x="2266" y="1514"/>
                  </a:lnTo>
                  <a:lnTo>
                    <a:pt x="2268" y="1516"/>
                  </a:lnTo>
                  <a:lnTo>
                    <a:pt x="2268" y="1518"/>
                  </a:lnTo>
                  <a:lnTo>
                    <a:pt x="2268" y="1520"/>
                  </a:lnTo>
                  <a:lnTo>
                    <a:pt x="2270" y="1522"/>
                  </a:lnTo>
                  <a:lnTo>
                    <a:pt x="2270" y="1522"/>
                  </a:lnTo>
                  <a:lnTo>
                    <a:pt x="2270" y="1524"/>
                  </a:lnTo>
                  <a:lnTo>
                    <a:pt x="2270" y="1526"/>
                  </a:lnTo>
                  <a:lnTo>
                    <a:pt x="2270" y="1528"/>
                  </a:lnTo>
                  <a:lnTo>
                    <a:pt x="2270" y="1530"/>
                  </a:lnTo>
                  <a:lnTo>
                    <a:pt x="2274" y="1530"/>
                  </a:lnTo>
                  <a:lnTo>
                    <a:pt x="2274" y="1530"/>
                  </a:lnTo>
                  <a:lnTo>
                    <a:pt x="2274" y="1532"/>
                  </a:lnTo>
                  <a:lnTo>
                    <a:pt x="2276" y="1534"/>
                  </a:lnTo>
                  <a:lnTo>
                    <a:pt x="2276" y="1536"/>
                  </a:lnTo>
                  <a:lnTo>
                    <a:pt x="2279" y="1538"/>
                  </a:lnTo>
                  <a:lnTo>
                    <a:pt x="2281" y="1538"/>
                  </a:lnTo>
                  <a:lnTo>
                    <a:pt x="2281" y="1538"/>
                  </a:lnTo>
                  <a:lnTo>
                    <a:pt x="2281" y="1538"/>
                  </a:lnTo>
                  <a:lnTo>
                    <a:pt x="2281" y="1540"/>
                  </a:lnTo>
                  <a:lnTo>
                    <a:pt x="2283" y="1542"/>
                  </a:lnTo>
                  <a:lnTo>
                    <a:pt x="2283" y="1544"/>
                  </a:lnTo>
                  <a:lnTo>
                    <a:pt x="2285" y="1546"/>
                  </a:lnTo>
                  <a:lnTo>
                    <a:pt x="2285" y="1546"/>
                  </a:lnTo>
                  <a:lnTo>
                    <a:pt x="2287" y="1548"/>
                  </a:lnTo>
                  <a:lnTo>
                    <a:pt x="2287" y="1550"/>
                  </a:lnTo>
                  <a:lnTo>
                    <a:pt x="2287" y="1552"/>
                  </a:lnTo>
                  <a:lnTo>
                    <a:pt x="2289" y="1554"/>
                  </a:lnTo>
                  <a:lnTo>
                    <a:pt x="2289" y="1556"/>
                  </a:lnTo>
                  <a:lnTo>
                    <a:pt x="2289" y="1558"/>
                  </a:lnTo>
                  <a:lnTo>
                    <a:pt x="2291" y="1558"/>
                  </a:lnTo>
                  <a:lnTo>
                    <a:pt x="2291" y="1560"/>
                  </a:lnTo>
                  <a:lnTo>
                    <a:pt x="2294" y="1562"/>
                  </a:lnTo>
                  <a:lnTo>
                    <a:pt x="2294" y="1564"/>
                  </a:lnTo>
                  <a:lnTo>
                    <a:pt x="2296" y="1566"/>
                  </a:lnTo>
                  <a:lnTo>
                    <a:pt x="2296" y="1568"/>
                  </a:lnTo>
                  <a:lnTo>
                    <a:pt x="2298" y="1568"/>
                  </a:lnTo>
                  <a:lnTo>
                    <a:pt x="2298" y="1570"/>
                  </a:lnTo>
                  <a:lnTo>
                    <a:pt x="2298" y="1572"/>
                  </a:lnTo>
                  <a:lnTo>
                    <a:pt x="2300" y="1574"/>
                  </a:lnTo>
                  <a:lnTo>
                    <a:pt x="2300" y="1576"/>
                  </a:lnTo>
                  <a:lnTo>
                    <a:pt x="2300" y="1576"/>
                  </a:lnTo>
                  <a:lnTo>
                    <a:pt x="2300" y="1578"/>
                  </a:lnTo>
                  <a:lnTo>
                    <a:pt x="2302" y="1580"/>
                  </a:lnTo>
                  <a:lnTo>
                    <a:pt x="2302" y="1582"/>
                  </a:lnTo>
                  <a:lnTo>
                    <a:pt x="2302" y="1583"/>
                  </a:lnTo>
                  <a:lnTo>
                    <a:pt x="2304" y="1585"/>
                  </a:lnTo>
                  <a:lnTo>
                    <a:pt x="2304" y="1587"/>
                  </a:lnTo>
                  <a:lnTo>
                    <a:pt x="2304" y="1589"/>
                  </a:lnTo>
                  <a:lnTo>
                    <a:pt x="2306" y="1589"/>
                  </a:lnTo>
                  <a:lnTo>
                    <a:pt x="2306" y="1591"/>
                  </a:lnTo>
                  <a:lnTo>
                    <a:pt x="2306" y="1593"/>
                  </a:lnTo>
                  <a:lnTo>
                    <a:pt x="2309" y="1595"/>
                  </a:lnTo>
                  <a:lnTo>
                    <a:pt x="2309" y="1597"/>
                  </a:lnTo>
                  <a:lnTo>
                    <a:pt x="2311" y="1597"/>
                  </a:lnTo>
                  <a:lnTo>
                    <a:pt x="2311" y="1599"/>
                  </a:lnTo>
                  <a:lnTo>
                    <a:pt x="2311" y="1601"/>
                  </a:lnTo>
                  <a:lnTo>
                    <a:pt x="2313" y="1603"/>
                  </a:lnTo>
                  <a:lnTo>
                    <a:pt x="2313" y="1605"/>
                  </a:lnTo>
                  <a:lnTo>
                    <a:pt x="2313" y="1607"/>
                  </a:lnTo>
                  <a:lnTo>
                    <a:pt x="2315" y="1607"/>
                  </a:lnTo>
                  <a:lnTo>
                    <a:pt x="2315" y="1609"/>
                  </a:lnTo>
                  <a:lnTo>
                    <a:pt x="2317" y="1611"/>
                  </a:lnTo>
                  <a:lnTo>
                    <a:pt x="2317" y="1613"/>
                  </a:lnTo>
                  <a:lnTo>
                    <a:pt x="2317" y="1615"/>
                  </a:lnTo>
                  <a:lnTo>
                    <a:pt x="2319" y="1617"/>
                  </a:lnTo>
                  <a:lnTo>
                    <a:pt x="2319" y="1617"/>
                  </a:lnTo>
                  <a:lnTo>
                    <a:pt x="2321" y="1619"/>
                  </a:lnTo>
                  <a:lnTo>
                    <a:pt x="2321" y="1621"/>
                  </a:lnTo>
                  <a:lnTo>
                    <a:pt x="2321" y="1623"/>
                  </a:lnTo>
                  <a:lnTo>
                    <a:pt x="2324" y="1625"/>
                  </a:lnTo>
                  <a:lnTo>
                    <a:pt x="2324" y="1627"/>
                  </a:lnTo>
                  <a:lnTo>
                    <a:pt x="2324" y="1629"/>
                  </a:lnTo>
                  <a:lnTo>
                    <a:pt x="2324" y="1631"/>
                  </a:lnTo>
                  <a:lnTo>
                    <a:pt x="2324" y="1631"/>
                  </a:lnTo>
                  <a:lnTo>
                    <a:pt x="2324" y="1633"/>
                  </a:lnTo>
                  <a:lnTo>
                    <a:pt x="2326" y="1635"/>
                  </a:lnTo>
                  <a:lnTo>
                    <a:pt x="2326" y="1637"/>
                  </a:lnTo>
                  <a:lnTo>
                    <a:pt x="2326" y="1639"/>
                  </a:lnTo>
                  <a:lnTo>
                    <a:pt x="2326" y="1641"/>
                  </a:lnTo>
                  <a:lnTo>
                    <a:pt x="2326" y="1643"/>
                  </a:lnTo>
                  <a:lnTo>
                    <a:pt x="2328" y="1645"/>
                  </a:lnTo>
                  <a:lnTo>
                    <a:pt x="2328" y="1647"/>
                  </a:lnTo>
                  <a:lnTo>
                    <a:pt x="2328" y="1647"/>
                  </a:lnTo>
                  <a:lnTo>
                    <a:pt x="2328" y="1649"/>
                  </a:lnTo>
                  <a:lnTo>
                    <a:pt x="2330" y="1651"/>
                  </a:lnTo>
                  <a:lnTo>
                    <a:pt x="2330" y="1653"/>
                  </a:lnTo>
                  <a:lnTo>
                    <a:pt x="2330" y="1653"/>
                  </a:lnTo>
                  <a:lnTo>
                    <a:pt x="2330" y="1655"/>
                  </a:lnTo>
                  <a:lnTo>
                    <a:pt x="2330" y="1657"/>
                  </a:lnTo>
                  <a:lnTo>
                    <a:pt x="2332" y="1659"/>
                  </a:lnTo>
                  <a:lnTo>
                    <a:pt x="2332" y="1661"/>
                  </a:lnTo>
                  <a:lnTo>
                    <a:pt x="2332" y="1663"/>
                  </a:lnTo>
                  <a:lnTo>
                    <a:pt x="2334" y="1665"/>
                  </a:lnTo>
                  <a:lnTo>
                    <a:pt x="2334" y="1667"/>
                  </a:lnTo>
                  <a:lnTo>
                    <a:pt x="2334" y="1669"/>
                  </a:lnTo>
                  <a:lnTo>
                    <a:pt x="2334" y="1669"/>
                  </a:lnTo>
                  <a:lnTo>
                    <a:pt x="2334" y="1671"/>
                  </a:lnTo>
                  <a:lnTo>
                    <a:pt x="2337" y="1673"/>
                  </a:lnTo>
                  <a:lnTo>
                    <a:pt x="2337" y="1673"/>
                  </a:lnTo>
                  <a:lnTo>
                    <a:pt x="2337" y="1675"/>
                  </a:lnTo>
                  <a:lnTo>
                    <a:pt x="2337" y="1677"/>
                  </a:lnTo>
                  <a:lnTo>
                    <a:pt x="2339" y="1679"/>
                  </a:lnTo>
                  <a:lnTo>
                    <a:pt x="2339" y="1681"/>
                  </a:lnTo>
                  <a:lnTo>
                    <a:pt x="2341" y="1681"/>
                  </a:lnTo>
                  <a:lnTo>
                    <a:pt x="2339" y="1681"/>
                  </a:lnTo>
                  <a:lnTo>
                    <a:pt x="2341" y="1683"/>
                  </a:lnTo>
                  <a:lnTo>
                    <a:pt x="2341" y="1683"/>
                  </a:lnTo>
                  <a:lnTo>
                    <a:pt x="2343" y="1681"/>
                  </a:lnTo>
                  <a:lnTo>
                    <a:pt x="2341" y="1681"/>
                  </a:lnTo>
                  <a:lnTo>
                    <a:pt x="2341" y="1683"/>
                  </a:lnTo>
                  <a:lnTo>
                    <a:pt x="2341" y="1685"/>
                  </a:lnTo>
                  <a:lnTo>
                    <a:pt x="2341" y="1687"/>
                  </a:lnTo>
                  <a:lnTo>
                    <a:pt x="2343" y="1689"/>
                  </a:lnTo>
                  <a:lnTo>
                    <a:pt x="2343" y="1691"/>
                  </a:lnTo>
                  <a:lnTo>
                    <a:pt x="2343" y="1693"/>
                  </a:lnTo>
                  <a:lnTo>
                    <a:pt x="2345" y="1693"/>
                  </a:lnTo>
                  <a:lnTo>
                    <a:pt x="2345" y="1695"/>
                  </a:lnTo>
                  <a:lnTo>
                    <a:pt x="2347" y="1697"/>
                  </a:lnTo>
                  <a:lnTo>
                    <a:pt x="2347" y="1699"/>
                  </a:lnTo>
                  <a:lnTo>
                    <a:pt x="2347" y="1701"/>
                  </a:lnTo>
                  <a:lnTo>
                    <a:pt x="2349" y="1701"/>
                  </a:lnTo>
                  <a:lnTo>
                    <a:pt x="2349" y="1703"/>
                  </a:lnTo>
                  <a:lnTo>
                    <a:pt x="2352" y="1705"/>
                  </a:lnTo>
                  <a:lnTo>
                    <a:pt x="2352" y="1707"/>
                  </a:lnTo>
                  <a:lnTo>
                    <a:pt x="2352" y="1709"/>
                  </a:lnTo>
                  <a:lnTo>
                    <a:pt x="2354" y="1709"/>
                  </a:lnTo>
                  <a:lnTo>
                    <a:pt x="2354" y="1711"/>
                  </a:lnTo>
                  <a:lnTo>
                    <a:pt x="2354" y="1713"/>
                  </a:lnTo>
                  <a:lnTo>
                    <a:pt x="2354" y="1715"/>
                  </a:lnTo>
                  <a:lnTo>
                    <a:pt x="2356" y="1717"/>
                  </a:lnTo>
                  <a:lnTo>
                    <a:pt x="2356" y="1719"/>
                  </a:lnTo>
                  <a:lnTo>
                    <a:pt x="2356" y="1721"/>
                  </a:lnTo>
                  <a:lnTo>
                    <a:pt x="2356" y="1723"/>
                  </a:lnTo>
                  <a:lnTo>
                    <a:pt x="2356" y="1725"/>
                  </a:lnTo>
                  <a:lnTo>
                    <a:pt x="2358" y="1727"/>
                  </a:lnTo>
                  <a:lnTo>
                    <a:pt x="2358" y="1727"/>
                  </a:lnTo>
                  <a:lnTo>
                    <a:pt x="2358" y="1729"/>
                  </a:lnTo>
                  <a:lnTo>
                    <a:pt x="2358" y="1731"/>
                  </a:lnTo>
                  <a:lnTo>
                    <a:pt x="2358" y="1733"/>
                  </a:lnTo>
                  <a:lnTo>
                    <a:pt x="2360" y="1735"/>
                  </a:lnTo>
                  <a:lnTo>
                    <a:pt x="2360" y="1737"/>
                  </a:lnTo>
                  <a:lnTo>
                    <a:pt x="2360" y="1739"/>
                  </a:lnTo>
                  <a:lnTo>
                    <a:pt x="2362" y="1741"/>
                  </a:lnTo>
                  <a:lnTo>
                    <a:pt x="2362" y="1743"/>
                  </a:lnTo>
                  <a:lnTo>
                    <a:pt x="2362" y="1745"/>
                  </a:lnTo>
                  <a:lnTo>
                    <a:pt x="2362" y="1745"/>
                  </a:lnTo>
                  <a:lnTo>
                    <a:pt x="2364" y="1747"/>
                  </a:lnTo>
                  <a:lnTo>
                    <a:pt x="2364" y="1749"/>
                  </a:lnTo>
                  <a:lnTo>
                    <a:pt x="2367" y="1751"/>
                  </a:lnTo>
                  <a:lnTo>
                    <a:pt x="2367" y="1753"/>
                  </a:lnTo>
                  <a:lnTo>
                    <a:pt x="2367" y="1755"/>
                  </a:lnTo>
                  <a:lnTo>
                    <a:pt x="2369" y="1755"/>
                  </a:lnTo>
                  <a:lnTo>
                    <a:pt x="2369" y="1757"/>
                  </a:lnTo>
                  <a:lnTo>
                    <a:pt x="2371" y="1759"/>
                  </a:lnTo>
                  <a:lnTo>
                    <a:pt x="2371" y="1761"/>
                  </a:lnTo>
                  <a:lnTo>
                    <a:pt x="2371" y="1763"/>
                  </a:lnTo>
                  <a:lnTo>
                    <a:pt x="2373" y="1763"/>
                  </a:lnTo>
                  <a:lnTo>
                    <a:pt x="2373" y="1763"/>
                  </a:lnTo>
                  <a:lnTo>
                    <a:pt x="2373" y="1765"/>
                  </a:lnTo>
                  <a:lnTo>
                    <a:pt x="2375" y="1763"/>
                  </a:lnTo>
                  <a:lnTo>
                    <a:pt x="2373" y="1765"/>
                  </a:lnTo>
                  <a:lnTo>
                    <a:pt x="2375" y="1767"/>
                  </a:lnTo>
                  <a:lnTo>
                    <a:pt x="2375" y="1769"/>
                  </a:lnTo>
                  <a:lnTo>
                    <a:pt x="2377" y="1771"/>
                  </a:lnTo>
                  <a:lnTo>
                    <a:pt x="2377" y="1771"/>
                  </a:lnTo>
                  <a:lnTo>
                    <a:pt x="2377" y="1773"/>
                  </a:lnTo>
                  <a:lnTo>
                    <a:pt x="2379" y="1775"/>
                  </a:lnTo>
                  <a:lnTo>
                    <a:pt x="2379" y="1777"/>
                  </a:lnTo>
                  <a:lnTo>
                    <a:pt x="2379" y="1779"/>
                  </a:lnTo>
                  <a:lnTo>
                    <a:pt x="2382" y="1781"/>
                  </a:lnTo>
                  <a:lnTo>
                    <a:pt x="2382" y="1783"/>
                  </a:lnTo>
                  <a:lnTo>
                    <a:pt x="2384" y="1783"/>
                  </a:lnTo>
                  <a:lnTo>
                    <a:pt x="2384" y="1785"/>
                  </a:lnTo>
                  <a:lnTo>
                    <a:pt x="2386" y="1787"/>
                  </a:lnTo>
                  <a:lnTo>
                    <a:pt x="2386" y="1789"/>
                  </a:lnTo>
                  <a:lnTo>
                    <a:pt x="2388" y="1791"/>
                  </a:lnTo>
                  <a:lnTo>
                    <a:pt x="2388" y="1791"/>
                  </a:lnTo>
                  <a:lnTo>
                    <a:pt x="2388" y="1793"/>
                  </a:lnTo>
                  <a:lnTo>
                    <a:pt x="2390" y="1795"/>
                  </a:lnTo>
                  <a:lnTo>
                    <a:pt x="2390" y="1797"/>
                  </a:lnTo>
                  <a:lnTo>
                    <a:pt x="2392" y="1797"/>
                  </a:lnTo>
                  <a:lnTo>
                    <a:pt x="2394" y="1799"/>
                  </a:lnTo>
                  <a:lnTo>
                    <a:pt x="2394" y="1801"/>
                  </a:lnTo>
                  <a:lnTo>
                    <a:pt x="2397" y="1803"/>
                  </a:lnTo>
                  <a:lnTo>
                    <a:pt x="2397" y="1803"/>
                  </a:lnTo>
                  <a:lnTo>
                    <a:pt x="2399" y="1805"/>
                  </a:lnTo>
                  <a:lnTo>
                    <a:pt x="2399" y="1807"/>
                  </a:lnTo>
                  <a:lnTo>
                    <a:pt x="2401" y="1809"/>
                  </a:lnTo>
                  <a:lnTo>
                    <a:pt x="2401" y="1809"/>
                  </a:lnTo>
                  <a:lnTo>
                    <a:pt x="2401" y="1811"/>
                  </a:lnTo>
                  <a:lnTo>
                    <a:pt x="2403" y="1813"/>
                  </a:lnTo>
                  <a:lnTo>
                    <a:pt x="2403" y="1815"/>
                  </a:lnTo>
                  <a:lnTo>
                    <a:pt x="2405" y="1817"/>
                  </a:lnTo>
                  <a:lnTo>
                    <a:pt x="2405" y="1819"/>
                  </a:lnTo>
                  <a:lnTo>
                    <a:pt x="2407" y="1819"/>
                  </a:lnTo>
                  <a:lnTo>
                    <a:pt x="2407" y="1821"/>
                  </a:lnTo>
                  <a:lnTo>
                    <a:pt x="2410" y="1823"/>
                  </a:lnTo>
                  <a:lnTo>
                    <a:pt x="2410" y="1825"/>
                  </a:lnTo>
                  <a:lnTo>
                    <a:pt x="2412" y="1825"/>
                  </a:lnTo>
                  <a:lnTo>
                    <a:pt x="2412" y="1827"/>
                  </a:lnTo>
                  <a:lnTo>
                    <a:pt x="2414" y="1829"/>
                  </a:lnTo>
                  <a:lnTo>
                    <a:pt x="2414" y="1831"/>
                  </a:lnTo>
                  <a:lnTo>
                    <a:pt x="2416" y="1831"/>
                  </a:lnTo>
                  <a:lnTo>
                    <a:pt x="2418" y="1833"/>
                  </a:lnTo>
                  <a:lnTo>
                    <a:pt x="2418" y="1835"/>
                  </a:lnTo>
                  <a:lnTo>
                    <a:pt x="2420" y="1835"/>
                  </a:lnTo>
                  <a:lnTo>
                    <a:pt x="2420" y="1837"/>
                  </a:lnTo>
                  <a:lnTo>
                    <a:pt x="2422" y="1839"/>
                  </a:lnTo>
                  <a:lnTo>
                    <a:pt x="2422" y="1841"/>
                  </a:lnTo>
                  <a:lnTo>
                    <a:pt x="2425" y="1841"/>
                  </a:lnTo>
                  <a:lnTo>
                    <a:pt x="2427" y="1843"/>
                  </a:lnTo>
                  <a:lnTo>
                    <a:pt x="2427" y="1845"/>
                  </a:lnTo>
                  <a:lnTo>
                    <a:pt x="2429" y="1845"/>
                  </a:lnTo>
                  <a:lnTo>
                    <a:pt x="2431" y="1847"/>
                  </a:lnTo>
                  <a:lnTo>
                    <a:pt x="2431" y="1849"/>
                  </a:lnTo>
                  <a:lnTo>
                    <a:pt x="2433" y="1849"/>
                  </a:lnTo>
                  <a:lnTo>
                    <a:pt x="2435" y="1851"/>
                  </a:lnTo>
                  <a:lnTo>
                    <a:pt x="2435" y="1853"/>
                  </a:lnTo>
                  <a:lnTo>
                    <a:pt x="2437" y="1853"/>
                  </a:lnTo>
                  <a:lnTo>
                    <a:pt x="2437" y="1855"/>
                  </a:lnTo>
                  <a:lnTo>
                    <a:pt x="2440" y="1855"/>
                  </a:lnTo>
                  <a:lnTo>
                    <a:pt x="2442" y="1857"/>
                  </a:lnTo>
                  <a:lnTo>
                    <a:pt x="2442" y="1859"/>
                  </a:lnTo>
                  <a:lnTo>
                    <a:pt x="2444" y="1861"/>
                  </a:lnTo>
                  <a:lnTo>
                    <a:pt x="2444" y="1861"/>
                  </a:lnTo>
                  <a:lnTo>
                    <a:pt x="2446" y="1863"/>
                  </a:lnTo>
                  <a:lnTo>
                    <a:pt x="2448" y="1865"/>
                  </a:lnTo>
                  <a:lnTo>
                    <a:pt x="2448" y="1865"/>
                  </a:lnTo>
                  <a:lnTo>
                    <a:pt x="2450" y="1867"/>
                  </a:lnTo>
                  <a:lnTo>
                    <a:pt x="2450" y="1869"/>
                  </a:lnTo>
                  <a:lnTo>
                    <a:pt x="2452" y="1869"/>
                  </a:lnTo>
                  <a:lnTo>
                    <a:pt x="2455" y="1871"/>
                  </a:lnTo>
                  <a:lnTo>
                    <a:pt x="2455" y="1873"/>
                  </a:lnTo>
                  <a:lnTo>
                    <a:pt x="2457" y="1873"/>
                  </a:lnTo>
                  <a:lnTo>
                    <a:pt x="2459" y="1875"/>
                  </a:lnTo>
                  <a:lnTo>
                    <a:pt x="2461" y="1875"/>
                  </a:lnTo>
                  <a:lnTo>
                    <a:pt x="2461" y="1877"/>
                  </a:lnTo>
                  <a:lnTo>
                    <a:pt x="2463" y="1877"/>
                  </a:lnTo>
                  <a:lnTo>
                    <a:pt x="2461" y="1879"/>
                  </a:lnTo>
                  <a:lnTo>
                    <a:pt x="2463" y="1879"/>
                  </a:lnTo>
                  <a:lnTo>
                    <a:pt x="2465" y="1877"/>
                  </a:lnTo>
                  <a:lnTo>
                    <a:pt x="2465" y="1879"/>
                  </a:lnTo>
                  <a:lnTo>
                    <a:pt x="2468" y="1881"/>
                  </a:lnTo>
                  <a:lnTo>
                    <a:pt x="2468" y="1881"/>
                  </a:lnTo>
                  <a:lnTo>
                    <a:pt x="2470" y="1883"/>
                  </a:lnTo>
                  <a:lnTo>
                    <a:pt x="2472" y="1885"/>
                  </a:lnTo>
                  <a:lnTo>
                    <a:pt x="2472" y="1885"/>
                  </a:lnTo>
                  <a:lnTo>
                    <a:pt x="2474" y="1887"/>
                  </a:lnTo>
                  <a:lnTo>
                    <a:pt x="2476" y="1887"/>
                  </a:lnTo>
                  <a:lnTo>
                    <a:pt x="2476" y="1889"/>
                  </a:lnTo>
                  <a:lnTo>
                    <a:pt x="2478" y="1891"/>
                  </a:lnTo>
                  <a:lnTo>
                    <a:pt x="2480" y="1891"/>
                  </a:lnTo>
                  <a:lnTo>
                    <a:pt x="2483" y="1893"/>
                  </a:lnTo>
                  <a:lnTo>
                    <a:pt x="2485" y="1893"/>
                  </a:lnTo>
                  <a:lnTo>
                    <a:pt x="2485" y="1895"/>
                  </a:lnTo>
                  <a:lnTo>
                    <a:pt x="2487" y="1895"/>
                  </a:lnTo>
                  <a:lnTo>
                    <a:pt x="2489" y="1897"/>
                  </a:lnTo>
                  <a:lnTo>
                    <a:pt x="2489" y="1897"/>
                  </a:lnTo>
                  <a:lnTo>
                    <a:pt x="2491" y="1899"/>
                  </a:lnTo>
                  <a:lnTo>
                    <a:pt x="2493" y="1899"/>
                  </a:lnTo>
                  <a:lnTo>
                    <a:pt x="2495" y="1901"/>
                  </a:lnTo>
                  <a:lnTo>
                    <a:pt x="2498" y="1901"/>
                  </a:lnTo>
                  <a:lnTo>
                    <a:pt x="2498" y="1903"/>
                  </a:lnTo>
                  <a:lnTo>
                    <a:pt x="2500" y="1903"/>
                  </a:lnTo>
                  <a:lnTo>
                    <a:pt x="2502" y="1905"/>
                  </a:lnTo>
                  <a:lnTo>
                    <a:pt x="2504" y="1905"/>
                  </a:lnTo>
                  <a:lnTo>
                    <a:pt x="2506" y="1907"/>
                  </a:lnTo>
                  <a:lnTo>
                    <a:pt x="2506" y="1907"/>
                  </a:lnTo>
                  <a:lnTo>
                    <a:pt x="2508" y="1909"/>
                  </a:lnTo>
                  <a:lnTo>
                    <a:pt x="2510" y="1909"/>
                  </a:lnTo>
                  <a:lnTo>
                    <a:pt x="2513" y="1911"/>
                  </a:lnTo>
                  <a:lnTo>
                    <a:pt x="2515" y="1911"/>
                  </a:lnTo>
                  <a:lnTo>
                    <a:pt x="2515" y="1911"/>
                  </a:lnTo>
                  <a:lnTo>
                    <a:pt x="2517" y="1911"/>
                  </a:lnTo>
                  <a:lnTo>
                    <a:pt x="2519" y="1913"/>
                  </a:lnTo>
                  <a:lnTo>
                    <a:pt x="2521" y="1913"/>
                  </a:lnTo>
                  <a:lnTo>
                    <a:pt x="2521" y="1915"/>
                  </a:lnTo>
                  <a:lnTo>
                    <a:pt x="2523" y="1917"/>
                  </a:lnTo>
                  <a:lnTo>
                    <a:pt x="2523" y="1917"/>
                  </a:lnTo>
                  <a:lnTo>
                    <a:pt x="2526" y="1919"/>
                  </a:lnTo>
                  <a:lnTo>
                    <a:pt x="2528" y="1919"/>
                  </a:lnTo>
                  <a:lnTo>
                    <a:pt x="2530" y="1919"/>
                  </a:lnTo>
                  <a:lnTo>
                    <a:pt x="2532" y="1921"/>
                  </a:lnTo>
                  <a:lnTo>
                    <a:pt x="2532" y="1921"/>
                  </a:lnTo>
                  <a:lnTo>
                    <a:pt x="2530" y="1921"/>
                  </a:lnTo>
                  <a:lnTo>
                    <a:pt x="2530" y="1919"/>
                  </a:lnTo>
                  <a:lnTo>
                    <a:pt x="2528" y="1919"/>
                  </a:lnTo>
                  <a:lnTo>
                    <a:pt x="2528" y="1921"/>
                  </a:lnTo>
                  <a:lnTo>
                    <a:pt x="2528" y="1923"/>
                  </a:lnTo>
                  <a:lnTo>
                    <a:pt x="2528" y="1925"/>
                  </a:lnTo>
                  <a:lnTo>
                    <a:pt x="2530" y="1923"/>
                  </a:lnTo>
                  <a:lnTo>
                    <a:pt x="2532" y="1923"/>
                  </a:lnTo>
                  <a:lnTo>
                    <a:pt x="2532" y="1923"/>
                  </a:lnTo>
                  <a:lnTo>
                    <a:pt x="2530" y="1923"/>
                  </a:lnTo>
                  <a:lnTo>
                    <a:pt x="2528" y="1925"/>
                  </a:lnTo>
                  <a:lnTo>
                    <a:pt x="2530" y="1927"/>
                  </a:lnTo>
                  <a:lnTo>
                    <a:pt x="2532" y="1927"/>
                  </a:lnTo>
                  <a:lnTo>
                    <a:pt x="2534" y="1929"/>
                  </a:lnTo>
                  <a:lnTo>
                    <a:pt x="2534" y="1929"/>
                  </a:lnTo>
                  <a:lnTo>
                    <a:pt x="2534" y="1931"/>
                  </a:lnTo>
                  <a:lnTo>
                    <a:pt x="2534" y="1933"/>
                  </a:lnTo>
                  <a:lnTo>
                    <a:pt x="2536" y="1935"/>
                  </a:lnTo>
                  <a:lnTo>
                    <a:pt x="2538" y="1935"/>
                  </a:lnTo>
                  <a:lnTo>
                    <a:pt x="2538" y="1937"/>
                  </a:lnTo>
                  <a:lnTo>
                    <a:pt x="2541" y="1939"/>
                  </a:lnTo>
                  <a:lnTo>
                    <a:pt x="2541" y="1937"/>
                  </a:lnTo>
                  <a:lnTo>
                    <a:pt x="2541" y="1939"/>
                  </a:lnTo>
                  <a:lnTo>
                    <a:pt x="2543" y="1941"/>
                  </a:lnTo>
                  <a:lnTo>
                    <a:pt x="2545" y="1941"/>
                  </a:lnTo>
                  <a:lnTo>
                    <a:pt x="2547" y="1942"/>
                  </a:lnTo>
                  <a:lnTo>
                    <a:pt x="2547" y="1942"/>
                  </a:lnTo>
                  <a:lnTo>
                    <a:pt x="2549" y="1944"/>
                  </a:lnTo>
                  <a:lnTo>
                    <a:pt x="2551" y="1944"/>
                  </a:lnTo>
                  <a:lnTo>
                    <a:pt x="2553" y="1946"/>
                  </a:lnTo>
                  <a:lnTo>
                    <a:pt x="2553" y="1946"/>
                  </a:lnTo>
                  <a:lnTo>
                    <a:pt x="2556" y="1948"/>
                  </a:lnTo>
                  <a:lnTo>
                    <a:pt x="2558" y="1950"/>
                  </a:lnTo>
                  <a:lnTo>
                    <a:pt x="2558" y="1950"/>
                  </a:lnTo>
                  <a:lnTo>
                    <a:pt x="2560" y="1952"/>
                  </a:lnTo>
                  <a:lnTo>
                    <a:pt x="2560" y="1954"/>
                  </a:lnTo>
                  <a:lnTo>
                    <a:pt x="2560" y="1956"/>
                  </a:lnTo>
                  <a:lnTo>
                    <a:pt x="2560" y="1956"/>
                  </a:lnTo>
                  <a:lnTo>
                    <a:pt x="2562" y="1958"/>
                  </a:lnTo>
                  <a:lnTo>
                    <a:pt x="2562" y="1960"/>
                  </a:lnTo>
                  <a:lnTo>
                    <a:pt x="2564" y="1962"/>
                  </a:lnTo>
                  <a:lnTo>
                    <a:pt x="2566" y="1962"/>
                  </a:lnTo>
                  <a:lnTo>
                    <a:pt x="2568" y="1964"/>
                  </a:lnTo>
                  <a:lnTo>
                    <a:pt x="2571" y="1964"/>
                  </a:lnTo>
                  <a:lnTo>
                    <a:pt x="2571" y="1964"/>
                  </a:lnTo>
                  <a:lnTo>
                    <a:pt x="2573" y="1966"/>
                  </a:lnTo>
                  <a:lnTo>
                    <a:pt x="2575" y="1966"/>
                  </a:lnTo>
                  <a:lnTo>
                    <a:pt x="2575" y="1966"/>
                  </a:lnTo>
                  <a:lnTo>
                    <a:pt x="2575" y="1966"/>
                  </a:lnTo>
                  <a:lnTo>
                    <a:pt x="2577" y="1968"/>
                  </a:lnTo>
                  <a:lnTo>
                    <a:pt x="2579" y="1968"/>
                  </a:lnTo>
                  <a:lnTo>
                    <a:pt x="2579" y="1970"/>
                  </a:lnTo>
                  <a:lnTo>
                    <a:pt x="2581" y="1970"/>
                  </a:lnTo>
                  <a:lnTo>
                    <a:pt x="2583" y="1972"/>
                  </a:lnTo>
                  <a:lnTo>
                    <a:pt x="2586" y="1972"/>
                  </a:lnTo>
                  <a:lnTo>
                    <a:pt x="2588" y="1974"/>
                  </a:lnTo>
                  <a:lnTo>
                    <a:pt x="2588" y="1974"/>
                  </a:lnTo>
                  <a:lnTo>
                    <a:pt x="2590" y="1974"/>
                  </a:lnTo>
                  <a:lnTo>
                    <a:pt x="2592" y="1976"/>
                  </a:lnTo>
                  <a:lnTo>
                    <a:pt x="2594" y="1976"/>
                  </a:lnTo>
                  <a:lnTo>
                    <a:pt x="2596" y="1978"/>
                  </a:lnTo>
                  <a:lnTo>
                    <a:pt x="2596" y="1978"/>
                  </a:lnTo>
                  <a:lnTo>
                    <a:pt x="2599" y="1978"/>
                  </a:lnTo>
                  <a:lnTo>
                    <a:pt x="2601" y="1980"/>
                  </a:lnTo>
                  <a:lnTo>
                    <a:pt x="2603" y="1980"/>
                  </a:lnTo>
                  <a:lnTo>
                    <a:pt x="2605" y="1980"/>
                  </a:lnTo>
                  <a:lnTo>
                    <a:pt x="2607" y="1982"/>
                  </a:lnTo>
                  <a:lnTo>
                    <a:pt x="2609" y="1982"/>
                  </a:lnTo>
                  <a:lnTo>
                    <a:pt x="2611" y="1982"/>
                  </a:lnTo>
                  <a:lnTo>
                    <a:pt x="2611" y="1982"/>
                  </a:lnTo>
                  <a:lnTo>
                    <a:pt x="2614" y="1984"/>
                  </a:lnTo>
                  <a:lnTo>
                    <a:pt x="2616" y="1984"/>
                  </a:lnTo>
                  <a:lnTo>
                    <a:pt x="2618" y="1984"/>
                  </a:lnTo>
                  <a:lnTo>
                    <a:pt x="2620" y="1986"/>
                  </a:lnTo>
                  <a:lnTo>
                    <a:pt x="2622" y="1986"/>
                  </a:lnTo>
                  <a:lnTo>
                    <a:pt x="2624" y="1986"/>
                  </a:lnTo>
                  <a:lnTo>
                    <a:pt x="2624" y="1988"/>
                  </a:lnTo>
                  <a:lnTo>
                    <a:pt x="2626" y="1988"/>
                  </a:lnTo>
                  <a:lnTo>
                    <a:pt x="2629" y="1988"/>
                  </a:lnTo>
                  <a:lnTo>
                    <a:pt x="2631" y="1990"/>
                  </a:lnTo>
                  <a:lnTo>
                    <a:pt x="2631" y="1988"/>
                  </a:lnTo>
                  <a:lnTo>
                    <a:pt x="2633" y="1990"/>
                  </a:lnTo>
                  <a:lnTo>
                    <a:pt x="2633" y="1988"/>
                  </a:lnTo>
                  <a:lnTo>
                    <a:pt x="2633" y="1988"/>
                  </a:lnTo>
                  <a:lnTo>
                    <a:pt x="2633" y="1988"/>
                  </a:lnTo>
                  <a:lnTo>
                    <a:pt x="2635" y="1990"/>
                  </a:lnTo>
                  <a:lnTo>
                    <a:pt x="2635" y="1992"/>
                  </a:lnTo>
                  <a:lnTo>
                    <a:pt x="2635" y="1992"/>
                  </a:lnTo>
                  <a:lnTo>
                    <a:pt x="2635" y="1996"/>
                  </a:lnTo>
                  <a:lnTo>
                    <a:pt x="2635" y="1998"/>
                  </a:lnTo>
                  <a:lnTo>
                    <a:pt x="2635" y="2000"/>
                  </a:lnTo>
                  <a:lnTo>
                    <a:pt x="2635" y="2000"/>
                  </a:lnTo>
                  <a:lnTo>
                    <a:pt x="2635" y="2002"/>
                  </a:lnTo>
                  <a:lnTo>
                    <a:pt x="2635" y="2004"/>
                  </a:lnTo>
                  <a:lnTo>
                    <a:pt x="2637" y="2006"/>
                  </a:lnTo>
                  <a:lnTo>
                    <a:pt x="2637" y="2008"/>
                  </a:lnTo>
                  <a:lnTo>
                    <a:pt x="2637" y="2010"/>
                  </a:lnTo>
                  <a:lnTo>
                    <a:pt x="2637" y="2012"/>
                  </a:lnTo>
                  <a:lnTo>
                    <a:pt x="2637" y="2012"/>
                  </a:lnTo>
                  <a:lnTo>
                    <a:pt x="2637" y="2014"/>
                  </a:lnTo>
                  <a:lnTo>
                    <a:pt x="2637" y="2016"/>
                  </a:lnTo>
                  <a:lnTo>
                    <a:pt x="2637" y="2018"/>
                  </a:lnTo>
                  <a:lnTo>
                    <a:pt x="2639" y="2018"/>
                  </a:lnTo>
                  <a:lnTo>
                    <a:pt x="2639" y="2020"/>
                  </a:lnTo>
                  <a:lnTo>
                    <a:pt x="2641" y="2022"/>
                  </a:lnTo>
                  <a:lnTo>
                    <a:pt x="2644" y="2022"/>
                  </a:lnTo>
                  <a:lnTo>
                    <a:pt x="2644" y="2024"/>
                  </a:lnTo>
                  <a:lnTo>
                    <a:pt x="2646" y="2024"/>
                  </a:lnTo>
                  <a:lnTo>
                    <a:pt x="2648" y="2026"/>
                  </a:lnTo>
                  <a:lnTo>
                    <a:pt x="2650" y="2026"/>
                  </a:lnTo>
                  <a:lnTo>
                    <a:pt x="2652" y="2028"/>
                  </a:lnTo>
                  <a:lnTo>
                    <a:pt x="2652" y="2028"/>
                  </a:lnTo>
                  <a:lnTo>
                    <a:pt x="2654" y="2028"/>
                  </a:lnTo>
                  <a:lnTo>
                    <a:pt x="2659" y="2030"/>
                  </a:lnTo>
                  <a:lnTo>
                    <a:pt x="2661" y="2030"/>
                  </a:lnTo>
                  <a:lnTo>
                    <a:pt x="2663" y="2030"/>
                  </a:lnTo>
                  <a:lnTo>
                    <a:pt x="2663" y="2032"/>
                  </a:lnTo>
                  <a:lnTo>
                    <a:pt x="2663" y="2032"/>
                  </a:lnTo>
                  <a:lnTo>
                    <a:pt x="2665" y="2032"/>
                  </a:lnTo>
                  <a:lnTo>
                    <a:pt x="2667" y="2034"/>
                  </a:lnTo>
                  <a:lnTo>
                    <a:pt x="2669" y="2034"/>
                  </a:lnTo>
                  <a:lnTo>
                    <a:pt x="2669" y="2036"/>
                  </a:lnTo>
                  <a:lnTo>
                    <a:pt x="2672" y="2036"/>
                  </a:lnTo>
                  <a:lnTo>
                    <a:pt x="2674" y="2038"/>
                  </a:lnTo>
                  <a:lnTo>
                    <a:pt x="2676" y="2038"/>
                  </a:lnTo>
                  <a:lnTo>
                    <a:pt x="2678" y="2040"/>
                  </a:lnTo>
                  <a:lnTo>
                    <a:pt x="2678" y="2040"/>
                  </a:lnTo>
                  <a:lnTo>
                    <a:pt x="2680" y="2042"/>
                  </a:lnTo>
                  <a:lnTo>
                    <a:pt x="2682" y="2042"/>
                  </a:lnTo>
                  <a:lnTo>
                    <a:pt x="2684" y="2042"/>
                  </a:lnTo>
                  <a:lnTo>
                    <a:pt x="2687" y="2044"/>
                  </a:lnTo>
                  <a:lnTo>
                    <a:pt x="2689" y="2044"/>
                  </a:lnTo>
                  <a:lnTo>
                    <a:pt x="2689" y="2044"/>
                  </a:lnTo>
                  <a:lnTo>
                    <a:pt x="2691" y="2046"/>
                  </a:lnTo>
                  <a:lnTo>
                    <a:pt x="2693" y="2046"/>
                  </a:lnTo>
                  <a:lnTo>
                    <a:pt x="2695" y="2046"/>
                  </a:lnTo>
                  <a:lnTo>
                    <a:pt x="2697" y="2048"/>
                  </a:lnTo>
                  <a:lnTo>
                    <a:pt x="2699" y="2048"/>
                  </a:lnTo>
                  <a:lnTo>
                    <a:pt x="2702" y="2048"/>
                  </a:lnTo>
                  <a:lnTo>
                    <a:pt x="2704" y="2048"/>
                  </a:lnTo>
                  <a:lnTo>
                    <a:pt x="2706" y="2048"/>
                  </a:lnTo>
                  <a:lnTo>
                    <a:pt x="2708" y="2050"/>
                  </a:lnTo>
                  <a:lnTo>
                    <a:pt x="2708" y="2050"/>
                  </a:lnTo>
                  <a:lnTo>
                    <a:pt x="2710" y="2050"/>
                  </a:lnTo>
                  <a:lnTo>
                    <a:pt x="2712" y="2050"/>
                  </a:lnTo>
                  <a:lnTo>
                    <a:pt x="2714" y="2050"/>
                  </a:lnTo>
                  <a:lnTo>
                    <a:pt x="2717" y="2050"/>
                  </a:lnTo>
                  <a:lnTo>
                    <a:pt x="2719" y="2052"/>
                  </a:lnTo>
                  <a:lnTo>
                    <a:pt x="2721" y="2052"/>
                  </a:lnTo>
                  <a:lnTo>
                    <a:pt x="2723" y="2052"/>
                  </a:lnTo>
                  <a:lnTo>
                    <a:pt x="2725" y="2052"/>
                  </a:lnTo>
                  <a:lnTo>
                    <a:pt x="2727" y="2052"/>
                  </a:lnTo>
                  <a:lnTo>
                    <a:pt x="2730" y="2052"/>
                  </a:lnTo>
                  <a:lnTo>
                    <a:pt x="2730" y="2052"/>
                  </a:lnTo>
                  <a:lnTo>
                    <a:pt x="2732" y="2052"/>
                  </a:lnTo>
                  <a:lnTo>
                    <a:pt x="2734" y="2052"/>
                  </a:lnTo>
                  <a:lnTo>
                    <a:pt x="2734" y="2052"/>
                  </a:lnTo>
                  <a:lnTo>
                    <a:pt x="2734" y="2054"/>
                  </a:lnTo>
                  <a:lnTo>
                    <a:pt x="2734" y="2054"/>
                  </a:lnTo>
                  <a:lnTo>
                    <a:pt x="2734" y="2056"/>
                  </a:lnTo>
                  <a:lnTo>
                    <a:pt x="2734" y="2058"/>
                  </a:lnTo>
                  <a:lnTo>
                    <a:pt x="2736" y="2058"/>
                  </a:lnTo>
                  <a:lnTo>
                    <a:pt x="2738" y="2060"/>
                  </a:lnTo>
                  <a:lnTo>
                    <a:pt x="2740" y="2060"/>
                  </a:lnTo>
                  <a:lnTo>
                    <a:pt x="2742" y="2060"/>
                  </a:lnTo>
                  <a:lnTo>
                    <a:pt x="2742" y="2062"/>
                  </a:lnTo>
                  <a:lnTo>
                    <a:pt x="2745" y="2062"/>
                  </a:lnTo>
                  <a:lnTo>
                    <a:pt x="2747" y="2064"/>
                  </a:lnTo>
                  <a:lnTo>
                    <a:pt x="2747" y="2064"/>
                  </a:lnTo>
                  <a:lnTo>
                    <a:pt x="2749" y="2066"/>
                  </a:lnTo>
                  <a:lnTo>
                    <a:pt x="2751" y="2066"/>
                  </a:lnTo>
                  <a:lnTo>
                    <a:pt x="2753" y="2068"/>
                  </a:lnTo>
                  <a:lnTo>
                    <a:pt x="2753" y="2070"/>
                  </a:lnTo>
                  <a:lnTo>
                    <a:pt x="2755" y="2070"/>
                  </a:lnTo>
                  <a:lnTo>
                    <a:pt x="2755" y="2072"/>
                  </a:lnTo>
                  <a:lnTo>
                    <a:pt x="2757" y="2074"/>
                  </a:lnTo>
                  <a:lnTo>
                    <a:pt x="2760" y="2074"/>
                  </a:lnTo>
                  <a:lnTo>
                    <a:pt x="2760" y="2076"/>
                  </a:lnTo>
                  <a:lnTo>
                    <a:pt x="2762" y="2076"/>
                  </a:lnTo>
                  <a:lnTo>
                    <a:pt x="2764" y="2078"/>
                  </a:lnTo>
                  <a:lnTo>
                    <a:pt x="2766" y="2078"/>
                  </a:lnTo>
                  <a:lnTo>
                    <a:pt x="2768" y="2078"/>
                  </a:lnTo>
                  <a:lnTo>
                    <a:pt x="2770" y="2080"/>
                  </a:lnTo>
                  <a:lnTo>
                    <a:pt x="2772" y="2080"/>
                  </a:lnTo>
                  <a:lnTo>
                    <a:pt x="2775" y="2080"/>
                  </a:lnTo>
                  <a:lnTo>
                    <a:pt x="2775" y="2080"/>
                  </a:lnTo>
                  <a:lnTo>
                    <a:pt x="2777" y="2080"/>
                  </a:lnTo>
                  <a:lnTo>
                    <a:pt x="2781" y="2082"/>
                  </a:lnTo>
                  <a:lnTo>
                    <a:pt x="2783" y="2082"/>
                  </a:lnTo>
                  <a:lnTo>
                    <a:pt x="2785" y="2082"/>
                  </a:lnTo>
                  <a:lnTo>
                    <a:pt x="2788" y="2082"/>
                  </a:lnTo>
                  <a:lnTo>
                    <a:pt x="2790" y="2082"/>
                  </a:lnTo>
                  <a:lnTo>
                    <a:pt x="2792" y="2082"/>
                  </a:lnTo>
                  <a:lnTo>
                    <a:pt x="2794" y="2082"/>
                  </a:lnTo>
                  <a:lnTo>
                    <a:pt x="2796" y="2084"/>
                  </a:lnTo>
                  <a:lnTo>
                    <a:pt x="2796" y="2084"/>
                  </a:lnTo>
                  <a:lnTo>
                    <a:pt x="2798" y="2084"/>
                  </a:lnTo>
                  <a:lnTo>
                    <a:pt x="2800" y="2084"/>
                  </a:lnTo>
                  <a:lnTo>
                    <a:pt x="2803" y="2084"/>
                  </a:lnTo>
                  <a:lnTo>
                    <a:pt x="2805" y="2084"/>
                  </a:lnTo>
                  <a:lnTo>
                    <a:pt x="2807" y="2084"/>
                  </a:lnTo>
                  <a:lnTo>
                    <a:pt x="2809" y="2084"/>
                  </a:lnTo>
                  <a:lnTo>
                    <a:pt x="2811" y="2082"/>
                  </a:lnTo>
                  <a:lnTo>
                    <a:pt x="2813" y="2082"/>
                  </a:lnTo>
                  <a:lnTo>
                    <a:pt x="2815" y="2082"/>
                  </a:lnTo>
                  <a:lnTo>
                    <a:pt x="2818" y="2082"/>
                  </a:lnTo>
                  <a:lnTo>
                    <a:pt x="2820" y="2082"/>
                  </a:lnTo>
                  <a:lnTo>
                    <a:pt x="2822" y="2082"/>
                  </a:lnTo>
                  <a:lnTo>
                    <a:pt x="2824" y="2082"/>
                  </a:lnTo>
                  <a:lnTo>
                    <a:pt x="2824" y="2082"/>
                  </a:lnTo>
                  <a:lnTo>
                    <a:pt x="2826" y="2080"/>
                  </a:lnTo>
                  <a:lnTo>
                    <a:pt x="2828" y="2080"/>
                  </a:lnTo>
                  <a:lnTo>
                    <a:pt x="2830" y="2080"/>
                  </a:lnTo>
                  <a:lnTo>
                    <a:pt x="2833" y="2080"/>
                  </a:lnTo>
                  <a:lnTo>
                    <a:pt x="2835" y="2080"/>
                  </a:lnTo>
                  <a:lnTo>
                    <a:pt x="2837" y="2080"/>
                  </a:lnTo>
                  <a:lnTo>
                    <a:pt x="2839" y="2080"/>
                  </a:lnTo>
                  <a:lnTo>
                    <a:pt x="2841" y="2082"/>
                  </a:lnTo>
                  <a:lnTo>
                    <a:pt x="2843" y="2082"/>
                  </a:lnTo>
                  <a:lnTo>
                    <a:pt x="2845" y="2082"/>
                  </a:lnTo>
                  <a:lnTo>
                    <a:pt x="2848" y="2082"/>
                  </a:lnTo>
                  <a:lnTo>
                    <a:pt x="2848" y="2082"/>
                  </a:lnTo>
                  <a:lnTo>
                    <a:pt x="2850" y="2082"/>
                  </a:lnTo>
                  <a:lnTo>
                    <a:pt x="2850" y="2082"/>
                  </a:lnTo>
                  <a:lnTo>
                    <a:pt x="2852" y="2084"/>
                  </a:lnTo>
                  <a:lnTo>
                    <a:pt x="2854" y="2086"/>
                  </a:lnTo>
                  <a:lnTo>
                    <a:pt x="2856" y="2086"/>
                  </a:lnTo>
                  <a:lnTo>
                    <a:pt x="2858" y="2086"/>
                  </a:lnTo>
                  <a:lnTo>
                    <a:pt x="2861" y="2086"/>
                  </a:lnTo>
                  <a:lnTo>
                    <a:pt x="2861" y="2086"/>
                  </a:lnTo>
                  <a:lnTo>
                    <a:pt x="2863" y="2086"/>
                  </a:lnTo>
                  <a:lnTo>
                    <a:pt x="2865" y="2086"/>
                  </a:lnTo>
                  <a:lnTo>
                    <a:pt x="2867" y="2086"/>
                  </a:lnTo>
                  <a:lnTo>
                    <a:pt x="2869" y="2086"/>
                  </a:lnTo>
                  <a:lnTo>
                    <a:pt x="2871" y="2086"/>
                  </a:lnTo>
                  <a:lnTo>
                    <a:pt x="2873" y="2086"/>
                  </a:lnTo>
                  <a:lnTo>
                    <a:pt x="2876" y="2086"/>
                  </a:lnTo>
                  <a:lnTo>
                    <a:pt x="2878" y="2086"/>
                  </a:lnTo>
                  <a:lnTo>
                    <a:pt x="2880" y="2086"/>
                  </a:lnTo>
                  <a:lnTo>
                    <a:pt x="2882" y="2084"/>
                  </a:lnTo>
                  <a:lnTo>
                    <a:pt x="2884" y="2084"/>
                  </a:lnTo>
                  <a:lnTo>
                    <a:pt x="2886" y="2084"/>
                  </a:lnTo>
                  <a:lnTo>
                    <a:pt x="2886" y="2084"/>
                  </a:lnTo>
                  <a:lnTo>
                    <a:pt x="2888" y="2084"/>
                  </a:lnTo>
                  <a:lnTo>
                    <a:pt x="2891" y="2084"/>
                  </a:lnTo>
                  <a:lnTo>
                    <a:pt x="2893" y="2082"/>
                  </a:lnTo>
                  <a:lnTo>
                    <a:pt x="2895" y="2082"/>
                  </a:lnTo>
                  <a:lnTo>
                    <a:pt x="2897" y="2082"/>
                  </a:lnTo>
                  <a:lnTo>
                    <a:pt x="2899" y="2082"/>
                  </a:lnTo>
                  <a:lnTo>
                    <a:pt x="2901" y="2082"/>
                  </a:lnTo>
                  <a:lnTo>
                    <a:pt x="2903" y="2080"/>
                  </a:lnTo>
                  <a:lnTo>
                    <a:pt x="2906" y="2080"/>
                  </a:lnTo>
                  <a:lnTo>
                    <a:pt x="2908" y="2080"/>
                  </a:lnTo>
                  <a:lnTo>
                    <a:pt x="2908" y="2080"/>
                  </a:lnTo>
                  <a:lnTo>
                    <a:pt x="2910" y="2078"/>
                  </a:lnTo>
                  <a:lnTo>
                    <a:pt x="2912" y="2078"/>
                  </a:lnTo>
                  <a:lnTo>
                    <a:pt x="2914" y="2078"/>
                  </a:lnTo>
                  <a:lnTo>
                    <a:pt x="2916" y="2078"/>
                  </a:lnTo>
                  <a:lnTo>
                    <a:pt x="2919" y="2076"/>
                  </a:lnTo>
                  <a:lnTo>
                    <a:pt x="2921" y="2076"/>
                  </a:lnTo>
                  <a:lnTo>
                    <a:pt x="2923" y="2076"/>
                  </a:lnTo>
                  <a:lnTo>
                    <a:pt x="2925" y="2076"/>
                  </a:lnTo>
                  <a:lnTo>
                    <a:pt x="2925" y="2074"/>
                  </a:lnTo>
                  <a:lnTo>
                    <a:pt x="2927" y="2074"/>
                  </a:lnTo>
                  <a:lnTo>
                    <a:pt x="2929" y="2074"/>
                  </a:lnTo>
                  <a:lnTo>
                    <a:pt x="2931" y="2074"/>
                  </a:lnTo>
                  <a:lnTo>
                    <a:pt x="2934" y="2072"/>
                  </a:lnTo>
                  <a:lnTo>
                    <a:pt x="2936" y="2072"/>
                  </a:lnTo>
                  <a:lnTo>
                    <a:pt x="2938" y="2072"/>
                  </a:lnTo>
                  <a:lnTo>
                    <a:pt x="2940" y="2070"/>
                  </a:lnTo>
                  <a:lnTo>
                    <a:pt x="2940" y="2070"/>
                  </a:lnTo>
                  <a:lnTo>
                    <a:pt x="2942" y="2070"/>
                  </a:lnTo>
                  <a:lnTo>
                    <a:pt x="2944" y="2070"/>
                  </a:lnTo>
                  <a:lnTo>
                    <a:pt x="2946" y="2070"/>
                  </a:lnTo>
                  <a:lnTo>
                    <a:pt x="2949" y="2070"/>
                  </a:lnTo>
                  <a:lnTo>
                    <a:pt x="2949" y="2070"/>
                  </a:lnTo>
                  <a:lnTo>
                    <a:pt x="2951" y="2072"/>
                  </a:lnTo>
                  <a:lnTo>
                    <a:pt x="2953" y="2072"/>
                  </a:lnTo>
                  <a:lnTo>
                    <a:pt x="2955" y="2072"/>
                  </a:lnTo>
                  <a:lnTo>
                    <a:pt x="2957" y="2072"/>
                  </a:lnTo>
                  <a:lnTo>
                    <a:pt x="2957" y="2072"/>
                  </a:lnTo>
                  <a:lnTo>
                    <a:pt x="2959" y="2074"/>
                  </a:lnTo>
                  <a:lnTo>
                    <a:pt x="2959" y="2074"/>
                  </a:lnTo>
                  <a:lnTo>
                    <a:pt x="2961" y="2074"/>
                  </a:lnTo>
                  <a:lnTo>
                    <a:pt x="2964" y="2074"/>
                  </a:lnTo>
                  <a:lnTo>
                    <a:pt x="2966" y="2074"/>
                  </a:lnTo>
                  <a:lnTo>
                    <a:pt x="2968" y="2074"/>
                  </a:lnTo>
                  <a:lnTo>
                    <a:pt x="2970" y="2074"/>
                  </a:lnTo>
                  <a:lnTo>
                    <a:pt x="2972" y="2074"/>
                  </a:lnTo>
                  <a:lnTo>
                    <a:pt x="2974" y="2074"/>
                  </a:lnTo>
                  <a:lnTo>
                    <a:pt x="2976" y="2072"/>
                  </a:lnTo>
                  <a:lnTo>
                    <a:pt x="2976" y="2072"/>
                  </a:lnTo>
                  <a:lnTo>
                    <a:pt x="2979" y="2072"/>
                  </a:lnTo>
                  <a:lnTo>
                    <a:pt x="2981" y="2072"/>
                  </a:lnTo>
                  <a:lnTo>
                    <a:pt x="2983" y="2072"/>
                  </a:lnTo>
                  <a:lnTo>
                    <a:pt x="2985" y="2072"/>
                  </a:lnTo>
                  <a:lnTo>
                    <a:pt x="2987" y="2072"/>
                  </a:lnTo>
                  <a:lnTo>
                    <a:pt x="2989" y="2070"/>
                  </a:lnTo>
                  <a:lnTo>
                    <a:pt x="2992" y="2070"/>
                  </a:lnTo>
                  <a:lnTo>
                    <a:pt x="2994" y="2070"/>
                  </a:lnTo>
                  <a:lnTo>
                    <a:pt x="2996" y="2070"/>
                  </a:lnTo>
                  <a:lnTo>
                    <a:pt x="2998" y="2070"/>
                  </a:lnTo>
                  <a:lnTo>
                    <a:pt x="3000" y="2068"/>
                  </a:lnTo>
                  <a:lnTo>
                    <a:pt x="3000" y="2068"/>
                  </a:lnTo>
                  <a:lnTo>
                    <a:pt x="3002" y="2068"/>
                  </a:lnTo>
                  <a:lnTo>
                    <a:pt x="3004" y="2068"/>
                  </a:lnTo>
                  <a:lnTo>
                    <a:pt x="3007" y="2068"/>
                  </a:lnTo>
                  <a:lnTo>
                    <a:pt x="3009" y="2068"/>
                  </a:lnTo>
                  <a:lnTo>
                    <a:pt x="3011" y="2066"/>
                  </a:lnTo>
                  <a:lnTo>
                    <a:pt x="3013" y="2066"/>
                  </a:lnTo>
                  <a:lnTo>
                    <a:pt x="3015" y="2066"/>
                  </a:lnTo>
                  <a:lnTo>
                    <a:pt x="3017" y="2066"/>
                  </a:lnTo>
                  <a:lnTo>
                    <a:pt x="3019" y="2064"/>
                  </a:lnTo>
                  <a:lnTo>
                    <a:pt x="3019" y="2064"/>
                  </a:lnTo>
                  <a:lnTo>
                    <a:pt x="3022" y="2064"/>
                  </a:lnTo>
                  <a:lnTo>
                    <a:pt x="3024" y="2064"/>
                  </a:lnTo>
                  <a:lnTo>
                    <a:pt x="3026" y="2064"/>
                  </a:lnTo>
                  <a:lnTo>
                    <a:pt x="3028" y="2062"/>
                  </a:lnTo>
                  <a:lnTo>
                    <a:pt x="3030" y="2062"/>
                  </a:lnTo>
                  <a:lnTo>
                    <a:pt x="3032" y="2062"/>
                  </a:lnTo>
                  <a:lnTo>
                    <a:pt x="3034" y="2062"/>
                  </a:lnTo>
                  <a:lnTo>
                    <a:pt x="3037" y="2062"/>
                  </a:lnTo>
                  <a:lnTo>
                    <a:pt x="3037" y="2062"/>
                  </a:lnTo>
                  <a:lnTo>
                    <a:pt x="3039" y="2060"/>
                  </a:lnTo>
                  <a:lnTo>
                    <a:pt x="3041" y="2060"/>
                  </a:lnTo>
                  <a:lnTo>
                    <a:pt x="3043" y="2060"/>
                  </a:lnTo>
                  <a:lnTo>
                    <a:pt x="3045" y="2060"/>
                  </a:lnTo>
                  <a:lnTo>
                    <a:pt x="3047" y="2058"/>
                  </a:lnTo>
                  <a:lnTo>
                    <a:pt x="3050" y="2058"/>
                  </a:lnTo>
                  <a:lnTo>
                    <a:pt x="3052" y="2058"/>
                  </a:lnTo>
                  <a:lnTo>
                    <a:pt x="3054" y="2058"/>
                  </a:lnTo>
                  <a:lnTo>
                    <a:pt x="3054" y="2056"/>
                  </a:lnTo>
                  <a:lnTo>
                    <a:pt x="3056" y="2056"/>
                  </a:lnTo>
                  <a:lnTo>
                    <a:pt x="3058" y="2056"/>
                  </a:lnTo>
                  <a:lnTo>
                    <a:pt x="3060" y="2056"/>
                  </a:lnTo>
                  <a:lnTo>
                    <a:pt x="3062" y="2054"/>
                  </a:lnTo>
                  <a:lnTo>
                    <a:pt x="3065" y="2054"/>
                  </a:lnTo>
                  <a:lnTo>
                    <a:pt x="3065" y="2052"/>
                  </a:lnTo>
                  <a:lnTo>
                    <a:pt x="3067" y="2052"/>
                  </a:lnTo>
                  <a:lnTo>
                    <a:pt x="3069" y="2054"/>
                  </a:lnTo>
                  <a:lnTo>
                    <a:pt x="3069" y="2052"/>
                  </a:lnTo>
                  <a:lnTo>
                    <a:pt x="3071" y="2050"/>
                  </a:lnTo>
                  <a:lnTo>
                    <a:pt x="3071" y="2052"/>
                  </a:lnTo>
                  <a:lnTo>
                    <a:pt x="3073" y="2052"/>
                  </a:lnTo>
                  <a:lnTo>
                    <a:pt x="3073" y="2052"/>
                  </a:lnTo>
                  <a:lnTo>
                    <a:pt x="3075" y="2052"/>
                  </a:lnTo>
                  <a:lnTo>
                    <a:pt x="3077" y="2052"/>
                  </a:lnTo>
                  <a:lnTo>
                    <a:pt x="3077" y="2052"/>
                  </a:lnTo>
                  <a:lnTo>
                    <a:pt x="3080" y="2052"/>
                  </a:lnTo>
                  <a:lnTo>
                    <a:pt x="3082" y="2050"/>
                  </a:lnTo>
                  <a:lnTo>
                    <a:pt x="3082" y="2052"/>
                  </a:lnTo>
                  <a:lnTo>
                    <a:pt x="3084" y="2052"/>
                  </a:lnTo>
                  <a:lnTo>
                    <a:pt x="3084" y="2050"/>
                  </a:lnTo>
                  <a:lnTo>
                    <a:pt x="3086" y="2052"/>
                  </a:lnTo>
                  <a:lnTo>
                    <a:pt x="3086" y="2050"/>
                  </a:lnTo>
                  <a:lnTo>
                    <a:pt x="3088" y="2052"/>
                  </a:lnTo>
                  <a:lnTo>
                    <a:pt x="3088" y="2052"/>
                  </a:lnTo>
                  <a:lnTo>
                    <a:pt x="3090" y="2052"/>
                  </a:lnTo>
                  <a:lnTo>
                    <a:pt x="3090" y="2052"/>
                  </a:lnTo>
                  <a:lnTo>
                    <a:pt x="3092" y="2054"/>
                  </a:lnTo>
                  <a:lnTo>
                    <a:pt x="3095" y="2054"/>
                  </a:lnTo>
                  <a:lnTo>
                    <a:pt x="3095" y="2054"/>
                  </a:lnTo>
                  <a:lnTo>
                    <a:pt x="3097" y="2054"/>
                  </a:lnTo>
                  <a:lnTo>
                    <a:pt x="3097" y="2054"/>
                  </a:lnTo>
                  <a:lnTo>
                    <a:pt x="3097" y="2056"/>
                  </a:lnTo>
                  <a:lnTo>
                    <a:pt x="3099" y="2056"/>
                  </a:lnTo>
                  <a:lnTo>
                    <a:pt x="3101" y="2058"/>
                  </a:lnTo>
                  <a:lnTo>
                    <a:pt x="3101" y="2058"/>
                  </a:lnTo>
                  <a:lnTo>
                    <a:pt x="3103" y="2058"/>
                  </a:lnTo>
                  <a:lnTo>
                    <a:pt x="3103" y="2058"/>
                  </a:lnTo>
                  <a:lnTo>
                    <a:pt x="3105" y="2060"/>
                  </a:lnTo>
                  <a:lnTo>
                    <a:pt x="3105" y="2062"/>
                  </a:lnTo>
                  <a:lnTo>
                    <a:pt x="3107" y="2062"/>
                  </a:lnTo>
                  <a:lnTo>
                    <a:pt x="3110" y="2064"/>
                  </a:lnTo>
                  <a:lnTo>
                    <a:pt x="3112" y="2064"/>
                  </a:lnTo>
                  <a:lnTo>
                    <a:pt x="3112" y="2062"/>
                  </a:lnTo>
                  <a:lnTo>
                    <a:pt x="3114" y="2062"/>
                  </a:lnTo>
                  <a:lnTo>
                    <a:pt x="3114" y="2062"/>
                  </a:lnTo>
                  <a:lnTo>
                    <a:pt x="3116" y="2064"/>
                  </a:lnTo>
                  <a:lnTo>
                    <a:pt x="3118" y="2064"/>
                  </a:lnTo>
                  <a:lnTo>
                    <a:pt x="3118" y="2066"/>
                  </a:lnTo>
                  <a:lnTo>
                    <a:pt x="3118" y="2066"/>
                  </a:lnTo>
                  <a:lnTo>
                    <a:pt x="3118" y="2068"/>
                  </a:lnTo>
                  <a:lnTo>
                    <a:pt x="3118" y="2068"/>
                  </a:lnTo>
                  <a:lnTo>
                    <a:pt x="3120" y="2068"/>
                  </a:lnTo>
                  <a:lnTo>
                    <a:pt x="3120" y="2070"/>
                  </a:lnTo>
                  <a:lnTo>
                    <a:pt x="3123" y="2070"/>
                  </a:lnTo>
                  <a:lnTo>
                    <a:pt x="3123" y="2072"/>
                  </a:lnTo>
                  <a:lnTo>
                    <a:pt x="3123" y="2072"/>
                  </a:lnTo>
                  <a:lnTo>
                    <a:pt x="3125" y="2074"/>
                  </a:lnTo>
                  <a:lnTo>
                    <a:pt x="3127" y="2074"/>
                  </a:lnTo>
                  <a:lnTo>
                    <a:pt x="3129" y="2072"/>
                  </a:lnTo>
                  <a:lnTo>
                    <a:pt x="3129" y="2074"/>
                  </a:lnTo>
                  <a:lnTo>
                    <a:pt x="3129" y="2074"/>
                  </a:lnTo>
                  <a:lnTo>
                    <a:pt x="3129" y="2074"/>
                  </a:lnTo>
                  <a:lnTo>
                    <a:pt x="3129" y="2076"/>
                  </a:lnTo>
                  <a:lnTo>
                    <a:pt x="3127" y="2076"/>
                  </a:lnTo>
                  <a:lnTo>
                    <a:pt x="3127" y="2078"/>
                  </a:lnTo>
                  <a:lnTo>
                    <a:pt x="3127" y="2080"/>
                  </a:lnTo>
                  <a:lnTo>
                    <a:pt x="3127" y="2082"/>
                  </a:lnTo>
                  <a:lnTo>
                    <a:pt x="3127" y="2084"/>
                  </a:lnTo>
                  <a:lnTo>
                    <a:pt x="3129" y="2086"/>
                  </a:lnTo>
                  <a:lnTo>
                    <a:pt x="3129" y="2088"/>
                  </a:lnTo>
                  <a:lnTo>
                    <a:pt x="3129" y="2090"/>
                  </a:lnTo>
                  <a:lnTo>
                    <a:pt x="3131" y="2090"/>
                  </a:lnTo>
                  <a:lnTo>
                    <a:pt x="3131" y="2092"/>
                  </a:lnTo>
                  <a:lnTo>
                    <a:pt x="3133" y="2092"/>
                  </a:lnTo>
                  <a:lnTo>
                    <a:pt x="3133" y="2092"/>
                  </a:lnTo>
                  <a:lnTo>
                    <a:pt x="3133" y="2094"/>
                  </a:lnTo>
                  <a:lnTo>
                    <a:pt x="3133" y="2096"/>
                  </a:lnTo>
                  <a:lnTo>
                    <a:pt x="3133" y="2096"/>
                  </a:lnTo>
                  <a:lnTo>
                    <a:pt x="3133" y="2096"/>
                  </a:lnTo>
                  <a:lnTo>
                    <a:pt x="3135" y="2096"/>
                  </a:lnTo>
                  <a:lnTo>
                    <a:pt x="3135" y="2096"/>
                  </a:lnTo>
                  <a:lnTo>
                    <a:pt x="3138" y="2098"/>
                  </a:lnTo>
                  <a:lnTo>
                    <a:pt x="3135" y="2100"/>
                  </a:lnTo>
                  <a:lnTo>
                    <a:pt x="3135" y="2100"/>
                  </a:lnTo>
                  <a:lnTo>
                    <a:pt x="3135" y="2102"/>
                  </a:lnTo>
                  <a:lnTo>
                    <a:pt x="3138" y="2104"/>
                  </a:lnTo>
                  <a:lnTo>
                    <a:pt x="3135" y="2104"/>
                  </a:lnTo>
                  <a:lnTo>
                    <a:pt x="3138" y="2104"/>
                  </a:lnTo>
                  <a:lnTo>
                    <a:pt x="3138" y="2106"/>
                  </a:lnTo>
                  <a:lnTo>
                    <a:pt x="3138" y="2108"/>
                  </a:lnTo>
                  <a:lnTo>
                    <a:pt x="3135" y="2108"/>
                  </a:lnTo>
                  <a:lnTo>
                    <a:pt x="3138" y="2108"/>
                  </a:lnTo>
                  <a:lnTo>
                    <a:pt x="3138" y="2110"/>
                  </a:lnTo>
                  <a:lnTo>
                    <a:pt x="3138" y="2112"/>
                  </a:lnTo>
                  <a:lnTo>
                    <a:pt x="3135" y="2112"/>
                  </a:lnTo>
                  <a:lnTo>
                    <a:pt x="3135" y="2114"/>
                  </a:lnTo>
                  <a:lnTo>
                    <a:pt x="3135" y="2116"/>
                  </a:lnTo>
                  <a:lnTo>
                    <a:pt x="3138" y="2116"/>
                  </a:lnTo>
                  <a:lnTo>
                    <a:pt x="3135" y="2116"/>
                  </a:lnTo>
                  <a:lnTo>
                    <a:pt x="3135" y="2118"/>
                  </a:lnTo>
                  <a:lnTo>
                    <a:pt x="3135" y="2120"/>
                  </a:lnTo>
                  <a:lnTo>
                    <a:pt x="3135" y="2120"/>
                  </a:lnTo>
                  <a:lnTo>
                    <a:pt x="3133" y="2122"/>
                  </a:lnTo>
                  <a:lnTo>
                    <a:pt x="3133" y="2122"/>
                  </a:lnTo>
                  <a:lnTo>
                    <a:pt x="3131" y="2122"/>
                  </a:lnTo>
                  <a:lnTo>
                    <a:pt x="3129" y="2124"/>
                  </a:lnTo>
                  <a:lnTo>
                    <a:pt x="3129" y="2124"/>
                  </a:lnTo>
                  <a:lnTo>
                    <a:pt x="3129" y="2126"/>
                  </a:lnTo>
                  <a:lnTo>
                    <a:pt x="3129" y="2128"/>
                  </a:lnTo>
                  <a:lnTo>
                    <a:pt x="3127" y="2128"/>
                  </a:lnTo>
                  <a:lnTo>
                    <a:pt x="3125" y="2130"/>
                  </a:lnTo>
                  <a:lnTo>
                    <a:pt x="3123" y="2130"/>
                  </a:lnTo>
                  <a:lnTo>
                    <a:pt x="3123" y="2132"/>
                  </a:lnTo>
                  <a:lnTo>
                    <a:pt x="3123" y="2134"/>
                  </a:lnTo>
                  <a:lnTo>
                    <a:pt x="3120" y="2134"/>
                  </a:lnTo>
                  <a:lnTo>
                    <a:pt x="3120" y="2134"/>
                  </a:lnTo>
                  <a:lnTo>
                    <a:pt x="3118" y="2136"/>
                  </a:lnTo>
                  <a:lnTo>
                    <a:pt x="3114" y="2136"/>
                  </a:lnTo>
                  <a:lnTo>
                    <a:pt x="3114" y="2138"/>
                  </a:lnTo>
                  <a:lnTo>
                    <a:pt x="3114" y="2140"/>
                  </a:lnTo>
                  <a:lnTo>
                    <a:pt x="3112" y="2138"/>
                  </a:lnTo>
                  <a:lnTo>
                    <a:pt x="3110" y="2140"/>
                  </a:lnTo>
                  <a:lnTo>
                    <a:pt x="3107" y="2142"/>
                  </a:lnTo>
                  <a:lnTo>
                    <a:pt x="3107" y="2142"/>
                  </a:lnTo>
                  <a:lnTo>
                    <a:pt x="3105" y="2144"/>
                  </a:lnTo>
                  <a:lnTo>
                    <a:pt x="3105" y="2146"/>
                  </a:lnTo>
                  <a:lnTo>
                    <a:pt x="3103" y="2146"/>
                  </a:lnTo>
                  <a:lnTo>
                    <a:pt x="3101" y="2148"/>
                  </a:lnTo>
                  <a:lnTo>
                    <a:pt x="3101" y="2148"/>
                  </a:lnTo>
                  <a:lnTo>
                    <a:pt x="3099" y="2150"/>
                  </a:lnTo>
                  <a:lnTo>
                    <a:pt x="3099" y="2150"/>
                  </a:lnTo>
                  <a:lnTo>
                    <a:pt x="3099" y="2152"/>
                  </a:lnTo>
                  <a:lnTo>
                    <a:pt x="3097" y="2154"/>
                  </a:lnTo>
                  <a:lnTo>
                    <a:pt x="3097" y="2156"/>
                  </a:lnTo>
                  <a:lnTo>
                    <a:pt x="3095" y="2156"/>
                  </a:lnTo>
                  <a:lnTo>
                    <a:pt x="3095" y="2158"/>
                  </a:lnTo>
                  <a:lnTo>
                    <a:pt x="3092" y="2158"/>
                  </a:lnTo>
                  <a:lnTo>
                    <a:pt x="3090" y="2160"/>
                  </a:lnTo>
                  <a:lnTo>
                    <a:pt x="3090" y="2160"/>
                  </a:lnTo>
                  <a:lnTo>
                    <a:pt x="3088" y="2162"/>
                  </a:lnTo>
                  <a:lnTo>
                    <a:pt x="3088" y="2164"/>
                  </a:lnTo>
                  <a:lnTo>
                    <a:pt x="3086" y="2164"/>
                  </a:lnTo>
                  <a:lnTo>
                    <a:pt x="3084" y="2164"/>
                  </a:lnTo>
                  <a:lnTo>
                    <a:pt x="3082" y="2166"/>
                  </a:lnTo>
                  <a:lnTo>
                    <a:pt x="3082" y="2168"/>
                  </a:lnTo>
                  <a:lnTo>
                    <a:pt x="3080" y="2168"/>
                  </a:lnTo>
                  <a:lnTo>
                    <a:pt x="3077" y="2168"/>
                  </a:lnTo>
                  <a:lnTo>
                    <a:pt x="3075" y="2170"/>
                  </a:lnTo>
                  <a:lnTo>
                    <a:pt x="3075" y="2170"/>
                  </a:lnTo>
                  <a:lnTo>
                    <a:pt x="3073" y="2172"/>
                  </a:lnTo>
                  <a:lnTo>
                    <a:pt x="3071" y="2172"/>
                  </a:lnTo>
                  <a:lnTo>
                    <a:pt x="3071" y="2174"/>
                  </a:lnTo>
                  <a:lnTo>
                    <a:pt x="3069" y="2174"/>
                  </a:lnTo>
                  <a:lnTo>
                    <a:pt x="3067" y="2176"/>
                  </a:lnTo>
                  <a:lnTo>
                    <a:pt x="3065" y="2176"/>
                  </a:lnTo>
                  <a:lnTo>
                    <a:pt x="3062" y="2178"/>
                  </a:lnTo>
                  <a:lnTo>
                    <a:pt x="3062" y="2178"/>
                  </a:lnTo>
                  <a:lnTo>
                    <a:pt x="3060" y="2180"/>
                  </a:lnTo>
                  <a:lnTo>
                    <a:pt x="3058" y="2180"/>
                  </a:lnTo>
                  <a:lnTo>
                    <a:pt x="3058" y="2182"/>
                  </a:lnTo>
                  <a:lnTo>
                    <a:pt x="3056" y="2182"/>
                  </a:lnTo>
                  <a:lnTo>
                    <a:pt x="3054" y="2184"/>
                  </a:lnTo>
                  <a:lnTo>
                    <a:pt x="3054" y="2184"/>
                  </a:lnTo>
                  <a:lnTo>
                    <a:pt x="3052" y="2186"/>
                  </a:lnTo>
                  <a:lnTo>
                    <a:pt x="3054" y="2188"/>
                  </a:lnTo>
                  <a:lnTo>
                    <a:pt x="3054" y="2186"/>
                  </a:lnTo>
                  <a:lnTo>
                    <a:pt x="3052" y="2186"/>
                  </a:lnTo>
                  <a:lnTo>
                    <a:pt x="3050" y="2188"/>
                  </a:lnTo>
                  <a:lnTo>
                    <a:pt x="3050" y="2188"/>
                  </a:lnTo>
                  <a:lnTo>
                    <a:pt x="3050" y="2190"/>
                  </a:lnTo>
                  <a:lnTo>
                    <a:pt x="3052" y="2190"/>
                  </a:lnTo>
                  <a:lnTo>
                    <a:pt x="3050" y="2190"/>
                  </a:lnTo>
                  <a:lnTo>
                    <a:pt x="3050" y="2188"/>
                  </a:lnTo>
                  <a:lnTo>
                    <a:pt x="3047" y="2190"/>
                  </a:lnTo>
                  <a:lnTo>
                    <a:pt x="3047" y="2192"/>
                  </a:lnTo>
                  <a:lnTo>
                    <a:pt x="3045" y="2192"/>
                  </a:lnTo>
                  <a:lnTo>
                    <a:pt x="3045" y="2194"/>
                  </a:lnTo>
                  <a:lnTo>
                    <a:pt x="3045" y="2196"/>
                  </a:lnTo>
                  <a:lnTo>
                    <a:pt x="3045" y="2198"/>
                  </a:lnTo>
                  <a:lnTo>
                    <a:pt x="3045" y="2200"/>
                  </a:lnTo>
                  <a:lnTo>
                    <a:pt x="3045" y="2202"/>
                  </a:lnTo>
                  <a:lnTo>
                    <a:pt x="3045" y="2204"/>
                  </a:lnTo>
                  <a:lnTo>
                    <a:pt x="3045" y="2206"/>
                  </a:lnTo>
                  <a:lnTo>
                    <a:pt x="3045" y="2206"/>
                  </a:lnTo>
                  <a:lnTo>
                    <a:pt x="3045" y="2208"/>
                  </a:lnTo>
                  <a:lnTo>
                    <a:pt x="3045" y="2210"/>
                  </a:lnTo>
                  <a:lnTo>
                    <a:pt x="3045" y="2212"/>
                  </a:lnTo>
                  <a:lnTo>
                    <a:pt x="3045" y="2214"/>
                  </a:lnTo>
                  <a:lnTo>
                    <a:pt x="3045" y="2216"/>
                  </a:lnTo>
                  <a:lnTo>
                    <a:pt x="3047" y="2218"/>
                  </a:lnTo>
                  <a:lnTo>
                    <a:pt x="3047" y="2220"/>
                  </a:lnTo>
                  <a:lnTo>
                    <a:pt x="3047" y="2222"/>
                  </a:lnTo>
                  <a:lnTo>
                    <a:pt x="3047" y="2224"/>
                  </a:lnTo>
                  <a:lnTo>
                    <a:pt x="3050" y="2226"/>
                  </a:lnTo>
                  <a:lnTo>
                    <a:pt x="3050" y="2226"/>
                  </a:lnTo>
                  <a:lnTo>
                    <a:pt x="3050" y="2228"/>
                  </a:lnTo>
                  <a:lnTo>
                    <a:pt x="3052" y="2230"/>
                  </a:lnTo>
                  <a:lnTo>
                    <a:pt x="3052" y="2232"/>
                  </a:lnTo>
                  <a:lnTo>
                    <a:pt x="3054" y="2234"/>
                  </a:lnTo>
                  <a:lnTo>
                    <a:pt x="3054" y="2236"/>
                  </a:lnTo>
                  <a:lnTo>
                    <a:pt x="3054" y="2236"/>
                  </a:lnTo>
                  <a:lnTo>
                    <a:pt x="3056" y="2238"/>
                  </a:lnTo>
                  <a:lnTo>
                    <a:pt x="3056" y="2240"/>
                  </a:lnTo>
                  <a:lnTo>
                    <a:pt x="3058" y="2242"/>
                  </a:lnTo>
                  <a:lnTo>
                    <a:pt x="3058" y="2244"/>
                  </a:lnTo>
                  <a:lnTo>
                    <a:pt x="3060" y="2244"/>
                  </a:lnTo>
                  <a:lnTo>
                    <a:pt x="3060" y="2246"/>
                  </a:lnTo>
                  <a:lnTo>
                    <a:pt x="3062" y="2248"/>
                  </a:lnTo>
                  <a:lnTo>
                    <a:pt x="3065" y="2248"/>
                  </a:lnTo>
                  <a:lnTo>
                    <a:pt x="3065" y="2250"/>
                  </a:lnTo>
                  <a:lnTo>
                    <a:pt x="3067" y="2252"/>
                  </a:lnTo>
                  <a:lnTo>
                    <a:pt x="3069" y="2252"/>
                  </a:lnTo>
                  <a:lnTo>
                    <a:pt x="3069" y="2254"/>
                  </a:lnTo>
                  <a:lnTo>
                    <a:pt x="3071" y="2256"/>
                  </a:lnTo>
                  <a:lnTo>
                    <a:pt x="3073" y="2256"/>
                  </a:lnTo>
                  <a:lnTo>
                    <a:pt x="3073" y="2258"/>
                  </a:lnTo>
                  <a:lnTo>
                    <a:pt x="3075" y="2258"/>
                  </a:lnTo>
                  <a:lnTo>
                    <a:pt x="3077" y="2260"/>
                  </a:lnTo>
                  <a:lnTo>
                    <a:pt x="3080" y="2260"/>
                  </a:lnTo>
                  <a:lnTo>
                    <a:pt x="3082" y="2262"/>
                  </a:lnTo>
                  <a:lnTo>
                    <a:pt x="3082" y="2262"/>
                  </a:lnTo>
                  <a:lnTo>
                    <a:pt x="3084" y="2264"/>
                  </a:lnTo>
                  <a:lnTo>
                    <a:pt x="3086" y="2264"/>
                  </a:lnTo>
                  <a:lnTo>
                    <a:pt x="3088" y="2266"/>
                  </a:lnTo>
                  <a:lnTo>
                    <a:pt x="3090" y="2266"/>
                  </a:lnTo>
                  <a:lnTo>
                    <a:pt x="3090" y="2266"/>
                  </a:lnTo>
                  <a:lnTo>
                    <a:pt x="3092" y="2268"/>
                  </a:lnTo>
                  <a:lnTo>
                    <a:pt x="3095" y="2268"/>
                  </a:lnTo>
                  <a:lnTo>
                    <a:pt x="3097" y="2268"/>
                  </a:lnTo>
                  <a:lnTo>
                    <a:pt x="3099" y="2268"/>
                  </a:lnTo>
                  <a:lnTo>
                    <a:pt x="3101" y="2270"/>
                  </a:lnTo>
                  <a:lnTo>
                    <a:pt x="3103" y="2270"/>
                  </a:lnTo>
                  <a:lnTo>
                    <a:pt x="3105" y="2270"/>
                  </a:lnTo>
                  <a:lnTo>
                    <a:pt x="3105" y="2272"/>
                  </a:lnTo>
                  <a:lnTo>
                    <a:pt x="3107" y="2272"/>
                  </a:lnTo>
                  <a:lnTo>
                    <a:pt x="3110" y="2272"/>
                  </a:lnTo>
                  <a:lnTo>
                    <a:pt x="3112" y="2274"/>
                  </a:lnTo>
                  <a:lnTo>
                    <a:pt x="3114" y="2274"/>
                  </a:lnTo>
                  <a:lnTo>
                    <a:pt x="3116" y="2276"/>
                  </a:lnTo>
                  <a:lnTo>
                    <a:pt x="3116" y="2276"/>
                  </a:lnTo>
                  <a:lnTo>
                    <a:pt x="3118" y="2276"/>
                  </a:lnTo>
                  <a:lnTo>
                    <a:pt x="3120" y="2278"/>
                  </a:lnTo>
                  <a:lnTo>
                    <a:pt x="3120" y="2278"/>
                  </a:lnTo>
                  <a:lnTo>
                    <a:pt x="3123" y="2278"/>
                  </a:lnTo>
                  <a:lnTo>
                    <a:pt x="3125" y="2278"/>
                  </a:lnTo>
                  <a:lnTo>
                    <a:pt x="3127" y="2280"/>
                  </a:lnTo>
                  <a:lnTo>
                    <a:pt x="3129" y="2280"/>
                  </a:lnTo>
                  <a:lnTo>
                    <a:pt x="3129" y="2282"/>
                  </a:lnTo>
                  <a:lnTo>
                    <a:pt x="3131" y="2280"/>
                  </a:lnTo>
                  <a:lnTo>
                    <a:pt x="3133" y="2282"/>
                  </a:lnTo>
                  <a:lnTo>
                    <a:pt x="3135" y="2284"/>
                  </a:lnTo>
                  <a:lnTo>
                    <a:pt x="3135" y="2284"/>
                  </a:lnTo>
                  <a:lnTo>
                    <a:pt x="3138" y="2286"/>
                  </a:lnTo>
                  <a:lnTo>
                    <a:pt x="3140" y="2286"/>
                  </a:lnTo>
                  <a:lnTo>
                    <a:pt x="3142" y="2286"/>
                  </a:lnTo>
                  <a:lnTo>
                    <a:pt x="3144" y="2288"/>
                  </a:lnTo>
                  <a:lnTo>
                    <a:pt x="3146" y="2288"/>
                  </a:lnTo>
                  <a:lnTo>
                    <a:pt x="3148" y="2288"/>
                  </a:lnTo>
                  <a:lnTo>
                    <a:pt x="3148" y="2288"/>
                  </a:lnTo>
                  <a:lnTo>
                    <a:pt x="3150" y="2288"/>
                  </a:lnTo>
                  <a:lnTo>
                    <a:pt x="3153" y="2288"/>
                  </a:lnTo>
                  <a:lnTo>
                    <a:pt x="3153" y="2290"/>
                  </a:lnTo>
                  <a:lnTo>
                    <a:pt x="3155" y="2288"/>
                  </a:lnTo>
                  <a:lnTo>
                    <a:pt x="3155" y="2290"/>
                  </a:lnTo>
                  <a:lnTo>
                    <a:pt x="3157" y="2290"/>
                  </a:lnTo>
                  <a:lnTo>
                    <a:pt x="3159" y="2290"/>
                  </a:lnTo>
                  <a:lnTo>
                    <a:pt x="3161" y="2292"/>
                  </a:lnTo>
                  <a:lnTo>
                    <a:pt x="3161" y="2292"/>
                  </a:lnTo>
                  <a:lnTo>
                    <a:pt x="3163" y="2294"/>
                  </a:lnTo>
                  <a:lnTo>
                    <a:pt x="3165" y="2296"/>
                  </a:lnTo>
                  <a:lnTo>
                    <a:pt x="3165" y="2296"/>
                  </a:lnTo>
                  <a:lnTo>
                    <a:pt x="3168" y="2298"/>
                  </a:lnTo>
                  <a:lnTo>
                    <a:pt x="3170" y="2298"/>
                  </a:lnTo>
                  <a:lnTo>
                    <a:pt x="3172" y="2299"/>
                  </a:lnTo>
                  <a:lnTo>
                    <a:pt x="3174" y="2299"/>
                  </a:lnTo>
                  <a:lnTo>
                    <a:pt x="3174" y="2301"/>
                  </a:lnTo>
                  <a:lnTo>
                    <a:pt x="3176" y="2301"/>
                  </a:lnTo>
                  <a:lnTo>
                    <a:pt x="3178" y="2301"/>
                  </a:lnTo>
                  <a:lnTo>
                    <a:pt x="3181" y="2303"/>
                  </a:lnTo>
                  <a:lnTo>
                    <a:pt x="3183" y="2303"/>
                  </a:lnTo>
                  <a:lnTo>
                    <a:pt x="3185" y="2301"/>
                  </a:lnTo>
                  <a:lnTo>
                    <a:pt x="3185" y="2301"/>
                  </a:lnTo>
                  <a:lnTo>
                    <a:pt x="3185" y="2299"/>
                  </a:lnTo>
                  <a:lnTo>
                    <a:pt x="3185" y="2299"/>
                  </a:lnTo>
                  <a:lnTo>
                    <a:pt x="3185" y="2301"/>
                  </a:lnTo>
                  <a:lnTo>
                    <a:pt x="3185" y="2303"/>
                  </a:lnTo>
                  <a:lnTo>
                    <a:pt x="3187" y="2303"/>
                  </a:lnTo>
                  <a:lnTo>
                    <a:pt x="3187" y="2301"/>
                  </a:lnTo>
                  <a:lnTo>
                    <a:pt x="3187" y="2299"/>
                  </a:lnTo>
                  <a:lnTo>
                    <a:pt x="3187" y="2301"/>
                  </a:lnTo>
                  <a:lnTo>
                    <a:pt x="3189" y="2303"/>
                  </a:lnTo>
                  <a:lnTo>
                    <a:pt x="3191" y="2303"/>
                  </a:lnTo>
                  <a:lnTo>
                    <a:pt x="3191" y="2305"/>
                  </a:lnTo>
                  <a:lnTo>
                    <a:pt x="3193" y="2305"/>
                  </a:lnTo>
                  <a:lnTo>
                    <a:pt x="3196" y="2305"/>
                  </a:lnTo>
                  <a:lnTo>
                    <a:pt x="3198" y="2305"/>
                  </a:lnTo>
                  <a:lnTo>
                    <a:pt x="3200" y="2305"/>
                  </a:lnTo>
                  <a:lnTo>
                    <a:pt x="3202" y="2305"/>
                  </a:lnTo>
                  <a:lnTo>
                    <a:pt x="3204" y="2307"/>
                  </a:lnTo>
                  <a:lnTo>
                    <a:pt x="3206" y="2307"/>
                  </a:lnTo>
                  <a:lnTo>
                    <a:pt x="3206" y="2307"/>
                  </a:lnTo>
                  <a:lnTo>
                    <a:pt x="3208" y="2307"/>
                  </a:lnTo>
                  <a:lnTo>
                    <a:pt x="3211" y="2309"/>
                  </a:lnTo>
                  <a:lnTo>
                    <a:pt x="3213" y="2309"/>
                  </a:lnTo>
                  <a:lnTo>
                    <a:pt x="3215" y="2311"/>
                  </a:lnTo>
                  <a:lnTo>
                    <a:pt x="3217" y="2311"/>
                  </a:lnTo>
                  <a:lnTo>
                    <a:pt x="3217" y="2313"/>
                  </a:lnTo>
                  <a:lnTo>
                    <a:pt x="3219" y="2313"/>
                  </a:lnTo>
                  <a:lnTo>
                    <a:pt x="3221" y="2313"/>
                  </a:lnTo>
                  <a:lnTo>
                    <a:pt x="3223" y="2315"/>
                  </a:lnTo>
                  <a:lnTo>
                    <a:pt x="3226" y="2315"/>
                  </a:lnTo>
                  <a:lnTo>
                    <a:pt x="3226" y="2315"/>
                  </a:lnTo>
                  <a:lnTo>
                    <a:pt x="3228" y="2315"/>
                  </a:lnTo>
                  <a:lnTo>
                    <a:pt x="3230" y="2315"/>
                  </a:lnTo>
                  <a:lnTo>
                    <a:pt x="3232" y="2315"/>
                  </a:lnTo>
                  <a:lnTo>
                    <a:pt x="3232" y="2317"/>
                  </a:lnTo>
                  <a:lnTo>
                    <a:pt x="3232" y="2317"/>
                  </a:lnTo>
                  <a:lnTo>
                    <a:pt x="3232" y="2317"/>
                  </a:lnTo>
                  <a:lnTo>
                    <a:pt x="3234" y="2317"/>
                  </a:lnTo>
                  <a:lnTo>
                    <a:pt x="3234" y="2319"/>
                  </a:lnTo>
                  <a:lnTo>
                    <a:pt x="3236" y="2319"/>
                  </a:lnTo>
                  <a:lnTo>
                    <a:pt x="3238" y="2321"/>
                  </a:lnTo>
                  <a:lnTo>
                    <a:pt x="3238" y="2319"/>
                  </a:lnTo>
                  <a:lnTo>
                    <a:pt x="3238" y="2321"/>
                  </a:lnTo>
                  <a:lnTo>
                    <a:pt x="3241" y="2321"/>
                  </a:lnTo>
                  <a:lnTo>
                    <a:pt x="3241" y="2323"/>
                  </a:lnTo>
                  <a:lnTo>
                    <a:pt x="3243" y="2325"/>
                  </a:lnTo>
                  <a:lnTo>
                    <a:pt x="3245" y="2323"/>
                  </a:lnTo>
                  <a:lnTo>
                    <a:pt x="3247" y="2325"/>
                  </a:lnTo>
                  <a:lnTo>
                    <a:pt x="3249" y="2325"/>
                  </a:lnTo>
                  <a:lnTo>
                    <a:pt x="3251" y="2325"/>
                  </a:lnTo>
                  <a:lnTo>
                    <a:pt x="3251" y="2325"/>
                  </a:lnTo>
                  <a:lnTo>
                    <a:pt x="3254" y="2325"/>
                  </a:lnTo>
                  <a:lnTo>
                    <a:pt x="3254" y="2327"/>
                  </a:lnTo>
                  <a:lnTo>
                    <a:pt x="3256" y="2327"/>
                  </a:lnTo>
                  <a:lnTo>
                    <a:pt x="3258" y="2327"/>
                  </a:lnTo>
                  <a:lnTo>
                    <a:pt x="3260" y="2327"/>
                  </a:lnTo>
                  <a:lnTo>
                    <a:pt x="3262" y="2329"/>
                  </a:lnTo>
                  <a:lnTo>
                    <a:pt x="3262" y="2329"/>
                  </a:lnTo>
                  <a:lnTo>
                    <a:pt x="3262" y="2329"/>
                  </a:lnTo>
                  <a:lnTo>
                    <a:pt x="3264" y="2329"/>
                  </a:lnTo>
                  <a:lnTo>
                    <a:pt x="3266" y="2329"/>
                  </a:lnTo>
                  <a:lnTo>
                    <a:pt x="3269" y="2329"/>
                  </a:lnTo>
                  <a:lnTo>
                    <a:pt x="3271" y="2331"/>
                  </a:lnTo>
                  <a:lnTo>
                    <a:pt x="3271" y="2331"/>
                  </a:lnTo>
                  <a:lnTo>
                    <a:pt x="3273" y="2333"/>
                  </a:lnTo>
                  <a:lnTo>
                    <a:pt x="3273" y="2333"/>
                  </a:lnTo>
                  <a:lnTo>
                    <a:pt x="3275" y="2335"/>
                  </a:lnTo>
                  <a:lnTo>
                    <a:pt x="3277" y="2335"/>
                  </a:lnTo>
                  <a:lnTo>
                    <a:pt x="3277" y="2335"/>
                  </a:lnTo>
                  <a:lnTo>
                    <a:pt x="3279" y="2335"/>
                  </a:lnTo>
                  <a:lnTo>
                    <a:pt x="3281" y="2337"/>
                  </a:lnTo>
                  <a:lnTo>
                    <a:pt x="3284" y="2337"/>
                  </a:lnTo>
                  <a:lnTo>
                    <a:pt x="3286" y="2339"/>
                  </a:lnTo>
                  <a:lnTo>
                    <a:pt x="3286" y="2339"/>
                  </a:lnTo>
                  <a:lnTo>
                    <a:pt x="3288" y="2339"/>
                  </a:lnTo>
                  <a:lnTo>
                    <a:pt x="3288" y="2341"/>
                  </a:lnTo>
                  <a:lnTo>
                    <a:pt x="3290" y="2343"/>
                  </a:lnTo>
                  <a:lnTo>
                    <a:pt x="3290" y="2343"/>
                  </a:lnTo>
                  <a:lnTo>
                    <a:pt x="3292" y="2343"/>
                  </a:lnTo>
                  <a:lnTo>
                    <a:pt x="3294" y="2343"/>
                  </a:lnTo>
                  <a:lnTo>
                    <a:pt x="3292" y="2341"/>
                  </a:lnTo>
                  <a:lnTo>
                    <a:pt x="3292" y="2341"/>
                  </a:lnTo>
                  <a:lnTo>
                    <a:pt x="3292" y="2341"/>
                  </a:lnTo>
                  <a:lnTo>
                    <a:pt x="3294" y="2343"/>
                  </a:lnTo>
                  <a:lnTo>
                    <a:pt x="3296" y="2343"/>
                  </a:lnTo>
                  <a:lnTo>
                    <a:pt x="3299" y="2345"/>
                  </a:lnTo>
                  <a:lnTo>
                    <a:pt x="3301" y="2345"/>
                  </a:lnTo>
                  <a:lnTo>
                    <a:pt x="3301" y="2345"/>
                  </a:lnTo>
                  <a:lnTo>
                    <a:pt x="3303" y="2347"/>
                  </a:lnTo>
                  <a:lnTo>
                    <a:pt x="3305" y="2347"/>
                  </a:lnTo>
                  <a:lnTo>
                    <a:pt x="3307" y="2347"/>
                  </a:lnTo>
                  <a:lnTo>
                    <a:pt x="3307" y="2345"/>
                  </a:lnTo>
                  <a:lnTo>
                    <a:pt x="3309" y="2347"/>
                  </a:lnTo>
                  <a:lnTo>
                    <a:pt x="3312" y="2347"/>
                  </a:lnTo>
                  <a:lnTo>
                    <a:pt x="3314" y="2347"/>
                  </a:lnTo>
                  <a:lnTo>
                    <a:pt x="3316" y="2347"/>
                  </a:lnTo>
                  <a:lnTo>
                    <a:pt x="3316" y="2347"/>
                  </a:lnTo>
                  <a:lnTo>
                    <a:pt x="3318" y="2347"/>
                  </a:lnTo>
                  <a:lnTo>
                    <a:pt x="3320" y="2347"/>
                  </a:lnTo>
                  <a:lnTo>
                    <a:pt x="3320" y="2347"/>
                  </a:lnTo>
                  <a:lnTo>
                    <a:pt x="3322" y="2349"/>
                  </a:lnTo>
                  <a:lnTo>
                    <a:pt x="3322" y="2351"/>
                  </a:lnTo>
                  <a:lnTo>
                    <a:pt x="3324" y="2351"/>
                  </a:lnTo>
                  <a:lnTo>
                    <a:pt x="3327" y="2351"/>
                  </a:lnTo>
                  <a:lnTo>
                    <a:pt x="3329" y="2351"/>
                  </a:lnTo>
                  <a:lnTo>
                    <a:pt x="3331" y="2351"/>
                  </a:lnTo>
                  <a:lnTo>
                    <a:pt x="3331" y="2353"/>
                  </a:lnTo>
                  <a:lnTo>
                    <a:pt x="3333" y="2353"/>
                  </a:lnTo>
                  <a:lnTo>
                    <a:pt x="3337" y="2353"/>
                  </a:lnTo>
                  <a:lnTo>
                    <a:pt x="3339" y="2353"/>
                  </a:lnTo>
                  <a:lnTo>
                    <a:pt x="3342" y="2353"/>
                  </a:lnTo>
                  <a:lnTo>
                    <a:pt x="3344" y="2355"/>
                  </a:lnTo>
                  <a:lnTo>
                    <a:pt x="3346" y="2355"/>
                  </a:lnTo>
                  <a:lnTo>
                    <a:pt x="3346" y="2355"/>
                  </a:lnTo>
                  <a:lnTo>
                    <a:pt x="3348" y="2355"/>
                  </a:lnTo>
                  <a:lnTo>
                    <a:pt x="3348" y="2355"/>
                  </a:lnTo>
                  <a:lnTo>
                    <a:pt x="3350" y="2355"/>
                  </a:lnTo>
                  <a:lnTo>
                    <a:pt x="3352" y="2357"/>
                  </a:lnTo>
                  <a:lnTo>
                    <a:pt x="3354" y="2357"/>
                  </a:lnTo>
                  <a:lnTo>
                    <a:pt x="3357" y="2357"/>
                  </a:lnTo>
                  <a:lnTo>
                    <a:pt x="3357" y="2357"/>
                  </a:lnTo>
                  <a:lnTo>
                    <a:pt x="3359" y="2359"/>
                  </a:lnTo>
                  <a:lnTo>
                    <a:pt x="3361" y="2359"/>
                  </a:lnTo>
                  <a:lnTo>
                    <a:pt x="3361" y="2361"/>
                  </a:lnTo>
                  <a:lnTo>
                    <a:pt x="3363" y="2361"/>
                  </a:lnTo>
                  <a:lnTo>
                    <a:pt x="3365" y="2363"/>
                  </a:lnTo>
                  <a:lnTo>
                    <a:pt x="3367" y="2363"/>
                  </a:lnTo>
                  <a:lnTo>
                    <a:pt x="3367" y="2363"/>
                  </a:lnTo>
                  <a:lnTo>
                    <a:pt x="3369" y="2363"/>
                  </a:lnTo>
                  <a:lnTo>
                    <a:pt x="3372" y="2365"/>
                  </a:lnTo>
                  <a:lnTo>
                    <a:pt x="3374" y="2365"/>
                  </a:lnTo>
                  <a:lnTo>
                    <a:pt x="3376" y="2365"/>
                  </a:lnTo>
                  <a:lnTo>
                    <a:pt x="3378" y="2363"/>
                  </a:lnTo>
                  <a:lnTo>
                    <a:pt x="3378" y="2363"/>
                  </a:lnTo>
                  <a:lnTo>
                    <a:pt x="3380" y="2363"/>
                  </a:lnTo>
                  <a:lnTo>
                    <a:pt x="3382" y="2363"/>
                  </a:lnTo>
                  <a:lnTo>
                    <a:pt x="3380" y="2363"/>
                  </a:lnTo>
                  <a:lnTo>
                    <a:pt x="3380" y="2365"/>
                  </a:lnTo>
                  <a:lnTo>
                    <a:pt x="3382" y="2367"/>
                  </a:lnTo>
                  <a:lnTo>
                    <a:pt x="3382" y="2367"/>
                  </a:lnTo>
                  <a:lnTo>
                    <a:pt x="3385" y="2367"/>
                  </a:lnTo>
                  <a:lnTo>
                    <a:pt x="3387" y="2365"/>
                  </a:lnTo>
                  <a:lnTo>
                    <a:pt x="3385" y="2367"/>
                  </a:lnTo>
                  <a:lnTo>
                    <a:pt x="3387" y="2367"/>
                  </a:lnTo>
                  <a:lnTo>
                    <a:pt x="3387" y="2365"/>
                  </a:lnTo>
                  <a:lnTo>
                    <a:pt x="3387" y="2365"/>
                  </a:lnTo>
                  <a:lnTo>
                    <a:pt x="3385" y="2363"/>
                  </a:lnTo>
                  <a:lnTo>
                    <a:pt x="3387" y="2363"/>
                  </a:lnTo>
                  <a:lnTo>
                    <a:pt x="3389" y="2365"/>
                  </a:lnTo>
                  <a:lnTo>
                    <a:pt x="3389" y="2363"/>
                  </a:lnTo>
                  <a:lnTo>
                    <a:pt x="3387" y="2361"/>
                  </a:lnTo>
                  <a:lnTo>
                    <a:pt x="3385" y="2361"/>
                  </a:lnTo>
                  <a:lnTo>
                    <a:pt x="3382" y="2361"/>
                  </a:lnTo>
                  <a:lnTo>
                    <a:pt x="3385" y="2361"/>
                  </a:lnTo>
                  <a:lnTo>
                    <a:pt x="3387" y="2361"/>
                  </a:lnTo>
                  <a:lnTo>
                    <a:pt x="3389" y="2363"/>
                  </a:lnTo>
                  <a:lnTo>
                    <a:pt x="3389" y="2363"/>
                  </a:lnTo>
                  <a:lnTo>
                    <a:pt x="3389" y="2365"/>
                  </a:lnTo>
                  <a:lnTo>
                    <a:pt x="3391" y="2367"/>
                  </a:lnTo>
                  <a:lnTo>
                    <a:pt x="3389" y="2367"/>
                  </a:lnTo>
                  <a:lnTo>
                    <a:pt x="3391" y="2367"/>
                  </a:lnTo>
                  <a:lnTo>
                    <a:pt x="3391" y="2369"/>
                  </a:lnTo>
                  <a:lnTo>
                    <a:pt x="3393" y="2369"/>
                  </a:lnTo>
                  <a:lnTo>
                    <a:pt x="3395" y="2369"/>
                  </a:lnTo>
                  <a:lnTo>
                    <a:pt x="3397" y="2371"/>
                  </a:lnTo>
                  <a:lnTo>
                    <a:pt x="3400" y="2371"/>
                  </a:lnTo>
                  <a:lnTo>
                    <a:pt x="3400" y="2371"/>
                  </a:lnTo>
                  <a:lnTo>
                    <a:pt x="3402" y="2371"/>
                  </a:lnTo>
                  <a:lnTo>
                    <a:pt x="3404" y="2373"/>
                  </a:lnTo>
                  <a:lnTo>
                    <a:pt x="3406" y="2373"/>
                  </a:lnTo>
                  <a:lnTo>
                    <a:pt x="3408" y="2373"/>
                  </a:lnTo>
                  <a:lnTo>
                    <a:pt x="3410" y="2373"/>
                  </a:lnTo>
                  <a:lnTo>
                    <a:pt x="3410" y="2373"/>
                  </a:lnTo>
                  <a:lnTo>
                    <a:pt x="3412" y="2375"/>
                  </a:lnTo>
                  <a:lnTo>
                    <a:pt x="3415" y="2375"/>
                  </a:lnTo>
                  <a:lnTo>
                    <a:pt x="3417" y="2377"/>
                  </a:lnTo>
                  <a:lnTo>
                    <a:pt x="3419" y="2377"/>
                  </a:lnTo>
                  <a:lnTo>
                    <a:pt x="3419" y="2377"/>
                  </a:lnTo>
                  <a:lnTo>
                    <a:pt x="3421" y="2377"/>
                  </a:lnTo>
                  <a:lnTo>
                    <a:pt x="3421" y="2377"/>
                  </a:lnTo>
                  <a:lnTo>
                    <a:pt x="3423" y="2377"/>
                  </a:lnTo>
                  <a:lnTo>
                    <a:pt x="3425" y="2377"/>
                  </a:lnTo>
                  <a:lnTo>
                    <a:pt x="3427" y="2377"/>
                  </a:lnTo>
                  <a:lnTo>
                    <a:pt x="3430" y="2379"/>
                  </a:lnTo>
                  <a:lnTo>
                    <a:pt x="3430" y="2379"/>
                  </a:lnTo>
                  <a:lnTo>
                    <a:pt x="3432" y="2379"/>
                  </a:lnTo>
                  <a:lnTo>
                    <a:pt x="3432" y="2381"/>
                  </a:lnTo>
                  <a:lnTo>
                    <a:pt x="3434" y="2379"/>
                  </a:lnTo>
                  <a:lnTo>
                    <a:pt x="3436" y="2381"/>
                  </a:lnTo>
                  <a:lnTo>
                    <a:pt x="3438" y="2381"/>
                  </a:lnTo>
                  <a:lnTo>
                    <a:pt x="3438" y="2381"/>
                  </a:lnTo>
                  <a:lnTo>
                    <a:pt x="3440" y="2381"/>
                  </a:lnTo>
                  <a:lnTo>
                    <a:pt x="3443" y="2381"/>
                  </a:lnTo>
                  <a:lnTo>
                    <a:pt x="3443" y="2381"/>
                  </a:lnTo>
                  <a:lnTo>
                    <a:pt x="3445" y="2381"/>
                  </a:lnTo>
                  <a:lnTo>
                    <a:pt x="3447" y="2381"/>
                  </a:lnTo>
                  <a:lnTo>
                    <a:pt x="3447" y="2383"/>
                  </a:lnTo>
                  <a:lnTo>
                    <a:pt x="3449" y="2381"/>
                  </a:lnTo>
                  <a:lnTo>
                    <a:pt x="3451" y="2383"/>
                  </a:lnTo>
                  <a:lnTo>
                    <a:pt x="3451" y="2383"/>
                  </a:lnTo>
                  <a:lnTo>
                    <a:pt x="3453" y="2383"/>
                  </a:lnTo>
                  <a:lnTo>
                    <a:pt x="3455" y="2383"/>
                  </a:lnTo>
                  <a:lnTo>
                    <a:pt x="3455" y="2385"/>
                  </a:lnTo>
                  <a:lnTo>
                    <a:pt x="3458" y="2385"/>
                  </a:lnTo>
                  <a:lnTo>
                    <a:pt x="3460" y="2385"/>
                  </a:lnTo>
                  <a:lnTo>
                    <a:pt x="3460" y="2387"/>
                  </a:lnTo>
                  <a:lnTo>
                    <a:pt x="3462" y="2387"/>
                  </a:lnTo>
                  <a:lnTo>
                    <a:pt x="3464" y="2387"/>
                  </a:lnTo>
                  <a:lnTo>
                    <a:pt x="3464" y="2387"/>
                  </a:lnTo>
                  <a:lnTo>
                    <a:pt x="3466" y="2387"/>
                  </a:lnTo>
                  <a:lnTo>
                    <a:pt x="3468" y="2389"/>
                  </a:lnTo>
                  <a:lnTo>
                    <a:pt x="3468" y="2389"/>
                  </a:lnTo>
                  <a:lnTo>
                    <a:pt x="3470" y="2391"/>
                  </a:lnTo>
                  <a:lnTo>
                    <a:pt x="3470" y="2391"/>
                  </a:lnTo>
                  <a:lnTo>
                    <a:pt x="3473" y="2391"/>
                  </a:lnTo>
                  <a:lnTo>
                    <a:pt x="3475" y="2393"/>
                  </a:lnTo>
                  <a:lnTo>
                    <a:pt x="3475" y="2393"/>
                  </a:lnTo>
                  <a:lnTo>
                    <a:pt x="3477" y="2393"/>
                  </a:lnTo>
                  <a:lnTo>
                    <a:pt x="3479" y="2395"/>
                  </a:lnTo>
                  <a:lnTo>
                    <a:pt x="3481" y="2395"/>
                  </a:lnTo>
                  <a:lnTo>
                    <a:pt x="3481" y="2395"/>
                  </a:lnTo>
                  <a:lnTo>
                    <a:pt x="3483" y="2397"/>
                  </a:lnTo>
                  <a:lnTo>
                    <a:pt x="3485" y="2397"/>
                  </a:lnTo>
                  <a:lnTo>
                    <a:pt x="3485" y="2397"/>
                  </a:lnTo>
                  <a:lnTo>
                    <a:pt x="3488" y="2399"/>
                  </a:lnTo>
                  <a:lnTo>
                    <a:pt x="3490" y="2399"/>
                  </a:lnTo>
                  <a:lnTo>
                    <a:pt x="3490" y="2399"/>
                  </a:lnTo>
                  <a:lnTo>
                    <a:pt x="3492" y="2399"/>
                  </a:lnTo>
                  <a:lnTo>
                    <a:pt x="3494" y="2399"/>
                  </a:lnTo>
                  <a:lnTo>
                    <a:pt x="3496" y="2399"/>
                  </a:lnTo>
                  <a:lnTo>
                    <a:pt x="3496" y="2401"/>
                  </a:lnTo>
                  <a:lnTo>
                    <a:pt x="3498" y="2401"/>
                  </a:lnTo>
                  <a:lnTo>
                    <a:pt x="3498" y="2403"/>
                  </a:lnTo>
                  <a:lnTo>
                    <a:pt x="3501" y="2403"/>
                  </a:lnTo>
                  <a:lnTo>
                    <a:pt x="3501" y="2403"/>
                  </a:lnTo>
                  <a:lnTo>
                    <a:pt x="3503" y="2405"/>
                  </a:lnTo>
                  <a:lnTo>
                    <a:pt x="3503" y="2405"/>
                  </a:lnTo>
                  <a:lnTo>
                    <a:pt x="3505" y="2405"/>
                  </a:lnTo>
                  <a:lnTo>
                    <a:pt x="3505" y="2407"/>
                  </a:lnTo>
                  <a:lnTo>
                    <a:pt x="3505" y="2407"/>
                  </a:lnTo>
                  <a:lnTo>
                    <a:pt x="3505" y="2409"/>
                  </a:lnTo>
                  <a:lnTo>
                    <a:pt x="3507" y="2409"/>
                  </a:lnTo>
                  <a:lnTo>
                    <a:pt x="3509" y="2411"/>
                  </a:lnTo>
                  <a:lnTo>
                    <a:pt x="3509" y="2411"/>
                  </a:lnTo>
                  <a:lnTo>
                    <a:pt x="3511" y="2411"/>
                  </a:lnTo>
                  <a:lnTo>
                    <a:pt x="3513" y="2411"/>
                  </a:lnTo>
                  <a:lnTo>
                    <a:pt x="3513" y="2411"/>
                  </a:lnTo>
                  <a:lnTo>
                    <a:pt x="3516" y="2413"/>
                  </a:lnTo>
                  <a:lnTo>
                    <a:pt x="3518" y="2413"/>
                  </a:lnTo>
                  <a:lnTo>
                    <a:pt x="3518" y="2413"/>
                  </a:lnTo>
                  <a:lnTo>
                    <a:pt x="3520" y="2415"/>
                  </a:lnTo>
                  <a:lnTo>
                    <a:pt x="3522" y="2415"/>
                  </a:lnTo>
                  <a:lnTo>
                    <a:pt x="3522" y="2415"/>
                  </a:lnTo>
                  <a:lnTo>
                    <a:pt x="3524" y="2417"/>
                  </a:lnTo>
                  <a:lnTo>
                    <a:pt x="3526" y="2417"/>
                  </a:lnTo>
                  <a:lnTo>
                    <a:pt x="3526" y="2417"/>
                  </a:lnTo>
                  <a:lnTo>
                    <a:pt x="3526" y="2419"/>
                  </a:lnTo>
                  <a:lnTo>
                    <a:pt x="3528" y="2419"/>
                  </a:lnTo>
                  <a:lnTo>
                    <a:pt x="3528" y="2419"/>
                  </a:lnTo>
                  <a:lnTo>
                    <a:pt x="3531" y="2419"/>
                  </a:lnTo>
                  <a:lnTo>
                    <a:pt x="3533" y="2419"/>
                  </a:lnTo>
                  <a:lnTo>
                    <a:pt x="3533" y="2421"/>
                  </a:lnTo>
                  <a:lnTo>
                    <a:pt x="3535" y="2421"/>
                  </a:lnTo>
                  <a:lnTo>
                    <a:pt x="3535" y="2423"/>
                  </a:lnTo>
                  <a:lnTo>
                    <a:pt x="3537" y="2423"/>
                  </a:lnTo>
                  <a:lnTo>
                    <a:pt x="3537" y="2423"/>
                  </a:lnTo>
                  <a:lnTo>
                    <a:pt x="3537" y="2425"/>
                  </a:lnTo>
                  <a:lnTo>
                    <a:pt x="3537" y="2425"/>
                  </a:lnTo>
                  <a:lnTo>
                    <a:pt x="3539" y="2425"/>
                  </a:lnTo>
                  <a:lnTo>
                    <a:pt x="3541" y="2425"/>
                  </a:lnTo>
                  <a:lnTo>
                    <a:pt x="3541" y="2425"/>
                  </a:lnTo>
                  <a:lnTo>
                    <a:pt x="3539" y="2425"/>
                  </a:lnTo>
                  <a:lnTo>
                    <a:pt x="3541" y="2425"/>
                  </a:lnTo>
                  <a:lnTo>
                    <a:pt x="3541" y="2427"/>
                  </a:lnTo>
                  <a:lnTo>
                    <a:pt x="3541" y="2427"/>
                  </a:lnTo>
                  <a:lnTo>
                    <a:pt x="3543" y="2427"/>
                  </a:lnTo>
                  <a:lnTo>
                    <a:pt x="3543" y="2429"/>
                  </a:lnTo>
                  <a:lnTo>
                    <a:pt x="3543" y="2429"/>
                  </a:lnTo>
                  <a:lnTo>
                    <a:pt x="3546" y="2429"/>
                  </a:lnTo>
                  <a:lnTo>
                    <a:pt x="3546" y="2431"/>
                  </a:lnTo>
                  <a:lnTo>
                    <a:pt x="3548" y="2431"/>
                  </a:lnTo>
                  <a:lnTo>
                    <a:pt x="3548" y="2431"/>
                  </a:lnTo>
                  <a:lnTo>
                    <a:pt x="3548" y="2433"/>
                  </a:lnTo>
                  <a:lnTo>
                    <a:pt x="3550" y="2433"/>
                  </a:lnTo>
                  <a:lnTo>
                    <a:pt x="3550" y="2433"/>
                  </a:lnTo>
                  <a:lnTo>
                    <a:pt x="3552" y="2435"/>
                  </a:lnTo>
                  <a:lnTo>
                    <a:pt x="3552" y="2435"/>
                  </a:lnTo>
                  <a:lnTo>
                    <a:pt x="3552" y="2437"/>
                  </a:lnTo>
                  <a:lnTo>
                    <a:pt x="3554" y="2437"/>
                  </a:lnTo>
                  <a:lnTo>
                    <a:pt x="3554" y="2437"/>
                  </a:lnTo>
                  <a:lnTo>
                    <a:pt x="3554" y="2439"/>
                  </a:lnTo>
                  <a:lnTo>
                    <a:pt x="3556" y="2439"/>
                  </a:lnTo>
                  <a:lnTo>
                    <a:pt x="3556" y="2441"/>
                  </a:lnTo>
                  <a:lnTo>
                    <a:pt x="3556" y="2441"/>
                  </a:lnTo>
                  <a:lnTo>
                    <a:pt x="3558" y="2443"/>
                  </a:lnTo>
                  <a:lnTo>
                    <a:pt x="3558" y="2445"/>
                  </a:lnTo>
                  <a:lnTo>
                    <a:pt x="3561" y="2445"/>
                  </a:lnTo>
                  <a:lnTo>
                    <a:pt x="3561" y="2447"/>
                  </a:lnTo>
                  <a:lnTo>
                    <a:pt x="3563" y="2447"/>
                  </a:lnTo>
                  <a:lnTo>
                    <a:pt x="3565" y="2447"/>
                  </a:lnTo>
                  <a:lnTo>
                    <a:pt x="3567" y="2447"/>
                  </a:lnTo>
                  <a:lnTo>
                    <a:pt x="3569" y="2449"/>
                  </a:lnTo>
                  <a:lnTo>
                    <a:pt x="3571" y="2449"/>
                  </a:lnTo>
                  <a:lnTo>
                    <a:pt x="3574" y="2449"/>
                  </a:lnTo>
                  <a:lnTo>
                    <a:pt x="3574" y="2451"/>
                  </a:lnTo>
                  <a:lnTo>
                    <a:pt x="3574" y="2451"/>
                  </a:lnTo>
                  <a:lnTo>
                    <a:pt x="3576" y="2451"/>
                  </a:lnTo>
                  <a:lnTo>
                    <a:pt x="3576" y="2453"/>
                  </a:lnTo>
                  <a:lnTo>
                    <a:pt x="3578" y="2453"/>
                  </a:lnTo>
                  <a:lnTo>
                    <a:pt x="3578" y="2455"/>
                  </a:lnTo>
                  <a:lnTo>
                    <a:pt x="3580" y="2455"/>
                  </a:lnTo>
                  <a:lnTo>
                    <a:pt x="3582" y="2457"/>
                  </a:lnTo>
                  <a:lnTo>
                    <a:pt x="3582" y="2457"/>
                  </a:lnTo>
                  <a:lnTo>
                    <a:pt x="3582" y="2459"/>
                  </a:lnTo>
                  <a:lnTo>
                    <a:pt x="3584" y="2459"/>
                  </a:lnTo>
                  <a:lnTo>
                    <a:pt x="3586" y="2461"/>
                  </a:lnTo>
                  <a:lnTo>
                    <a:pt x="3586" y="2461"/>
                  </a:lnTo>
                  <a:lnTo>
                    <a:pt x="3589" y="2461"/>
                  </a:lnTo>
                  <a:lnTo>
                    <a:pt x="3591" y="2463"/>
                  </a:lnTo>
                  <a:lnTo>
                    <a:pt x="3593" y="2463"/>
                  </a:lnTo>
                  <a:lnTo>
                    <a:pt x="3593" y="2463"/>
                  </a:lnTo>
                  <a:lnTo>
                    <a:pt x="3595" y="2463"/>
                  </a:lnTo>
                  <a:lnTo>
                    <a:pt x="3597" y="2465"/>
                  </a:lnTo>
                  <a:lnTo>
                    <a:pt x="3597" y="2465"/>
                  </a:lnTo>
                  <a:lnTo>
                    <a:pt x="3599" y="2467"/>
                  </a:lnTo>
                  <a:lnTo>
                    <a:pt x="3601" y="2467"/>
                  </a:lnTo>
                  <a:lnTo>
                    <a:pt x="3601" y="2467"/>
                  </a:lnTo>
                  <a:lnTo>
                    <a:pt x="3601" y="2469"/>
                  </a:lnTo>
                  <a:lnTo>
                    <a:pt x="3604" y="2471"/>
                  </a:lnTo>
                  <a:lnTo>
                    <a:pt x="3604" y="2471"/>
                  </a:lnTo>
                  <a:lnTo>
                    <a:pt x="3606" y="2473"/>
                  </a:lnTo>
                  <a:lnTo>
                    <a:pt x="3608" y="2473"/>
                  </a:lnTo>
                  <a:lnTo>
                    <a:pt x="3610" y="2475"/>
                  </a:lnTo>
                  <a:lnTo>
                    <a:pt x="3612" y="2475"/>
                  </a:lnTo>
                  <a:lnTo>
                    <a:pt x="3612" y="2475"/>
                  </a:lnTo>
                  <a:lnTo>
                    <a:pt x="3614" y="2477"/>
                  </a:lnTo>
                  <a:lnTo>
                    <a:pt x="3616" y="2477"/>
                  </a:lnTo>
                  <a:lnTo>
                    <a:pt x="3619" y="2477"/>
                  </a:lnTo>
                  <a:lnTo>
                    <a:pt x="3621" y="2479"/>
                  </a:lnTo>
                  <a:lnTo>
                    <a:pt x="3623" y="2479"/>
                  </a:lnTo>
                  <a:lnTo>
                    <a:pt x="3625" y="2479"/>
                  </a:lnTo>
                  <a:lnTo>
                    <a:pt x="3627" y="2481"/>
                  </a:lnTo>
                  <a:lnTo>
                    <a:pt x="3627" y="2481"/>
                  </a:lnTo>
                  <a:lnTo>
                    <a:pt x="3629" y="2481"/>
                  </a:lnTo>
                  <a:lnTo>
                    <a:pt x="3632" y="2481"/>
                  </a:lnTo>
                  <a:lnTo>
                    <a:pt x="3632" y="2483"/>
                  </a:lnTo>
                  <a:lnTo>
                    <a:pt x="3634" y="2483"/>
                  </a:lnTo>
                  <a:lnTo>
                    <a:pt x="3636" y="2483"/>
                  </a:lnTo>
                  <a:lnTo>
                    <a:pt x="3636" y="2483"/>
                  </a:lnTo>
                  <a:lnTo>
                    <a:pt x="3638" y="2483"/>
                  </a:lnTo>
                  <a:lnTo>
                    <a:pt x="3638" y="2483"/>
                  </a:lnTo>
                  <a:lnTo>
                    <a:pt x="3640" y="2483"/>
                  </a:lnTo>
                  <a:lnTo>
                    <a:pt x="3640" y="2485"/>
                  </a:lnTo>
                  <a:lnTo>
                    <a:pt x="3642" y="2485"/>
                  </a:lnTo>
                  <a:lnTo>
                    <a:pt x="3644" y="2485"/>
                  </a:lnTo>
                  <a:lnTo>
                    <a:pt x="3644" y="2485"/>
                  </a:lnTo>
                  <a:lnTo>
                    <a:pt x="3647" y="2485"/>
                  </a:lnTo>
                  <a:lnTo>
                    <a:pt x="3647" y="2487"/>
                  </a:lnTo>
                  <a:lnTo>
                    <a:pt x="3649" y="2487"/>
                  </a:lnTo>
                  <a:lnTo>
                    <a:pt x="3649" y="2487"/>
                  </a:lnTo>
                  <a:lnTo>
                    <a:pt x="3651" y="2487"/>
                  </a:lnTo>
                  <a:lnTo>
                    <a:pt x="3653" y="2487"/>
                  </a:lnTo>
                  <a:lnTo>
                    <a:pt x="3653" y="2487"/>
                  </a:lnTo>
                  <a:lnTo>
                    <a:pt x="3655" y="2487"/>
                  </a:lnTo>
                  <a:lnTo>
                    <a:pt x="3655" y="2487"/>
                  </a:lnTo>
                  <a:lnTo>
                    <a:pt x="3657" y="2487"/>
                  </a:lnTo>
                  <a:lnTo>
                    <a:pt x="3659" y="2487"/>
                  </a:lnTo>
                  <a:lnTo>
                    <a:pt x="3659" y="2489"/>
                  </a:lnTo>
                  <a:lnTo>
                    <a:pt x="3662" y="2489"/>
                  </a:lnTo>
                  <a:lnTo>
                    <a:pt x="3662" y="2489"/>
                  </a:lnTo>
                  <a:lnTo>
                    <a:pt x="3662" y="2489"/>
                  </a:lnTo>
                  <a:lnTo>
                    <a:pt x="3664" y="2489"/>
                  </a:lnTo>
                  <a:lnTo>
                    <a:pt x="3664" y="2489"/>
                  </a:lnTo>
                  <a:lnTo>
                    <a:pt x="3666" y="2489"/>
                  </a:lnTo>
                  <a:lnTo>
                    <a:pt x="3666" y="2489"/>
                  </a:lnTo>
                  <a:lnTo>
                    <a:pt x="3666" y="2489"/>
                  </a:lnTo>
                  <a:lnTo>
                    <a:pt x="3668" y="2491"/>
                  </a:lnTo>
                  <a:lnTo>
                    <a:pt x="3668" y="2491"/>
                  </a:lnTo>
                  <a:lnTo>
                    <a:pt x="3670" y="2491"/>
                  </a:lnTo>
                  <a:lnTo>
                    <a:pt x="3670" y="2491"/>
                  </a:lnTo>
                  <a:lnTo>
                    <a:pt x="3672" y="2491"/>
                  </a:lnTo>
                  <a:lnTo>
                    <a:pt x="3672" y="2491"/>
                  </a:lnTo>
                  <a:lnTo>
                    <a:pt x="3674" y="2491"/>
                  </a:lnTo>
                  <a:lnTo>
                    <a:pt x="3674" y="2493"/>
                  </a:lnTo>
                  <a:lnTo>
                    <a:pt x="3677" y="2491"/>
                  </a:lnTo>
                  <a:lnTo>
                    <a:pt x="3677" y="2493"/>
                  </a:lnTo>
                  <a:lnTo>
                    <a:pt x="3679" y="2493"/>
                  </a:lnTo>
                  <a:lnTo>
                    <a:pt x="3679" y="2493"/>
                  </a:lnTo>
                  <a:lnTo>
                    <a:pt x="3681" y="2493"/>
                  </a:lnTo>
                  <a:lnTo>
                    <a:pt x="3681" y="2495"/>
                  </a:lnTo>
                  <a:lnTo>
                    <a:pt x="3683" y="2495"/>
                  </a:lnTo>
                  <a:lnTo>
                    <a:pt x="3683" y="2495"/>
                  </a:lnTo>
                  <a:lnTo>
                    <a:pt x="3685" y="2495"/>
                  </a:lnTo>
                  <a:lnTo>
                    <a:pt x="3685" y="2495"/>
                  </a:lnTo>
                  <a:lnTo>
                    <a:pt x="3685" y="2495"/>
                  </a:lnTo>
                  <a:lnTo>
                    <a:pt x="3687" y="2497"/>
                  </a:lnTo>
                  <a:lnTo>
                    <a:pt x="3689" y="2497"/>
                  </a:lnTo>
                  <a:lnTo>
                    <a:pt x="3689" y="2497"/>
                  </a:lnTo>
                  <a:lnTo>
                    <a:pt x="3692" y="2497"/>
                  </a:lnTo>
                  <a:lnTo>
                    <a:pt x="3692" y="2499"/>
                  </a:lnTo>
                  <a:lnTo>
                    <a:pt x="3692" y="2499"/>
                  </a:lnTo>
                  <a:lnTo>
                    <a:pt x="3694" y="2499"/>
                  </a:lnTo>
                  <a:lnTo>
                    <a:pt x="3694" y="2499"/>
                  </a:lnTo>
                  <a:lnTo>
                    <a:pt x="3696" y="2499"/>
                  </a:lnTo>
                  <a:lnTo>
                    <a:pt x="3698" y="2501"/>
                  </a:lnTo>
                  <a:lnTo>
                    <a:pt x="3698" y="2501"/>
                  </a:lnTo>
                  <a:lnTo>
                    <a:pt x="3698" y="2503"/>
                  </a:lnTo>
                  <a:lnTo>
                    <a:pt x="3700" y="2503"/>
                  </a:lnTo>
                  <a:lnTo>
                    <a:pt x="3702" y="2505"/>
                  </a:lnTo>
                  <a:lnTo>
                    <a:pt x="3702" y="2505"/>
                  </a:lnTo>
                  <a:lnTo>
                    <a:pt x="3705" y="2505"/>
                  </a:lnTo>
                  <a:lnTo>
                    <a:pt x="3707" y="2507"/>
                  </a:lnTo>
                  <a:lnTo>
                    <a:pt x="3709" y="2507"/>
                  </a:lnTo>
                  <a:lnTo>
                    <a:pt x="3711" y="2507"/>
                  </a:lnTo>
                  <a:lnTo>
                    <a:pt x="3711" y="2509"/>
                  </a:lnTo>
                  <a:lnTo>
                    <a:pt x="3713" y="2509"/>
                  </a:lnTo>
                  <a:lnTo>
                    <a:pt x="3715" y="2509"/>
                  </a:lnTo>
                  <a:lnTo>
                    <a:pt x="3717" y="2509"/>
                  </a:lnTo>
                  <a:lnTo>
                    <a:pt x="3717" y="2509"/>
                  </a:lnTo>
                  <a:lnTo>
                    <a:pt x="3717" y="2509"/>
                  </a:lnTo>
                  <a:lnTo>
                    <a:pt x="3720" y="2509"/>
                  </a:lnTo>
                  <a:lnTo>
                    <a:pt x="3720" y="2511"/>
                  </a:lnTo>
                  <a:lnTo>
                    <a:pt x="3720" y="2513"/>
                  </a:lnTo>
                  <a:lnTo>
                    <a:pt x="3722" y="2513"/>
                  </a:lnTo>
                  <a:lnTo>
                    <a:pt x="3724" y="2515"/>
                  </a:lnTo>
                  <a:lnTo>
                    <a:pt x="3724" y="2515"/>
                  </a:lnTo>
                  <a:lnTo>
                    <a:pt x="3726" y="2515"/>
                  </a:lnTo>
                  <a:lnTo>
                    <a:pt x="3728" y="2517"/>
                  </a:lnTo>
                  <a:lnTo>
                    <a:pt x="3730" y="2517"/>
                  </a:lnTo>
                  <a:lnTo>
                    <a:pt x="3732" y="2517"/>
                  </a:lnTo>
                  <a:lnTo>
                    <a:pt x="3735" y="2519"/>
                  </a:lnTo>
                  <a:lnTo>
                    <a:pt x="3737" y="2519"/>
                  </a:lnTo>
                  <a:lnTo>
                    <a:pt x="3737" y="2519"/>
                  </a:lnTo>
                  <a:lnTo>
                    <a:pt x="3739" y="2519"/>
                  </a:lnTo>
                  <a:lnTo>
                    <a:pt x="3741" y="2519"/>
                  </a:lnTo>
                  <a:lnTo>
                    <a:pt x="3743" y="2519"/>
                  </a:lnTo>
                  <a:lnTo>
                    <a:pt x="3745" y="2519"/>
                  </a:lnTo>
                  <a:lnTo>
                    <a:pt x="3745" y="2519"/>
                  </a:lnTo>
                  <a:lnTo>
                    <a:pt x="3747" y="2521"/>
                  </a:lnTo>
                  <a:lnTo>
                    <a:pt x="3750" y="2521"/>
                  </a:lnTo>
                  <a:lnTo>
                    <a:pt x="3752" y="2521"/>
                  </a:lnTo>
                  <a:lnTo>
                    <a:pt x="3754" y="2521"/>
                  </a:lnTo>
                  <a:lnTo>
                    <a:pt x="3756" y="2521"/>
                  </a:lnTo>
                  <a:lnTo>
                    <a:pt x="3758" y="2521"/>
                  </a:lnTo>
                  <a:lnTo>
                    <a:pt x="3758" y="2521"/>
                  </a:lnTo>
                  <a:lnTo>
                    <a:pt x="3760" y="2521"/>
                  </a:lnTo>
                  <a:lnTo>
                    <a:pt x="3763" y="2521"/>
                  </a:lnTo>
                  <a:lnTo>
                    <a:pt x="3765" y="2521"/>
                  </a:lnTo>
                  <a:lnTo>
                    <a:pt x="3767" y="2521"/>
                  </a:lnTo>
                  <a:lnTo>
                    <a:pt x="3767" y="2519"/>
                  </a:lnTo>
                  <a:lnTo>
                    <a:pt x="3769" y="2519"/>
                  </a:lnTo>
                  <a:lnTo>
                    <a:pt x="3769" y="2521"/>
                  </a:lnTo>
                  <a:lnTo>
                    <a:pt x="3771" y="2521"/>
                  </a:lnTo>
                  <a:lnTo>
                    <a:pt x="3771" y="2523"/>
                  </a:lnTo>
                  <a:lnTo>
                    <a:pt x="3771" y="2525"/>
                  </a:lnTo>
                  <a:lnTo>
                    <a:pt x="3773" y="2525"/>
                  </a:lnTo>
                  <a:lnTo>
                    <a:pt x="3773" y="2525"/>
                  </a:lnTo>
                  <a:lnTo>
                    <a:pt x="3775" y="2527"/>
                  </a:lnTo>
                  <a:lnTo>
                    <a:pt x="3775" y="2527"/>
                  </a:lnTo>
                  <a:lnTo>
                    <a:pt x="3775" y="2527"/>
                  </a:lnTo>
                  <a:lnTo>
                    <a:pt x="3778" y="2527"/>
                  </a:lnTo>
                  <a:lnTo>
                    <a:pt x="3780" y="2527"/>
                  </a:lnTo>
                  <a:lnTo>
                    <a:pt x="3780" y="2527"/>
                  </a:lnTo>
                  <a:lnTo>
                    <a:pt x="3780" y="2527"/>
                  </a:lnTo>
                  <a:lnTo>
                    <a:pt x="3780" y="2529"/>
                  </a:lnTo>
                  <a:lnTo>
                    <a:pt x="3780" y="2529"/>
                  </a:lnTo>
                  <a:lnTo>
                    <a:pt x="3780" y="2531"/>
                  </a:lnTo>
                  <a:lnTo>
                    <a:pt x="3780" y="2529"/>
                  </a:lnTo>
                  <a:lnTo>
                    <a:pt x="3780" y="2527"/>
                  </a:lnTo>
                  <a:lnTo>
                    <a:pt x="3778" y="2527"/>
                  </a:lnTo>
                  <a:lnTo>
                    <a:pt x="3778" y="2527"/>
                  </a:lnTo>
                  <a:lnTo>
                    <a:pt x="3778" y="2529"/>
                  </a:lnTo>
                  <a:lnTo>
                    <a:pt x="3775" y="2531"/>
                  </a:lnTo>
                  <a:lnTo>
                    <a:pt x="3775" y="2531"/>
                  </a:lnTo>
                  <a:lnTo>
                    <a:pt x="3773" y="2533"/>
                  </a:lnTo>
                  <a:lnTo>
                    <a:pt x="3773" y="2535"/>
                  </a:lnTo>
                  <a:lnTo>
                    <a:pt x="3771" y="2535"/>
                  </a:lnTo>
                  <a:lnTo>
                    <a:pt x="3769" y="2535"/>
                  </a:lnTo>
                  <a:lnTo>
                    <a:pt x="3769" y="2535"/>
                  </a:lnTo>
                  <a:lnTo>
                    <a:pt x="3767" y="2537"/>
                  </a:lnTo>
                  <a:lnTo>
                    <a:pt x="3767" y="2537"/>
                  </a:lnTo>
                  <a:lnTo>
                    <a:pt x="3769" y="2537"/>
                  </a:lnTo>
                  <a:lnTo>
                    <a:pt x="3771" y="2537"/>
                  </a:lnTo>
                  <a:lnTo>
                    <a:pt x="3771" y="2535"/>
                  </a:lnTo>
                  <a:lnTo>
                    <a:pt x="3773" y="2537"/>
                  </a:lnTo>
                  <a:lnTo>
                    <a:pt x="3773" y="2539"/>
                  </a:lnTo>
                  <a:lnTo>
                    <a:pt x="3773" y="2539"/>
                  </a:lnTo>
                  <a:lnTo>
                    <a:pt x="3775" y="2537"/>
                  </a:lnTo>
                  <a:lnTo>
                    <a:pt x="3775" y="2535"/>
                  </a:lnTo>
                  <a:lnTo>
                    <a:pt x="3775" y="2535"/>
                  </a:lnTo>
                  <a:lnTo>
                    <a:pt x="3775" y="2535"/>
                  </a:lnTo>
                  <a:lnTo>
                    <a:pt x="3778" y="2533"/>
                  </a:lnTo>
                  <a:lnTo>
                    <a:pt x="3780" y="2533"/>
                  </a:lnTo>
                  <a:lnTo>
                    <a:pt x="3782" y="2533"/>
                  </a:lnTo>
                  <a:lnTo>
                    <a:pt x="3782" y="2533"/>
                  </a:lnTo>
                  <a:lnTo>
                    <a:pt x="3784" y="2533"/>
                  </a:lnTo>
                  <a:lnTo>
                    <a:pt x="3786" y="2533"/>
                  </a:lnTo>
                  <a:lnTo>
                    <a:pt x="3786" y="2533"/>
                  </a:lnTo>
                  <a:lnTo>
                    <a:pt x="3788" y="2531"/>
                  </a:lnTo>
                  <a:lnTo>
                    <a:pt x="3790" y="2531"/>
                  </a:lnTo>
                  <a:lnTo>
                    <a:pt x="3790" y="2529"/>
                  </a:lnTo>
                  <a:lnTo>
                    <a:pt x="3790" y="2529"/>
                  </a:lnTo>
                  <a:lnTo>
                    <a:pt x="3790" y="2529"/>
                  </a:lnTo>
                  <a:lnTo>
                    <a:pt x="3790" y="2531"/>
                  </a:lnTo>
                  <a:lnTo>
                    <a:pt x="3790" y="2531"/>
                  </a:lnTo>
                  <a:lnTo>
                    <a:pt x="3793" y="2533"/>
                  </a:lnTo>
                  <a:lnTo>
                    <a:pt x="3795" y="2533"/>
                  </a:lnTo>
                  <a:lnTo>
                    <a:pt x="3797" y="2533"/>
                  </a:lnTo>
                  <a:lnTo>
                    <a:pt x="3797" y="2533"/>
                  </a:lnTo>
                  <a:lnTo>
                    <a:pt x="3799" y="2535"/>
                  </a:lnTo>
                  <a:lnTo>
                    <a:pt x="3797" y="2535"/>
                  </a:lnTo>
                  <a:lnTo>
                    <a:pt x="3795" y="2537"/>
                  </a:lnTo>
                  <a:lnTo>
                    <a:pt x="3797" y="2539"/>
                  </a:lnTo>
                  <a:lnTo>
                    <a:pt x="3797" y="2539"/>
                  </a:lnTo>
                  <a:lnTo>
                    <a:pt x="3797" y="2541"/>
                  </a:lnTo>
                  <a:lnTo>
                    <a:pt x="3799" y="2543"/>
                  </a:lnTo>
                  <a:lnTo>
                    <a:pt x="3801" y="2545"/>
                  </a:lnTo>
                  <a:lnTo>
                    <a:pt x="3801" y="2545"/>
                  </a:lnTo>
                  <a:lnTo>
                    <a:pt x="3803" y="2547"/>
                  </a:lnTo>
                  <a:lnTo>
                    <a:pt x="3805" y="2549"/>
                  </a:lnTo>
                  <a:lnTo>
                    <a:pt x="3805" y="2549"/>
                  </a:lnTo>
                  <a:lnTo>
                    <a:pt x="3808" y="2551"/>
                  </a:lnTo>
                  <a:lnTo>
                    <a:pt x="3808" y="2551"/>
                  </a:lnTo>
                  <a:lnTo>
                    <a:pt x="3808" y="2553"/>
                  </a:lnTo>
                  <a:lnTo>
                    <a:pt x="3808" y="2555"/>
                  </a:lnTo>
                  <a:lnTo>
                    <a:pt x="3808" y="2557"/>
                  </a:lnTo>
                  <a:lnTo>
                    <a:pt x="3808" y="2559"/>
                  </a:lnTo>
                  <a:lnTo>
                    <a:pt x="3805" y="2561"/>
                  </a:lnTo>
                  <a:lnTo>
                    <a:pt x="3805" y="2561"/>
                  </a:lnTo>
                  <a:lnTo>
                    <a:pt x="3805" y="2563"/>
                  </a:lnTo>
                  <a:lnTo>
                    <a:pt x="3808" y="2565"/>
                  </a:lnTo>
                  <a:lnTo>
                    <a:pt x="3808" y="2567"/>
                  </a:lnTo>
                  <a:lnTo>
                    <a:pt x="3810" y="2569"/>
                  </a:lnTo>
                  <a:lnTo>
                    <a:pt x="3812" y="2569"/>
                  </a:lnTo>
                  <a:lnTo>
                    <a:pt x="3814" y="2571"/>
                  </a:lnTo>
                  <a:lnTo>
                    <a:pt x="3814" y="2571"/>
                  </a:lnTo>
                  <a:lnTo>
                    <a:pt x="3816" y="2573"/>
                  </a:lnTo>
                  <a:lnTo>
                    <a:pt x="3818" y="2573"/>
                  </a:lnTo>
                  <a:lnTo>
                    <a:pt x="3820" y="2575"/>
                  </a:lnTo>
                  <a:lnTo>
                    <a:pt x="3820" y="2575"/>
                  </a:lnTo>
                  <a:lnTo>
                    <a:pt x="3823" y="2577"/>
                  </a:lnTo>
                  <a:lnTo>
                    <a:pt x="3823" y="2579"/>
                  </a:lnTo>
                  <a:lnTo>
                    <a:pt x="3823" y="2579"/>
                  </a:lnTo>
                  <a:lnTo>
                    <a:pt x="3825" y="2581"/>
                  </a:lnTo>
                  <a:lnTo>
                    <a:pt x="3827" y="2581"/>
                  </a:lnTo>
                  <a:lnTo>
                    <a:pt x="3829" y="2583"/>
                  </a:lnTo>
                  <a:lnTo>
                    <a:pt x="3829" y="2583"/>
                  </a:lnTo>
                  <a:lnTo>
                    <a:pt x="3831" y="2585"/>
                  </a:lnTo>
                  <a:lnTo>
                    <a:pt x="3833" y="2585"/>
                  </a:lnTo>
                  <a:lnTo>
                    <a:pt x="3836" y="2585"/>
                  </a:lnTo>
                  <a:lnTo>
                    <a:pt x="3838" y="2589"/>
                  </a:lnTo>
                  <a:lnTo>
                    <a:pt x="3838" y="2589"/>
                  </a:lnTo>
                  <a:lnTo>
                    <a:pt x="3840" y="2591"/>
                  </a:lnTo>
                  <a:lnTo>
                    <a:pt x="3842" y="2591"/>
                  </a:lnTo>
                  <a:lnTo>
                    <a:pt x="3844" y="2593"/>
                  </a:lnTo>
                  <a:lnTo>
                    <a:pt x="3844" y="2593"/>
                  </a:lnTo>
                  <a:lnTo>
                    <a:pt x="3846" y="2593"/>
                  </a:lnTo>
                  <a:lnTo>
                    <a:pt x="3848" y="2593"/>
                  </a:lnTo>
                  <a:lnTo>
                    <a:pt x="3851" y="2595"/>
                  </a:lnTo>
                  <a:lnTo>
                    <a:pt x="3853" y="2595"/>
                  </a:lnTo>
                  <a:lnTo>
                    <a:pt x="3855" y="2595"/>
                  </a:lnTo>
                  <a:lnTo>
                    <a:pt x="3855" y="2595"/>
                  </a:lnTo>
                  <a:lnTo>
                    <a:pt x="3857" y="2597"/>
                  </a:lnTo>
                  <a:lnTo>
                    <a:pt x="3859" y="2597"/>
                  </a:lnTo>
                  <a:lnTo>
                    <a:pt x="3859" y="2599"/>
                  </a:lnTo>
                  <a:lnTo>
                    <a:pt x="3861" y="2599"/>
                  </a:lnTo>
                  <a:lnTo>
                    <a:pt x="3863" y="2599"/>
                  </a:lnTo>
                  <a:lnTo>
                    <a:pt x="3866" y="2599"/>
                  </a:lnTo>
                  <a:lnTo>
                    <a:pt x="3868" y="2599"/>
                  </a:lnTo>
                  <a:lnTo>
                    <a:pt x="3870" y="2601"/>
                  </a:lnTo>
                  <a:lnTo>
                    <a:pt x="3870" y="2601"/>
                  </a:lnTo>
                  <a:lnTo>
                    <a:pt x="3872" y="2603"/>
                  </a:lnTo>
                  <a:lnTo>
                    <a:pt x="3874" y="2603"/>
                  </a:lnTo>
                  <a:lnTo>
                    <a:pt x="3874" y="2605"/>
                  </a:lnTo>
                  <a:lnTo>
                    <a:pt x="3876" y="2605"/>
                  </a:lnTo>
                  <a:lnTo>
                    <a:pt x="3878" y="2607"/>
                  </a:lnTo>
                  <a:lnTo>
                    <a:pt x="3881" y="2607"/>
                  </a:lnTo>
                  <a:lnTo>
                    <a:pt x="3883" y="2609"/>
                  </a:lnTo>
                  <a:lnTo>
                    <a:pt x="3883" y="2609"/>
                  </a:lnTo>
                  <a:lnTo>
                    <a:pt x="3885" y="2611"/>
                  </a:lnTo>
                  <a:lnTo>
                    <a:pt x="3885" y="2611"/>
                  </a:lnTo>
                  <a:lnTo>
                    <a:pt x="3887" y="2613"/>
                  </a:lnTo>
                  <a:lnTo>
                    <a:pt x="3887" y="2615"/>
                  </a:lnTo>
                  <a:lnTo>
                    <a:pt x="3889" y="2615"/>
                  </a:lnTo>
                  <a:lnTo>
                    <a:pt x="3891" y="2617"/>
                  </a:lnTo>
                  <a:lnTo>
                    <a:pt x="3894" y="2617"/>
                  </a:lnTo>
                  <a:lnTo>
                    <a:pt x="3894" y="2619"/>
                  </a:lnTo>
                  <a:lnTo>
                    <a:pt x="3896" y="2621"/>
                  </a:lnTo>
                  <a:lnTo>
                    <a:pt x="3896" y="2621"/>
                  </a:lnTo>
                  <a:lnTo>
                    <a:pt x="3898" y="2623"/>
                  </a:lnTo>
                  <a:lnTo>
                    <a:pt x="3900" y="2623"/>
                  </a:lnTo>
                  <a:lnTo>
                    <a:pt x="3902" y="2625"/>
                  </a:lnTo>
                  <a:lnTo>
                    <a:pt x="3902" y="2625"/>
                  </a:lnTo>
                  <a:lnTo>
                    <a:pt x="3904" y="2627"/>
                  </a:lnTo>
                  <a:lnTo>
                    <a:pt x="3906" y="2627"/>
                  </a:lnTo>
                  <a:lnTo>
                    <a:pt x="3906" y="2629"/>
                  </a:lnTo>
                  <a:lnTo>
                    <a:pt x="3906" y="2631"/>
                  </a:lnTo>
                  <a:lnTo>
                    <a:pt x="3909" y="2631"/>
                  </a:lnTo>
                  <a:lnTo>
                    <a:pt x="3909" y="2633"/>
                  </a:lnTo>
                  <a:lnTo>
                    <a:pt x="3911" y="2635"/>
                  </a:lnTo>
                  <a:lnTo>
                    <a:pt x="3913" y="2635"/>
                  </a:lnTo>
                  <a:lnTo>
                    <a:pt x="3913" y="2637"/>
                  </a:lnTo>
                  <a:lnTo>
                    <a:pt x="3915" y="2637"/>
                  </a:lnTo>
                  <a:lnTo>
                    <a:pt x="3917" y="2639"/>
                  </a:lnTo>
                  <a:lnTo>
                    <a:pt x="3919" y="2639"/>
                  </a:lnTo>
                  <a:lnTo>
                    <a:pt x="3919" y="2641"/>
                  </a:lnTo>
                  <a:lnTo>
                    <a:pt x="3921" y="2641"/>
                  </a:lnTo>
                  <a:lnTo>
                    <a:pt x="3924" y="2643"/>
                  </a:lnTo>
                  <a:lnTo>
                    <a:pt x="3926" y="2643"/>
                  </a:lnTo>
                  <a:lnTo>
                    <a:pt x="3926" y="2645"/>
                  </a:lnTo>
                  <a:lnTo>
                    <a:pt x="3928" y="2647"/>
                  </a:lnTo>
                  <a:lnTo>
                    <a:pt x="3930" y="2647"/>
                  </a:lnTo>
                  <a:lnTo>
                    <a:pt x="3930" y="2649"/>
                  </a:lnTo>
                  <a:lnTo>
                    <a:pt x="3932" y="2651"/>
                  </a:lnTo>
                  <a:lnTo>
                    <a:pt x="3932" y="2651"/>
                  </a:lnTo>
                  <a:lnTo>
                    <a:pt x="3934" y="2653"/>
                  </a:lnTo>
                  <a:lnTo>
                    <a:pt x="3934" y="2655"/>
                  </a:lnTo>
                  <a:lnTo>
                    <a:pt x="3936" y="2655"/>
                  </a:lnTo>
                  <a:lnTo>
                    <a:pt x="3936" y="2657"/>
                  </a:lnTo>
                  <a:lnTo>
                    <a:pt x="3939" y="2657"/>
                  </a:lnTo>
                  <a:lnTo>
                    <a:pt x="3941" y="2658"/>
                  </a:lnTo>
                  <a:lnTo>
                    <a:pt x="3941" y="2658"/>
                  </a:lnTo>
                  <a:lnTo>
                    <a:pt x="3943" y="2660"/>
                  </a:lnTo>
                  <a:lnTo>
                    <a:pt x="3945" y="2660"/>
                  </a:lnTo>
                  <a:lnTo>
                    <a:pt x="3945" y="2660"/>
                  </a:lnTo>
                  <a:lnTo>
                    <a:pt x="3945" y="2662"/>
                  </a:lnTo>
                  <a:lnTo>
                    <a:pt x="3947" y="2662"/>
                  </a:lnTo>
                  <a:lnTo>
                    <a:pt x="3949" y="2662"/>
                  </a:lnTo>
                  <a:lnTo>
                    <a:pt x="3949" y="2662"/>
                  </a:lnTo>
                  <a:lnTo>
                    <a:pt x="3951" y="2664"/>
                  </a:lnTo>
                  <a:lnTo>
                    <a:pt x="3951" y="2664"/>
                  </a:lnTo>
                  <a:lnTo>
                    <a:pt x="3954" y="2666"/>
                  </a:lnTo>
                  <a:lnTo>
                    <a:pt x="3954" y="2666"/>
                  </a:lnTo>
                  <a:lnTo>
                    <a:pt x="3954" y="2668"/>
                  </a:lnTo>
                  <a:lnTo>
                    <a:pt x="3954" y="2670"/>
                  </a:lnTo>
                  <a:lnTo>
                    <a:pt x="3954" y="2670"/>
                  </a:lnTo>
                  <a:lnTo>
                    <a:pt x="3954" y="2672"/>
                  </a:lnTo>
                  <a:lnTo>
                    <a:pt x="3956" y="2672"/>
                  </a:lnTo>
                  <a:lnTo>
                    <a:pt x="3958" y="2672"/>
                  </a:lnTo>
                  <a:lnTo>
                    <a:pt x="3958" y="2674"/>
                  </a:lnTo>
                  <a:lnTo>
                    <a:pt x="3960" y="2676"/>
                  </a:lnTo>
                  <a:lnTo>
                    <a:pt x="3960" y="2678"/>
                  </a:lnTo>
                  <a:lnTo>
                    <a:pt x="3960" y="2678"/>
                  </a:lnTo>
                  <a:lnTo>
                    <a:pt x="3960" y="2680"/>
                  </a:lnTo>
                  <a:lnTo>
                    <a:pt x="3962" y="2682"/>
                  </a:lnTo>
                  <a:lnTo>
                    <a:pt x="3962" y="2682"/>
                  </a:lnTo>
                  <a:lnTo>
                    <a:pt x="3964" y="2684"/>
                  </a:lnTo>
                  <a:lnTo>
                    <a:pt x="3964" y="2684"/>
                  </a:lnTo>
                  <a:lnTo>
                    <a:pt x="3967" y="2686"/>
                  </a:lnTo>
                  <a:lnTo>
                    <a:pt x="3967" y="2688"/>
                  </a:lnTo>
                  <a:lnTo>
                    <a:pt x="3969" y="2690"/>
                  </a:lnTo>
                  <a:lnTo>
                    <a:pt x="3969" y="2692"/>
                  </a:lnTo>
                  <a:lnTo>
                    <a:pt x="3969" y="2694"/>
                  </a:lnTo>
                  <a:lnTo>
                    <a:pt x="3967" y="2694"/>
                  </a:lnTo>
                  <a:lnTo>
                    <a:pt x="3967" y="2696"/>
                  </a:lnTo>
                  <a:lnTo>
                    <a:pt x="3967" y="2698"/>
                  </a:lnTo>
                  <a:lnTo>
                    <a:pt x="3967" y="2700"/>
                  </a:lnTo>
                  <a:lnTo>
                    <a:pt x="3969" y="2702"/>
                  </a:lnTo>
                  <a:lnTo>
                    <a:pt x="3969" y="2704"/>
                  </a:lnTo>
                  <a:lnTo>
                    <a:pt x="3971" y="2704"/>
                  </a:lnTo>
                  <a:lnTo>
                    <a:pt x="3973" y="2706"/>
                  </a:lnTo>
                  <a:lnTo>
                    <a:pt x="3973" y="2706"/>
                  </a:lnTo>
                  <a:lnTo>
                    <a:pt x="3973" y="2706"/>
                  </a:lnTo>
                  <a:lnTo>
                    <a:pt x="3975" y="2708"/>
                  </a:lnTo>
                  <a:lnTo>
                    <a:pt x="3975" y="2710"/>
                  </a:lnTo>
                  <a:lnTo>
                    <a:pt x="3975" y="2710"/>
                  </a:lnTo>
                  <a:lnTo>
                    <a:pt x="3977" y="2712"/>
                  </a:lnTo>
                  <a:lnTo>
                    <a:pt x="3975" y="2712"/>
                  </a:lnTo>
                  <a:lnTo>
                    <a:pt x="3977" y="2714"/>
                  </a:lnTo>
                  <a:lnTo>
                    <a:pt x="3977" y="2714"/>
                  </a:lnTo>
                  <a:lnTo>
                    <a:pt x="3979" y="2716"/>
                  </a:lnTo>
                  <a:lnTo>
                    <a:pt x="3979" y="2716"/>
                  </a:lnTo>
                  <a:lnTo>
                    <a:pt x="3979" y="2718"/>
                  </a:lnTo>
                  <a:lnTo>
                    <a:pt x="3979" y="2718"/>
                  </a:lnTo>
                  <a:lnTo>
                    <a:pt x="3982" y="2718"/>
                  </a:lnTo>
                  <a:lnTo>
                    <a:pt x="3979" y="2720"/>
                  </a:lnTo>
                  <a:lnTo>
                    <a:pt x="3979" y="2722"/>
                  </a:lnTo>
                  <a:lnTo>
                    <a:pt x="3982" y="2722"/>
                  </a:lnTo>
                  <a:lnTo>
                    <a:pt x="3984" y="2720"/>
                  </a:lnTo>
                  <a:lnTo>
                    <a:pt x="3984" y="2722"/>
                  </a:lnTo>
                  <a:lnTo>
                    <a:pt x="3986" y="2722"/>
                  </a:lnTo>
                  <a:lnTo>
                    <a:pt x="3986" y="2722"/>
                  </a:lnTo>
                  <a:lnTo>
                    <a:pt x="3986" y="2724"/>
                  </a:lnTo>
                  <a:lnTo>
                    <a:pt x="3988" y="2724"/>
                  </a:lnTo>
                  <a:lnTo>
                    <a:pt x="3990" y="2726"/>
                  </a:lnTo>
                  <a:lnTo>
                    <a:pt x="3990" y="2726"/>
                  </a:lnTo>
                  <a:lnTo>
                    <a:pt x="3988" y="2728"/>
                  </a:lnTo>
                  <a:lnTo>
                    <a:pt x="3988" y="2728"/>
                  </a:lnTo>
                  <a:lnTo>
                    <a:pt x="3988" y="2730"/>
                  </a:lnTo>
                  <a:lnTo>
                    <a:pt x="3988" y="2732"/>
                  </a:lnTo>
                  <a:lnTo>
                    <a:pt x="3990" y="2734"/>
                  </a:lnTo>
                  <a:lnTo>
                    <a:pt x="3990" y="2734"/>
                  </a:lnTo>
                  <a:lnTo>
                    <a:pt x="3992" y="2736"/>
                  </a:lnTo>
                  <a:lnTo>
                    <a:pt x="3992" y="2738"/>
                  </a:lnTo>
                  <a:lnTo>
                    <a:pt x="3992" y="2740"/>
                  </a:lnTo>
                  <a:lnTo>
                    <a:pt x="3990" y="2740"/>
                  </a:lnTo>
                  <a:lnTo>
                    <a:pt x="3988" y="2742"/>
                  </a:lnTo>
                  <a:lnTo>
                    <a:pt x="3988" y="2742"/>
                  </a:lnTo>
                  <a:lnTo>
                    <a:pt x="3986" y="2744"/>
                  </a:lnTo>
                  <a:lnTo>
                    <a:pt x="3986" y="2746"/>
                  </a:lnTo>
                  <a:lnTo>
                    <a:pt x="3984" y="2746"/>
                  </a:lnTo>
                  <a:lnTo>
                    <a:pt x="3984" y="2748"/>
                  </a:lnTo>
                  <a:lnTo>
                    <a:pt x="3984" y="2750"/>
                  </a:lnTo>
                  <a:lnTo>
                    <a:pt x="3982" y="2750"/>
                  </a:lnTo>
                  <a:lnTo>
                    <a:pt x="3982" y="2750"/>
                  </a:lnTo>
                  <a:lnTo>
                    <a:pt x="3982" y="2750"/>
                  </a:lnTo>
                  <a:lnTo>
                    <a:pt x="3982" y="2752"/>
                  </a:lnTo>
                  <a:lnTo>
                    <a:pt x="3982" y="2754"/>
                  </a:lnTo>
                  <a:lnTo>
                    <a:pt x="3982" y="2756"/>
                  </a:lnTo>
                  <a:lnTo>
                    <a:pt x="3982" y="2758"/>
                  </a:lnTo>
                  <a:lnTo>
                    <a:pt x="3982" y="2758"/>
                  </a:lnTo>
                  <a:lnTo>
                    <a:pt x="3982" y="2760"/>
                  </a:lnTo>
                  <a:lnTo>
                    <a:pt x="3982" y="2762"/>
                  </a:lnTo>
                  <a:lnTo>
                    <a:pt x="3982" y="2764"/>
                  </a:lnTo>
                  <a:lnTo>
                    <a:pt x="3979" y="2764"/>
                  </a:lnTo>
                  <a:lnTo>
                    <a:pt x="3979" y="2766"/>
                  </a:lnTo>
                  <a:lnTo>
                    <a:pt x="3977" y="2768"/>
                  </a:lnTo>
                  <a:lnTo>
                    <a:pt x="3977" y="2768"/>
                  </a:lnTo>
                  <a:lnTo>
                    <a:pt x="3975" y="2770"/>
                  </a:lnTo>
                  <a:lnTo>
                    <a:pt x="3973" y="2770"/>
                  </a:lnTo>
                  <a:lnTo>
                    <a:pt x="3973" y="2772"/>
                  </a:lnTo>
                  <a:lnTo>
                    <a:pt x="3971" y="2772"/>
                  </a:lnTo>
                  <a:lnTo>
                    <a:pt x="3971" y="2770"/>
                  </a:lnTo>
                  <a:lnTo>
                    <a:pt x="3971" y="2772"/>
                  </a:lnTo>
                  <a:lnTo>
                    <a:pt x="3969" y="2774"/>
                  </a:lnTo>
                  <a:lnTo>
                    <a:pt x="3969" y="2776"/>
                  </a:lnTo>
                  <a:lnTo>
                    <a:pt x="3969" y="2778"/>
                  </a:lnTo>
                  <a:lnTo>
                    <a:pt x="3969" y="2778"/>
                  </a:lnTo>
                  <a:lnTo>
                    <a:pt x="3967" y="2780"/>
                  </a:lnTo>
                  <a:lnTo>
                    <a:pt x="3967" y="2782"/>
                  </a:lnTo>
                  <a:lnTo>
                    <a:pt x="3967" y="2782"/>
                  </a:lnTo>
                  <a:lnTo>
                    <a:pt x="3967" y="2784"/>
                  </a:lnTo>
                  <a:lnTo>
                    <a:pt x="3967" y="2784"/>
                  </a:lnTo>
                  <a:lnTo>
                    <a:pt x="3964" y="2784"/>
                  </a:lnTo>
                  <a:lnTo>
                    <a:pt x="3964" y="2786"/>
                  </a:lnTo>
                  <a:lnTo>
                    <a:pt x="3962" y="2786"/>
                  </a:lnTo>
                  <a:lnTo>
                    <a:pt x="3962" y="2788"/>
                  </a:lnTo>
                  <a:lnTo>
                    <a:pt x="3962" y="2790"/>
                  </a:lnTo>
                  <a:lnTo>
                    <a:pt x="3962" y="2792"/>
                  </a:lnTo>
                  <a:lnTo>
                    <a:pt x="3962" y="2794"/>
                  </a:lnTo>
                  <a:lnTo>
                    <a:pt x="3960" y="2794"/>
                  </a:lnTo>
                  <a:lnTo>
                    <a:pt x="3960" y="2796"/>
                  </a:lnTo>
                  <a:lnTo>
                    <a:pt x="3960" y="2798"/>
                  </a:lnTo>
                  <a:lnTo>
                    <a:pt x="3960" y="2800"/>
                  </a:lnTo>
                  <a:lnTo>
                    <a:pt x="3960" y="2802"/>
                  </a:lnTo>
                  <a:lnTo>
                    <a:pt x="3960" y="2802"/>
                  </a:lnTo>
                  <a:lnTo>
                    <a:pt x="3960" y="2804"/>
                  </a:lnTo>
                  <a:lnTo>
                    <a:pt x="3960" y="2806"/>
                  </a:lnTo>
                  <a:lnTo>
                    <a:pt x="3960" y="2808"/>
                  </a:lnTo>
                  <a:lnTo>
                    <a:pt x="3960" y="2810"/>
                  </a:lnTo>
                  <a:lnTo>
                    <a:pt x="3960" y="2812"/>
                  </a:lnTo>
                  <a:lnTo>
                    <a:pt x="3958" y="2814"/>
                  </a:lnTo>
                  <a:lnTo>
                    <a:pt x="3958" y="2814"/>
                  </a:lnTo>
                  <a:lnTo>
                    <a:pt x="3958" y="2816"/>
                  </a:lnTo>
                  <a:lnTo>
                    <a:pt x="3958" y="2818"/>
                  </a:lnTo>
                  <a:lnTo>
                    <a:pt x="3958" y="2818"/>
                  </a:lnTo>
                  <a:lnTo>
                    <a:pt x="3958" y="2820"/>
                  </a:lnTo>
                  <a:lnTo>
                    <a:pt x="3958" y="2822"/>
                  </a:lnTo>
                  <a:lnTo>
                    <a:pt x="3958" y="2824"/>
                  </a:lnTo>
                  <a:lnTo>
                    <a:pt x="3958" y="2824"/>
                  </a:lnTo>
                  <a:lnTo>
                    <a:pt x="3960" y="2826"/>
                  </a:lnTo>
                  <a:lnTo>
                    <a:pt x="3960" y="2828"/>
                  </a:lnTo>
                  <a:lnTo>
                    <a:pt x="3960" y="2830"/>
                  </a:lnTo>
                  <a:lnTo>
                    <a:pt x="3962" y="2830"/>
                  </a:lnTo>
                  <a:lnTo>
                    <a:pt x="3962" y="2832"/>
                  </a:lnTo>
                  <a:lnTo>
                    <a:pt x="3962" y="2834"/>
                  </a:lnTo>
                  <a:lnTo>
                    <a:pt x="3962" y="2836"/>
                  </a:lnTo>
                  <a:lnTo>
                    <a:pt x="3962" y="2838"/>
                  </a:lnTo>
                  <a:lnTo>
                    <a:pt x="3962" y="2840"/>
                  </a:lnTo>
                  <a:lnTo>
                    <a:pt x="3960" y="2840"/>
                  </a:lnTo>
                  <a:lnTo>
                    <a:pt x="3962" y="2842"/>
                  </a:lnTo>
                  <a:lnTo>
                    <a:pt x="3960" y="2844"/>
                  </a:lnTo>
                  <a:lnTo>
                    <a:pt x="3960" y="2844"/>
                  </a:lnTo>
                  <a:lnTo>
                    <a:pt x="3960" y="2846"/>
                  </a:lnTo>
                  <a:lnTo>
                    <a:pt x="3960" y="2848"/>
                  </a:lnTo>
                  <a:lnTo>
                    <a:pt x="3960" y="2850"/>
                  </a:lnTo>
                  <a:lnTo>
                    <a:pt x="3960" y="2852"/>
                  </a:lnTo>
                  <a:lnTo>
                    <a:pt x="3960" y="2852"/>
                  </a:lnTo>
                  <a:lnTo>
                    <a:pt x="3960" y="2854"/>
                  </a:lnTo>
                  <a:lnTo>
                    <a:pt x="3960" y="2856"/>
                  </a:lnTo>
                  <a:lnTo>
                    <a:pt x="3960" y="2858"/>
                  </a:lnTo>
                  <a:lnTo>
                    <a:pt x="3962" y="2858"/>
                  </a:lnTo>
                  <a:lnTo>
                    <a:pt x="3962" y="2860"/>
                  </a:lnTo>
                  <a:lnTo>
                    <a:pt x="3962" y="2862"/>
                  </a:lnTo>
                  <a:lnTo>
                    <a:pt x="3960" y="2864"/>
                  </a:lnTo>
                  <a:lnTo>
                    <a:pt x="3960" y="2866"/>
                  </a:lnTo>
                  <a:lnTo>
                    <a:pt x="3958" y="2866"/>
                  </a:lnTo>
                  <a:lnTo>
                    <a:pt x="3958" y="2868"/>
                  </a:lnTo>
                  <a:lnTo>
                    <a:pt x="3958" y="2870"/>
                  </a:lnTo>
                  <a:lnTo>
                    <a:pt x="3956" y="2870"/>
                  </a:lnTo>
                  <a:lnTo>
                    <a:pt x="3956" y="2872"/>
                  </a:lnTo>
                  <a:lnTo>
                    <a:pt x="3956" y="2872"/>
                  </a:lnTo>
                  <a:lnTo>
                    <a:pt x="3954" y="2870"/>
                  </a:lnTo>
                  <a:lnTo>
                    <a:pt x="3951" y="2872"/>
                  </a:lnTo>
                  <a:lnTo>
                    <a:pt x="3951" y="2872"/>
                  </a:lnTo>
                  <a:lnTo>
                    <a:pt x="3949" y="2872"/>
                  </a:lnTo>
                  <a:lnTo>
                    <a:pt x="3947" y="2874"/>
                  </a:lnTo>
                  <a:lnTo>
                    <a:pt x="3947" y="2874"/>
                  </a:lnTo>
                  <a:lnTo>
                    <a:pt x="3945" y="2872"/>
                  </a:lnTo>
                  <a:lnTo>
                    <a:pt x="3945" y="2872"/>
                  </a:lnTo>
                  <a:lnTo>
                    <a:pt x="3943" y="2872"/>
                  </a:lnTo>
                  <a:lnTo>
                    <a:pt x="3943" y="2870"/>
                  </a:lnTo>
                  <a:lnTo>
                    <a:pt x="3941" y="2868"/>
                  </a:lnTo>
                  <a:lnTo>
                    <a:pt x="3941" y="2868"/>
                  </a:lnTo>
                  <a:lnTo>
                    <a:pt x="3939" y="2868"/>
                  </a:lnTo>
                  <a:lnTo>
                    <a:pt x="3936" y="2868"/>
                  </a:lnTo>
                  <a:lnTo>
                    <a:pt x="3934" y="2868"/>
                  </a:lnTo>
                  <a:lnTo>
                    <a:pt x="3934" y="2866"/>
                  </a:lnTo>
                  <a:lnTo>
                    <a:pt x="3934" y="2864"/>
                  </a:lnTo>
                  <a:lnTo>
                    <a:pt x="3932" y="2864"/>
                  </a:lnTo>
                  <a:lnTo>
                    <a:pt x="3930" y="2864"/>
                  </a:lnTo>
                  <a:lnTo>
                    <a:pt x="3928" y="2862"/>
                  </a:lnTo>
                  <a:lnTo>
                    <a:pt x="3926" y="2862"/>
                  </a:lnTo>
                  <a:lnTo>
                    <a:pt x="3926" y="2862"/>
                  </a:lnTo>
                  <a:lnTo>
                    <a:pt x="3924" y="2860"/>
                  </a:lnTo>
                  <a:lnTo>
                    <a:pt x="3921" y="2860"/>
                  </a:lnTo>
                  <a:lnTo>
                    <a:pt x="3919" y="2858"/>
                  </a:lnTo>
                  <a:lnTo>
                    <a:pt x="3917" y="2858"/>
                  </a:lnTo>
                  <a:lnTo>
                    <a:pt x="3915" y="2858"/>
                  </a:lnTo>
                  <a:lnTo>
                    <a:pt x="3915" y="2858"/>
                  </a:lnTo>
                  <a:lnTo>
                    <a:pt x="3913" y="2860"/>
                  </a:lnTo>
                  <a:lnTo>
                    <a:pt x="3911" y="2860"/>
                  </a:lnTo>
                  <a:lnTo>
                    <a:pt x="3909" y="2860"/>
                  </a:lnTo>
                  <a:lnTo>
                    <a:pt x="3906" y="2860"/>
                  </a:lnTo>
                  <a:lnTo>
                    <a:pt x="3904" y="2860"/>
                  </a:lnTo>
                  <a:lnTo>
                    <a:pt x="3902" y="2860"/>
                  </a:lnTo>
                  <a:lnTo>
                    <a:pt x="3900" y="2858"/>
                  </a:lnTo>
                  <a:lnTo>
                    <a:pt x="3898" y="2858"/>
                  </a:lnTo>
                  <a:lnTo>
                    <a:pt x="3896" y="2858"/>
                  </a:lnTo>
                  <a:lnTo>
                    <a:pt x="3896" y="2858"/>
                  </a:lnTo>
                  <a:lnTo>
                    <a:pt x="3894" y="2858"/>
                  </a:lnTo>
                  <a:lnTo>
                    <a:pt x="3891" y="2856"/>
                  </a:lnTo>
                  <a:lnTo>
                    <a:pt x="3889" y="2856"/>
                  </a:lnTo>
                  <a:lnTo>
                    <a:pt x="3889" y="2856"/>
                  </a:lnTo>
                  <a:lnTo>
                    <a:pt x="3887" y="2856"/>
                  </a:lnTo>
                  <a:lnTo>
                    <a:pt x="3885" y="2854"/>
                  </a:lnTo>
                  <a:lnTo>
                    <a:pt x="3885" y="2854"/>
                  </a:lnTo>
                  <a:lnTo>
                    <a:pt x="3883" y="2852"/>
                  </a:lnTo>
                  <a:lnTo>
                    <a:pt x="3881" y="2852"/>
                  </a:lnTo>
                  <a:lnTo>
                    <a:pt x="3878" y="2852"/>
                  </a:lnTo>
                  <a:lnTo>
                    <a:pt x="3876" y="2852"/>
                  </a:lnTo>
                  <a:lnTo>
                    <a:pt x="3874" y="2850"/>
                  </a:lnTo>
                  <a:lnTo>
                    <a:pt x="3874" y="2848"/>
                  </a:lnTo>
                  <a:lnTo>
                    <a:pt x="3872" y="2846"/>
                  </a:lnTo>
                  <a:lnTo>
                    <a:pt x="3872" y="2846"/>
                  </a:lnTo>
                  <a:lnTo>
                    <a:pt x="3870" y="2844"/>
                  </a:lnTo>
                  <a:lnTo>
                    <a:pt x="3868" y="2844"/>
                  </a:lnTo>
                  <a:lnTo>
                    <a:pt x="3866" y="2842"/>
                  </a:lnTo>
                  <a:lnTo>
                    <a:pt x="3866" y="2842"/>
                  </a:lnTo>
                  <a:lnTo>
                    <a:pt x="3863" y="2842"/>
                  </a:lnTo>
                  <a:lnTo>
                    <a:pt x="3863" y="2840"/>
                  </a:lnTo>
                  <a:lnTo>
                    <a:pt x="3861" y="2840"/>
                  </a:lnTo>
                  <a:lnTo>
                    <a:pt x="3859" y="2840"/>
                  </a:lnTo>
                  <a:lnTo>
                    <a:pt x="3857" y="2838"/>
                  </a:lnTo>
                  <a:lnTo>
                    <a:pt x="3857" y="2838"/>
                  </a:lnTo>
                  <a:lnTo>
                    <a:pt x="3855" y="2838"/>
                  </a:lnTo>
                  <a:lnTo>
                    <a:pt x="3853" y="2836"/>
                  </a:lnTo>
                  <a:lnTo>
                    <a:pt x="3851" y="2836"/>
                  </a:lnTo>
                  <a:lnTo>
                    <a:pt x="3851" y="2834"/>
                  </a:lnTo>
                  <a:lnTo>
                    <a:pt x="3848" y="2832"/>
                  </a:lnTo>
                  <a:lnTo>
                    <a:pt x="3848" y="2832"/>
                  </a:lnTo>
                  <a:lnTo>
                    <a:pt x="3846" y="2830"/>
                  </a:lnTo>
                  <a:lnTo>
                    <a:pt x="3846" y="2830"/>
                  </a:lnTo>
                  <a:lnTo>
                    <a:pt x="3844" y="2828"/>
                  </a:lnTo>
                  <a:lnTo>
                    <a:pt x="3842" y="2828"/>
                  </a:lnTo>
                  <a:lnTo>
                    <a:pt x="3840" y="2828"/>
                  </a:lnTo>
                  <a:lnTo>
                    <a:pt x="3840" y="2826"/>
                  </a:lnTo>
                  <a:lnTo>
                    <a:pt x="3838" y="2824"/>
                  </a:lnTo>
                  <a:lnTo>
                    <a:pt x="3838" y="2824"/>
                  </a:lnTo>
                  <a:lnTo>
                    <a:pt x="3836" y="2822"/>
                  </a:lnTo>
                  <a:lnTo>
                    <a:pt x="3836" y="2822"/>
                  </a:lnTo>
                  <a:lnTo>
                    <a:pt x="3833" y="2820"/>
                  </a:lnTo>
                  <a:lnTo>
                    <a:pt x="3833" y="2820"/>
                  </a:lnTo>
                  <a:lnTo>
                    <a:pt x="3831" y="2818"/>
                  </a:lnTo>
                  <a:lnTo>
                    <a:pt x="3831" y="2816"/>
                  </a:lnTo>
                  <a:lnTo>
                    <a:pt x="3831" y="2814"/>
                  </a:lnTo>
                  <a:lnTo>
                    <a:pt x="3829" y="2812"/>
                  </a:lnTo>
                  <a:lnTo>
                    <a:pt x="3829" y="2812"/>
                  </a:lnTo>
                  <a:lnTo>
                    <a:pt x="3827" y="2812"/>
                  </a:lnTo>
                  <a:lnTo>
                    <a:pt x="3825" y="2810"/>
                  </a:lnTo>
                  <a:lnTo>
                    <a:pt x="3825" y="2808"/>
                  </a:lnTo>
                  <a:lnTo>
                    <a:pt x="3823" y="2808"/>
                  </a:lnTo>
                  <a:lnTo>
                    <a:pt x="3823" y="2806"/>
                  </a:lnTo>
                  <a:lnTo>
                    <a:pt x="3820" y="2804"/>
                  </a:lnTo>
                  <a:lnTo>
                    <a:pt x="3820" y="2804"/>
                  </a:lnTo>
                  <a:lnTo>
                    <a:pt x="3818" y="2802"/>
                  </a:lnTo>
                  <a:lnTo>
                    <a:pt x="3818" y="2800"/>
                  </a:lnTo>
                  <a:lnTo>
                    <a:pt x="3818" y="2800"/>
                  </a:lnTo>
                  <a:lnTo>
                    <a:pt x="3820" y="2800"/>
                  </a:lnTo>
                  <a:lnTo>
                    <a:pt x="3823" y="2800"/>
                  </a:lnTo>
                  <a:lnTo>
                    <a:pt x="3823" y="2800"/>
                  </a:lnTo>
                  <a:lnTo>
                    <a:pt x="3825" y="2798"/>
                  </a:lnTo>
                  <a:lnTo>
                    <a:pt x="3825" y="2796"/>
                  </a:lnTo>
                  <a:lnTo>
                    <a:pt x="3825" y="2796"/>
                  </a:lnTo>
                  <a:lnTo>
                    <a:pt x="3827" y="2794"/>
                  </a:lnTo>
                  <a:lnTo>
                    <a:pt x="3827" y="2792"/>
                  </a:lnTo>
                  <a:lnTo>
                    <a:pt x="3827" y="2790"/>
                  </a:lnTo>
                  <a:lnTo>
                    <a:pt x="3825" y="2788"/>
                  </a:lnTo>
                  <a:lnTo>
                    <a:pt x="3825" y="2786"/>
                  </a:lnTo>
                  <a:lnTo>
                    <a:pt x="3825" y="2784"/>
                  </a:lnTo>
                  <a:lnTo>
                    <a:pt x="3823" y="2782"/>
                  </a:lnTo>
                  <a:lnTo>
                    <a:pt x="3823" y="2782"/>
                  </a:lnTo>
                  <a:lnTo>
                    <a:pt x="3820" y="2780"/>
                  </a:lnTo>
                  <a:lnTo>
                    <a:pt x="3818" y="2780"/>
                  </a:lnTo>
                  <a:lnTo>
                    <a:pt x="3816" y="2778"/>
                  </a:lnTo>
                  <a:lnTo>
                    <a:pt x="3816" y="2778"/>
                  </a:lnTo>
                  <a:lnTo>
                    <a:pt x="3814" y="2778"/>
                  </a:lnTo>
                  <a:lnTo>
                    <a:pt x="3812" y="2776"/>
                  </a:lnTo>
                  <a:lnTo>
                    <a:pt x="3810" y="2778"/>
                  </a:lnTo>
                  <a:lnTo>
                    <a:pt x="3810" y="2776"/>
                  </a:lnTo>
                  <a:lnTo>
                    <a:pt x="3810" y="2778"/>
                  </a:lnTo>
                  <a:lnTo>
                    <a:pt x="3808" y="2776"/>
                  </a:lnTo>
                  <a:lnTo>
                    <a:pt x="3810" y="2776"/>
                  </a:lnTo>
                  <a:lnTo>
                    <a:pt x="3810" y="2774"/>
                  </a:lnTo>
                  <a:lnTo>
                    <a:pt x="3810" y="2774"/>
                  </a:lnTo>
                  <a:lnTo>
                    <a:pt x="3810" y="2776"/>
                  </a:lnTo>
                  <a:lnTo>
                    <a:pt x="3812" y="2776"/>
                  </a:lnTo>
                  <a:lnTo>
                    <a:pt x="3812" y="2776"/>
                  </a:lnTo>
                  <a:lnTo>
                    <a:pt x="3814" y="2774"/>
                  </a:lnTo>
                  <a:lnTo>
                    <a:pt x="3814" y="2772"/>
                  </a:lnTo>
                  <a:lnTo>
                    <a:pt x="3816" y="2772"/>
                  </a:lnTo>
                  <a:lnTo>
                    <a:pt x="3818" y="2770"/>
                  </a:lnTo>
                  <a:lnTo>
                    <a:pt x="3818" y="2768"/>
                  </a:lnTo>
                  <a:lnTo>
                    <a:pt x="3818" y="2766"/>
                  </a:lnTo>
                  <a:lnTo>
                    <a:pt x="3818" y="2764"/>
                  </a:lnTo>
                  <a:lnTo>
                    <a:pt x="3820" y="2764"/>
                  </a:lnTo>
                  <a:lnTo>
                    <a:pt x="3820" y="2762"/>
                  </a:lnTo>
                  <a:lnTo>
                    <a:pt x="3820" y="2760"/>
                  </a:lnTo>
                  <a:lnTo>
                    <a:pt x="3820" y="2758"/>
                  </a:lnTo>
                  <a:lnTo>
                    <a:pt x="3818" y="2756"/>
                  </a:lnTo>
                  <a:lnTo>
                    <a:pt x="3818" y="2756"/>
                  </a:lnTo>
                  <a:lnTo>
                    <a:pt x="3818" y="2754"/>
                  </a:lnTo>
                  <a:lnTo>
                    <a:pt x="3816" y="2752"/>
                  </a:lnTo>
                  <a:lnTo>
                    <a:pt x="3816" y="2750"/>
                  </a:lnTo>
                  <a:lnTo>
                    <a:pt x="3814" y="2750"/>
                  </a:lnTo>
                  <a:lnTo>
                    <a:pt x="3814" y="2748"/>
                  </a:lnTo>
                  <a:lnTo>
                    <a:pt x="3814" y="2748"/>
                  </a:lnTo>
                  <a:lnTo>
                    <a:pt x="3812" y="2746"/>
                  </a:lnTo>
                  <a:lnTo>
                    <a:pt x="3812" y="2746"/>
                  </a:lnTo>
                  <a:lnTo>
                    <a:pt x="3812" y="2744"/>
                  </a:lnTo>
                  <a:lnTo>
                    <a:pt x="3812" y="2744"/>
                  </a:lnTo>
                  <a:lnTo>
                    <a:pt x="3810" y="2744"/>
                  </a:lnTo>
                  <a:lnTo>
                    <a:pt x="3810" y="2742"/>
                  </a:lnTo>
                  <a:lnTo>
                    <a:pt x="3810" y="2742"/>
                  </a:lnTo>
                  <a:lnTo>
                    <a:pt x="3808" y="2742"/>
                  </a:lnTo>
                  <a:lnTo>
                    <a:pt x="3808" y="2742"/>
                  </a:lnTo>
                  <a:lnTo>
                    <a:pt x="3805" y="2740"/>
                  </a:lnTo>
                  <a:lnTo>
                    <a:pt x="3805" y="2740"/>
                  </a:lnTo>
                  <a:lnTo>
                    <a:pt x="3803" y="2740"/>
                  </a:lnTo>
                  <a:lnTo>
                    <a:pt x="3803" y="2738"/>
                  </a:lnTo>
                  <a:lnTo>
                    <a:pt x="3803" y="2738"/>
                  </a:lnTo>
                  <a:lnTo>
                    <a:pt x="3801" y="2738"/>
                  </a:lnTo>
                  <a:lnTo>
                    <a:pt x="3799" y="2738"/>
                  </a:lnTo>
                  <a:lnTo>
                    <a:pt x="3799" y="2736"/>
                  </a:lnTo>
                  <a:lnTo>
                    <a:pt x="3799" y="2734"/>
                  </a:lnTo>
                  <a:lnTo>
                    <a:pt x="3797" y="2734"/>
                  </a:lnTo>
                  <a:lnTo>
                    <a:pt x="3797" y="2732"/>
                  </a:lnTo>
                  <a:lnTo>
                    <a:pt x="3795" y="2732"/>
                  </a:lnTo>
                  <a:lnTo>
                    <a:pt x="3795" y="2730"/>
                  </a:lnTo>
                  <a:lnTo>
                    <a:pt x="3793" y="2730"/>
                  </a:lnTo>
                  <a:lnTo>
                    <a:pt x="3790" y="2730"/>
                  </a:lnTo>
                  <a:lnTo>
                    <a:pt x="3790" y="2728"/>
                  </a:lnTo>
                  <a:lnTo>
                    <a:pt x="3788" y="2728"/>
                  </a:lnTo>
                  <a:lnTo>
                    <a:pt x="3788" y="2726"/>
                  </a:lnTo>
                  <a:lnTo>
                    <a:pt x="3786" y="2726"/>
                  </a:lnTo>
                  <a:lnTo>
                    <a:pt x="3786" y="2724"/>
                  </a:lnTo>
                  <a:lnTo>
                    <a:pt x="3784" y="2722"/>
                  </a:lnTo>
                  <a:lnTo>
                    <a:pt x="3784" y="2722"/>
                  </a:lnTo>
                  <a:lnTo>
                    <a:pt x="3782" y="2720"/>
                  </a:lnTo>
                  <a:lnTo>
                    <a:pt x="3784" y="2718"/>
                  </a:lnTo>
                  <a:lnTo>
                    <a:pt x="3784" y="2716"/>
                  </a:lnTo>
                  <a:lnTo>
                    <a:pt x="3784" y="2714"/>
                  </a:lnTo>
                  <a:lnTo>
                    <a:pt x="3784" y="2714"/>
                  </a:lnTo>
                  <a:lnTo>
                    <a:pt x="3782" y="2714"/>
                  </a:lnTo>
                  <a:lnTo>
                    <a:pt x="3784" y="2712"/>
                  </a:lnTo>
                  <a:lnTo>
                    <a:pt x="3784" y="2712"/>
                  </a:lnTo>
                  <a:lnTo>
                    <a:pt x="3784" y="2710"/>
                  </a:lnTo>
                  <a:lnTo>
                    <a:pt x="3784" y="2708"/>
                  </a:lnTo>
                  <a:lnTo>
                    <a:pt x="3784" y="2708"/>
                  </a:lnTo>
                  <a:lnTo>
                    <a:pt x="3782" y="2706"/>
                  </a:lnTo>
                  <a:lnTo>
                    <a:pt x="3780" y="2706"/>
                  </a:lnTo>
                  <a:lnTo>
                    <a:pt x="3780" y="2704"/>
                  </a:lnTo>
                  <a:lnTo>
                    <a:pt x="3778" y="2704"/>
                  </a:lnTo>
                  <a:lnTo>
                    <a:pt x="3780" y="2702"/>
                  </a:lnTo>
                  <a:lnTo>
                    <a:pt x="3778" y="2704"/>
                  </a:lnTo>
                  <a:lnTo>
                    <a:pt x="3778" y="2702"/>
                  </a:lnTo>
                  <a:lnTo>
                    <a:pt x="3775" y="2702"/>
                  </a:lnTo>
                  <a:lnTo>
                    <a:pt x="3773" y="2700"/>
                  </a:lnTo>
                  <a:lnTo>
                    <a:pt x="3773" y="2698"/>
                  </a:lnTo>
                  <a:lnTo>
                    <a:pt x="3775" y="2700"/>
                  </a:lnTo>
                  <a:lnTo>
                    <a:pt x="3775" y="2700"/>
                  </a:lnTo>
                  <a:lnTo>
                    <a:pt x="3778" y="2702"/>
                  </a:lnTo>
                  <a:lnTo>
                    <a:pt x="3778" y="2702"/>
                  </a:lnTo>
                  <a:lnTo>
                    <a:pt x="3778" y="2700"/>
                  </a:lnTo>
                  <a:lnTo>
                    <a:pt x="3778" y="2698"/>
                  </a:lnTo>
                  <a:lnTo>
                    <a:pt x="3778" y="2696"/>
                  </a:lnTo>
                  <a:lnTo>
                    <a:pt x="3775" y="2696"/>
                  </a:lnTo>
                  <a:lnTo>
                    <a:pt x="3773" y="2694"/>
                  </a:lnTo>
                  <a:lnTo>
                    <a:pt x="3771" y="2696"/>
                  </a:lnTo>
                  <a:lnTo>
                    <a:pt x="3771" y="2696"/>
                  </a:lnTo>
                  <a:lnTo>
                    <a:pt x="3771" y="2694"/>
                  </a:lnTo>
                  <a:lnTo>
                    <a:pt x="3769" y="2694"/>
                  </a:lnTo>
                  <a:lnTo>
                    <a:pt x="3769" y="2692"/>
                  </a:lnTo>
                  <a:lnTo>
                    <a:pt x="3767" y="2690"/>
                  </a:lnTo>
                  <a:lnTo>
                    <a:pt x="3765" y="2690"/>
                  </a:lnTo>
                  <a:lnTo>
                    <a:pt x="3765" y="2690"/>
                  </a:lnTo>
                  <a:lnTo>
                    <a:pt x="3765" y="2690"/>
                  </a:lnTo>
                  <a:lnTo>
                    <a:pt x="3763" y="2690"/>
                  </a:lnTo>
                  <a:lnTo>
                    <a:pt x="3763" y="2688"/>
                  </a:lnTo>
                  <a:lnTo>
                    <a:pt x="3763" y="2686"/>
                  </a:lnTo>
                  <a:lnTo>
                    <a:pt x="3760" y="2686"/>
                  </a:lnTo>
                  <a:lnTo>
                    <a:pt x="3758" y="2686"/>
                  </a:lnTo>
                  <a:lnTo>
                    <a:pt x="3756" y="2686"/>
                  </a:lnTo>
                  <a:lnTo>
                    <a:pt x="3754" y="2686"/>
                  </a:lnTo>
                  <a:lnTo>
                    <a:pt x="3754" y="2688"/>
                  </a:lnTo>
                  <a:lnTo>
                    <a:pt x="3754" y="2688"/>
                  </a:lnTo>
                  <a:lnTo>
                    <a:pt x="3752" y="2686"/>
                  </a:lnTo>
                  <a:lnTo>
                    <a:pt x="3752" y="2688"/>
                  </a:lnTo>
                  <a:lnTo>
                    <a:pt x="3750" y="2686"/>
                  </a:lnTo>
                  <a:lnTo>
                    <a:pt x="3747" y="2686"/>
                  </a:lnTo>
                  <a:lnTo>
                    <a:pt x="3747" y="2686"/>
                  </a:lnTo>
                  <a:lnTo>
                    <a:pt x="3745" y="2686"/>
                  </a:lnTo>
                  <a:lnTo>
                    <a:pt x="3745" y="2686"/>
                  </a:lnTo>
                  <a:lnTo>
                    <a:pt x="3743" y="2684"/>
                  </a:lnTo>
                  <a:lnTo>
                    <a:pt x="3741" y="2684"/>
                  </a:lnTo>
                  <a:lnTo>
                    <a:pt x="3739" y="2686"/>
                  </a:lnTo>
                  <a:lnTo>
                    <a:pt x="3737" y="2686"/>
                  </a:lnTo>
                  <a:lnTo>
                    <a:pt x="3737" y="2684"/>
                  </a:lnTo>
                  <a:lnTo>
                    <a:pt x="3735" y="2684"/>
                  </a:lnTo>
                  <a:lnTo>
                    <a:pt x="3732" y="2684"/>
                  </a:lnTo>
                  <a:lnTo>
                    <a:pt x="3730" y="2684"/>
                  </a:lnTo>
                  <a:lnTo>
                    <a:pt x="3728" y="2684"/>
                  </a:lnTo>
                  <a:lnTo>
                    <a:pt x="3728" y="2684"/>
                  </a:lnTo>
                  <a:lnTo>
                    <a:pt x="3726" y="2686"/>
                  </a:lnTo>
                  <a:lnTo>
                    <a:pt x="3726" y="2684"/>
                  </a:lnTo>
                  <a:lnTo>
                    <a:pt x="3724" y="2684"/>
                  </a:lnTo>
                  <a:lnTo>
                    <a:pt x="3724" y="2684"/>
                  </a:lnTo>
                  <a:lnTo>
                    <a:pt x="3722" y="2684"/>
                  </a:lnTo>
                  <a:lnTo>
                    <a:pt x="3720" y="2684"/>
                  </a:lnTo>
                  <a:lnTo>
                    <a:pt x="3720" y="2684"/>
                  </a:lnTo>
                  <a:lnTo>
                    <a:pt x="3720" y="2684"/>
                  </a:lnTo>
                  <a:lnTo>
                    <a:pt x="3717" y="2684"/>
                  </a:lnTo>
                  <a:lnTo>
                    <a:pt x="3715" y="2684"/>
                  </a:lnTo>
                  <a:lnTo>
                    <a:pt x="3713" y="2684"/>
                  </a:lnTo>
                  <a:lnTo>
                    <a:pt x="3711" y="2684"/>
                  </a:lnTo>
                  <a:lnTo>
                    <a:pt x="3709" y="2684"/>
                  </a:lnTo>
                  <a:lnTo>
                    <a:pt x="3707" y="2684"/>
                  </a:lnTo>
                  <a:lnTo>
                    <a:pt x="3705" y="2684"/>
                  </a:lnTo>
                  <a:lnTo>
                    <a:pt x="3705" y="2682"/>
                  </a:lnTo>
                  <a:lnTo>
                    <a:pt x="3702" y="2682"/>
                  </a:lnTo>
                  <a:lnTo>
                    <a:pt x="3700" y="2682"/>
                  </a:lnTo>
                  <a:lnTo>
                    <a:pt x="3698" y="2682"/>
                  </a:lnTo>
                  <a:lnTo>
                    <a:pt x="3696" y="2682"/>
                  </a:lnTo>
                  <a:lnTo>
                    <a:pt x="3694" y="2684"/>
                  </a:lnTo>
                  <a:lnTo>
                    <a:pt x="3692" y="2684"/>
                  </a:lnTo>
                  <a:lnTo>
                    <a:pt x="3689" y="2684"/>
                  </a:lnTo>
                  <a:lnTo>
                    <a:pt x="3687" y="2684"/>
                  </a:lnTo>
                  <a:lnTo>
                    <a:pt x="3685" y="2684"/>
                  </a:lnTo>
                  <a:lnTo>
                    <a:pt x="3683" y="2684"/>
                  </a:lnTo>
                  <a:lnTo>
                    <a:pt x="3683" y="2684"/>
                  </a:lnTo>
                  <a:lnTo>
                    <a:pt x="3681" y="2686"/>
                  </a:lnTo>
                  <a:lnTo>
                    <a:pt x="3679" y="2686"/>
                  </a:lnTo>
                  <a:lnTo>
                    <a:pt x="3677" y="2686"/>
                  </a:lnTo>
                  <a:lnTo>
                    <a:pt x="3674" y="2686"/>
                  </a:lnTo>
                  <a:lnTo>
                    <a:pt x="3672" y="2686"/>
                  </a:lnTo>
                  <a:lnTo>
                    <a:pt x="3670" y="2688"/>
                  </a:lnTo>
                  <a:lnTo>
                    <a:pt x="3668" y="2688"/>
                  </a:lnTo>
                  <a:lnTo>
                    <a:pt x="3668" y="2688"/>
                  </a:lnTo>
                  <a:lnTo>
                    <a:pt x="3666" y="2688"/>
                  </a:lnTo>
                  <a:lnTo>
                    <a:pt x="3664" y="2688"/>
                  </a:lnTo>
                  <a:lnTo>
                    <a:pt x="3662" y="2688"/>
                  </a:lnTo>
                  <a:lnTo>
                    <a:pt x="3659" y="2688"/>
                  </a:lnTo>
                  <a:lnTo>
                    <a:pt x="3657" y="2690"/>
                  </a:lnTo>
                  <a:lnTo>
                    <a:pt x="3655" y="2690"/>
                  </a:lnTo>
                  <a:lnTo>
                    <a:pt x="3653" y="2690"/>
                  </a:lnTo>
                  <a:lnTo>
                    <a:pt x="3653" y="2690"/>
                  </a:lnTo>
                  <a:lnTo>
                    <a:pt x="3651" y="2690"/>
                  </a:lnTo>
                  <a:lnTo>
                    <a:pt x="3649" y="2690"/>
                  </a:lnTo>
                  <a:lnTo>
                    <a:pt x="3647" y="2692"/>
                  </a:lnTo>
                  <a:lnTo>
                    <a:pt x="3644" y="2692"/>
                  </a:lnTo>
                  <a:lnTo>
                    <a:pt x="3642" y="2692"/>
                  </a:lnTo>
                  <a:lnTo>
                    <a:pt x="3640" y="2692"/>
                  </a:lnTo>
                  <a:lnTo>
                    <a:pt x="3638" y="2692"/>
                  </a:lnTo>
                  <a:lnTo>
                    <a:pt x="3638" y="2692"/>
                  </a:lnTo>
                  <a:lnTo>
                    <a:pt x="3638" y="2690"/>
                  </a:lnTo>
                  <a:lnTo>
                    <a:pt x="3636" y="2688"/>
                  </a:lnTo>
                  <a:lnTo>
                    <a:pt x="3634" y="2688"/>
                  </a:lnTo>
                  <a:lnTo>
                    <a:pt x="3634" y="2686"/>
                  </a:lnTo>
                  <a:lnTo>
                    <a:pt x="3632" y="2686"/>
                  </a:lnTo>
                  <a:lnTo>
                    <a:pt x="3629" y="2686"/>
                  </a:lnTo>
                  <a:lnTo>
                    <a:pt x="3627" y="2686"/>
                  </a:lnTo>
                  <a:lnTo>
                    <a:pt x="3625" y="268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7" name="Freeform 4">
              <a:extLst>
                <a:ext uri="{FF2B5EF4-FFF2-40B4-BE49-F238E27FC236}">
                  <a16:creationId xmlns:a16="http://schemas.microsoft.com/office/drawing/2014/main" id="{D6EFDCD7-B45C-43B1-8FCC-65D7A66B2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361" y="5399649"/>
              <a:ext cx="1355019" cy="749976"/>
            </a:xfrm>
            <a:custGeom>
              <a:avLst/>
              <a:gdLst/>
              <a:ahLst/>
              <a:cxnLst>
                <a:cxn ang="0">
                  <a:pos x="1022" y="552"/>
                </a:cxn>
                <a:cxn ang="0">
                  <a:pos x="986" y="582"/>
                </a:cxn>
                <a:cxn ang="0">
                  <a:pos x="971" y="634"/>
                </a:cxn>
                <a:cxn ang="0">
                  <a:pos x="988" y="680"/>
                </a:cxn>
                <a:cxn ang="0">
                  <a:pos x="949" y="674"/>
                </a:cxn>
                <a:cxn ang="0">
                  <a:pos x="887" y="664"/>
                </a:cxn>
                <a:cxn ang="0">
                  <a:pos x="829" y="672"/>
                </a:cxn>
                <a:cxn ang="0">
                  <a:pos x="769" y="648"/>
                </a:cxn>
                <a:cxn ang="0">
                  <a:pos x="732" y="610"/>
                </a:cxn>
                <a:cxn ang="0">
                  <a:pos x="689" y="558"/>
                </a:cxn>
                <a:cxn ang="0">
                  <a:pos x="653" y="538"/>
                </a:cxn>
                <a:cxn ang="0">
                  <a:pos x="593" y="523"/>
                </a:cxn>
                <a:cxn ang="0">
                  <a:pos x="533" y="530"/>
                </a:cxn>
                <a:cxn ang="0">
                  <a:pos x="475" y="507"/>
                </a:cxn>
                <a:cxn ang="0">
                  <a:pos x="425" y="471"/>
                </a:cxn>
                <a:cxn ang="0">
                  <a:pos x="374" y="457"/>
                </a:cxn>
                <a:cxn ang="0">
                  <a:pos x="322" y="427"/>
                </a:cxn>
                <a:cxn ang="0">
                  <a:pos x="275" y="385"/>
                </a:cxn>
                <a:cxn ang="0">
                  <a:pos x="221" y="379"/>
                </a:cxn>
                <a:cxn ang="0">
                  <a:pos x="170" y="347"/>
                </a:cxn>
                <a:cxn ang="0">
                  <a:pos x="99" y="357"/>
                </a:cxn>
                <a:cxn ang="0">
                  <a:pos x="54" y="319"/>
                </a:cxn>
                <a:cxn ang="0">
                  <a:pos x="17" y="285"/>
                </a:cxn>
                <a:cxn ang="0">
                  <a:pos x="9" y="255"/>
                </a:cxn>
                <a:cxn ang="0">
                  <a:pos x="15" y="207"/>
                </a:cxn>
                <a:cxn ang="0">
                  <a:pos x="19" y="171"/>
                </a:cxn>
                <a:cxn ang="0">
                  <a:pos x="67" y="148"/>
                </a:cxn>
                <a:cxn ang="0">
                  <a:pos x="103" y="118"/>
                </a:cxn>
                <a:cxn ang="0">
                  <a:pos x="120" y="116"/>
                </a:cxn>
                <a:cxn ang="0">
                  <a:pos x="150" y="154"/>
                </a:cxn>
                <a:cxn ang="0">
                  <a:pos x="206" y="146"/>
                </a:cxn>
                <a:cxn ang="0">
                  <a:pos x="226" y="106"/>
                </a:cxn>
                <a:cxn ang="0">
                  <a:pos x="269" y="98"/>
                </a:cxn>
                <a:cxn ang="0">
                  <a:pos x="309" y="82"/>
                </a:cxn>
                <a:cxn ang="0">
                  <a:pos x="324" y="114"/>
                </a:cxn>
                <a:cxn ang="0">
                  <a:pos x="374" y="118"/>
                </a:cxn>
                <a:cxn ang="0">
                  <a:pos x="406" y="152"/>
                </a:cxn>
                <a:cxn ang="0">
                  <a:pos x="453" y="171"/>
                </a:cxn>
                <a:cxn ang="0">
                  <a:pos x="520" y="152"/>
                </a:cxn>
                <a:cxn ang="0">
                  <a:pos x="569" y="146"/>
                </a:cxn>
                <a:cxn ang="0">
                  <a:pos x="634" y="148"/>
                </a:cxn>
                <a:cxn ang="0">
                  <a:pos x="698" y="132"/>
                </a:cxn>
                <a:cxn ang="0">
                  <a:pos x="762" y="116"/>
                </a:cxn>
                <a:cxn ang="0">
                  <a:pos x="812" y="76"/>
                </a:cxn>
                <a:cxn ang="0">
                  <a:pos x="872" y="64"/>
                </a:cxn>
                <a:cxn ang="0">
                  <a:pos x="913" y="76"/>
                </a:cxn>
                <a:cxn ang="0">
                  <a:pos x="969" y="58"/>
                </a:cxn>
                <a:cxn ang="0">
                  <a:pos x="982" y="32"/>
                </a:cxn>
                <a:cxn ang="0">
                  <a:pos x="1033" y="34"/>
                </a:cxn>
                <a:cxn ang="0">
                  <a:pos x="1091" y="4"/>
                </a:cxn>
                <a:cxn ang="0">
                  <a:pos x="1093" y="30"/>
                </a:cxn>
                <a:cxn ang="0">
                  <a:pos x="1080" y="74"/>
                </a:cxn>
                <a:cxn ang="0">
                  <a:pos x="1048" y="132"/>
                </a:cxn>
                <a:cxn ang="0">
                  <a:pos x="1009" y="185"/>
                </a:cxn>
                <a:cxn ang="0">
                  <a:pos x="986" y="229"/>
                </a:cxn>
                <a:cxn ang="0">
                  <a:pos x="973" y="285"/>
                </a:cxn>
                <a:cxn ang="0">
                  <a:pos x="954" y="333"/>
                </a:cxn>
                <a:cxn ang="0">
                  <a:pos x="951" y="385"/>
                </a:cxn>
                <a:cxn ang="0">
                  <a:pos x="984" y="425"/>
                </a:cxn>
                <a:cxn ang="0">
                  <a:pos x="1014" y="447"/>
                </a:cxn>
                <a:cxn ang="0">
                  <a:pos x="988" y="459"/>
                </a:cxn>
                <a:cxn ang="0">
                  <a:pos x="1009" y="483"/>
                </a:cxn>
                <a:cxn ang="0">
                  <a:pos x="1033" y="513"/>
                </a:cxn>
              </a:cxnLst>
              <a:rect l="0" t="0" r="r" b="b"/>
              <a:pathLst>
                <a:path w="1121" h="694">
                  <a:moveTo>
                    <a:pt x="1042" y="528"/>
                  </a:moveTo>
                  <a:lnTo>
                    <a:pt x="1042" y="530"/>
                  </a:lnTo>
                  <a:lnTo>
                    <a:pt x="1044" y="532"/>
                  </a:lnTo>
                  <a:lnTo>
                    <a:pt x="1044" y="532"/>
                  </a:lnTo>
                  <a:lnTo>
                    <a:pt x="1044" y="534"/>
                  </a:lnTo>
                  <a:lnTo>
                    <a:pt x="1046" y="534"/>
                  </a:lnTo>
                  <a:lnTo>
                    <a:pt x="1046" y="534"/>
                  </a:lnTo>
                  <a:lnTo>
                    <a:pt x="1048" y="536"/>
                  </a:lnTo>
                  <a:lnTo>
                    <a:pt x="1048" y="538"/>
                  </a:lnTo>
                  <a:lnTo>
                    <a:pt x="1048" y="540"/>
                  </a:lnTo>
                  <a:lnTo>
                    <a:pt x="1050" y="540"/>
                  </a:lnTo>
                  <a:lnTo>
                    <a:pt x="1048" y="540"/>
                  </a:lnTo>
                  <a:lnTo>
                    <a:pt x="1046" y="540"/>
                  </a:lnTo>
                  <a:lnTo>
                    <a:pt x="1044" y="540"/>
                  </a:lnTo>
                  <a:lnTo>
                    <a:pt x="1042" y="540"/>
                  </a:lnTo>
                  <a:lnTo>
                    <a:pt x="1040" y="540"/>
                  </a:lnTo>
                  <a:lnTo>
                    <a:pt x="1040" y="538"/>
                  </a:lnTo>
                  <a:lnTo>
                    <a:pt x="1037" y="536"/>
                  </a:lnTo>
                  <a:lnTo>
                    <a:pt x="1035" y="536"/>
                  </a:lnTo>
                  <a:lnTo>
                    <a:pt x="1035" y="538"/>
                  </a:lnTo>
                  <a:lnTo>
                    <a:pt x="1033" y="538"/>
                  </a:lnTo>
                  <a:lnTo>
                    <a:pt x="1031" y="540"/>
                  </a:lnTo>
                  <a:lnTo>
                    <a:pt x="1031" y="540"/>
                  </a:lnTo>
                  <a:lnTo>
                    <a:pt x="1029" y="540"/>
                  </a:lnTo>
                  <a:lnTo>
                    <a:pt x="1027" y="540"/>
                  </a:lnTo>
                  <a:lnTo>
                    <a:pt x="1027" y="542"/>
                  </a:lnTo>
                  <a:lnTo>
                    <a:pt x="1024" y="542"/>
                  </a:lnTo>
                  <a:lnTo>
                    <a:pt x="1024" y="544"/>
                  </a:lnTo>
                  <a:lnTo>
                    <a:pt x="1024" y="546"/>
                  </a:lnTo>
                  <a:lnTo>
                    <a:pt x="1024" y="546"/>
                  </a:lnTo>
                  <a:lnTo>
                    <a:pt x="1024" y="548"/>
                  </a:lnTo>
                  <a:lnTo>
                    <a:pt x="1024" y="548"/>
                  </a:lnTo>
                  <a:lnTo>
                    <a:pt x="1024" y="550"/>
                  </a:lnTo>
                  <a:lnTo>
                    <a:pt x="1024" y="550"/>
                  </a:lnTo>
                  <a:lnTo>
                    <a:pt x="1022" y="552"/>
                  </a:lnTo>
                  <a:lnTo>
                    <a:pt x="1022" y="552"/>
                  </a:lnTo>
                  <a:lnTo>
                    <a:pt x="1022" y="552"/>
                  </a:lnTo>
                  <a:lnTo>
                    <a:pt x="1022" y="552"/>
                  </a:lnTo>
                  <a:lnTo>
                    <a:pt x="1024" y="554"/>
                  </a:lnTo>
                  <a:lnTo>
                    <a:pt x="1022" y="554"/>
                  </a:lnTo>
                  <a:lnTo>
                    <a:pt x="1020" y="554"/>
                  </a:lnTo>
                  <a:lnTo>
                    <a:pt x="1018" y="554"/>
                  </a:lnTo>
                  <a:lnTo>
                    <a:pt x="1018" y="556"/>
                  </a:lnTo>
                  <a:lnTo>
                    <a:pt x="1016" y="556"/>
                  </a:lnTo>
                  <a:lnTo>
                    <a:pt x="1014" y="556"/>
                  </a:lnTo>
                  <a:lnTo>
                    <a:pt x="1012" y="556"/>
                  </a:lnTo>
                  <a:lnTo>
                    <a:pt x="1012" y="558"/>
                  </a:lnTo>
                  <a:lnTo>
                    <a:pt x="1009" y="560"/>
                  </a:lnTo>
                  <a:lnTo>
                    <a:pt x="1007" y="560"/>
                  </a:lnTo>
                  <a:lnTo>
                    <a:pt x="1007" y="560"/>
                  </a:lnTo>
                  <a:lnTo>
                    <a:pt x="1005" y="560"/>
                  </a:lnTo>
                  <a:lnTo>
                    <a:pt x="1003" y="562"/>
                  </a:lnTo>
                  <a:lnTo>
                    <a:pt x="1005" y="562"/>
                  </a:lnTo>
                  <a:lnTo>
                    <a:pt x="1005" y="564"/>
                  </a:lnTo>
                  <a:lnTo>
                    <a:pt x="1003" y="564"/>
                  </a:lnTo>
                  <a:lnTo>
                    <a:pt x="1003" y="564"/>
                  </a:lnTo>
                  <a:lnTo>
                    <a:pt x="1001" y="564"/>
                  </a:lnTo>
                  <a:lnTo>
                    <a:pt x="1001" y="566"/>
                  </a:lnTo>
                  <a:lnTo>
                    <a:pt x="999" y="566"/>
                  </a:lnTo>
                  <a:lnTo>
                    <a:pt x="999" y="568"/>
                  </a:lnTo>
                  <a:lnTo>
                    <a:pt x="997" y="568"/>
                  </a:lnTo>
                  <a:lnTo>
                    <a:pt x="997" y="570"/>
                  </a:lnTo>
                  <a:lnTo>
                    <a:pt x="994" y="570"/>
                  </a:lnTo>
                  <a:lnTo>
                    <a:pt x="994" y="572"/>
                  </a:lnTo>
                  <a:lnTo>
                    <a:pt x="994" y="574"/>
                  </a:lnTo>
                  <a:lnTo>
                    <a:pt x="992" y="576"/>
                  </a:lnTo>
                  <a:lnTo>
                    <a:pt x="992" y="576"/>
                  </a:lnTo>
                  <a:lnTo>
                    <a:pt x="992" y="578"/>
                  </a:lnTo>
                  <a:lnTo>
                    <a:pt x="990" y="578"/>
                  </a:lnTo>
                  <a:lnTo>
                    <a:pt x="988" y="580"/>
                  </a:lnTo>
                  <a:lnTo>
                    <a:pt x="988" y="580"/>
                  </a:lnTo>
                  <a:lnTo>
                    <a:pt x="986" y="582"/>
                  </a:lnTo>
                  <a:lnTo>
                    <a:pt x="986" y="584"/>
                  </a:lnTo>
                  <a:lnTo>
                    <a:pt x="986" y="586"/>
                  </a:lnTo>
                  <a:lnTo>
                    <a:pt x="984" y="588"/>
                  </a:lnTo>
                  <a:lnTo>
                    <a:pt x="984" y="588"/>
                  </a:lnTo>
                  <a:lnTo>
                    <a:pt x="984" y="590"/>
                  </a:lnTo>
                  <a:lnTo>
                    <a:pt x="984" y="592"/>
                  </a:lnTo>
                  <a:lnTo>
                    <a:pt x="984" y="594"/>
                  </a:lnTo>
                  <a:lnTo>
                    <a:pt x="982" y="596"/>
                  </a:lnTo>
                  <a:lnTo>
                    <a:pt x="982" y="598"/>
                  </a:lnTo>
                  <a:lnTo>
                    <a:pt x="982" y="598"/>
                  </a:lnTo>
                  <a:lnTo>
                    <a:pt x="984" y="600"/>
                  </a:lnTo>
                  <a:lnTo>
                    <a:pt x="982" y="602"/>
                  </a:lnTo>
                  <a:lnTo>
                    <a:pt x="979" y="602"/>
                  </a:lnTo>
                  <a:lnTo>
                    <a:pt x="979" y="602"/>
                  </a:lnTo>
                  <a:lnTo>
                    <a:pt x="977" y="604"/>
                  </a:lnTo>
                  <a:lnTo>
                    <a:pt x="975" y="604"/>
                  </a:lnTo>
                  <a:lnTo>
                    <a:pt x="975" y="606"/>
                  </a:lnTo>
                  <a:lnTo>
                    <a:pt x="973" y="608"/>
                  </a:lnTo>
                  <a:lnTo>
                    <a:pt x="973" y="610"/>
                  </a:lnTo>
                  <a:lnTo>
                    <a:pt x="973" y="612"/>
                  </a:lnTo>
                  <a:lnTo>
                    <a:pt x="973" y="612"/>
                  </a:lnTo>
                  <a:lnTo>
                    <a:pt x="973" y="614"/>
                  </a:lnTo>
                  <a:lnTo>
                    <a:pt x="973" y="616"/>
                  </a:lnTo>
                  <a:lnTo>
                    <a:pt x="973" y="618"/>
                  </a:lnTo>
                  <a:lnTo>
                    <a:pt x="973" y="618"/>
                  </a:lnTo>
                  <a:lnTo>
                    <a:pt x="973" y="620"/>
                  </a:lnTo>
                  <a:lnTo>
                    <a:pt x="973" y="622"/>
                  </a:lnTo>
                  <a:lnTo>
                    <a:pt x="975" y="622"/>
                  </a:lnTo>
                  <a:lnTo>
                    <a:pt x="973" y="624"/>
                  </a:lnTo>
                  <a:lnTo>
                    <a:pt x="973" y="626"/>
                  </a:lnTo>
                  <a:lnTo>
                    <a:pt x="973" y="628"/>
                  </a:lnTo>
                  <a:lnTo>
                    <a:pt x="971" y="628"/>
                  </a:lnTo>
                  <a:lnTo>
                    <a:pt x="971" y="628"/>
                  </a:lnTo>
                  <a:lnTo>
                    <a:pt x="969" y="630"/>
                  </a:lnTo>
                  <a:lnTo>
                    <a:pt x="971" y="632"/>
                  </a:lnTo>
                  <a:lnTo>
                    <a:pt x="971" y="634"/>
                  </a:lnTo>
                  <a:lnTo>
                    <a:pt x="971" y="634"/>
                  </a:lnTo>
                  <a:lnTo>
                    <a:pt x="969" y="636"/>
                  </a:lnTo>
                  <a:lnTo>
                    <a:pt x="969" y="638"/>
                  </a:lnTo>
                  <a:lnTo>
                    <a:pt x="971" y="640"/>
                  </a:lnTo>
                  <a:lnTo>
                    <a:pt x="971" y="640"/>
                  </a:lnTo>
                  <a:lnTo>
                    <a:pt x="973" y="642"/>
                  </a:lnTo>
                  <a:lnTo>
                    <a:pt x="973" y="644"/>
                  </a:lnTo>
                  <a:lnTo>
                    <a:pt x="973" y="646"/>
                  </a:lnTo>
                  <a:lnTo>
                    <a:pt x="973" y="646"/>
                  </a:lnTo>
                  <a:lnTo>
                    <a:pt x="975" y="648"/>
                  </a:lnTo>
                  <a:lnTo>
                    <a:pt x="975" y="650"/>
                  </a:lnTo>
                  <a:lnTo>
                    <a:pt x="977" y="652"/>
                  </a:lnTo>
                  <a:lnTo>
                    <a:pt x="977" y="652"/>
                  </a:lnTo>
                  <a:lnTo>
                    <a:pt x="979" y="652"/>
                  </a:lnTo>
                  <a:lnTo>
                    <a:pt x="979" y="654"/>
                  </a:lnTo>
                  <a:lnTo>
                    <a:pt x="979" y="654"/>
                  </a:lnTo>
                  <a:lnTo>
                    <a:pt x="979" y="656"/>
                  </a:lnTo>
                  <a:lnTo>
                    <a:pt x="979" y="656"/>
                  </a:lnTo>
                  <a:lnTo>
                    <a:pt x="979" y="658"/>
                  </a:lnTo>
                  <a:lnTo>
                    <a:pt x="979" y="658"/>
                  </a:lnTo>
                  <a:lnTo>
                    <a:pt x="982" y="660"/>
                  </a:lnTo>
                  <a:lnTo>
                    <a:pt x="982" y="660"/>
                  </a:lnTo>
                  <a:lnTo>
                    <a:pt x="979" y="662"/>
                  </a:lnTo>
                  <a:lnTo>
                    <a:pt x="982" y="664"/>
                  </a:lnTo>
                  <a:lnTo>
                    <a:pt x="982" y="666"/>
                  </a:lnTo>
                  <a:lnTo>
                    <a:pt x="982" y="666"/>
                  </a:lnTo>
                  <a:lnTo>
                    <a:pt x="982" y="668"/>
                  </a:lnTo>
                  <a:lnTo>
                    <a:pt x="982" y="670"/>
                  </a:lnTo>
                  <a:lnTo>
                    <a:pt x="984" y="672"/>
                  </a:lnTo>
                  <a:lnTo>
                    <a:pt x="984" y="672"/>
                  </a:lnTo>
                  <a:lnTo>
                    <a:pt x="986" y="674"/>
                  </a:lnTo>
                  <a:lnTo>
                    <a:pt x="986" y="674"/>
                  </a:lnTo>
                  <a:lnTo>
                    <a:pt x="988" y="676"/>
                  </a:lnTo>
                  <a:lnTo>
                    <a:pt x="988" y="678"/>
                  </a:lnTo>
                  <a:lnTo>
                    <a:pt x="988" y="678"/>
                  </a:lnTo>
                  <a:lnTo>
                    <a:pt x="988" y="680"/>
                  </a:lnTo>
                  <a:lnTo>
                    <a:pt x="986" y="682"/>
                  </a:lnTo>
                  <a:lnTo>
                    <a:pt x="986" y="684"/>
                  </a:lnTo>
                  <a:lnTo>
                    <a:pt x="984" y="684"/>
                  </a:lnTo>
                  <a:lnTo>
                    <a:pt x="984" y="682"/>
                  </a:lnTo>
                  <a:lnTo>
                    <a:pt x="984" y="680"/>
                  </a:lnTo>
                  <a:lnTo>
                    <a:pt x="982" y="680"/>
                  </a:lnTo>
                  <a:lnTo>
                    <a:pt x="979" y="682"/>
                  </a:lnTo>
                  <a:lnTo>
                    <a:pt x="977" y="684"/>
                  </a:lnTo>
                  <a:lnTo>
                    <a:pt x="977" y="684"/>
                  </a:lnTo>
                  <a:lnTo>
                    <a:pt x="977" y="686"/>
                  </a:lnTo>
                  <a:lnTo>
                    <a:pt x="975" y="686"/>
                  </a:lnTo>
                  <a:lnTo>
                    <a:pt x="975" y="688"/>
                  </a:lnTo>
                  <a:lnTo>
                    <a:pt x="973" y="688"/>
                  </a:lnTo>
                  <a:lnTo>
                    <a:pt x="973" y="690"/>
                  </a:lnTo>
                  <a:lnTo>
                    <a:pt x="971" y="690"/>
                  </a:lnTo>
                  <a:lnTo>
                    <a:pt x="969" y="692"/>
                  </a:lnTo>
                  <a:lnTo>
                    <a:pt x="969" y="694"/>
                  </a:lnTo>
                  <a:lnTo>
                    <a:pt x="967" y="694"/>
                  </a:lnTo>
                  <a:lnTo>
                    <a:pt x="969" y="692"/>
                  </a:lnTo>
                  <a:lnTo>
                    <a:pt x="967" y="692"/>
                  </a:lnTo>
                  <a:lnTo>
                    <a:pt x="967" y="690"/>
                  </a:lnTo>
                  <a:lnTo>
                    <a:pt x="964" y="688"/>
                  </a:lnTo>
                  <a:lnTo>
                    <a:pt x="962" y="688"/>
                  </a:lnTo>
                  <a:lnTo>
                    <a:pt x="960" y="688"/>
                  </a:lnTo>
                  <a:lnTo>
                    <a:pt x="960" y="688"/>
                  </a:lnTo>
                  <a:lnTo>
                    <a:pt x="960" y="688"/>
                  </a:lnTo>
                  <a:lnTo>
                    <a:pt x="958" y="686"/>
                  </a:lnTo>
                  <a:lnTo>
                    <a:pt x="958" y="684"/>
                  </a:lnTo>
                  <a:lnTo>
                    <a:pt x="958" y="682"/>
                  </a:lnTo>
                  <a:lnTo>
                    <a:pt x="958" y="680"/>
                  </a:lnTo>
                  <a:lnTo>
                    <a:pt x="956" y="680"/>
                  </a:lnTo>
                  <a:lnTo>
                    <a:pt x="954" y="678"/>
                  </a:lnTo>
                  <a:lnTo>
                    <a:pt x="954" y="676"/>
                  </a:lnTo>
                  <a:lnTo>
                    <a:pt x="951" y="676"/>
                  </a:lnTo>
                  <a:lnTo>
                    <a:pt x="951" y="676"/>
                  </a:lnTo>
                  <a:lnTo>
                    <a:pt x="949" y="674"/>
                  </a:lnTo>
                  <a:lnTo>
                    <a:pt x="947" y="674"/>
                  </a:lnTo>
                  <a:lnTo>
                    <a:pt x="945" y="672"/>
                  </a:lnTo>
                  <a:lnTo>
                    <a:pt x="943" y="672"/>
                  </a:lnTo>
                  <a:lnTo>
                    <a:pt x="941" y="672"/>
                  </a:lnTo>
                  <a:lnTo>
                    <a:pt x="939" y="672"/>
                  </a:lnTo>
                  <a:lnTo>
                    <a:pt x="939" y="672"/>
                  </a:lnTo>
                  <a:lnTo>
                    <a:pt x="936" y="672"/>
                  </a:lnTo>
                  <a:lnTo>
                    <a:pt x="934" y="674"/>
                  </a:lnTo>
                  <a:lnTo>
                    <a:pt x="934" y="676"/>
                  </a:lnTo>
                  <a:lnTo>
                    <a:pt x="932" y="676"/>
                  </a:lnTo>
                  <a:lnTo>
                    <a:pt x="930" y="676"/>
                  </a:lnTo>
                  <a:lnTo>
                    <a:pt x="930" y="676"/>
                  </a:lnTo>
                  <a:lnTo>
                    <a:pt x="928" y="678"/>
                  </a:lnTo>
                  <a:lnTo>
                    <a:pt x="926" y="676"/>
                  </a:lnTo>
                  <a:lnTo>
                    <a:pt x="924" y="676"/>
                  </a:lnTo>
                  <a:lnTo>
                    <a:pt x="921" y="676"/>
                  </a:lnTo>
                  <a:lnTo>
                    <a:pt x="921" y="676"/>
                  </a:lnTo>
                  <a:lnTo>
                    <a:pt x="919" y="674"/>
                  </a:lnTo>
                  <a:lnTo>
                    <a:pt x="917" y="672"/>
                  </a:lnTo>
                  <a:lnTo>
                    <a:pt x="915" y="672"/>
                  </a:lnTo>
                  <a:lnTo>
                    <a:pt x="915" y="670"/>
                  </a:lnTo>
                  <a:lnTo>
                    <a:pt x="913" y="670"/>
                  </a:lnTo>
                  <a:lnTo>
                    <a:pt x="911" y="668"/>
                  </a:lnTo>
                  <a:lnTo>
                    <a:pt x="909" y="668"/>
                  </a:lnTo>
                  <a:lnTo>
                    <a:pt x="909" y="666"/>
                  </a:lnTo>
                  <a:lnTo>
                    <a:pt x="906" y="666"/>
                  </a:lnTo>
                  <a:lnTo>
                    <a:pt x="904" y="664"/>
                  </a:lnTo>
                  <a:lnTo>
                    <a:pt x="902" y="664"/>
                  </a:lnTo>
                  <a:lnTo>
                    <a:pt x="900" y="664"/>
                  </a:lnTo>
                  <a:lnTo>
                    <a:pt x="898" y="664"/>
                  </a:lnTo>
                  <a:lnTo>
                    <a:pt x="898" y="662"/>
                  </a:lnTo>
                  <a:lnTo>
                    <a:pt x="896" y="662"/>
                  </a:lnTo>
                  <a:lnTo>
                    <a:pt x="893" y="662"/>
                  </a:lnTo>
                  <a:lnTo>
                    <a:pt x="891" y="662"/>
                  </a:lnTo>
                  <a:lnTo>
                    <a:pt x="889" y="664"/>
                  </a:lnTo>
                  <a:lnTo>
                    <a:pt x="887" y="664"/>
                  </a:lnTo>
                  <a:lnTo>
                    <a:pt x="885" y="664"/>
                  </a:lnTo>
                  <a:lnTo>
                    <a:pt x="883" y="664"/>
                  </a:lnTo>
                  <a:lnTo>
                    <a:pt x="883" y="666"/>
                  </a:lnTo>
                  <a:lnTo>
                    <a:pt x="881" y="666"/>
                  </a:lnTo>
                  <a:lnTo>
                    <a:pt x="878" y="668"/>
                  </a:lnTo>
                  <a:lnTo>
                    <a:pt x="876" y="668"/>
                  </a:lnTo>
                  <a:lnTo>
                    <a:pt x="876" y="670"/>
                  </a:lnTo>
                  <a:lnTo>
                    <a:pt x="874" y="670"/>
                  </a:lnTo>
                  <a:lnTo>
                    <a:pt x="872" y="670"/>
                  </a:lnTo>
                  <a:lnTo>
                    <a:pt x="872" y="670"/>
                  </a:lnTo>
                  <a:lnTo>
                    <a:pt x="870" y="672"/>
                  </a:lnTo>
                  <a:lnTo>
                    <a:pt x="868" y="672"/>
                  </a:lnTo>
                  <a:lnTo>
                    <a:pt x="866" y="674"/>
                  </a:lnTo>
                  <a:lnTo>
                    <a:pt x="866" y="674"/>
                  </a:lnTo>
                  <a:lnTo>
                    <a:pt x="863" y="676"/>
                  </a:lnTo>
                  <a:lnTo>
                    <a:pt x="861" y="676"/>
                  </a:lnTo>
                  <a:lnTo>
                    <a:pt x="859" y="676"/>
                  </a:lnTo>
                  <a:lnTo>
                    <a:pt x="859" y="674"/>
                  </a:lnTo>
                  <a:lnTo>
                    <a:pt x="859" y="674"/>
                  </a:lnTo>
                  <a:lnTo>
                    <a:pt x="857" y="674"/>
                  </a:lnTo>
                  <a:lnTo>
                    <a:pt x="855" y="674"/>
                  </a:lnTo>
                  <a:lnTo>
                    <a:pt x="853" y="674"/>
                  </a:lnTo>
                  <a:lnTo>
                    <a:pt x="851" y="674"/>
                  </a:lnTo>
                  <a:lnTo>
                    <a:pt x="851" y="672"/>
                  </a:lnTo>
                  <a:lnTo>
                    <a:pt x="848" y="670"/>
                  </a:lnTo>
                  <a:lnTo>
                    <a:pt x="846" y="670"/>
                  </a:lnTo>
                  <a:lnTo>
                    <a:pt x="844" y="670"/>
                  </a:lnTo>
                  <a:lnTo>
                    <a:pt x="844" y="670"/>
                  </a:lnTo>
                  <a:lnTo>
                    <a:pt x="842" y="672"/>
                  </a:lnTo>
                  <a:lnTo>
                    <a:pt x="840" y="670"/>
                  </a:lnTo>
                  <a:lnTo>
                    <a:pt x="840" y="670"/>
                  </a:lnTo>
                  <a:lnTo>
                    <a:pt x="838" y="670"/>
                  </a:lnTo>
                  <a:lnTo>
                    <a:pt x="836" y="670"/>
                  </a:lnTo>
                  <a:lnTo>
                    <a:pt x="833" y="672"/>
                  </a:lnTo>
                  <a:lnTo>
                    <a:pt x="831" y="672"/>
                  </a:lnTo>
                  <a:lnTo>
                    <a:pt x="829" y="672"/>
                  </a:lnTo>
                  <a:lnTo>
                    <a:pt x="829" y="670"/>
                  </a:lnTo>
                  <a:lnTo>
                    <a:pt x="827" y="670"/>
                  </a:lnTo>
                  <a:lnTo>
                    <a:pt x="825" y="670"/>
                  </a:lnTo>
                  <a:lnTo>
                    <a:pt x="825" y="668"/>
                  </a:lnTo>
                  <a:lnTo>
                    <a:pt x="823" y="666"/>
                  </a:lnTo>
                  <a:lnTo>
                    <a:pt x="823" y="666"/>
                  </a:lnTo>
                  <a:lnTo>
                    <a:pt x="820" y="664"/>
                  </a:lnTo>
                  <a:lnTo>
                    <a:pt x="820" y="662"/>
                  </a:lnTo>
                  <a:lnTo>
                    <a:pt x="818" y="662"/>
                  </a:lnTo>
                  <a:lnTo>
                    <a:pt x="816" y="660"/>
                  </a:lnTo>
                  <a:lnTo>
                    <a:pt x="814" y="660"/>
                  </a:lnTo>
                  <a:lnTo>
                    <a:pt x="812" y="660"/>
                  </a:lnTo>
                  <a:lnTo>
                    <a:pt x="810" y="658"/>
                  </a:lnTo>
                  <a:lnTo>
                    <a:pt x="810" y="656"/>
                  </a:lnTo>
                  <a:lnTo>
                    <a:pt x="808" y="656"/>
                  </a:lnTo>
                  <a:lnTo>
                    <a:pt x="805" y="654"/>
                  </a:lnTo>
                  <a:lnTo>
                    <a:pt x="805" y="654"/>
                  </a:lnTo>
                  <a:lnTo>
                    <a:pt x="803" y="654"/>
                  </a:lnTo>
                  <a:lnTo>
                    <a:pt x="801" y="654"/>
                  </a:lnTo>
                  <a:lnTo>
                    <a:pt x="799" y="654"/>
                  </a:lnTo>
                  <a:lnTo>
                    <a:pt x="797" y="652"/>
                  </a:lnTo>
                  <a:lnTo>
                    <a:pt x="795" y="652"/>
                  </a:lnTo>
                  <a:lnTo>
                    <a:pt x="793" y="652"/>
                  </a:lnTo>
                  <a:lnTo>
                    <a:pt x="790" y="652"/>
                  </a:lnTo>
                  <a:lnTo>
                    <a:pt x="790" y="650"/>
                  </a:lnTo>
                  <a:lnTo>
                    <a:pt x="788" y="650"/>
                  </a:lnTo>
                  <a:lnTo>
                    <a:pt x="786" y="650"/>
                  </a:lnTo>
                  <a:lnTo>
                    <a:pt x="784" y="650"/>
                  </a:lnTo>
                  <a:lnTo>
                    <a:pt x="782" y="648"/>
                  </a:lnTo>
                  <a:lnTo>
                    <a:pt x="780" y="648"/>
                  </a:lnTo>
                  <a:lnTo>
                    <a:pt x="780" y="648"/>
                  </a:lnTo>
                  <a:lnTo>
                    <a:pt x="778" y="648"/>
                  </a:lnTo>
                  <a:lnTo>
                    <a:pt x="775" y="648"/>
                  </a:lnTo>
                  <a:lnTo>
                    <a:pt x="773" y="648"/>
                  </a:lnTo>
                  <a:lnTo>
                    <a:pt x="771" y="648"/>
                  </a:lnTo>
                  <a:lnTo>
                    <a:pt x="769" y="648"/>
                  </a:lnTo>
                  <a:lnTo>
                    <a:pt x="769" y="648"/>
                  </a:lnTo>
                  <a:lnTo>
                    <a:pt x="767" y="648"/>
                  </a:lnTo>
                  <a:lnTo>
                    <a:pt x="765" y="648"/>
                  </a:lnTo>
                  <a:lnTo>
                    <a:pt x="762" y="646"/>
                  </a:lnTo>
                  <a:lnTo>
                    <a:pt x="760" y="646"/>
                  </a:lnTo>
                  <a:lnTo>
                    <a:pt x="758" y="646"/>
                  </a:lnTo>
                  <a:lnTo>
                    <a:pt x="758" y="648"/>
                  </a:lnTo>
                  <a:lnTo>
                    <a:pt x="756" y="648"/>
                  </a:lnTo>
                  <a:lnTo>
                    <a:pt x="754" y="646"/>
                  </a:lnTo>
                  <a:lnTo>
                    <a:pt x="752" y="646"/>
                  </a:lnTo>
                  <a:lnTo>
                    <a:pt x="752" y="644"/>
                  </a:lnTo>
                  <a:lnTo>
                    <a:pt x="750" y="642"/>
                  </a:lnTo>
                  <a:lnTo>
                    <a:pt x="750" y="642"/>
                  </a:lnTo>
                  <a:lnTo>
                    <a:pt x="747" y="640"/>
                  </a:lnTo>
                  <a:lnTo>
                    <a:pt x="747" y="638"/>
                  </a:lnTo>
                  <a:lnTo>
                    <a:pt x="745" y="638"/>
                  </a:lnTo>
                  <a:lnTo>
                    <a:pt x="745" y="636"/>
                  </a:lnTo>
                  <a:lnTo>
                    <a:pt x="743" y="636"/>
                  </a:lnTo>
                  <a:lnTo>
                    <a:pt x="741" y="636"/>
                  </a:lnTo>
                  <a:lnTo>
                    <a:pt x="741" y="634"/>
                  </a:lnTo>
                  <a:lnTo>
                    <a:pt x="741" y="634"/>
                  </a:lnTo>
                  <a:lnTo>
                    <a:pt x="741" y="632"/>
                  </a:lnTo>
                  <a:lnTo>
                    <a:pt x="741" y="630"/>
                  </a:lnTo>
                  <a:lnTo>
                    <a:pt x="741" y="628"/>
                  </a:lnTo>
                  <a:lnTo>
                    <a:pt x="741" y="626"/>
                  </a:lnTo>
                  <a:lnTo>
                    <a:pt x="739" y="626"/>
                  </a:lnTo>
                  <a:lnTo>
                    <a:pt x="739" y="624"/>
                  </a:lnTo>
                  <a:lnTo>
                    <a:pt x="737" y="622"/>
                  </a:lnTo>
                  <a:lnTo>
                    <a:pt x="737" y="620"/>
                  </a:lnTo>
                  <a:lnTo>
                    <a:pt x="737" y="618"/>
                  </a:lnTo>
                  <a:lnTo>
                    <a:pt x="737" y="616"/>
                  </a:lnTo>
                  <a:lnTo>
                    <a:pt x="735" y="616"/>
                  </a:lnTo>
                  <a:lnTo>
                    <a:pt x="735" y="614"/>
                  </a:lnTo>
                  <a:lnTo>
                    <a:pt x="732" y="612"/>
                  </a:lnTo>
                  <a:lnTo>
                    <a:pt x="732" y="610"/>
                  </a:lnTo>
                  <a:lnTo>
                    <a:pt x="732" y="610"/>
                  </a:lnTo>
                  <a:lnTo>
                    <a:pt x="730" y="608"/>
                  </a:lnTo>
                  <a:lnTo>
                    <a:pt x="730" y="606"/>
                  </a:lnTo>
                  <a:lnTo>
                    <a:pt x="728" y="606"/>
                  </a:lnTo>
                  <a:lnTo>
                    <a:pt x="728" y="604"/>
                  </a:lnTo>
                  <a:lnTo>
                    <a:pt x="728" y="602"/>
                  </a:lnTo>
                  <a:lnTo>
                    <a:pt x="726" y="600"/>
                  </a:lnTo>
                  <a:lnTo>
                    <a:pt x="726" y="600"/>
                  </a:lnTo>
                  <a:lnTo>
                    <a:pt x="724" y="598"/>
                  </a:lnTo>
                  <a:lnTo>
                    <a:pt x="724" y="596"/>
                  </a:lnTo>
                  <a:lnTo>
                    <a:pt x="722" y="594"/>
                  </a:lnTo>
                  <a:lnTo>
                    <a:pt x="720" y="594"/>
                  </a:lnTo>
                  <a:lnTo>
                    <a:pt x="720" y="592"/>
                  </a:lnTo>
                  <a:lnTo>
                    <a:pt x="720" y="590"/>
                  </a:lnTo>
                  <a:lnTo>
                    <a:pt x="717" y="588"/>
                  </a:lnTo>
                  <a:lnTo>
                    <a:pt x="717" y="588"/>
                  </a:lnTo>
                  <a:lnTo>
                    <a:pt x="715" y="586"/>
                  </a:lnTo>
                  <a:lnTo>
                    <a:pt x="715" y="584"/>
                  </a:lnTo>
                  <a:lnTo>
                    <a:pt x="713" y="582"/>
                  </a:lnTo>
                  <a:lnTo>
                    <a:pt x="713" y="582"/>
                  </a:lnTo>
                  <a:lnTo>
                    <a:pt x="711" y="580"/>
                  </a:lnTo>
                  <a:lnTo>
                    <a:pt x="711" y="578"/>
                  </a:lnTo>
                  <a:lnTo>
                    <a:pt x="709" y="576"/>
                  </a:lnTo>
                  <a:lnTo>
                    <a:pt x="707" y="576"/>
                  </a:lnTo>
                  <a:lnTo>
                    <a:pt x="707" y="574"/>
                  </a:lnTo>
                  <a:lnTo>
                    <a:pt x="705" y="572"/>
                  </a:lnTo>
                  <a:lnTo>
                    <a:pt x="705" y="570"/>
                  </a:lnTo>
                  <a:lnTo>
                    <a:pt x="702" y="570"/>
                  </a:lnTo>
                  <a:lnTo>
                    <a:pt x="700" y="568"/>
                  </a:lnTo>
                  <a:lnTo>
                    <a:pt x="700" y="566"/>
                  </a:lnTo>
                  <a:lnTo>
                    <a:pt x="698" y="566"/>
                  </a:lnTo>
                  <a:lnTo>
                    <a:pt x="696" y="564"/>
                  </a:lnTo>
                  <a:lnTo>
                    <a:pt x="696" y="562"/>
                  </a:lnTo>
                  <a:lnTo>
                    <a:pt x="694" y="562"/>
                  </a:lnTo>
                  <a:lnTo>
                    <a:pt x="692" y="560"/>
                  </a:lnTo>
                  <a:lnTo>
                    <a:pt x="692" y="558"/>
                  </a:lnTo>
                  <a:lnTo>
                    <a:pt x="689" y="558"/>
                  </a:lnTo>
                  <a:lnTo>
                    <a:pt x="687" y="556"/>
                  </a:lnTo>
                  <a:lnTo>
                    <a:pt x="687" y="556"/>
                  </a:lnTo>
                  <a:lnTo>
                    <a:pt x="685" y="554"/>
                  </a:lnTo>
                  <a:lnTo>
                    <a:pt x="683" y="552"/>
                  </a:lnTo>
                  <a:lnTo>
                    <a:pt x="683" y="552"/>
                  </a:lnTo>
                  <a:lnTo>
                    <a:pt x="681" y="550"/>
                  </a:lnTo>
                  <a:lnTo>
                    <a:pt x="679" y="550"/>
                  </a:lnTo>
                  <a:lnTo>
                    <a:pt x="677" y="548"/>
                  </a:lnTo>
                  <a:lnTo>
                    <a:pt x="677" y="546"/>
                  </a:lnTo>
                  <a:lnTo>
                    <a:pt x="674" y="546"/>
                  </a:lnTo>
                  <a:lnTo>
                    <a:pt x="672" y="544"/>
                  </a:lnTo>
                  <a:lnTo>
                    <a:pt x="672" y="544"/>
                  </a:lnTo>
                  <a:lnTo>
                    <a:pt x="670" y="542"/>
                  </a:lnTo>
                  <a:lnTo>
                    <a:pt x="668" y="542"/>
                  </a:lnTo>
                  <a:lnTo>
                    <a:pt x="668" y="542"/>
                  </a:lnTo>
                  <a:lnTo>
                    <a:pt x="666" y="544"/>
                  </a:lnTo>
                  <a:lnTo>
                    <a:pt x="666" y="546"/>
                  </a:lnTo>
                  <a:lnTo>
                    <a:pt x="664" y="548"/>
                  </a:lnTo>
                  <a:lnTo>
                    <a:pt x="664" y="550"/>
                  </a:lnTo>
                  <a:lnTo>
                    <a:pt x="662" y="550"/>
                  </a:lnTo>
                  <a:lnTo>
                    <a:pt x="664" y="548"/>
                  </a:lnTo>
                  <a:lnTo>
                    <a:pt x="666" y="546"/>
                  </a:lnTo>
                  <a:lnTo>
                    <a:pt x="666" y="544"/>
                  </a:lnTo>
                  <a:lnTo>
                    <a:pt x="668" y="544"/>
                  </a:lnTo>
                  <a:lnTo>
                    <a:pt x="668" y="542"/>
                  </a:lnTo>
                  <a:lnTo>
                    <a:pt x="666" y="540"/>
                  </a:lnTo>
                  <a:lnTo>
                    <a:pt x="666" y="540"/>
                  </a:lnTo>
                  <a:lnTo>
                    <a:pt x="664" y="540"/>
                  </a:lnTo>
                  <a:lnTo>
                    <a:pt x="662" y="538"/>
                  </a:lnTo>
                  <a:lnTo>
                    <a:pt x="662" y="538"/>
                  </a:lnTo>
                  <a:lnTo>
                    <a:pt x="659" y="538"/>
                  </a:lnTo>
                  <a:lnTo>
                    <a:pt x="659" y="538"/>
                  </a:lnTo>
                  <a:lnTo>
                    <a:pt x="659" y="536"/>
                  </a:lnTo>
                  <a:lnTo>
                    <a:pt x="657" y="536"/>
                  </a:lnTo>
                  <a:lnTo>
                    <a:pt x="655" y="536"/>
                  </a:lnTo>
                  <a:lnTo>
                    <a:pt x="653" y="538"/>
                  </a:lnTo>
                  <a:lnTo>
                    <a:pt x="655" y="536"/>
                  </a:lnTo>
                  <a:lnTo>
                    <a:pt x="653" y="536"/>
                  </a:lnTo>
                  <a:lnTo>
                    <a:pt x="653" y="538"/>
                  </a:lnTo>
                  <a:lnTo>
                    <a:pt x="653" y="536"/>
                  </a:lnTo>
                  <a:lnTo>
                    <a:pt x="651" y="536"/>
                  </a:lnTo>
                  <a:lnTo>
                    <a:pt x="649" y="534"/>
                  </a:lnTo>
                  <a:lnTo>
                    <a:pt x="647" y="534"/>
                  </a:lnTo>
                  <a:lnTo>
                    <a:pt x="647" y="532"/>
                  </a:lnTo>
                  <a:lnTo>
                    <a:pt x="644" y="532"/>
                  </a:lnTo>
                  <a:lnTo>
                    <a:pt x="642" y="530"/>
                  </a:lnTo>
                  <a:lnTo>
                    <a:pt x="640" y="530"/>
                  </a:lnTo>
                  <a:lnTo>
                    <a:pt x="638" y="530"/>
                  </a:lnTo>
                  <a:lnTo>
                    <a:pt x="636" y="530"/>
                  </a:lnTo>
                  <a:lnTo>
                    <a:pt x="636" y="528"/>
                  </a:lnTo>
                  <a:lnTo>
                    <a:pt x="634" y="528"/>
                  </a:lnTo>
                  <a:lnTo>
                    <a:pt x="631" y="528"/>
                  </a:lnTo>
                  <a:lnTo>
                    <a:pt x="629" y="526"/>
                  </a:lnTo>
                  <a:lnTo>
                    <a:pt x="627" y="526"/>
                  </a:lnTo>
                  <a:lnTo>
                    <a:pt x="625" y="526"/>
                  </a:lnTo>
                  <a:lnTo>
                    <a:pt x="623" y="526"/>
                  </a:lnTo>
                  <a:lnTo>
                    <a:pt x="621" y="526"/>
                  </a:lnTo>
                  <a:lnTo>
                    <a:pt x="619" y="525"/>
                  </a:lnTo>
                  <a:lnTo>
                    <a:pt x="616" y="526"/>
                  </a:lnTo>
                  <a:lnTo>
                    <a:pt x="616" y="525"/>
                  </a:lnTo>
                  <a:lnTo>
                    <a:pt x="614" y="525"/>
                  </a:lnTo>
                  <a:lnTo>
                    <a:pt x="612" y="525"/>
                  </a:lnTo>
                  <a:lnTo>
                    <a:pt x="610" y="525"/>
                  </a:lnTo>
                  <a:lnTo>
                    <a:pt x="608" y="523"/>
                  </a:lnTo>
                  <a:lnTo>
                    <a:pt x="606" y="523"/>
                  </a:lnTo>
                  <a:lnTo>
                    <a:pt x="604" y="523"/>
                  </a:lnTo>
                  <a:lnTo>
                    <a:pt x="601" y="523"/>
                  </a:lnTo>
                  <a:lnTo>
                    <a:pt x="599" y="523"/>
                  </a:lnTo>
                  <a:lnTo>
                    <a:pt x="597" y="523"/>
                  </a:lnTo>
                  <a:lnTo>
                    <a:pt x="595" y="523"/>
                  </a:lnTo>
                  <a:lnTo>
                    <a:pt x="595" y="523"/>
                  </a:lnTo>
                  <a:lnTo>
                    <a:pt x="593" y="523"/>
                  </a:lnTo>
                  <a:lnTo>
                    <a:pt x="591" y="523"/>
                  </a:lnTo>
                  <a:lnTo>
                    <a:pt x="589" y="523"/>
                  </a:lnTo>
                  <a:lnTo>
                    <a:pt x="586" y="523"/>
                  </a:lnTo>
                  <a:lnTo>
                    <a:pt x="584" y="523"/>
                  </a:lnTo>
                  <a:lnTo>
                    <a:pt x="582" y="525"/>
                  </a:lnTo>
                  <a:lnTo>
                    <a:pt x="582" y="525"/>
                  </a:lnTo>
                  <a:lnTo>
                    <a:pt x="580" y="523"/>
                  </a:lnTo>
                  <a:lnTo>
                    <a:pt x="578" y="525"/>
                  </a:lnTo>
                  <a:lnTo>
                    <a:pt x="576" y="525"/>
                  </a:lnTo>
                  <a:lnTo>
                    <a:pt x="574" y="523"/>
                  </a:lnTo>
                  <a:lnTo>
                    <a:pt x="571" y="523"/>
                  </a:lnTo>
                  <a:lnTo>
                    <a:pt x="569" y="523"/>
                  </a:lnTo>
                  <a:lnTo>
                    <a:pt x="567" y="523"/>
                  </a:lnTo>
                  <a:lnTo>
                    <a:pt x="565" y="525"/>
                  </a:lnTo>
                  <a:lnTo>
                    <a:pt x="563" y="525"/>
                  </a:lnTo>
                  <a:lnTo>
                    <a:pt x="561" y="525"/>
                  </a:lnTo>
                  <a:lnTo>
                    <a:pt x="558" y="525"/>
                  </a:lnTo>
                  <a:lnTo>
                    <a:pt x="558" y="526"/>
                  </a:lnTo>
                  <a:lnTo>
                    <a:pt x="556" y="526"/>
                  </a:lnTo>
                  <a:lnTo>
                    <a:pt x="554" y="528"/>
                  </a:lnTo>
                  <a:lnTo>
                    <a:pt x="554" y="528"/>
                  </a:lnTo>
                  <a:lnTo>
                    <a:pt x="552" y="528"/>
                  </a:lnTo>
                  <a:lnTo>
                    <a:pt x="550" y="528"/>
                  </a:lnTo>
                  <a:lnTo>
                    <a:pt x="550" y="530"/>
                  </a:lnTo>
                  <a:lnTo>
                    <a:pt x="550" y="530"/>
                  </a:lnTo>
                  <a:lnTo>
                    <a:pt x="548" y="530"/>
                  </a:lnTo>
                  <a:lnTo>
                    <a:pt x="548" y="530"/>
                  </a:lnTo>
                  <a:lnTo>
                    <a:pt x="546" y="530"/>
                  </a:lnTo>
                  <a:lnTo>
                    <a:pt x="546" y="528"/>
                  </a:lnTo>
                  <a:lnTo>
                    <a:pt x="543" y="528"/>
                  </a:lnTo>
                  <a:lnTo>
                    <a:pt x="541" y="530"/>
                  </a:lnTo>
                  <a:lnTo>
                    <a:pt x="539" y="530"/>
                  </a:lnTo>
                  <a:lnTo>
                    <a:pt x="537" y="530"/>
                  </a:lnTo>
                  <a:lnTo>
                    <a:pt x="537" y="530"/>
                  </a:lnTo>
                  <a:lnTo>
                    <a:pt x="535" y="530"/>
                  </a:lnTo>
                  <a:lnTo>
                    <a:pt x="533" y="530"/>
                  </a:lnTo>
                  <a:lnTo>
                    <a:pt x="531" y="528"/>
                  </a:lnTo>
                  <a:lnTo>
                    <a:pt x="528" y="528"/>
                  </a:lnTo>
                  <a:lnTo>
                    <a:pt x="528" y="528"/>
                  </a:lnTo>
                  <a:lnTo>
                    <a:pt x="526" y="528"/>
                  </a:lnTo>
                  <a:lnTo>
                    <a:pt x="526" y="526"/>
                  </a:lnTo>
                  <a:lnTo>
                    <a:pt x="524" y="526"/>
                  </a:lnTo>
                  <a:lnTo>
                    <a:pt x="522" y="526"/>
                  </a:lnTo>
                  <a:lnTo>
                    <a:pt x="522" y="525"/>
                  </a:lnTo>
                  <a:lnTo>
                    <a:pt x="520" y="525"/>
                  </a:lnTo>
                  <a:lnTo>
                    <a:pt x="520" y="523"/>
                  </a:lnTo>
                  <a:lnTo>
                    <a:pt x="520" y="521"/>
                  </a:lnTo>
                  <a:lnTo>
                    <a:pt x="518" y="519"/>
                  </a:lnTo>
                  <a:lnTo>
                    <a:pt x="516" y="517"/>
                  </a:lnTo>
                  <a:lnTo>
                    <a:pt x="516" y="517"/>
                  </a:lnTo>
                  <a:lnTo>
                    <a:pt x="513" y="515"/>
                  </a:lnTo>
                  <a:lnTo>
                    <a:pt x="511" y="515"/>
                  </a:lnTo>
                  <a:lnTo>
                    <a:pt x="509" y="513"/>
                  </a:lnTo>
                  <a:lnTo>
                    <a:pt x="509" y="513"/>
                  </a:lnTo>
                  <a:lnTo>
                    <a:pt x="507" y="513"/>
                  </a:lnTo>
                  <a:lnTo>
                    <a:pt x="505" y="513"/>
                  </a:lnTo>
                  <a:lnTo>
                    <a:pt x="503" y="513"/>
                  </a:lnTo>
                  <a:lnTo>
                    <a:pt x="500" y="513"/>
                  </a:lnTo>
                  <a:lnTo>
                    <a:pt x="498" y="513"/>
                  </a:lnTo>
                  <a:lnTo>
                    <a:pt x="496" y="513"/>
                  </a:lnTo>
                  <a:lnTo>
                    <a:pt x="494" y="511"/>
                  </a:lnTo>
                  <a:lnTo>
                    <a:pt x="492" y="513"/>
                  </a:lnTo>
                  <a:lnTo>
                    <a:pt x="490" y="513"/>
                  </a:lnTo>
                  <a:lnTo>
                    <a:pt x="488" y="513"/>
                  </a:lnTo>
                  <a:lnTo>
                    <a:pt x="485" y="513"/>
                  </a:lnTo>
                  <a:lnTo>
                    <a:pt x="485" y="511"/>
                  </a:lnTo>
                  <a:lnTo>
                    <a:pt x="483" y="511"/>
                  </a:lnTo>
                  <a:lnTo>
                    <a:pt x="481" y="511"/>
                  </a:lnTo>
                  <a:lnTo>
                    <a:pt x="479" y="511"/>
                  </a:lnTo>
                  <a:lnTo>
                    <a:pt x="479" y="509"/>
                  </a:lnTo>
                  <a:lnTo>
                    <a:pt x="477" y="509"/>
                  </a:lnTo>
                  <a:lnTo>
                    <a:pt x="475" y="507"/>
                  </a:lnTo>
                  <a:lnTo>
                    <a:pt x="475" y="505"/>
                  </a:lnTo>
                  <a:lnTo>
                    <a:pt x="473" y="505"/>
                  </a:lnTo>
                  <a:lnTo>
                    <a:pt x="473" y="503"/>
                  </a:lnTo>
                  <a:lnTo>
                    <a:pt x="470" y="503"/>
                  </a:lnTo>
                  <a:lnTo>
                    <a:pt x="468" y="503"/>
                  </a:lnTo>
                  <a:lnTo>
                    <a:pt x="466" y="503"/>
                  </a:lnTo>
                  <a:lnTo>
                    <a:pt x="466" y="501"/>
                  </a:lnTo>
                  <a:lnTo>
                    <a:pt x="464" y="501"/>
                  </a:lnTo>
                  <a:lnTo>
                    <a:pt x="462" y="501"/>
                  </a:lnTo>
                  <a:lnTo>
                    <a:pt x="462" y="499"/>
                  </a:lnTo>
                  <a:lnTo>
                    <a:pt x="460" y="499"/>
                  </a:lnTo>
                  <a:lnTo>
                    <a:pt x="458" y="497"/>
                  </a:lnTo>
                  <a:lnTo>
                    <a:pt x="458" y="497"/>
                  </a:lnTo>
                  <a:lnTo>
                    <a:pt x="455" y="497"/>
                  </a:lnTo>
                  <a:lnTo>
                    <a:pt x="453" y="495"/>
                  </a:lnTo>
                  <a:lnTo>
                    <a:pt x="451" y="495"/>
                  </a:lnTo>
                  <a:lnTo>
                    <a:pt x="449" y="495"/>
                  </a:lnTo>
                  <a:lnTo>
                    <a:pt x="449" y="493"/>
                  </a:lnTo>
                  <a:lnTo>
                    <a:pt x="449" y="493"/>
                  </a:lnTo>
                  <a:lnTo>
                    <a:pt x="447" y="491"/>
                  </a:lnTo>
                  <a:lnTo>
                    <a:pt x="447" y="489"/>
                  </a:lnTo>
                  <a:lnTo>
                    <a:pt x="447" y="487"/>
                  </a:lnTo>
                  <a:lnTo>
                    <a:pt x="445" y="485"/>
                  </a:lnTo>
                  <a:lnTo>
                    <a:pt x="442" y="485"/>
                  </a:lnTo>
                  <a:lnTo>
                    <a:pt x="442" y="483"/>
                  </a:lnTo>
                  <a:lnTo>
                    <a:pt x="440" y="481"/>
                  </a:lnTo>
                  <a:lnTo>
                    <a:pt x="440" y="481"/>
                  </a:lnTo>
                  <a:lnTo>
                    <a:pt x="438" y="479"/>
                  </a:lnTo>
                  <a:lnTo>
                    <a:pt x="436" y="479"/>
                  </a:lnTo>
                  <a:lnTo>
                    <a:pt x="434" y="479"/>
                  </a:lnTo>
                  <a:lnTo>
                    <a:pt x="434" y="479"/>
                  </a:lnTo>
                  <a:lnTo>
                    <a:pt x="432" y="477"/>
                  </a:lnTo>
                  <a:lnTo>
                    <a:pt x="430" y="475"/>
                  </a:lnTo>
                  <a:lnTo>
                    <a:pt x="430" y="475"/>
                  </a:lnTo>
                  <a:lnTo>
                    <a:pt x="427" y="473"/>
                  </a:lnTo>
                  <a:lnTo>
                    <a:pt x="425" y="471"/>
                  </a:lnTo>
                  <a:lnTo>
                    <a:pt x="425" y="471"/>
                  </a:lnTo>
                  <a:lnTo>
                    <a:pt x="423" y="469"/>
                  </a:lnTo>
                  <a:lnTo>
                    <a:pt x="421" y="469"/>
                  </a:lnTo>
                  <a:lnTo>
                    <a:pt x="421" y="469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5"/>
                  </a:lnTo>
                  <a:lnTo>
                    <a:pt x="415" y="463"/>
                  </a:lnTo>
                  <a:lnTo>
                    <a:pt x="415" y="463"/>
                  </a:lnTo>
                  <a:lnTo>
                    <a:pt x="412" y="461"/>
                  </a:lnTo>
                  <a:lnTo>
                    <a:pt x="410" y="459"/>
                  </a:lnTo>
                  <a:lnTo>
                    <a:pt x="408" y="459"/>
                  </a:lnTo>
                  <a:lnTo>
                    <a:pt x="408" y="459"/>
                  </a:lnTo>
                  <a:lnTo>
                    <a:pt x="406" y="457"/>
                  </a:lnTo>
                  <a:lnTo>
                    <a:pt x="404" y="457"/>
                  </a:lnTo>
                  <a:lnTo>
                    <a:pt x="402" y="457"/>
                  </a:lnTo>
                  <a:lnTo>
                    <a:pt x="402" y="459"/>
                  </a:lnTo>
                  <a:lnTo>
                    <a:pt x="402" y="461"/>
                  </a:lnTo>
                  <a:lnTo>
                    <a:pt x="402" y="459"/>
                  </a:lnTo>
                  <a:lnTo>
                    <a:pt x="400" y="459"/>
                  </a:lnTo>
                  <a:lnTo>
                    <a:pt x="400" y="459"/>
                  </a:lnTo>
                  <a:lnTo>
                    <a:pt x="397" y="459"/>
                  </a:lnTo>
                  <a:lnTo>
                    <a:pt x="397" y="459"/>
                  </a:lnTo>
                  <a:lnTo>
                    <a:pt x="395" y="457"/>
                  </a:lnTo>
                  <a:lnTo>
                    <a:pt x="393" y="457"/>
                  </a:lnTo>
                  <a:lnTo>
                    <a:pt x="391" y="457"/>
                  </a:lnTo>
                  <a:lnTo>
                    <a:pt x="389" y="457"/>
                  </a:lnTo>
                  <a:lnTo>
                    <a:pt x="389" y="457"/>
                  </a:lnTo>
                  <a:lnTo>
                    <a:pt x="387" y="459"/>
                  </a:lnTo>
                  <a:lnTo>
                    <a:pt x="385" y="459"/>
                  </a:lnTo>
                  <a:lnTo>
                    <a:pt x="382" y="459"/>
                  </a:lnTo>
                  <a:lnTo>
                    <a:pt x="380" y="459"/>
                  </a:lnTo>
                  <a:lnTo>
                    <a:pt x="380" y="457"/>
                  </a:lnTo>
                  <a:lnTo>
                    <a:pt x="378" y="457"/>
                  </a:lnTo>
                  <a:lnTo>
                    <a:pt x="376" y="455"/>
                  </a:lnTo>
                  <a:lnTo>
                    <a:pt x="374" y="457"/>
                  </a:lnTo>
                  <a:lnTo>
                    <a:pt x="374" y="457"/>
                  </a:lnTo>
                  <a:lnTo>
                    <a:pt x="372" y="457"/>
                  </a:lnTo>
                  <a:lnTo>
                    <a:pt x="369" y="455"/>
                  </a:lnTo>
                  <a:lnTo>
                    <a:pt x="369" y="455"/>
                  </a:lnTo>
                  <a:lnTo>
                    <a:pt x="367" y="453"/>
                  </a:lnTo>
                  <a:lnTo>
                    <a:pt x="365" y="453"/>
                  </a:lnTo>
                  <a:lnTo>
                    <a:pt x="363" y="453"/>
                  </a:lnTo>
                  <a:lnTo>
                    <a:pt x="363" y="453"/>
                  </a:lnTo>
                  <a:lnTo>
                    <a:pt x="363" y="451"/>
                  </a:lnTo>
                  <a:lnTo>
                    <a:pt x="361" y="449"/>
                  </a:lnTo>
                  <a:lnTo>
                    <a:pt x="359" y="449"/>
                  </a:lnTo>
                  <a:lnTo>
                    <a:pt x="359" y="447"/>
                  </a:lnTo>
                  <a:lnTo>
                    <a:pt x="359" y="445"/>
                  </a:lnTo>
                  <a:lnTo>
                    <a:pt x="357" y="445"/>
                  </a:lnTo>
                  <a:lnTo>
                    <a:pt x="357" y="443"/>
                  </a:lnTo>
                  <a:lnTo>
                    <a:pt x="354" y="441"/>
                  </a:lnTo>
                  <a:lnTo>
                    <a:pt x="352" y="441"/>
                  </a:lnTo>
                  <a:lnTo>
                    <a:pt x="350" y="441"/>
                  </a:lnTo>
                  <a:lnTo>
                    <a:pt x="350" y="439"/>
                  </a:lnTo>
                  <a:lnTo>
                    <a:pt x="348" y="439"/>
                  </a:lnTo>
                  <a:lnTo>
                    <a:pt x="346" y="439"/>
                  </a:lnTo>
                  <a:lnTo>
                    <a:pt x="346" y="437"/>
                  </a:lnTo>
                  <a:lnTo>
                    <a:pt x="344" y="435"/>
                  </a:lnTo>
                  <a:lnTo>
                    <a:pt x="342" y="435"/>
                  </a:lnTo>
                  <a:lnTo>
                    <a:pt x="339" y="435"/>
                  </a:lnTo>
                  <a:lnTo>
                    <a:pt x="339" y="433"/>
                  </a:lnTo>
                  <a:lnTo>
                    <a:pt x="337" y="433"/>
                  </a:lnTo>
                  <a:lnTo>
                    <a:pt x="335" y="431"/>
                  </a:lnTo>
                  <a:lnTo>
                    <a:pt x="333" y="431"/>
                  </a:lnTo>
                  <a:lnTo>
                    <a:pt x="331" y="431"/>
                  </a:lnTo>
                  <a:lnTo>
                    <a:pt x="331" y="431"/>
                  </a:lnTo>
                  <a:lnTo>
                    <a:pt x="329" y="431"/>
                  </a:lnTo>
                  <a:lnTo>
                    <a:pt x="327" y="431"/>
                  </a:lnTo>
                  <a:lnTo>
                    <a:pt x="324" y="429"/>
                  </a:lnTo>
                  <a:lnTo>
                    <a:pt x="322" y="427"/>
                  </a:lnTo>
                  <a:lnTo>
                    <a:pt x="322" y="427"/>
                  </a:lnTo>
                  <a:lnTo>
                    <a:pt x="320" y="425"/>
                  </a:lnTo>
                  <a:lnTo>
                    <a:pt x="320" y="423"/>
                  </a:lnTo>
                  <a:lnTo>
                    <a:pt x="318" y="423"/>
                  </a:lnTo>
                  <a:lnTo>
                    <a:pt x="316" y="421"/>
                  </a:lnTo>
                  <a:lnTo>
                    <a:pt x="316" y="421"/>
                  </a:lnTo>
                  <a:lnTo>
                    <a:pt x="314" y="419"/>
                  </a:lnTo>
                  <a:lnTo>
                    <a:pt x="311" y="419"/>
                  </a:lnTo>
                  <a:lnTo>
                    <a:pt x="309" y="419"/>
                  </a:lnTo>
                  <a:lnTo>
                    <a:pt x="307" y="421"/>
                  </a:lnTo>
                  <a:lnTo>
                    <a:pt x="305" y="419"/>
                  </a:lnTo>
                  <a:lnTo>
                    <a:pt x="305" y="417"/>
                  </a:lnTo>
                  <a:lnTo>
                    <a:pt x="305" y="415"/>
                  </a:lnTo>
                  <a:lnTo>
                    <a:pt x="303" y="413"/>
                  </a:lnTo>
                  <a:lnTo>
                    <a:pt x="303" y="413"/>
                  </a:lnTo>
                  <a:lnTo>
                    <a:pt x="303" y="411"/>
                  </a:lnTo>
                  <a:lnTo>
                    <a:pt x="301" y="409"/>
                  </a:lnTo>
                  <a:lnTo>
                    <a:pt x="301" y="407"/>
                  </a:lnTo>
                  <a:lnTo>
                    <a:pt x="299" y="405"/>
                  </a:lnTo>
                  <a:lnTo>
                    <a:pt x="299" y="405"/>
                  </a:lnTo>
                  <a:lnTo>
                    <a:pt x="296" y="403"/>
                  </a:lnTo>
                  <a:lnTo>
                    <a:pt x="294" y="403"/>
                  </a:lnTo>
                  <a:lnTo>
                    <a:pt x="292" y="403"/>
                  </a:lnTo>
                  <a:lnTo>
                    <a:pt x="292" y="401"/>
                  </a:lnTo>
                  <a:lnTo>
                    <a:pt x="292" y="399"/>
                  </a:lnTo>
                  <a:lnTo>
                    <a:pt x="290" y="397"/>
                  </a:lnTo>
                  <a:lnTo>
                    <a:pt x="290" y="397"/>
                  </a:lnTo>
                  <a:lnTo>
                    <a:pt x="288" y="395"/>
                  </a:lnTo>
                  <a:lnTo>
                    <a:pt x="288" y="393"/>
                  </a:lnTo>
                  <a:lnTo>
                    <a:pt x="286" y="391"/>
                  </a:lnTo>
                  <a:lnTo>
                    <a:pt x="284" y="391"/>
                  </a:lnTo>
                  <a:lnTo>
                    <a:pt x="281" y="389"/>
                  </a:lnTo>
                  <a:lnTo>
                    <a:pt x="279" y="391"/>
                  </a:lnTo>
                  <a:lnTo>
                    <a:pt x="277" y="389"/>
                  </a:lnTo>
                  <a:lnTo>
                    <a:pt x="277" y="389"/>
                  </a:lnTo>
                  <a:lnTo>
                    <a:pt x="277" y="387"/>
                  </a:lnTo>
                  <a:lnTo>
                    <a:pt x="275" y="385"/>
                  </a:lnTo>
                  <a:lnTo>
                    <a:pt x="275" y="383"/>
                  </a:lnTo>
                  <a:lnTo>
                    <a:pt x="273" y="383"/>
                  </a:lnTo>
                  <a:lnTo>
                    <a:pt x="271" y="381"/>
                  </a:lnTo>
                  <a:lnTo>
                    <a:pt x="271" y="381"/>
                  </a:lnTo>
                  <a:lnTo>
                    <a:pt x="269" y="379"/>
                  </a:lnTo>
                  <a:lnTo>
                    <a:pt x="266" y="379"/>
                  </a:lnTo>
                  <a:lnTo>
                    <a:pt x="264" y="379"/>
                  </a:lnTo>
                  <a:lnTo>
                    <a:pt x="262" y="377"/>
                  </a:lnTo>
                  <a:lnTo>
                    <a:pt x="262" y="377"/>
                  </a:lnTo>
                  <a:lnTo>
                    <a:pt x="260" y="377"/>
                  </a:lnTo>
                  <a:lnTo>
                    <a:pt x="258" y="377"/>
                  </a:lnTo>
                  <a:lnTo>
                    <a:pt x="256" y="379"/>
                  </a:lnTo>
                  <a:lnTo>
                    <a:pt x="254" y="379"/>
                  </a:lnTo>
                  <a:lnTo>
                    <a:pt x="254" y="379"/>
                  </a:lnTo>
                  <a:lnTo>
                    <a:pt x="251" y="379"/>
                  </a:lnTo>
                  <a:lnTo>
                    <a:pt x="249" y="377"/>
                  </a:lnTo>
                  <a:lnTo>
                    <a:pt x="247" y="377"/>
                  </a:lnTo>
                  <a:lnTo>
                    <a:pt x="245" y="377"/>
                  </a:lnTo>
                  <a:lnTo>
                    <a:pt x="243" y="377"/>
                  </a:lnTo>
                  <a:lnTo>
                    <a:pt x="243" y="375"/>
                  </a:lnTo>
                  <a:lnTo>
                    <a:pt x="241" y="375"/>
                  </a:lnTo>
                  <a:lnTo>
                    <a:pt x="238" y="375"/>
                  </a:lnTo>
                  <a:lnTo>
                    <a:pt x="236" y="375"/>
                  </a:lnTo>
                  <a:lnTo>
                    <a:pt x="236" y="375"/>
                  </a:lnTo>
                  <a:lnTo>
                    <a:pt x="236" y="375"/>
                  </a:lnTo>
                  <a:lnTo>
                    <a:pt x="236" y="375"/>
                  </a:lnTo>
                  <a:lnTo>
                    <a:pt x="234" y="375"/>
                  </a:lnTo>
                  <a:lnTo>
                    <a:pt x="234" y="375"/>
                  </a:lnTo>
                  <a:lnTo>
                    <a:pt x="232" y="375"/>
                  </a:lnTo>
                  <a:lnTo>
                    <a:pt x="230" y="375"/>
                  </a:lnTo>
                  <a:lnTo>
                    <a:pt x="228" y="375"/>
                  </a:lnTo>
                  <a:lnTo>
                    <a:pt x="228" y="375"/>
                  </a:lnTo>
                  <a:lnTo>
                    <a:pt x="226" y="377"/>
                  </a:lnTo>
                  <a:lnTo>
                    <a:pt x="223" y="377"/>
                  </a:lnTo>
                  <a:lnTo>
                    <a:pt x="221" y="379"/>
                  </a:lnTo>
                  <a:lnTo>
                    <a:pt x="221" y="379"/>
                  </a:lnTo>
                  <a:lnTo>
                    <a:pt x="219" y="379"/>
                  </a:lnTo>
                  <a:lnTo>
                    <a:pt x="217" y="379"/>
                  </a:lnTo>
                  <a:lnTo>
                    <a:pt x="215" y="379"/>
                  </a:lnTo>
                  <a:lnTo>
                    <a:pt x="213" y="379"/>
                  </a:lnTo>
                  <a:lnTo>
                    <a:pt x="213" y="377"/>
                  </a:lnTo>
                  <a:lnTo>
                    <a:pt x="213" y="375"/>
                  </a:lnTo>
                  <a:lnTo>
                    <a:pt x="213" y="375"/>
                  </a:lnTo>
                  <a:lnTo>
                    <a:pt x="213" y="373"/>
                  </a:lnTo>
                  <a:lnTo>
                    <a:pt x="211" y="371"/>
                  </a:lnTo>
                  <a:lnTo>
                    <a:pt x="208" y="369"/>
                  </a:lnTo>
                  <a:lnTo>
                    <a:pt x="208" y="369"/>
                  </a:lnTo>
                  <a:lnTo>
                    <a:pt x="208" y="367"/>
                  </a:lnTo>
                  <a:lnTo>
                    <a:pt x="206" y="365"/>
                  </a:lnTo>
                  <a:lnTo>
                    <a:pt x="204" y="363"/>
                  </a:lnTo>
                  <a:lnTo>
                    <a:pt x="204" y="363"/>
                  </a:lnTo>
                  <a:lnTo>
                    <a:pt x="202" y="361"/>
                  </a:lnTo>
                  <a:lnTo>
                    <a:pt x="202" y="359"/>
                  </a:lnTo>
                  <a:lnTo>
                    <a:pt x="200" y="359"/>
                  </a:lnTo>
                  <a:lnTo>
                    <a:pt x="198" y="357"/>
                  </a:lnTo>
                  <a:lnTo>
                    <a:pt x="196" y="357"/>
                  </a:lnTo>
                  <a:lnTo>
                    <a:pt x="196" y="355"/>
                  </a:lnTo>
                  <a:lnTo>
                    <a:pt x="193" y="353"/>
                  </a:lnTo>
                  <a:lnTo>
                    <a:pt x="193" y="351"/>
                  </a:lnTo>
                  <a:lnTo>
                    <a:pt x="191" y="351"/>
                  </a:lnTo>
                  <a:lnTo>
                    <a:pt x="189" y="351"/>
                  </a:lnTo>
                  <a:lnTo>
                    <a:pt x="187" y="349"/>
                  </a:lnTo>
                  <a:lnTo>
                    <a:pt x="185" y="349"/>
                  </a:lnTo>
                  <a:lnTo>
                    <a:pt x="183" y="349"/>
                  </a:lnTo>
                  <a:lnTo>
                    <a:pt x="180" y="349"/>
                  </a:lnTo>
                  <a:lnTo>
                    <a:pt x="180" y="347"/>
                  </a:lnTo>
                  <a:lnTo>
                    <a:pt x="178" y="347"/>
                  </a:lnTo>
                  <a:lnTo>
                    <a:pt x="176" y="347"/>
                  </a:lnTo>
                  <a:lnTo>
                    <a:pt x="174" y="347"/>
                  </a:lnTo>
                  <a:lnTo>
                    <a:pt x="172" y="349"/>
                  </a:lnTo>
                  <a:lnTo>
                    <a:pt x="170" y="349"/>
                  </a:lnTo>
                  <a:lnTo>
                    <a:pt x="170" y="347"/>
                  </a:lnTo>
                  <a:lnTo>
                    <a:pt x="168" y="347"/>
                  </a:lnTo>
                  <a:lnTo>
                    <a:pt x="165" y="347"/>
                  </a:lnTo>
                  <a:lnTo>
                    <a:pt x="163" y="347"/>
                  </a:lnTo>
                  <a:lnTo>
                    <a:pt x="161" y="347"/>
                  </a:lnTo>
                  <a:lnTo>
                    <a:pt x="159" y="347"/>
                  </a:lnTo>
                  <a:lnTo>
                    <a:pt x="157" y="347"/>
                  </a:lnTo>
                  <a:lnTo>
                    <a:pt x="155" y="345"/>
                  </a:lnTo>
                  <a:lnTo>
                    <a:pt x="155" y="347"/>
                  </a:lnTo>
                  <a:lnTo>
                    <a:pt x="153" y="347"/>
                  </a:lnTo>
                  <a:lnTo>
                    <a:pt x="150" y="347"/>
                  </a:lnTo>
                  <a:lnTo>
                    <a:pt x="148" y="347"/>
                  </a:lnTo>
                  <a:lnTo>
                    <a:pt x="146" y="347"/>
                  </a:lnTo>
                  <a:lnTo>
                    <a:pt x="144" y="347"/>
                  </a:lnTo>
                  <a:lnTo>
                    <a:pt x="142" y="347"/>
                  </a:lnTo>
                  <a:lnTo>
                    <a:pt x="140" y="347"/>
                  </a:lnTo>
                  <a:lnTo>
                    <a:pt x="138" y="347"/>
                  </a:lnTo>
                  <a:lnTo>
                    <a:pt x="138" y="347"/>
                  </a:lnTo>
                  <a:lnTo>
                    <a:pt x="135" y="347"/>
                  </a:lnTo>
                  <a:lnTo>
                    <a:pt x="133" y="347"/>
                  </a:lnTo>
                  <a:lnTo>
                    <a:pt x="131" y="347"/>
                  </a:lnTo>
                  <a:lnTo>
                    <a:pt x="129" y="347"/>
                  </a:lnTo>
                  <a:lnTo>
                    <a:pt x="127" y="349"/>
                  </a:lnTo>
                  <a:lnTo>
                    <a:pt x="125" y="349"/>
                  </a:lnTo>
                  <a:lnTo>
                    <a:pt x="123" y="349"/>
                  </a:lnTo>
                  <a:lnTo>
                    <a:pt x="120" y="349"/>
                  </a:lnTo>
                  <a:lnTo>
                    <a:pt x="118" y="349"/>
                  </a:lnTo>
                  <a:lnTo>
                    <a:pt x="116" y="351"/>
                  </a:lnTo>
                  <a:lnTo>
                    <a:pt x="116" y="351"/>
                  </a:lnTo>
                  <a:lnTo>
                    <a:pt x="114" y="351"/>
                  </a:lnTo>
                  <a:lnTo>
                    <a:pt x="112" y="353"/>
                  </a:lnTo>
                  <a:lnTo>
                    <a:pt x="110" y="353"/>
                  </a:lnTo>
                  <a:lnTo>
                    <a:pt x="107" y="355"/>
                  </a:lnTo>
                  <a:lnTo>
                    <a:pt x="105" y="355"/>
                  </a:lnTo>
                  <a:lnTo>
                    <a:pt x="103" y="355"/>
                  </a:lnTo>
                  <a:lnTo>
                    <a:pt x="101" y="355"/>
                  </a:lnTo>
                  <a:lnTo>
                    <a:pt x="99" y="357"/>
                  </a:lnTo>
                  <a:lnTo>
                    <a:pt x="97" y="357"/>
                  </a:lnTo>
                  <a:lnTo>
                    <a:pt x="95" y="359"/>
                  </a:lnTo>
                  <a:lnTo>
                    <a:pt x="92" y="357"/>
                  </a:lnTo>
                  <a:lnTo>
                    <a:pt x="90" y="357"/>
                  </a:lnTo>
                  <a:lnTo>
                    <a:pt x="88" y="355"/>
                  </a:lnTo>
                  <a:lnTo>
                    <a:pt x="86" y="355"/>
                  </a:lnTo>
                  <a:lnTo>
                    <a:pt x="86" y="353"/>
                  </a:lnTo>
                  <a:lnTo>
                    <a:pt x="86" y="353"/>
                  </a:lnTo>
                  <a:lnTo>
                    <a:pt x="84" y="351"/>
                  </a:lnTo>
                  <a:lnTo>
                    <a:pt x="84" y="351"/>
                  </a:lnTo>
                  <a:lnTo>
                    <a:pt x="84" y="351"/>
                  </a:lnTo>
                  <a:lnTo>
                    <a:pt x="82" y="349"/>
                  </a:lnTo>
                  <a:lnTo>
                    <a:pt x="82" y="349"/>
                  </a:lnTo>
                  <a:lnTo>
                    <a:pt x="80" y="347"/>
                  </a:lnTo>
                  <a:lnTo>
                    <a:pt x="80" y="345"/>
                  </a:lnTo>
                  <a:lnTo>
                    <a:pt x="77" y="343"/>
                  </a:lnTo>
                  <a:lnTo>
                    <a:pt x="77" y="343"/>
                  </a:lnTo>
                  <a:lnTo>
                    <a:pt x="75" y="341"/>
                  </a:lnTo>
                  <a:lnTo>
                    <a:pt x="75" y="339"/>
                  </a:lnTo>
                  <a:lnTo>
                    <a:pt x="73" y="339"/>
                  </a:lnTo>
                  <a:lnTo>
                    <a:pt x="73" y="337"/>
                  </a:lnTo>
                  <a:lnTo>
                    <a:pt x="71" y="335"/>
                  </a:lnTo>
                  <a:lnTo>
                    <a:pt x="71" y="333"/>
                  </a:lnTo>
                  <a:lnTo>
                    <a:pt x="71" y="331"/>
                  </a:lnTo>
                  <a:lnTo>
                    <a:pt x="69" y="329"/>
                  </a:lnTo>
                  <a:lnTo>
                    <a:pt x="69" y="329"/>
                  </a:lnTo>
                  <a:lnTo>
                    <a:pt x="69" y="327"/>
                  </a:lnTo>
                  <a:lnTo>
                    <a:pt x="67" y="325"/>
                  </a:lnTo>
                  <a:lnTo>
                    <a:pt x="65" y="325"/>
                  </a:lnTo>
                  <a:lnTo>
                    <a:pt x="65" y="323"/>
                  </a:lnTo>
                  <a:lnTo>
                    <a:pt x="62" y="323"/>
                  </a:lnTo>
                  <a:lnTo>
                    <a:pt x="60" y="321"/>
                  </a:lnTo>
                  <a:lnTo>
                    <a:pt x="58" y="321"/>
                  </a:lnTo>
                  <a:lnTo>
                    <a:pt x="58" y="321"/>
                  </a:lnTo>
                  <a:lnTo>
                    <a:pt x="56" y="319"/>
                  </a:lnTo>
                  <a:lnTo>
                    <a:pt x="54" y="319"/>
                  </a:lnTo>
                  <a:lnTo>
                    <a:pt x="52" y="317"/>
                  </a:lnTo>
                  <a:lnTo>
                    <a:pt x="49" y="317"/>
                  </a:lnTo>
                  <a:lnTo>
                    <a:pt x="47" y="317"/>
                  </a:lnTo>
                  <a:lnTo>
                    <a:pt x="47" y="317"/>
                  </a:lnTo>
                  <a:lnTo>
                    <a:pt x="45" y="317"/>
                  </a:lnTo>
                  <a:lnTo>
                    <a:pt x="43" y="319"/>
                  </a:lnTo>
                  <a:lnTo>
                    <a:pt x="41" y="319"/>
                  </a:lnTo>
                  <a:lnTo>
                    <a:pt x="39" y="319"/>
                  </a:lnTo>
                  <a:lnTo>
                    <a:pt x="37" y="319"/>
                  </a:lnTo>
                  <a:lnTo>
                    <a:pt x="34" y="319"/>
                  </a:lnTo>
                  <a:lnTo>
                    <a:pt x="34" y="317"/>
                  </a:lnTo>
                  <a:lnTo>
                    <a:pt x="34" y="315"/>
                  </a:lnTo>
                  <a:lnTo>
                    <a:pt x="32" y="315"/>
                  </a:lnTo>
                  <a:lnTo>
                    <a:pt x="30" y="313"/>
                  </a:lnTo>
                  <a:lnTo>
                    <a:pt x="30" y="313"/>
                  </a:lnTo>
                  <a:lnTo>
                    <a:pt x="28" y="311"/>
                  </a:lnTo>
                  <a:lnTo>
                    <a:pt x="28" y="309"/>
                  </a:lnTo>
                  <a:lnTo>
                    <a:pt x="26" y="309"/>
                  </a:lnTo>
                  <a:lnTo>
                    <a:pt x="26" y="307"/>
                  </a:lnTo>
                  <a:lnTo>
                    <a:pt x="24" y="307"/>
                  </a:lnTo>
                  <a:lnTo>
                    <a:pt x="22" y="305"/>
                  </a:lnTo>
                  <a:lnTo>
                    <a:pt x="22" y="303"/>
                  </a:lnTo>
                  <a:lnTo>
                    <a:pt x="19" y="303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9" y="299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5"/>
                  </a:lnTo>
                  <a:lnTo>
                    <a:pt x="15" y="295"/>
                  </a:lnTo>
                  <a:lnTo>
                    <a:pt x="17" y="293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7" y="289"/>
                  </a:lnTo>
                  <a:lnTo>
                    <a:pt x="17" y="287"/>
                  </a:lnTo>
                  <a:lnTo>
                    <a:pt x="17" y="285"/>
                  </a:lnTo>
                  <a:lnTo>
                    <a:pt x="17" y="283"/>
                  </a:lnTo>
                  <a:lnTo>
                    <a:pt x="15" y="283"/>
                  </a:lnTo>
                  <a:lnTo>
                    <a:pt x="15" y="281"/>
                  </a:lnTo>
                  <a:lnTo>
                    <a:pt x="13" y="279"/>
                  </a:lnTo>
                  <a:lnTo>
                    <a:pt x="13" y="279"/>
                  </a:lnTo>
                  <a:lnTo>
                    <a:pt x="13" y="277"/>
                  </a:lnTo>
                  <a:lnTo>
                    <a:pt x="11" y="275"/>
                  </a:lnTo>
                  <a:lnTo>
                    <a:pt x="11" y="273"/>
                  </a:lnTo>
                  <a:lnTo>
                    <a:pt x="11" y="271"/>
                  </a:lnTo>
                  <a:lnTo>
                    <a:pt x="9" y="269"/>
                  </a:lnTo>
                  <a:lnTo>
                    <a:pt x="9" y="269"/>
                  </a:lnTo>
                  <a:lnTo>
                    <a:pt x="7" y="267"/>
                  </a:lnTo>
                  <a:lnTo>
                    <a:pt x="7" y="267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2" y="265"/>
                  </a:lnTo>
                  <a:lnTo>
                    <a:pt x="2" y="265"/>
                  </a:lnTo>
                  <a:lnTo>
                    <a:pt x="4" y="267"/>
                  </a:lnTo>
                  <a:lnTo>
                    <a:pt x="4" y="269"/>
                  </a:lnTo>
                  <a:lnTo>
                    <a:pt x="4" y="267"/>
                  </a:lnTo>
                  <a:lnTo>
                    <a:pt x="2" y="265"/>
                  </a:lnTo>
                  <a:lnTo>
                    <a:pt x="2" y="263"/>
                  </a:lnTo>
                  <a:lnTo>
                    <a:pt x="0" y="263"/>
                  </a:lnTo>
                  <a:lnTo>
                    <a:pt x="0" y="261"/>
                  </a:lnTo>
                  <a:lnTo>
                    <a:pt x="0" y="261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4" y="257"/>
                  </a:lnTo>
                  <a:lnTo>
                    <a:pt x="7" y="255"/>
                  </a:lnTo>
                  <a:lnTo>
                    <a:pt x="7" y="253"/>
                  </a:lnTo>
                  <a:lnTo>
                    <a:pt x="7" y="253"/>
                  </a:lnTo>
                  <a:lnTo>
                    <a:pt x="7" y="255"/>
                  </a:lnTo>
                  <a:lnTo>
                    <a:pt x="4" y="257"/>
                  </a:lnTo>
                  <a:lnTo>
                    <a:pt x="7" y="257"/>
                  </a:lnTo>
                  <a:lnTo>
                    <a:pt x="7" y="257"/>
                  </a:lnTo>
                  <a:lnTo>
                    <a:pt x="9" y="255"/>
                  </a:lnTo>
                  <a:lnTo>
                    <a:pt x="11" y="255"/>
                  </a:lnTo>
                  <a:lnTo>
                    <a:pt x="11" y="255"/>
                  </a:lnTo>
                  <a:lnTo>
                    <a:pt x="13" y="253"/>
                  </a:lnTo>
                  <a:lnTo>
                    <a:pt x="13" y="251"/>
                  </a:lnTo>
                  <a:lnTo>
                    <a:pt x="15" y="249"/>
                  </a:lnTo>
                  <a:lnTo>
                    <a:pt x="15" y="249"/>
                  </a:lnTo>
                  <a:lnTo>
                    <a:pt x="15" y="247"/>
                  </a:lnTo>
                  <a:lnTo>
                    <a:pt x="15" y="245"/>
                  </a:lnTo>
                  <a:lnTo>
                    <a:pt x="13" y="243"/>
                  </a:lnTo>
                  <a:lnTo>
                    <a:pt x="13" y="243"/>
                  </a:lnTo>
                  <a:lnTo>
                    <a:pt x="13" y="241"/>
                  </a:lnTo>
                  <a:lnTo>
                    <a:pt x="15" y="241"/>
                  </a:lnTo>
                  <a:lnTo>
                    <a:pt x="17" y="239"/>
                  </a:lnTo>
                  <a:lnTo>
                    <a:pt x="17" y="237"/>
                  </a:lnTo>
                  <a:lnTo>
                    <a:pt x="17" y="235"/>
                  </a:lnTo>
                  <a:lnTo>
                    <a:pt x="17" y="235"/>
                  </a:lnTo>
                  <a:lnTo>
                    <a:pt x="19" y="233"/>
                  </a:lnTo>
                  <a:lnTo>
                    <a:pt x="19" y="231"/>
                  </a:lnTo>
                  <a:lnTo>
                    <a:pt x="19" y="229"/>
                  </a:lnTo>
                  <a:lnTo>
                    <a:pt x="19" y="227"/>
                  </a:lnTo>
                  <a:lnTo>
                    <a:pt x="17" y="227"/>
                  </a:lnTo>
                  <a:lnTo>
                    <a:pt x="17" y="227"/>
                  </a:lnTo>
                  <a:lnTo>
                    <a:pt x="15" y="225"/>
                  </a:lnTo>
                  <a:lnTo>
                    <a:pt x="15" y="223"/>
                  </a:lnTo>
                  <a:lnTo>
                    <a:pt x="13" y="223"/>
                  </a:lnTo>
                  <a:lnTo>
                    <a:pt x="13" y="221"/>
                  </a:lnTo>
                  <a:lnTo>
                    <a:pt x="13" y="219"/>
                  </a:lnTo>
                  <a:lnTo>
                    <a:pt x="13" y="219"/>
                  </a:lnTo>
                  <a:lnTo>
                    <a:pt x="11" y="219"/>
                  </a:lnTo>
                  <a:lnTo>
                    <a:pt x="11" y="217"/>
                  </a:lnTo>
                  <a:lnTo>
                    <a:pt x="11" y="215"/>
                  </a:lnTo>
                  <a:lnTo>
                    <a:pt x="11" y="215"/>
                  </a:lnTo>
                  <a:lnTo>
                    <a:pt x="13" y="213"/>
                  </a:lnTo>
                  <a:lnTo>
                    <a:pt x="13" y="211"/>
                  </a:lnTo>
                  <a:lnTo>
                    <a:pt x="15" y="209"/>
                  </a:lnTo>
                  <a:lnTo>
                    <a:pt x="15" y="207"/>
                  </a:lnTo>
                  <a:lnTo>
                    <a:pt x="17" y="207"/>
                  </a:lnTo>
                  <a:lnTo>
                    <a:pt x="17" y="205"/>
                  </a:lnTo>
                  <a:lnTo>
                    <a:pt x="19" y="203"/>
                  </a:lnTo>
                  <a:lnTo>
                    <a:pt x="19" y="201"/>
                  </a:lnTo>
                  <a:lnTo>
                    <a:pt x="19" y="199"/>
                  </a:lnTo>
                  <a:lnTo>
                    <a:pt x="22" y="199"/>
                  </a:lnTo>
                  <a:lnTo>
                    <a:pt x="22" y="197"/>
                  </a:lnTo>
                  <a:lnTo>
                    <a:pt x="22" y="197"/>
                  </a:lnTo>
                  <a:lnTo>
                    <a:pt x="22" y="195"/>
                  </a:lnTo>
                  <a:lnTo>
                    <a:pt x="22" y="193"/>
                  </a:lnTo>
                  <a:lnTo>
                    <a:pt x="24" y="193"/>
                  </a:lnTo>
                  <a:lnTo>
                    <a:pt x="22" y="191"/>
                  </a:lnTo>
                  <a:lnTo>
                    <a:pt x="22" y="189"/>
                  </a:lnTo>
                  <a:lnTo>
                    <a:pt x="22" y="187"/>
                  </a:lnTo>
                  <a:lnTo>
                    <a:pt x="22" y="185"/>
                  </a:lnTo>
                  <a:lnTo>
                    <a:pt x="22" y="185"/>
                  </a:lnTo>
                  <a:lnTo>
                    <a:pt x="24" y="183"/>
                  </a:lnTo>
                  <a:lnTo>
                    <a:pt x="24" y="183"/>
                  </a:lnTo>
                  <a:lnTo>
                    <a:pt x="24" y="181"/>
                  </a:lnTo>
                  <a:lnTo>
                    <a:pt x="26" y="181"/>
                  </a:lnTo>
                  <a:lnTo>
                    <a:pt x="26" y="179"/>
                  </a:lnTo>
                  <a:lnTo>
                    <a:pt x="26" y="177"/>
                  </a:lnTo>
                  <a:lnTo>
                    <a:pt x="26" y="175"/>
                  </a:lnTo>
                  <a:lnTo>
                    <a:pt x="26" y="173"/>
                  </a:lnTo>
                  <a:lnTo>
                    <a:pt x="26" y="173"/>
                  </a:lnTo>
                  <a:lnTo>
                    <a:pt x="28" y="173"/>
                  </a:lnTo>
                  <a:lnTo>
                    <a:pt x="30" y="173"/>
                  </a:lnTo>
                  <a:lnTo>
                    <a:pt x="30" y="171"/>
                  </a:lnTo>
                  <a:lnTo>
                    <a:pt x="28" y="173"/>
                  </a:lnTo>
                  <a:lnTo>
                    <a:pt x="28" y="173"/>
                  </a:lnTo>
                  <a:lnTo>
                    <a:pt x="26" y="173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22" y="171"/>
                  </a:lnTo>
                  <a:lnTo>
                    <a:pt x="22" y="173"/>
                  </a:lnTo>
                  <a:lnTo>
                    <a:pt x="19" y="171"/>
                  </a:lnTo>
                  <a:lnTo>
                    <a:pt x="22" y="171"/>
                  </a:lnTo>
                  <a:lnTo>
                    <a:pt x="22" y="169"/>
                  </a:lnTo>
                  <a:lnTo>
                    <a:pt x="22" y="171"/>
                  </a:lnTo>
                  <a:lnTo>
                    <a:pt x="24" y="171"/>
                  </a:lnTo>
                  <a:lnTo>
                    <a:pt x="26" y="171"/>
                  </a:lnTo>
                  <a:lnTo>
                    <a:pt x="28" y="169"/>
                  </a:lnTo>
                  <a:lnTo>
                    <a:pt x="30" y="169"/>
                  </a:lnTo>
                  <a:lnTo>
                    <a:pt x="30" y="167"/>
                  </a:lnTo>
                  <a:lnTo>
                    <a:pt x="32" y="167"/>
                  </a:lnTo>
                  <a:lnTo>
                    <a:pt x="32" y="166"/>
                  </a:lnTo>
                  <a:lnTo>
                    <a:pt x="32" y="164"/>
                  </a:lnTo>
                  <a:lnTo>
                    <a:pt x="34" y="164"/>
                  </a:lnTo>
                  <a:lnTo>
                    <a:pt x="34" y="162"/>
                  </a:lnTo>
                  <a:lnTo>
                    <a:pt x="37" y="162"/>
                  </a:lnTo>
                  <a:lnTo>
                    <a:pt x="37" y="160"/>
                  </a:lnTo>
                  <a:lnTo>
                    <a:pt x="39" y="160"/>
                  </a:lnTo>
                  <a:lnTo>
                    <a:pt x="39" y="158"/>
                  </a:lnTo>
                  <a:lnTo>
                    <a:pt x="41" y="156"/>
                  </a:lnTo>
                  <a:lnTo>
                    <a:pt x="41" y="156"/>
                  </a:lnTo>
                  <a:lnTo>
                    <a:pt x="43" y="154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5" y="150"/>
                  </a:lnTo>
                  <a:lnTo>
                    <a:pt x="47" y="150"/>
                  </a:lnTo>
                  <a:lnTo>
                    <a:pt x="49" y="148"/>
                  </a:lnTo>
                  <a:lnTo>
                    <a:pt x="49" y="150"/>
                  </a:lnTo>
                  <a:lnTo>
                    <a:pt x="52" y="150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58" y="152"/>
                  </a:lnTo>
                  <a:lnTo>
                    <a:pt x="60" y="150"/>
                  </a:lnTo>
                  <a:lnTo>
                    <a:pt x="60" y="150"/>
                  </a:lnTo>
                  <a:lnTo>
                    <a:pt x="62" y="150"/>
                  </a:lnTo>
                  <a:lnTo>
                    <a:pt x="65" y="148"/>
                  </a:lnTo>
                  <a:lnTo>
                    <a:pt x="67" y="148"/>
                  </a:lnTo>
                  <a:lnTo>
                    <a:pt x="67" y="148"/>
                  </a:lnTo>
                  <a:lnTo>
                    <a:pt x="69" y="146"/>
                  </a:lnTo>
                  <a:lnTo>
                    <a:pt x="71" y="146"/>
                  </a:lnTo>
                  <a:lnTo>
                    <a:pt x="73" y="144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0"/>
                  </a:lnTo>
                  <a:lnTo>
                    <a:pt x="77" y="140"/>
                  </a:lnTo>
                  <a:lnTo>
                    <a:pt x="77" y="138"/>
                  </a:lnTo>
                  <a:lnTo>
                    <a:pt x="77" y="138"/>
                  </a:lnTo>
                  <a:lnTo>
                    <a:pt x="77" y="136"/>
                  </a:lnTo>
                  <a:lnTo>
                    <a:pt x="77" y="134"/>
                  </a:lnTo>
                  <a:lnTo>
                    <a:pt x="75" y="132"/>
                  </a:lnTo>
                  <a:lnTo>
                    <a:pt x="77" y="132"/>
                  </a:lnTo>
                  <a:lnTo>
                    <a:pt x="80" y="130"/>
                  </a:lnTo>
                  <a:lnTo>
                    <a:pt x="80" y="130"/>
                  </a:lnTo>
                  <a:lnTo>
                    <a:pt x="82" y="130"/>
                  </a:lnTo>
                  <a:lnTo>
                    <a:pt x="84" y="130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4"/>
                  </a:lnTo>
                  <a:lnTo>
                    <a:pt x="90" y="134"/>
                  </a:lnTo>
                  <a:lnTo>
                    <a:pt x="92" y="132"/>
                  </a:lnTo>
                  <a:lnTo>
                    <a:pt x="95" y="132"/>
                  </a:lnTo>
                  <a:lnTo>
                    <a:pt x="95" y="130"/>
                  </a:lnTo>
                  <a:lnTo>
                    <a:pt x="97" y="130"/>
                  </a:lnTo>
                  <a:lnTo>
                    <a:pt x="97" y="128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99" y="122"/>
                  </a:lnTo>
                  <a:lnTo>
                    <a:pt x="101" y="122"/>
                  </a:lnTo>
                  <a:lnTo>
                    <a:pt x="101" y="120"/>
                  </a:lnTo>
                  <a:lnTo>
                    <a:pt x="103" y="120"/>
                  </a:lnTo>
                  <a:lnTo>
                    <a:pt x="103" y="118"/>
                  </a:lnTo>
                  <a:lnTo>
                    <a:pt x="103" y="116"/>
                  </a:lnTo>
                  <a:lnTo>
                    <a:pt x="101" y="116"/>
                  </a:lnTo>
                  <a:lnTo>
                    <a:pt x="101" y="114"/>
                  </a:lnTo>
                  <a:lnTo>
                    <a:pt x="101" y="112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97" y="108"/>
                  </a:lnTo>
                  <a:lnTo>
                    <a:pt x="97" y="106"/>
                  </a:lnTo>
                  <a:lnTo>
                    <a:pt x="95" y="104"/>
                  </a:lnTo>
                  <a:lnTo>
                    <a:pt x="95" y="102"/>
                  </a:lnTo>
                  <a:lnTo>
                    <a:pt x="97" y="102"/>
                  </a:lnTo>
                  <a:lnTo>
                    <a:pt x="97" y="100"/>
                  </a:lnTo>
                  <a:lnTo>
                    <a:pt x="99" y="98"/>
                  </a:lnTo>
                  <a:lnTo>
                    <a:pt x="101" y="98"/>
                  </a:lnTo>
                  <a:lnTo>
                    <a:pt x="101" y="98"/>
                  </a:lnTo>
                  <a:lnTo>
                    <a:pt x="101" y="100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103" y="104"/>
                  </a:lnTo>
                  <a:lnTo>
                    <a:pt x="105" y="102"/>
                  </a:lnTo>
                  <a:lnTo>
                    <a:pt x="107" y="102"/>
                  </a:lnTo>
                  <a:lnTo>
                    <a:pt x="110" y="102"/>
                  </a:lnTo>
                  <a:lnTo>
                    <a:pt x="112" y="102"/>
                  </a:lnTo>
                  <a:lnTo>
                    <a:pt x="114" y="102"/>
                  </a:lnTo>
                  <a:lnTo>
                    <a:pt x="114" y="102"/>
                  </a:lnTo>
                  <a:lnTo>
                    <a:pt x="114" y="104"/>
                  </a:lnTo>
                  <a:lnTo>
                    <a:pt x="116" y="106"/>
                  </a:lnTo>
                  <a:lnTo>
                    <a:pt x="114" y="106"/>
                  </a:lnTo>
                  <a:lnTo>
                    <a:pt x="114" y="108"/>
                  </a:lnTo>
                  <a:lnTo>
                    <a:pt x="114" y="110"/>
                  </a:lnTo>
                  <a:lnTo>
                    <a:pt x="114" y="112"/>
                  </a:lnTo>
                  <a:lnTo>
                    <a:pt x="116" y="114"/>
                  </a:lnTo>
                  <a:lnTo>
                    <a:pt x="118" y="114"/>
                  </a:lnTo>
                  <a:lnTo>
                    <a:pt x="118" y="114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3" y="118"/>
                  </a:lnTo>
                  <a:lnTo>
                    <a:pt x="123" y="120"/>
                  </a:lnTo>
                  <a:lnTo>
                    <a:pt x="123" y="122"/>
                  </a:lnTo>
                  <a:lnTo>
                    <a:pt x="123" y="124"/>
                  </a:lnTo>
                  <a:lnTo>
                    <a:pt x="123" y="126"/>
                  </a:lnTo>
                  <a:lnTo>
                    <a:pt x="123" y="128"/>
                  </a:lnTo>
                  <a:lnTo>
                    <a:pt x="123" y="130"/>
                  </a:lnTo>
                  <a:lnTo>
                    <a:pt x="125" y="130"/>
                  </a:lnTo>
                  <a:lnTo>
                    <a:pt x="125" y="132"/>
                  </a:lnTo>
                  <a:lnTo>
                    <a:pt x="125" y="134"/>
                  </a:lnTo>
                  <a:lnTo>
                    <a:pt x="127" y="134"/>
                  </a:lnTo>
                  <a:lnTo>
                    <a:pt x="127" y="136"/>
                  </a:lnTo>
                  <a:lnTo>
                    <a:pt x="129" y="136"/>
                  </a:lnTo>
                  <a:lnTo>
                    <a:pt x="129" y="138"/>
                  </a:lnTo>
                  <a:lnTo>
                    <a:pt x="129" y="140"/>
                  </a:lnTo>
                  <a:lnTo>
                    <a:pt x="131" y="140"/>
                  </a:lnTo>
                  <a:lnTo>
                    <a:pt x="131" y="142"/>
                  </a:lnTo>
                  <a:lnTo>
                    <a:pt x="133" y="142"/>
                  </a:lnTo>
                  <a:lnTo>
                    <a:pt x="133" y="144"/>
                  </a:lnTo>
                  <a:lnTo>
                    <a:pt x="135" y="144"/>
                  </a:lnTo>
                  <a:lnTo>
                    <a:pt x="135" y="146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0" y="150"/>
                  </a:lnTo>
                  <a:lnTo>
                    <a:pt x="142" y="148"/>
                  </a:lnTo>
                  <a:lnTo>
                    <a:pt x="142" y="150"/>
                  </a:lnTo>
                  <a:lnTo>
                    <a:pt x="142" y="152"/>
                  </a:lnTo>
                  <a:lnTo>
                    <a:pt x="144" y="152"/>
                  </a:lnTo>
                  <a:lnTo>
                    <a:pt x="146" y="152"/>
                  </a:lnTo>
                  <a:lnTo>
                    <a:pt x="146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3" y="154"/>
                  </a:lnTo>
                  <a:lnTo>
                    <a:pt x="153" y="156"/>
                  </a:lnTo>
                  <a:lnTo>
                    <a:pt x="153" y="158"/>
                  </a:lnTo>
                  <a:lnTo>
                    <a:pt x="153" y="160"/>
                  </a:lnTo>
                  <a:lnTo>
                    <a:pt x="155" y="160"/>
                  </a:lnTo>
                  <a:lnTo>
                    <a:pt x="155" y="162"/>
                  </a:lnTo>
                  <a:lnTo>
                    <a:pt x="157" y="162"/>
                  </a:lnTo>
                  <a:lnTo>
                    <a:pt x="157" y="162"/>
                  </a:lnTo>
                  <a:lnTo>
                    <a:pt x="159" y="162"/>
                  </a:lnTo>
                  <a:lnTo>
                    <a:pt x="159" y="164"/>
                  </a:lnTo>
                  <a:lnTo>
                    <a:pt x="161" y="164"/>
                  </a:lnTo>
                  <a:lnTo>
                    <a:pt x="163" y="164"/>
                  </a:lnTo>
                  <a:lnTo>
                    <a:pt x="165" y="164"/>
                  </a:lnTo>
                  <a:lnTo>
                    <a:pt x="168" y="162"/>
                  </a:lnTo>
                  <a:lnTo>
                    <a:pt x="170" y="162"/>
                  </a:lnTo>
                  <a:lnTo>
                    <a:pt x="172" y="162"/>
                  </a:lnTo>
                  <a:lnTo>
                    <a:pt x="174" y="162"/>
                  </a:lnTo>
                  <a:lnTo>
                    <a:pt x="176" y="162"/>
                  </a:lnTo>
                  <a:lnTo>
                    <a:pt x="176" y="160"/>
                  </a:lnTo>
                  <a:lnTo>
                    <a:pt x="178" y="160"/>
                  </a:lnTo>
                  <a:lnTo>
                    <a:pt x="180" y="160"/>
                  </a:lnTo>
                  <a:lnTo>
                    <a:pt x="183" y="160"/>
                  </a:lnTo>
                  <a:lnTo>
                    <a:pt x="185" y="158"/>
                  </a:lnTo>
                  <a:lnTo>
                    <a:pt x="187" y="158"/>
                  </a:lnTo>
                  <a:lnTo>
                    <a:pt x="189" y="156"/>
                  </a:lnTo>
                  <a:lnTo>
                    <a:pt x="189" y="156"/>
                  </a:lnTo>
                  <a:lnTo>
                    <a:pt x="191" y="156"/>
                  </a:lnTo>
                  <a:lnTo>
                    <a:pt x="193" y="154"/>
                  </a:lnTo>
                  <a:lnTo>
                    <a:pt x="196" y="154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200" y="150"/>
                  </a:lnTo>
                  <a:lnTo>
                    <a:pt x="202" y="150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6" y="146"/>
                  </a:lnTo>
                  <a:lnTo>
                    <a:pt x="208" y="146"/>
                  </a:lnTo>
                  <a:lnTo>
                    <a:pt x="208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2"/>
                  </a:lnTo>
                  <a:lnTo>
                    <a:pt x="217" y="142"/>
                  </a:lnTo>
                  <a:lnTo>
                    <a:pt x="217" y="140"/>
                  </a:lnTo>
                  <a:lnTo>
                    <a:pt x="219" y="138"/>
                  </a:lnTo>
                  <a:lnTo>
                    <a:pt x="221" y="138"/>
                  </a:lnTo>
                  <a:lnTo>
                    <a:pt x="221" y="136"/>
                  </a:lnTo>
                  <a:lnTo>
                    <a:pt x="223" y="136"/>
                  </a:lnTo>
                  <a:lnTo>
                    <a:pt x="223" y="134"/>
                  </a:lnTo>
                  <a:lnTo>
                    <a:pt x="223" y="132"/>
                  </a:lnTo>
                  <a:lnTo>
                    <a:pt x="223" y="130"/>
                  </a:lnTo>
                  <a:lnTo>
                    <a:pt x="221" y="130"/>
                  </a:lnTo>
                  <a:lnTo>
                    <a:pt x="221" y="128"/>
                  </a:lnTo>
                  <a:lnTo>
                    <a:pt x="221" y="126"/>
                  </a:lnTo>
                  <a:lnTo>
                    <a:pt x="221" y="124"/>
                  </a:lnTo>
                  <a:lnTo>
                    <a:pt x="219" y="122"/>
                  </a:lnTo>
                  <a:lnTo>
                    <a:pt x="219" y="120"/>
                  </a:lnTo>
                  <a:lnTo>
                    <a:pt x="217" y="120"/>
                  </a:lnTo>
                  <a:lnTo>
                    <a:pt x="217" y="118"/>
                  </a:lnTo>
                  <a:lnTo>
                    <a:pt x="215" y="116"/>
                  </a:lnTo>
                  <a:lnTo>
                    <a:pt x="215" y="114"/>
                  </a:lnTo>
                  <a:lnTo>
                    <a:pt x="215" y="114"/>
                  </a:lnTo>
                  <a:lnTo>
                    <a:pt x="217" y="114"/>
                  </a:lnTo>
                  <a:lnTo>
                    <a:pt x="217" y="112"/>
                  </a:lnTo>
                  <a:lnTo>
                    <a:pt x="219" y="112"/>
                  </a:lnTo>
                  <a:lnTo>
                    <a:pt x="221" y="112"/>
                  </a:lnTo>
                  <a:lnTo>
                    <a:pt x="221" y="112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3" y="102"/>
                  </a:lnTo>
                  <a:lnTo>
                    <a:pt x="223" y="102"/>
                  </a:lnTo>
                  <a:lnTo>
                    <a:pt x="223" y="100"/>
                  </a:lnTo>
                  <a:lnTo>
                    <a:pt x="226" y="98"/>
                  </a:lnTo>
                  <a:lnTo>
                    <a:pt x="226" y="96"/>
                  </a:lnTo>
                  <a:lnTo>
                    <a:pt x="228" y="96"/>
                  </a:lnTo>
                  <a:lnTo>
                    <a:pt x="228" y="94"/>
                  </a:lnTo>
                  <a:lnTo>
                    <a:pt x="230" y="94"/>
                  </a:lnTo>
                  <a:lnTo>
                    <a:pt x="232" y="92"/>
                  </a:lnTo>
                  <a:lnTo>
                    <a:pt x="232" y="92"/>
                  </a:lnTo>
                  <a:lnTo>
                    <a:pt x="234" y="92"/>
                  </a:lnTo>
                  <a:lnTo>
                    <a:pt x="236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41" y="92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5" y="94"/>
                  </a:lnTo>
                  <a:lnTo>
                    <a:pt x="245" y="94"/>
                  </a:lnTo>
                  <a:lnTo>
                    <a:pt x="247" y="94"/>
                  </a:lnTo>
                  <a:lnTo>
                    <a:pt x="247" y="94"/>
                  </a:lnTo>
                  <a:lnTo>
                    <a:pt x="249" y="94"/>
                  </a:lnTo>
                  <a:lnTo>
                    <a:pt x="251" y="94"/>
                  </a:lnTo>
                  <a:lnTo>
                    <a:pt x="251" y="96"/>
                  </a:lnTo>
                  <a:lnTo>
                    <a:pt x="251" y="98"/>
                  </a:lnTo>
                  <a:lnTo>
                    <a:pt x="251" y="98"/>
                  </a:lnTo>
                  <a:lnTo>
                    <a:pt x="254" y="100"/>
                  </a:lnTo>
                  <a:lnTo>
                    <a:pt x="256" y="100"/>
                  </a:lnTo>
                  <a:lnTo>
                    <a:pt x="258" y="100"/>
                  </a:lnTo>
                  <a:lnTo>
                    <a:pt x="260" y="100"/>
                  </a:lnTo>
                  <a:lnTo>
                    <a:pt x="262" y="100"/>
                  </a:lnTo>
                  <a:lnTo>
                    <a:pt x="264" y="100"/>
                  </a:lnTo>
                  <a:lnTo>
                    <a:pt x="264" y="98"/>
                  </a:lnTo>
                  <a:lnTo>
                    <a:pt x="266" y="98"/>
                  </a:lnTo>
                  <a:lnTo>
                    <a:pt x="269" y="98"/>
                  </a:lnTo>
                  <a:lnTo>
                    <a:pt x="271" y="96"/>
                  </a:lnTo>
                  <a:lnTo>
                    <a:pt x="273" y="96"/>
                  </a:lnTo>
                  <a:lnTo>
                    <a:pt x="275" y="96"/>
                  </a:lnTo>
                  <a:lnTo>
                    <a:pt x="275" y="94"/>
                  </a:lnTo>
                  <a:lnTo>
                    <a:pt x="277" y="92"/>
                  </a:lnTo>
                  <a:lnTo>
                    <a:pt x="279" y="92"/>
                  </a:lnTo>
                  <a:lnTo>
                    <a:pt x="279" y="90"/>
                  </a:lnTo>
                  <a:lnTo>
                    <a:pt x="279" y="88"/>
                  </a:lnTo>
                  <a:lnTo>
                    <a:pt x="279" y="86"/>
                  </a:lnTo>
                  <a:lnTo>
                    <a:pt x="279" y="84"/>
                  </a:lnTo>
                  <a:lnTo>
                    <a:pt x="281" y="84"/>
                  </a:lnTo>
                  <a:lnTo>
                    <a:pt x="281" y="86"/>
                  </a:lnTo>
                  <a:lnTo>
                    <a:pt x="284" y="86"/>
                  </a:lnTo>
                  <a:lnTo>
                    <a:pt x="284" y="86"/>
                  </a:lnTo>
                  <a:lnTo>
                    <a:pt x="286" y="86"/>
                  </a:lnTo>
                  <a:lnTo>
                    <a:pt x="288" y="86"/>
                  </a:lnTo>
                  <a:lnTo>
                    <a:pt x="288" y="84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2" y="84"/>
                  </a:lnTo>
                  <a:lnTo>
                    <a:pt x="292" y="84"/>
                  </a:lnTo>
                  <a:lnTo>
                    <a:pt x="294" y="82"/>
                  </a:lnTo>
                  <a:lnTo>
                    <a:pt x="294" y="82"/>
                  </a:lnTo>
                  <a:lnTo>
                    <a:pt x="294" y="82"/>
                  </a:lnTo>
                  <a:lnTo>
                    <a:pt x="296" y="80"/>
                  </a:lnTo>
                  <a:lnTo>
                    <a:pt x="296" y="78"/>
                  </a:lnTo>
                  <a:lnTo>
                    <a:pt x="299" y="78"/>
                  </a:lnTo>
                  <a:lnTo>
                    <a:pt x="301" y="76"/>
                  </a:lnTo>
                  <a:lnTo>
                    <a:pt x="303" y="76"/>
                  </a:lnTo>
                  <a:lnTo>
                    <a:pt x="303" y="76"/>
                  </a:lnTo>
                  <a:lnTo>
                    <a:pt x="305" y="76"/>
                  </a:lnTo>
                  <a:lnTo>
                    <a:pt x="307" y="76"/>
                  </a:lnTo>
                  <a:lnTo>
                    <a:pt x="307" y="78"/>
                  </a:lnTo>
                  <a:lnTo>
                    <a:pt x="307" y="80"/>
                  </a:lnTo>
                  <a:lnTo>
                    <a:pt x="309" y="80"/>
                  </a:lnTo>
                  <a:lnTo>
                    <a:pt x="309" y="82"/>
                  </a:lnTo>
                  <a:lnTo>
                    <a:pt x="309" y="82"/>
                  </a:lnTo>
                  <a:lnTo>
                    <a:pt x="309" y="84"/>
                  </a:lnTo>
                  <a:lnTo>
                    <a:pt x="309" y="86"/>
                  </a:lnTo>
                  <a:lnTo>
                    <a:pt x="311" y="86"/>
                  </a:lnTo>
                  <a:lnTo>
                    <a:pt x="314" y="86"/>
                  </a:lnTo>
                  <a:lnTo>
                    <a:pt x="314" y="88"/>
                  </a:lnTo>
                  <a:lnTo>
                    <a:pt x="316" y="88"/>
                  </a:lnTo>
                  <a:lnTo>
                    <a:pt x="318" y="88"/>
                  </a:lnTo>
                  <a:lnTo>
                    <a:pt x="318" y="88"/>
                  </a:lnTo>
                  <a:lnTo>
                    <a:pt x="320" y="88"/>
                  </a:lnTo>
                  <a:lnTo>
                    <a:pt x="322" y="90"/>
                  </a:lnTo>
                  <a:lnTo>
                    <a:pt x="322" y="92"/>
                  </a:lnTo>
                  <a:lnTo>
                    <a:pt x="324" y="92"/>
                  </a:lnTo>
                  <a:lnTo>
                    <a:pt x="324" y="94"/>
                  </a:lnTo>
                  <a:lnTo>
                    <a:pt x="324" y="96"/>
                  </a:lnTo>
                  <a:lnTo>
                    <a:pt x="324" y="98"/>
                  </a:lnTo>
                  <a:lnTo>
                    <a:pt x="324" y="100"/>
                  </a:lnTo>
                  <a:lnTo>
                    <a:pt x="327" y="102"/>
                  </a:lnTo>
                  <a:lnTo>
                    <a:pt x="327" y="102"/>
                  </a:lnTo>
                  <a:lnTo>
                    <a:pt x="327" y="104"/>
                  </a:lnTo>
                  <a:lnTo>
                    <a:pt x="327" y="106"/>
                  </a:lnTo>
                  <a:lnTo>
                    <a:pt x="324" y="108"/>
                  </a:lnTo>
                  <a:lnTo>
                    <a:pt x="324" y="108"/>
                  </a:lnTo>
                  <a:lnTo>
                    <a:pt x="324" y="110"/>
                  </a:lnTo>
                  <a:lnTo>
                    <a:pt x="327" y="112"/>
                  </a:lnTo>
                  <a:lnTo>
                    <a:pt x="327" y="112"/>
                  </a:lnTo>
                  <a:lnTo>
                    <a:pt x="329" y="114"/>
                  </a:lnTo>
                  <a:lnTo>
                    <a:pt x="327" y="114"/>
                  </a:lnTo>
                  <a:lnTo>
                    <a:pt x="327" y="112"/>
                  </a:lnTo>
                  <a:lnTo>
                    <a:pt x="327" y="112"/>
                  </a:lnTo>
                  <a:lnTo>
                    <a:pt x="324" y="112"/>
                  </a:lnTo>
                  <a:lnTo>
                    <a:pt x="324" y="112"/>
                  </a:lnTo>
                  <a:lnTo>
                    <a:pt x="322" y="112"/>
                  </a:lnTo>
                  <a:lnTo>
                    <a:pt x="324" y="114"/>
                  </a:lnTo>
                  <a:lnTo>
                    <a:pt x="324" y="114"/>
                  </a:lnTo>
                  <a:lnTo>
                    <a:pt x="324" y="114"/>
                  </a:lnTo>
                  <a:lnTo>
                    <a:pt x="324" y="114"/>
                  </a:lnTo>
                  <a:lnTo>
                    <a:pt x="324" y="116"/>
                  </a:lnTo>
                  <a:lnTo>
                    <a:pt x="327" y="116"/>
                  </a:lnTo>
                  <a:lnTo>
                    <a:pt x="324" y="118"/>
                  </a:lnTo>
                  <a:lnTo>
                    <a:pt x="327" y="118"/>
                  </a:lnTo>
                  <a:lnTo>
                    <a:pt x="327" y="116"/>
                  </a:lnTo>
                  <a:lnTo>
                    <a:pt x="327" y="116"/>
                  </a:lnTo>
                  <a:lnTo>
                    <a:pt x="327" y="118"/>
                  </a:lnTo>
                  <a:lnTo>
                    <a:pt x="329" y="118"/>
                  </a:lnTo>
                  <a:lnTo>
                    <a:pt x="329" y="120"/>
                  </a:lnTo>
                  <a:lnTo>
                    <a:pt x="331" y="122"/>
                  </a:lnTo>
                  <a:lnTo>
                    <a:pt x="333" y="122"/>
                  </a:lnTo>
                  <a:lnTo>
                    <a:pt x="335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9" y="126"/>
                  </a:lnTo>
                  <a:lnTo>
                    <a:pt x="342" y="126"/>
                  </a:lnTo>
                  <a:lnTo>
                    <a:pt x="344" y="126"/>
                  </a:lnTo>
                  <a:lnTo>
                    <a:pt x="346" y="126"/>
                  </a:lnTo>
                  <a:lnTo>
                    <a:pt x="348" y="126"/>
                  </a:lnTo>
                  <a:lnTo>
                    <a:pt x="350" y="126"/>
                  </a:lnTo>
                  <a:lnTo>
                    <a:pt x="350" y="126"/>
                  </a:lnTo>
                  <a:lnTo>
                    <a:pt x="352" y="126"/>
                  </a:lnTo>
                  <a:lnTo>
                    <a:pt x="354" y="126"/>
                  </a:lnTo>
                  <a:lnTo>
                    <a:pt x="357" y="126"/>
                  </a:lnTo>
                  <a:lnTo>
                    <a:pt x="359" y="126"/>
                  </a:lnTo>
                  <a:lnTo>
                    <a:pt x="361" y="126"/>
                  </a:lnTo>
                  <a:lnTo>
                    <a:pt x="363" y="124"/>
                  </a:lnTo>
                  <a:lnTo>
                    <a:pt x="365" y="124"/>
                  </a:lnTo>
                  <a:lnTo>
                    <a:pt x="365" y="124"/>
                  </a:lnTo>
                  <a:lnTo>
                    <a:pt x="367" y="122"/>
                  </a:lnTo>
                  <a:lnTo>
                    <a:pt x="369" y="122"/>
                  </a:lnTo>
                  <a:lnTo>
                    <a:pt x="372" y="122"/>
                  </a:lnTo>
                  <a:lnTo>
                    <a:pt x="372" y="120"/>
                  </a:lnTo>
                  <a:lnTo>
                    <a:pt x="374" y="120"/>
                  </a:lnTo>
                  <a:lnTo>
                    <a:pt x="374" y="118"/>
                  </a:lnTo>
                  <a:lnTo>
                    <a:pt x="374" y="116"/>
                  </a:lnTo>
                  <a:lnTo>
                    <a:pt x="374" y="116"/>
                  </a:lnTo>
                  <a:lnTo>
                    <a:pt x="376" y="116"/>
                  </a:lnTo>
                  <a:lnTo>
                    <a:pt x="378" y="116"/>
                  </a:lnTo>
                  <a:lnTo>
                    <a:pt x="380" y="118"/>
                  </a:lnTo>
                  <a:lnTo>
                    <a:pt x="382" y="118"/>
                  </a:lnTo>
                  <a:lnTo>
                    <a:pt x="382" y="118"/>
                  </a:lnTo>
                  <a:lnTo>
                    <a:pt x="385" y="118"/>
                  </a:lnTo>
                  <a:lnTo>
                    <a:pt x="385" y="118"/>
                  </a:lnTo>
                  <a:lnTo>
                    <a:pt x="385" y="120"/>
                  </a:lnTo>
                  <a:lnTo>
                    <a:pt x="385" y="122"/>
                  </a:lnTo>
                  <a:lnTo>
                    <a:pt x="385" y="124"/>
                  </a:lnTo>
                  <a:lnTo>
                    <a:pt x="387" y="124"/>
                  </a:lnTo>
                  <a:lnTo>
                    <a:pt x="387" y="124"/>
                  </a:lnTo>
                  <a:lnTo>
                    <a:pt x="387" y="126"/>
                  </a:lnTo>
                  <a:lnTo>
                    <a:pt x="387" y="128"/>
                  </a:lnTo>
                  <a:lnTo>
                    <a:pt x="387" y="130"/>
                  </a:lnTo>
                  <a:lnTo>
                    <a:pt x="385" y="132"/>
                  </a:lnTo>
                  <a:lnTo>
                    <a:pt x="387" y="132"/>
                  </a:lnTo>
                  <a:lnTo>
                    <a:pt x="389" y="134"/>
                  </a:lnTo>
                  <a:lnTo>
                    <a:pt x="387" y="134"/>
                  </a:lnTo>
                  <a:lnTo>
                    <a:pt x="385" y="136"/>
                  </a:lnTo>
                  <a:lnTo>
                    <a:pt x="387" y="138"/>
                  </a:lnTo>
                  <a:lnTo>
                    <a:pt x="387" y="140"/>
                  </a:lnTo>
                  <a:lnTo>
                    <a:pt x="387" y="140"/>
                  </a:lnTo>
                  <a:lnTo>
                    <a:pt x="389" y="142"/>
                  </a:lnTo>
                  <a:lnTo>
                    <a:pt x="391" y="142"/>
                  </a:lnTo>
                  <a:lnTo>
                    <a:pt x="393" y="144"/>
                  </a:lnTo>
                  <a:lnTo>
                    <a:pt x="393" y="146"/>
                  </a:lnTo>
                  <a:lnTo>
                    <a:pt x="395" y="146"/>
                  </a:lnTo>
                  <a:lnTo>
                    <a:pt x="395" y="148"/>
                  </a:lnTo>
                  <a:lnTo>
                    <a:pt x="397" y="148"/>
                  </a:lnTo>
                  <a:lnTo>
                    <a:pt x="400" y="150"/>
                  </a:lnTo>
                  <a:lnTo>
                    <a:pt x="402" y="150"/>
                  </a:lnTo>
                  <a:lnTo>
                    <a:pt x="404" y="150"/>
                  </a:lnTo>
                  <a:lnTo>
                    <a:pt x="406" y="152"/>
                  </a:lnTo>
                  <a:lnTo>
                    <a:pt x="406" y="152"/>
                  </a:lnTo>
                  <a:lnTo>
                    <a:pt x="408" y="152"/>
                  </a:lnTo>
                  <a:lnTo>
                    <a:pt x="408" y="154"/>
                  </a:lnTo>
                  <a:lnTo>
                    <a:pt x="410" y="154"/>
                  </a:lnTo>
                  <a:lnTo>
                    <a:pt x="412" y="154"/>
                  </a:lnTo>
                  <a:lnTo>
                    <a:pt x="412" y="156"/>
                  </a:lnTo>
                  <a:lnTo>
                    <a:pt x="415" y="158"/>
                  </a:lnTo>
                  <a:lnTo>
                    <a:pt x="417" y="158"/>
                  </a:lnTo>
                  <a:lnTo>
                    <a:pt x="419" y="158"/>
                  </a:lnTo>
                  <a:lnTo>
                    <a:pt x="419" y="158"/>
                  </a:lnTo>
                  <a:lnTo>
                    <a:pt x="421" y="160"/>
                  </a:lnTo>
                  <a:lnTo>
                    <a:pt x="423" y="160"/>
                  </a:lnTo>
                  <a:lnTo>
                    <a:pt x="425" y="162"/>
                  </a:lnTo>
                  <a:lnTo>
                    <a:pt x="425" y="162"/>
                  </a:lnTo>
                  <a:lnTo>
                    <a:pt x="427" y="164"/>
                  </a:lnTo>
                  <a:lnTo>
                    <a:pt x="430" y="164"/>
                  </a:lnTo>
                  <a:lnTo>
                    <a:pt x="432" y="164"/>
                  </a:lnTo>
                  <a:lnTo>
                    <a:pt x="434" y="164"/>
                  </a:lnTo>
                  <a:lnTo>
                    <a:pt x="436" y="164"/>
                  </a:lnTo>
                  <a:lnTo>
                    <a:pt x="438" y="166"/>
                  </a:lnTo>
                  <a:lnTo>
                    <a:pt x="440" y="164"/>
                  </a:lnTo>
                  <a:lnTo>
                    <a:pt x="442" y="164"/>
                  </a:lnTo>
                  <a:lnTo>
                    <a:pt x="442" y="166"/>
                  </a:lnTo>
                  <a:lnTo>
                    <a:pt x="445" y="166"/>
                  </a:lnTo>
                  <a:lnTo>
                    <a:pt x="447" y="166"/>
                  </a:lnTo>
                  <a:lnTo>
                    <a:pt x="449" y="166"/>
                  </a:lnTo>
                  <a:lnTo>
                    <a:pt x="449" y="166"/>
                  </a:lnTo>
                  <a:lnTo>
                    <a:pt x="447" y="166"/>
                  </a:lnTo>
                  <a:lnTo>
                    <a:pt x="447" y="166"/>
                  </a:lnTo>
                  <a:lnTo>
                    <a:pt x="445" y="166"/>
                  </a:lnTo>
                  <a:lnTo>
                    <a:pt x="447" y="167"/>
                  </a:lnTo>
                  <a:lnTo>
                    <a:pt x="447" y="169"/>
                  </a:lnTo>
                  <a:lnTo>
                    <a:pt x="449" y="169"/>
                  </a:lnTo>
                  <a:lnTo>
                    <a:pt x="451" y="171"/>
                  </a:lnTo>
                  <a:lnTo>
                    <a:pt x="451" y="171"/>
                  </a:lnTo>
                  <a:lnTo>
                    <a:pt x="453" y="171"/>
                  </a:lnTo>
                  <a:lnTo>
                    <a:pt x="455" y="171"/>
                  </a:lnTo>
                  <a:lnTo>
                    <a:pt x="458" y="171"/>
                  </a:lnTo>
                  <a:lnTo>
                    <a:pt x="460" y="171"/>
                  </a:lnTo>
                  <a:lnTo>
                    <a:pt x="462" y="173"/>
                  </a:lnTo>
                  <a:lnTo>
                    <a:pt x="464" y="173"/>
                  </a:lnTo>
                  <a:lnTo>
                    <a:pt x="466" y="171"/>
                  </a:lnTo>
                  <a:lnTo>
                    <a:pt x="466" y="171"/>
                  </a:lnTo>
                  <a:lnTo>
                    <a:pt x="468" y="171"/>
                  </a:lnTo>
                  <a:lnTo>
                    <a:pt x="470" y="171"/>
                  </a:lnTo>
                  <a:lnTo>
                    <a:pt x="473" y="171"/>
                  </a:lnTo>
                  <a:lnTo>
                    <a:pt x="475" y="169"/>
                  </a:lnTo>
                  <a:lnTo>
                    <a:pt x="477" y="169"/>
                  </a:lnTo>
                  <a:lnTo>
                    <a:pt x="479" y="169"/>
                  </a:lnTo>
                  <a:lnTo>
                    <a:pt x="481" y="169"/>
                  </a:lnTo>
                  <a:lnTo>
                    <a:pt x="483" y="167"/>
                  </a:lnTo>
                  <a:lnTo>
                    <a:pt x="483" y="167"/>
                  </a:lnTo>
                  <a:lnTo>
                    <a:pt x="485" y="167"/>
                  </a:lnTo>
                  <a:lnTo>
                    <a:pt x="488" y="166"/>
                  </a:lnTo>
                  <a:lnTo>
                    <a:pt x="490" y="166"/>
                  </a:lnTo>
                  <a:lnTo>
                    <a:pt x="492" y="166"/>
                  </a:lnTo>
                  <a:lnTo>
                    <a:pt x="494" y="166"/>
                  </a:lnTo>
                  <a:lnTo>
                    <a:pt x="496" y="166"/>
                  </a:lnTo>
                  <a:lnTo>
                    <a:pt x="498" y="164"/>
                  </a:lnTo>
                  <a:lnTo>
                    <a:pt x="498" y="164"/>
                  </a:lnTo>
                  <a:lnTo>
                    <a:pt x="500" y="162"/>
                  </a:lnTo>
                  <a:lnTo>
                    <a:pt x="503" y="162"/>
                  </a:lnTo>
                  <a:lnTo>
                    <a:pt x="505" y="160"/>
                  </a:lnTo>
                  <a:lnTo>
                    <a:pt x="507" y="160"/>
                  </a:lnTo>
                  <a:lnTo>
                    <a:pt x="509" y="160"/>
                  </a:lnTo>
                  <a:lnTo>
                    <a:pt x="509" y="158"/>
                  </a:lnTo>
                  <a:lnTo>
                    <a:pt x="511" y="158"/>
                  </a:lnTo>
                  <a:lnTo>
                    <a:pt x="513" y="156"/>
                  </a:lnTo>
                  <a:lnTo>
                    <a:pt x="516" y="156"/>
                  </a:lnTo>
                  <a:lnTo>
                    <a:pt x="518" y="154"/>
                  </a:lnTo>
                  <a:lnTo>
                    <a:pt x="518" y="154"/>
                  </a:lnTo>
                  <a:lnTo>
                    <a:pt x="520" y="152"/>
                  </a:lnTo>
                  <a:lnTo>
                    <a:pt x="522" y="152"/>
                  </a:lnTo>
                  <a:lnTo>
                    <a:pt x="524" y="150"/>
                  </a:lnTo>
                  <a:lnTo>
                    <a:pt x="524" y="150"/>
                  </a:lnTo>
                  <a:lnTo>
                    <a:pt x="526" y="148"/>
                  </a:lnTo>
                  <a:lnTo>
                    <a:pt x="528" y="148"/>
                  </a:lnTo>
                  <a:lnTo>
                    <a:pt x="531" y="146"/>
                  </a:lnTo>
                  <a:lnTo>
                    <a:pt x="531" y="144"/>
                  </a:lnTo>
                  <a:lnTo>
                    <a:pt x="533" y="144"/>
                  </a:lnTo>
                  <a:lnTo>
                    <a:pt x="535" y="146"/>
                  </a:lnTo>
                  <a:lnTo>
                    <a:pt x="535" y="144"/>
                  </a:lnTo>
                  <a:lnTo>
                    <a:pt x="537" y="144"/>
                  </a:lnTo>
                  <a:lnTo>
                    <a:pt x="539" y="144"/>
                  </a:lnTo>
                  <a:lnTo>
                    <a:pt x="539" y="144"/>
                  </a:lnTo>
                  <a:lnTo>
                    <a:pt x="541" y="144"/>
                  </a:lnTo>
                  <a:lnTo>
                    <a:pt x="543" y="144"/>
                  </a:lnTo>
                  <a:lnTo>
                    <a:pt x="543" y="144"/>
                  </a:lnTo>
                  <a:lnTo>
                    <a:pt x="546" y="144"/>
                  </a:lnTo>
                  <a:lnTo>
                    <a:pt x="548" y="144"/>
                  </a:lnTo>
                  <a:lnTo>
                    <a:pt x="548" y="142"/>
                  </a:lnTo>
                  <a:lnTo>
                    <a:pt x="550" y="142"/>
                  </a:lnTo>
                  <a:lnTo>
                    <a:pt x="552" y="144"/>
                  </a:lnTo>
                  <a:lnTo>
                    <a:pt x="552" y="142"/>
                  </a:lnTo>
                  <a:lnTo>
                    <a:pt x="554" y="142"/>
                  </a:lnTo>
                  <a:lnTo>
                    <a:pt x="556" y="140"/>
                  </a:lnTo>
                  <a:lnTo>
                    <a:pt x="556" y="140"/>
                  </a:lnTo>
                  <a:lnTo>
                    <a:pt x="558" y="140"/>
                  </a:lnTo>
                  <a:lnTo>
                    <a:pt x="561" y="140"/>
                  </a:lnTo>
                  <a:lnTo>
                    <a:pt x="561" y="140"/>
                  </a:lnTo>
                  <a:lnTo>
                    <a:pt x="561" y="142"/>
                  </a:lnTo>
                  <a:lnTo>
                    <a:pt x="563" y="142"/>
                  </a:lnTo>
                  <a:lnTo>
                    <a:pt x="563" y="142"/>
                  </a:lnTo>
                  <a:lnTo>
                    <a:pt x="563" y="144"/>
                  </a:lnTo>
                  <a:lnTo>
                    <a:pt x="565" y="144"/>
                  </a:lnTo>
                  <a:lnTo>
                    <a:pt x="567" y="144"/>
                  </a:lnTo>
                  <a:lnTo>
                    <a:pt x="569" y="146"/>
                  </a:lnTo>
                  <a:lnTo>
                    <a:pt x="569" y="146"/>
                  </a:lnTo>
                  <a:lnTo>
                    <a:pt x="571" y="148"/>
                  </a:lnTo>
                  <a:lnTo>
                    <a:pt x="574" y="148"/>
                  </a:lnTo>
                  <a:lnTo>
                    <a:pt x="576" y="148"/>
                  </a:lnTo>
                  <a:lnTo>
                    <a:pt x="578" y="148"/>
                  </a:lnTo>
                  <a:lnTo>
                    <a:pt x="580" y="146"/>
                  </a:lnTo>
                  <a:lnTo>
                    <a:pt x="582" y="146"/>
                  </a:lnTo>
                  <a:lnTo>
                    <a:pt x="584" y="148"/>
                  </a:lnTo>
                  <a:lnTo>
                    <a:pt x="586" y="148"/>
                  </a:lnTo>
                  <a:lnTo>
                    <a:pt x="589" y="148"/>
                  </a:lnTo>
                  <a:lnTo>
                    <a:pt x="589" y="148"/>
                  </a:lnTo>
                  <a:lnTo>
                    <a:pt x="591" y="148"/>
                  </a:lnTo>
                  <a:lnTo>
                    <a:pt x="593" y="148"/>
                  </a:lnTo>
                  <a:lnTo>
                    <a:pt x="595" y="146"/>
                  </a:lnTo>
                  <a:lnTo>
                    <a:pt x="597" y="146"/>
                  </a:lnTo>
                  <a:lnTo>
                    <a:pt x="599" y="144"/>
                  </a:lnTo>
                  <a:lnTo>
                    <a:pt x="599" y="144"/>
                  </a:lnTo>
                  <a:lnTo>
                    <a:pt x="599" y="142"/>
                  </a:lnTo>
                  <a:lnTo>
                    <a:pt x="601" y="142"/>
                  </a:lnTo>
                  <a:lnTo>
                    <a:pt x="604" y="144"/>
                  </a:lnTo>
                  <a:lnTo>
                    <a:pt x="604" y="144"/>
                  </a:lnTo>
                  <a:lnTo>
                    <a:pt x="606" y="144"/>
                  </a:lnTo>
                  <a:lnTo>
                    <a:pt x="608" y="146"/>
                  </a:lnTo>
                  <a:lnTo>
                    <a:pt x="610" y="146"/>
                  </a:lnTo>
                  <a:lnTo>
                    <a:pt x="612" y="144"/>
                  </a:lnTo>
                  <a:lnTo>
                    <a:pt x="614" y="144"/>
                  </a:lnTo>
                  <a:lnTo>
                    <a:pt x="614" y="146"/>
                  </a:lnTo>
                  <a:lnTo>
                    <a:pt x="616" y="146"/>
                  </a:lnTo>
                  <a:lnTo>
                    <a:pt x="619" y="146"/>
                  </a:lnTo>
                  <a:lnTo>
                    <a:pt x="621" y="146"/>
                  </a:lnTo>
                  <a:lnTo>
                    <a:pt x="623" y="146"/>
                  </a:lnTo>
                  <a:lnTo>
                    <a:pt x="625" y="148"/>
                  </a:lnTo>
                  <a:lnTo>
                    <a:pt x="627" y="148"/>
                  </a:lnTo>
                  <a:lnTo>
                    <a:pt x="629" y="148"/>
                  </a:lnTo>
                  <a:lnTo>
                    <a:pt x="631" y="148"/>
                  </a:lnTo>
                  <a:lnTo>
                    <a:pt x="631" y="148"/>
                  </a:lnTo>
                  <a:lnTo>
                    <a:pt x="634" y="148"/>
                  </a:lnTo>
                  <a:lnTo>
                    <a:pt x="636" y="148"/>
                  </a:lnTo>
                  <a:lnTo>
                    <a:pt x="638" y="148"/>
                  </a:lnTo>
                  <a:lnTo>
                    <a:pt x="640" y="148"/>
                  </a:lnTo>
                  <a:lnTo>
                    <a:pt x="642" y="148"/>
                  </a:lnTo>
                  <a:lnTo>
                    <a:pt x="644" y="146"/>
                  </a:lnTo>
                  <a:lnTo>
                    <a:pt x="644" y="146"/>
                  </a:lnTo>
                  <a:lnTo>
                    <a:pt x="647" y="148"/>
                  </a:lnTo>
                  <a:lnTo>
                    <a:pt x="649" y="148"/>
                  </a:lnTo>
                  <a:lnTo>
                    <a:pt x="651" y="148"/>
                  </a:lnTo>
                  <a:lnTo>
                    <a:pt x="653" y="148"/>
                  </a:lnTo>
                  <a:lnTo>
                    <a:pt x="655" y="148"/>
                  </a:lnTo>
                  <a:lnTo>
                    <a:pt x="657" y="148"/>
                  </a:lnTo>
                  <a:lnTo>
                    <a:pt x="659" y="148"/>
                  </a:lnTo>
                  <a:lnTo>
                    <a:pt x="659" y="148"/>
                  </a:lnTo>
                  <a:lnTo>
                    <a:pt x="662" y="146"/>
                  </a:lnTo>
                  <a:lnTo>
                    <a:pt x="664" y="146"/>
                  </a:lnTo>
                  <a:lnTo>
                    <a:pt x="666" y="144"/>
                  </a:lnTo>
                  <a:lnTo>
                    <a:pt x="668" y="144"/>
                  </a:lnTo>
                  <a:lnTo>
                    <a:pt x="668" y="142"/>
                  </a:lnTo>
                  <a:lnTo>
                    <a:pt x="670" y="142"/>
                  </a:lnTo>
                  <a:lnTo>
                    <a:pt x="672" y="142"/>
                  </a:lnTo>
                  <a:lnTo>
                    <a:pt x="674" y="144"/>
                  </a:lnTo>
                  <a:lnTo>
                    <a:pt x="677" y="144"/>
                  </a:lnTo>
                  <a:lnTo>
                    <a:pt x="679" y="144"/>
                  </a:lnTo>
                  <a:lnTo>
                    <a:pt x="681" y="144"/>
                  </a:lnTo>
                  <a:lnTo>
                    <a:pt x="683" y="142"/>
                  </a:lnTo>
                  <a:lnTo>
                    <a:pt x="683" y="142"/>
                  </a:lnTo>
                  <a:lnTo>
                    <a:pt x="685" y="140"/>
                  </a:lnTo>
                  <a:lnTo>
                    <a:pt x="687" y="140"/>
                  </a:lnTo>
                  <a:lnTo>
                    <a:pt x="689" y="140"/>
                  </a:lnTo>
                  <a:lnTo>
                    <a:pt x="692" y="138"/>
                  </a:lnTo>
                  <a:lnTo>
                    <a:pt x="692" y="136"/>
                  </a:lnTo>
                  <a:lnTo>
                    <a:pt x="694" y="136"/>
                  </a:lnTo>
                  <a:lnTo>
                    <a:pt x="696" y="134"/>
                  </a:lnTo>
                  <a:lnTo>
                    <a:pt x="696" y="132"/>
                  </a:lnTo>
                  <a:lnTo>
                    <a:pt x="698" y="132"/>
                  </a:lnTo>
                  <a:lnTo>
                    <a:pt x="700" y="132"/>
                  </a:lnTo>
                  <a:lnTo>
                    <a:pt x="702" y="132"/>
                  </a:lnTo>
                  <a:lnTo>
                    <a:pt x="705" y="132"/>
                  </a:lnTo>
                  <a:lnTo>
                    <a:pt x="705" y="134"/>
                  </a:lnTo>
                  <a:lnTo>
                    <a:pt x="707" y="134"/>
                  </a:lnTo>
                  <a:lnTo>
                    <a:pt x="709" y="134"/>
                  </a:lnTo>
                  <a:lnTo>
                    <a:pt x="711" y="134"/>
                  </a:lnTo>
                  <a:lnTo>
                    <a:pt x="713" y="134"/>
                  </a:lnTo>
                  <a:lnTo>
                    <a:pt x="715" y="134"/>
                  </a:lnTo>
                  <a:lnTo>
                    <a:pt x="717" y="134"/>
                  </a:lnTo>
                  <a:lnTo>
                    <a:pt x="720" y="132"/>
                  </a:lnTo>
                  <a:lnTo>
                    <a:pt x="720" y="132"/>
                  </a:lnTo>
                  <a:lnTo>
                    <a:pt x="722" y="132"/>
                  </a:lnTo>
                  <a:lnTo>
                    <a:pt x="724" y="132"/>
                  </a:lnTo>
                  <a:lnTo>
                    <a:pt x="726" y="130"/>
                  </a:lnTo>
                  <a:lnTo>
                    <a:pt x="728" y="130"/>
                  </a:lnTo>
                  <a:lnTo>
                    <a:pt x="730" y="130"/>
                  </a:lnTo>
                  <a:lnTo>
                    <a:pt x="732" y="130"/>
                  </a:lnTo>
                  <a:lnTo>
                    <a:pt x="735" y="130"/>
                  </a:lnTo>
                  <a:lnTo>
                    <a:pt x="735" y="128"/>
                  </a:lnTo>
                  <a:lnTo>
                    <a:pt x="737" y="126"/>
                  </a:lnTo>
                  <a:lnTo>
                    <a:pt x="739" y="126"/>
                  </a:lnTo>
                  <a:lnTo>
                    <a:pt x="741" y="124"/>
                  </a:lnTo>
                  <a:lnTo>
                    <a:pt x="741" y="124"/>
                  </a:lnTo>
                  <a:lnTo>
                    <a:pt x="743" y="122"/>
                  </a:lnTo>
                  <a:lnTo>
                    <a:pt x="745" y="122"/>
                  </a:lnTo>
                  <a:lnTo>
                    <a:pt x="747" y="122"/>
                  </a:lnTo>
                  <a:lnTo>
                    <a:pt x="750" y="122"/>
                  </a:lnTo>
                  <a:lnTo>
                    <a:pt x="752" y="122"/>
                  </a:lnTo>
                  <a:lnTo>
                    <a:pt x="752" y="122"/>
                  </a:lnTo>
                  <a:lnTo>
                    <a:pt x="754" y="120"/>
                  </a:lnTo>
                  <a:lnTo>
                    <a:pt x="756" y="120"/>
                  </a:lnTo>
                  <a:lnTo>
                    <a:pt x="758" y="120"/>
                  </a:lnTo>
                  <a:lnTo>
                    <a:pt x="760" y="118"/>
                  </a:lnTo>
                  <a:lnTo>
                    <a:pt x="760" y="116"/>
                  </a:lnTo>
                  <a:lnTo>
                    <a:pt x="762" y="116"/>
                  </a:lnTo>
                  <a:lnTo>
                    <a:pt x="765" y="116"/>
                  </a:lnTo>
                  <a:lnTo>
                    <a:pt x="767" y="116"/>
                  </a:lnTo>
                  <a:lnTo>
                    <a:pt x="769" y="116"/>
                  </a:lnTo>
                  <a:lnTo>
                    <a:pt x="771" y="114"/>
                  </a:lnTo>
                  <a:lnTo>
                    <a:pt x="773" y="114"/>
                  </a:lnTo>
                  <a:lnTo>
                    <a:pt x="773" y="112"/>
                  </a:lnTo>
                  <a:lnTo>
                    <a:pt x="775" y="112"/>
                  </a:lnTo>
                  <a:lnTo>
                    <a:pt x="778" y="110"/>
                  </a:lnTo>
                  <a:lnTo>
                    <a:pt x="778" y="108"/>
                  </a:lnTo>
                  <a:lnTo>
                    <a:pt x="780" y="108"/>
                  </a:lnTo>
                  <a:lnTo>
                    <a:pt x="782" y="106"/>
                  </a:lnTo>
                  <a:lnTo>
                    <a:pt x="782" y="106"/>
                  </a:lnTo>
                  <a:lnTo>
                    <a:pt x="784" y="104"/>
                  </a:lnTo>
                  <a:lnTo>
                    <a:pt x="786" y="102"/>
                  </a:lnTo>
                  <a:lnTo>
                    <a:pt x="786" y="102"/>
                  </a:lnTo>
                  <a:lnTo>
                    <a:pt x="788" y="100"/>
                  </a:lnTo>
                  <a:lnTo>
                    <a:pt x="788" y="98"/>
                  </a:lnTo>
                  <a:lnTo>
                    <a:pt x="790" y="96"/>
                  </a:lnTo>
                  <a:lnTo>
                    <a:pt x="790" y="94"/>
                  </a:lnTo>
                  <a:lnTo>
                    <a:pt x="793" y="94"/>
                  </a:lnTo>
                  <a:lnTo>
                    <a:pt x="793" y="92"/>
                  </a:lnTo>
                  <a:lnTo>
                    <a:pt x="795" y="90"/>
                  </a:lnTo>
                  <a:lnTo>
                    <a:pt x="797" y="90"/>
                  </a:lnTo>
                  <a:lnTo>
                    <a:pt x="797" y="88"/>
                  </a:lnTo>
                  <a:lnTo>
                    <a:pt x="799" y="86"/>
                  </a:lnTo>
                  <a:lnTo>
                    <a:pt x="799" y="84"/>
                  </a:lnTo>
                  <a:lnTo>
                    <a:pt x="801" y="84"/>
                  </a:lnTo>
                  <a:lnTo>
                    <a:pt x="801" y="82"/>
                  </a:lnTo>
                  <a:lnTo>
                    <a:pt x="803" y="80"/>
                  </a:lnTo>
                  <a:lnTo>
                    <a:pt x="803" y="78"/>
                  </a:lnTo>
                  <a:lnTo>
                    <a:pt x="805" y="76"/>
                  </a:lnTo>
                  <a:lnTo>
                    <a:pt x="805" y="76"/>
                  </a:lnTo>
                  <a:lnTo>
                    <a:pt x="808" y="74"/>
                  </a:lnTo>
                  <a:lnTo>
                    <a:pt x="810" y="74"/>
                  </a:lnTo>
                  <a:lnTo>
                    <a:pt x="810" y="76"/>
                  </a:lnTo>
                  <a:lnTo>
                    <a:pt x="812" y="76"/>
                  </a:lnTo>
                  <a:lnTo>
                    <a:pt x="814" y="78"/>
                  </a:lnTo>
                  <a:lnTo>
                    <a:pt x="814" y="78"/>
                  </a:lnTo>
                  <a:lnTo>
                    <a:pt x="816" y="78"/>
                  </a:lnTo>
                  <a:lnTo>
                    <a:pt x="818" y="78"/>
                  </a:lnTo>
                  <a:lnTo>
                    <a:pt x="820" y="78"/>
                  </a:lnTo>
                  <a:lnTo>
                    <a:pt x="820" y="78"/>
                  </a:lnTo>
                  <a:lnTo>
                    <a:pt x="823" y="78"/>
                  </a:lnTo>
                  <a:lnTo>
                    <a:pt x="825" y="78"/>
                  </a:lnTo>
                  <a:lnTo>
                    <a:pt x="827" y="76"/>
                  </a:lnTo>
                  <a:lnTo>
                    <a:pt x="829" y="76"/>
                  </a:lnTo>
                  <a:lnTo>
                    <a:pt x="831" y="76"/>
                  </a:lnTo>
                  <a:lnTo>
                    <a:pt x="833" y="76"/>
                  </a:lnTo>
                  <a:lnTo>
                    <a:pt x="833" y="74"/>
                  </a:lnTo>
                  <a:lnTo>
                    <a:pt x="836" y="74"/>
                  </a:lnTo>
                  <a:lnTo>
                    <a:pt x="838" y="74"/>
                  </a:lnTo>
                  <a:lnTo>
                    <a:pt x="840" y="72"/>
                  </a:lnTo>
                  <a:lnTo>
                    <a:pt x="842" y="72"/>
                  </a:lnTo>
                  <a:lnTo>
                    <a:pt x="844" y="72"/>
                  </a:lnTo>
                  <a:lnTo>
                    <a:pt x="846" y="70"/>
                  </a:lnTo>
                  <a:lnTo>
                    <a:pt x="846" y="70"/>
                  </a:lnTo>
                  <a:lnTo>
                    <a:pt x="848" y="70"/>
                  </a:lnTo>
                  <a:lnTo>
                    <a:pt x="851" y="70"/>
                  </a:lnTo>
                  <a:lnTo>
                    <a:pt x="853" y="70"/>
                  </a:lnTo>
                  <a:lnTo>
                    <a:pt x="855" y="70"/>
                  </a:lnTo>
                  <a:lnTo>
                    <a:pt x="857" y="68"/>
                  </a:lnTo>
                  <a:lnTo>
                    <a:pt x="859" y="68"/>
                  </a:lnTo>
                  <a:lnTo>
                    <a:pt x="859" y="66"/>
                  </a:lnTo>
                  <a:lnTo>
                    <a:pt x="861" y="64"/>
                  </a:lnTo>
                  <a:lnTo>
                    <a:pt x="861" y="64"/>
                  </a:lnTo>
                  <a:lnTo>
                    <a:pt x="863" y="62"/>
                  </a:lnTo>
                  <a:lnTo>
                    <a:pt x="866" y="60"/>
                  </a:lnTo>
                  <a:lnTo>
                    <a:pt x="866" y="60"/>
                  </a:lnTo>
                  <a:lnTo>
                    <a:pt x="868" y="60"/>
                  </a:lnTo>
                  <a:lnTo>
                    <a:pt x="870" y="60"/>
                  </a:lnTo>
                  <a:lnTo>
                    <a:pt x="870" y="62"/>
                  </a:lnTo>
                  <a:lnTo>
                    <a:pt x="872" y="64"/>
                  </a:lnTo>
                  <a:lnTo>
                    <a:pt x="874" y="64"/>
                  </a:lnTo>
                  <a:lnTo>
                    <a:pt x="876" y="64"/>
                  </a:lnTo>
                  <a:lnTo>
                    <a:pt x="876" y="66"/>
                  </a:lnTo>
                  <a:lnTo>
                    <a:pt x="878" y="68"/>
                  </a:lnTo>
                  <a:lnTo>
                    <a:pt x="878" y="68"/>
                  </a:lnTo>
                  <a:lnTo>
                    <a:pt x="881" y="70"/>
                  </a:lnTo>
                  <a:lnTo>
                    <a:pt x="883" y="70"/>
                  </a:lnTo>
                  <a:lnTo>
                    <a:pt x="883" y="72"/>
                  </a:lnTo>
                  <a:lnTo>
                    <a:pt x="885" y="74"/>
                  </a:lnTo>
                  <a:lnTo>
                    <a:pt x="885" y="74"/>
                  </a:lnTo>
                  <a:lnTo>
                    <a:pt x="887" y="76"/>
                  </a:lnTo>
                  <a:lnTo>
                    <a:pt x="889" y="76"/>
                  </a:lnTo>
                  <a:lnTo>
                    <a:pt x="891" y="74"/>
                  </a:lnTo>
                  <a:lnTo>
                    <a:pt x="893" y="74"/>
                  </a:lnTo>
                  <a:lnTo>
                    <a:pt x="896" y="74"/>
                  </a:lnTo>
                  <a:lnTo>
                    <a:pt x="898" y="76"/>
                  </a:lnTo>
                  <a:lnTo>
                    <a:pt x="900" y="76"/>
                  </a:lnTo>
                  <a:lnTo>
                    <a:pt x="902" y="76"/>
                  </a:lnTo>
                  <a:lnTo>
                    <a:pt x="904" y="74"/>
                  </a:lnTo>
                  <a:lnTo>
                    <a:pt x="904" y="74"/>
                  </a:lnTo>
                  <a:lnTo>
                    <a:pt x="906" y="74"/>
                  </a:lnTo>
                  <a:lnTo>
                    <a:pt x="909" y="74"/>
                  </a:lnTo>
                  <a:lnTo>
                    <a:pt x="911" y="74"/>
                  </a:lnTo>
                  <a:lnTo>
                    <a:pt x="913" y="74"/>
                  </a:lnTo>
                  <a:lnTo>
                    <a:pt x="915" y="74"/>
                  </a:lnTo>
                  <a:lnTo>
                    <a:pt x="915" y="74"/>
                  </a:lnTo>
                  <a:lnTo>
                    <a:pt x="917" y="76"/>
                  </a:lnTo>
                  <a:lnTo>
                    <a:pt x="915" y="76"/>
                  </a:lnTo>
                  <a:lnTo>
                    <a:pt x="917" y="78"/>
                  </a:lnTo>
                  <a:lnTo>
                    <a:pt x="917" y="78"/>
                  </a:lnTo>
                  <a:lnTo>
                    <a:pt x="917" y="78"/>
                  </a:lnTo>
                  <a:lnTo>
                    <a:pt x="915" y="76"/>
                  </a:lnTo>
                  <a:lnTo>
                    <a:pt x="915" y="76"/>
                  </a:lnTo>
                  <a:lnTo>
                    <a:pt x="915" y="76"/>
                  </a:lnTo>
                  <a:lnTo>
                    <a:pt x="915" y="76"/>
                  </a:lnTo>
                  <a:lnTo>
                    <a:pt x="913" y="76"/>
                  </a:lnTo>
                  <a:lnTo>
                    <a:pt x="915" y="76"/>
                  </a:lnTo>
                  <a:lnTo>
                    <a:pt x="915" y="78"/>
                  </a:lnTo>
                  <a:lnTo>
                    <a:pt x="917" y="78"/>
                  </a:lnTo>
                  <a:lnTo>
                    <a:pt x="917" y="80"/>
                  </a:lnTo>
                  <a:lnTo>
                    <a:pt x="917" y="82"/>
                  </a:lnTo>
                  <a:lnTo>
                    <a:pt x="919" y="82"/>
                  </a:lnTo>
                  <a:lnTo>
                    <a:pt x="921" y="82"/>
                  </a:lnTo>
                  <a:lnTo>
                    <a:pt x="924" y="84"/>
                  </a:lnTo>
                  <a:lnTo>
                    <a:pt x="926" y="86"/>
                  </a:lnTo>
                  <a:lnTo>
                    <a:pt x="926" y="86"/>
                  </a:lnTo>
                  <a:lnTo>
                    <a:pt x="928" y="86"/>
                  </a:lnTo>
                  <a:lnTo>
                    <a:pt x="930" y="86"/>
                  </a:lnTo>
                  <a:lnTo>
                    <a:pt x="932" y="84"/>
                  </a:lnTo>
                  <a:lnTo>
                    <a:pt x="934" y="84"/>
                  </a:lnTo>
                  <a:lnTo>
                    <a:pt x="936" y="82"/>
                  </a:lnTo>
                  <a:lnTo>
                    <a:pt x="939" y="82"/>
                  </a:lnTo>
                  <a:lnTo>
                    <a:pt x="939" y="80"/>
                  </a:lnTo>
                  <a:lnTo>
                    <a:pt x="941" y="80"/>
                  </a:lnTo>
                  <a:lnTo>
                    <a:pt x="943" y="78"/>
                  </a:lnTo>
                  <a:lnTo>
                    <a:pt x="943" y="76"/>
                  </a:lnTo>
                  <a:lnTo>
                    <a:pt x="945" y="76"/>
                  </a:lnTo>
                  <a:lnTo>
                    <a:pt x="947" y="76"/>
                  </a:lnTo>
                  <a:lnTo>
                    <a:pt x="949" y="76"/>
                  </a:lnTo>
                  <a:lnTo>
                    <a:pt x="951" y="74"/>
                  </a:lnTo>
                  <a:lnTo>
                    <a:pt x="954" y="72"/>
                  </a:lnTo>
                  <a:lnTo>
                    <a:pt x="954" y="72"/>
                  </a:lnTo>
                  <a:lnTo>
                    <a:pt x="956" y="70"/>
                  </a:lnTo>
                  <a:lnTo>
                    <a:pt x="958" y="70"/>
                  </a:lnTo>
                  <a:lnTo>
                    <a:pt x="960" y="68"/>
                  </a:lnTo>
                  <a:lnTo>
                    <a:pt x="960" y="68"/>
                  </a:lnTo>
                  <a:lnTo>
                    <a:pt x="962" y="66"/>
                  </a:lnTo>
                  <a:lnTo>
                    <a:pt x="962" y="64"/>
                  </a:lnTo>
                  <a:lnTo>
                    <a:pt x="964" y="62"/>
                  </a:lnTo>
                  <a:lnTo>
                    <a:pt x="964" y="62"/>
                  </a:lnTo>
                  <a:lnTo>
                    <a:pt x="967" y="60"/>
                  </a:lnTo>
                  <a:lnTo>
                    <a:pt x="969" y="58"/>
                  </a:lnTo>
                  <a:lnTo>
                    <a:pt x="969" y="58"/>
                  </a:lnTo>
                  <a:lnTo>
                    <a:pt x="971" y="56"/>
                  </a:lnTo>
                  <a:lnTo>
                    <a:pt x="971" y="54"/>
                  </a:lnTo>
                  <a:lnTo>
                    <a:pt x="973" y="52"/>
                  </a:lnTo>
                  <a:lnTo>
                    <a:pt x="973" y="50"/>
                  </a:lnTo>
                  <a:lnTo>
                    <a:pt x="973" y="48"/>
                  </a:lnTo>
                  <a:lnTo>
                    <a:pt x="975" y="48"/>
                  </a:lnTo>
                  <a:lnTo>
                    <a:pt x="975" y="46"/>
                  </a:lnTo>
                  <a:lnTo>
                    <a:pt x="975" y="44"/>
                  </a:lnTo>
                  <a:lnTo>
                    <a:pt x="975" y="42"/>
                  </a:lnTo>
                  <a:lnTo>
                    <a:pt x="977" y="40"/>
                  </a:lnTo>
                  <a:lnTo>
                    <a:pt x="977" y="38"/>
                  </a:lnTo>
                  <a:lnTo>
                    <a:pt x="977" y="36"/>
                  </a:lnTo>
                  <a:lnTo>
                    <a:pt x="977" y="34"/>
                  </a:lnTo>
                  <a:lnTo>
                    <a:pt x="979" y="32"/>
                  </a:lnTo>
                  <a:lnTo>
                    <a:pt x="979" y="30"/>
                  </a:lnTo>
                  <a:lnTo>
                    <a:pt x="977" y="30"/>
                  </a:lnTo>
                  <a:lnTo>
                    <a:pt x="977" y="28"/>
                  </a:lnTo>
                  <a:lnTo>
                    <a:pt x="975" y="28"/>
                  </a:lnTo>
                  <a:lnTo>
                    <a:pt x="977" y="26"/>
                  </a:lnTo>
                  <a:lnTo>
                    <a:pt x="977" y="24"/>
                  </a:lnTo>
                  <a:lnTo>
                    <a:pt x="975" y="22"/>
                  </a:lnTo>
                  <a:lnTo>
                    <a:pt x="975" y="22"/>
                  </a:lnTo>
                  <a:lnTo>
                    <a:pt x="973" y="22"/>
                  </a:lnTo>
                  <a:lnTo>
                    <a:pt x="973" y="20"/>
                  </a:lnTo>
                  <a:lnTo>
                    <a:pt x="975" y="20"/>
                  </a:lnTo>
                  <a:lnTo>
                    <a:pt x="977" y="20"/>
                  </a:lnTo>
                  <a:lnTo>
                    <a:pt x="977" y="20"/>
                  </a:lnTo>
                  <a:lnTo>
                    <a:pt x="977" y="22"/>
                  </a:lnTo>
                  <a:lnTo>
                    <a:pt x="979" y="24"/>
                  </a:lnTo>
                  <a:lnTo>
                    <a:pt x="979" y="24"/>
                  </a:lnTo>
                  <a:lnTo>
                    <a:pt x="982" y="26"/>
                  </a:lnTo>
                  <a:lnTo>
                    <a:pt x="982" y="28"/>
                  </a:lnTo>
                  <a:lnTo>
                    <a:pt x="984" y="30"/>
                  </a:lnTo>
                  <a:lnTo>
                    <a:pt x="984" y="32"/>
                  </a:lnTo>
                  <a:lnTo>
                    <a:pt x="982" y="32"/>
                  </a:lnTo>
                  <a:lnTo>
                    <a:pt x="982" y="34"/>
                  </a:lnTo>
                  <a:lnTo>
                    <a:pt x="982" y="36"/>
                  </a:lnTo>
                  <a:lnTo>
                    <a:pt x="979" y="38"/>
                  </a:lnTo>
                  <a:lnTo>
                    <a:pt x="979" y="40"/>
                  </a:lnTo>
                  <a:lnTo>
                    <a:pt x="982" y="42"/>
                  </a:lnTo>
                  <a:lnTo>
                    <a:pt x="979" y="42"/>
                  </a:lnTo>
                  <a:lnTo>
                    <a:pt x="979" y="42"/>
                  </a:lnTo>
                  <a:lnTo>
                    <a:pt x="982" y="44"/>
                  </a:lnTo>
                  <a:lnTo>
                    <a:pt x="982" y="44"/>
                  </a:lnTo>
                  <a:lnTo>
                    <a:pt x="984" y="44"/>
                  </a:lnTo>
                  <a:lnTo>
                    <a:pt x="986" y="46"/>
                  </a:lnTo>
                  <a:lnTo>
                    <a:pt x="988" y="46"/>
                  </a:lnTo>
                  <a:lnTo>
                    <a:pt x="990" y="46"/>
                  </a:lnTo>
                  <a:lnTo>
                    <a:pt x="992" y="46"/>
                  </a:lnTo>
                  <a:lnTo>
                    <a:pt x="994" y="46"/>
                  </a:lnTo>
                  <a:lnTo>
                    <a:pt x="997" y="46"/>
                  </a:lnTo>
                  <a:lnTo>
                    <a:pt x="999" y="46"/>
                  </a:lnTo>
                  <a:lnTo>
                    <a:pt x="999" y="46"/>
                  </a:lnTo>
                  <a:lnTo>
                    <a:pt x="1001" y="44"/>
                  </a:lnTo>
                  <a:lnTo>
                    <a:pt x="1003" y="44"/>
                  </a:lnTo>
                  <a:lnTo>
                    <a:pt x="1005" y="44"/>
                  </a:lnTo>
                  <a:lnTo>
                    <a:pt x="1007" y="42"/>
                  </a:lnTo>
                  <a:lnTo>
                    <a:pt x="1009" y="42"/>
                  </a:lnTo>
                  <a:lnTo>
                    <a:pt x="1012" y="42"/>
                  </a:lnTo>
                  <a:lnTo>
                    <a:pt x="1014" y="40"/>
                  </a:lnTo>
                  <a:lnTo>
                    <a:pt x="1014" y="40"/>
                  </a:lnTo>
                  <a:lnTo>
                    <a:pt x="1016" y="40"/>
                  </a:lnTo>
                  <a:lnTo>
                    <a:pt x="1018" y="40"/>
                  </a:lnTo>
                  <a:lnTo>
                    <a:pt x="1020" y="38"/>
                  </a:lnTo>
                  <a:lnTo>
                    <a:pt x="1022" y="38"/>
                  </a:lnTo>
                  <a:lnTo>
                    <a:pt x="1024" y="38"/>
                  </a:lnTo>
                  <a:lnTo>
                    <a:pt x="1027" y="36"/>
                  </a:lnTo>
                  <a:lnTo>
                    <a:pt x="1029" y="36"/>
                  </a:lnTo>
                  <a:lnTo>
                    <a:pt x="1029" y="34"/>
                  </a:lnTo>
                  <a:lnTo>
                    <a:pt x="1031" y="34"/>
                  </a:lnTo>
                  <a:lnTo>
                    <a:pt x="1033" y="34"/>
                  </a:lnTo>
                  <a:lnTo>
                    <a:pt x="1035" y="32"/>
                  </a:lnTo>
                  <a:lnTo>
                    <a:pt x="1037" y="32"/>
                  </a:lnTo>
                  <a:lnTo>
                    <a:pt x="1037" y="30"/>
                  </a:lnTo>
                  <a:lnTo>
                    <a:pt x="1040" y="30"/>
                  </a:lnTo>
                  <a:lnTo>
                    <a:pt x="1042" y="28"/>
                  </a:lnTo>
                  <a:lnTo>
                    <a:pt x="1044" y="28"/>
                  </a:lnTo>
                  <a:lnTo>
                    <a:pt x="1046" y="28"/>
                  </a:lnTo>
                  <a:lnTo>
                    <a:pt x="1046" y="26"/>
                  </a:lnTo>
                  <a:lnTo>
                    <a:pt x="1048" y="24"/>
                  </a:lnTo>
                  <a:lnTo>
                    <a:pt x="1050" y="24"/>
                  </a:lnTo>
                  <a:lnTo>
                    <a:pt x="1052" y="22"/>
                  </a:lnTo>
                  <a:lnTo>
                    <a:pt x="1052" y="22"/>
                  </a:lnTo>
                  <a:lnTo>
                    <a:pt x="1055" y="20"/>
                  </a:lnTo>
                  <a:lnTo>
                    <a:pt x="1057" y="18"/>
                  </a:lnTo>
                  <a:lnTo>
                    <a:pt x="1057" y="18"/>
                  </a:lnTo>
                  <a:lnTo>
                    <a:pt x="1059" y="16"/>
                  </a:lnTo>
                  <a:lnTo>
                    <a:pt x="1061" y="16"/>
                  </a:lnTo>
                  <a:lnTo>
                    <a:pt x="1061" y="14"/>
                  </a:lnTo>
                  <a:lnTo>
                    <a:pt x="1063" y="12"/>
                  </a:lnTo>
                  <a:lnTo>
                    <a:pt x="1065" y="12"/>
                  </a:lnTo>
                  <a:lnTo>
                    <a:pt x="1065" y="10"/>
                  </a:lnTo>
                  <a:lnTo>
                    <a:pt x="1067" y="8"/>
                  </a:lnTo>
                  <a:lnTo>
                    <a:pt x="1070" y="8"/>
                  </a:lnTo>
                  <a:lnTo>
                    <a:pt x="1070" y="6"/>
                  </a:lnTo>
                  <a:lnTo>
                    <a:pt x="1072" y="4"/>
                  </a:lnTo>
                  <a:lnTo>
                    <a:pt x="1074" y="4"/>
                  </a:lnTo>
                  <a:lnTo>
                    <a:pt x="1076" y="2"/>
                  </a:lnTo>
                  <a:lnTo>
                    <a:pt x="1076" y="2"/>
                  </a:lnTo>
                  <a:lnTo>
                    <a:pt x="1078" y="2"/>
                  </a:lnTo>
                  <a:lnTo>
                    <a:pt x="1080" y="0"/>
                  </a:lnTo>
                  <a:lnTo>
                    <a:pt x="1082" y="0"/>
                  </a:lnTo>
                  <a:lnTo>
                    <a:pt x="1085" y="0"/>
                  </a:lnTo>
                  <a:lnTo>
                    <a:pt x="1087" y="2"/>
                  </a:lnTo>
                  <a:lnTo>
                    <a:pt x="1089" y="2"/>
                  </a:lnTo>
                  <a:lnTo>
                    <a:pt x="1089" y="4"/>
                  </a:lnTo>
                  <a:lnTo>
                    <a:pt x="1091" y="4"/>
                  </a:lnTo>
                  <a:lnTo>
                    <a:pt x="1093" y="4"/>
                  </a:lnTo>
                  <a:lnTo>
                    <a:pt x="1093" y="6"/>
                  </a:lnTo>
                  <a:lnTo>
                    <a:pt x="1095" y="6"/>
                  </a:lnTo>
                  <a:lnTo>
                    <a:pt x="1098" y="8"/>
                  </a:lnTo>
                  <a:lnTo>
                    <a:pt x="1100" y="8"/>
                  </a:lnTo>
                  <a:lnTo>
                    <a:pt x="1102" y="8"/>
                  </a:lnTo>
                  <a:lnTo>
                    <a:pt x="1104" y="10"/>
                  </a:lnTo>
                  <a:lnTo>
                    <a:pt x="1106" y="10"/>
                  </a:lnTo>
                  <a:lnTo>
                    <a:pt x="1106" y="10"/>
                  </a:lnTo>
                  <a:lnTo>
                    <a:pt x="1108" y="10"/>
                  </a:lnTo>
                  <a:lnTo>
                    <a:pt x="1110" y="10"/>
                  </a:lnTo>
                  <a:lnTo>
                    <a:pt x="1113" y="10"/>
                  </a:lnTo>
                  <a:lnTo>
                    <a:pt x="1115" y="10"/>
                  </a:lnTo>
                  <a:lnTo>
                    <a:pt x="1117" y="10"/>
                  </a:lnTo>
                  <a:lnTo>
                    <a:pt x="1119" y="10"/>
                  </a:lnTo>
                  <a:lnTo>
                    <a:pt x="1121" y="10"/>
                  </a:lnTo>
                  <a:lnTo>
                    <a:pt x="1121" y="12"/>
                  </a:lnTo>
                  <a:lnTo>
                    <a:pt x="1121" y="12"/>
                  </a:lnTo>
                  <a:lnTo>
                    <a:pt x="1119" y="12"/>
                  </a:lnTo>
                  <a:lnTo>
                    <a:pt x="1117" y="14"/>
                  </a:lnTo>
                  <a:lnTo>
                    <a:pt x="1117" y="14"/>
                  </a:lnTo>
                  <a:lnTo>
                    <a:pt x="1115" y="16"/>
                  </a:lnTo>
                  <a:lnTo>
                    <a:pt x="1113" y="16"/>
                  </a:lnTo>
                  <a:lnTo>
                    <a:pt x="1110" y="16"/>
                  </a:lnTo>
                  <a:lnTo>
                    <a:pt x="1108" y="18"/>
                  </a:lnTo>
                  <a:lnTo>
                    <a:pt x="1106" y="18"/>
                  </a:lnTo>
                  <a:lnTo>
                    <a:pt x="1104" y="18"/>
                  </a:lnTo>
                  <a:lnTo>
                    <a:pt x="1104" y="20"/>
                  </a:lnTo>
                  <a:lnTo>
                    <a:pt x="1102" y="20"/>
                  </a:lnTo>
                  <a:lnTo>
                    <a:pt x="1100" y="22"/>
                  </a:lnTo>
                  <a:lnTo>
                    <a:pt x="1098" y="22"/>
                  </a:lnTo>
                  <a:lnTo>
                    <a:pt x="1098" y="24"/>
                  </a:lnTo>
                  <a:lnTo>
                    <a:pt x="1098" y="26"/>
                  </a:lnTo>
                  <a:lnTo>
                    <a:pt x="1095" y="28"/>
                  </a:lnTo>
                  <a:lnTo>
                    <a:pt x="1095" y="28"/>
                  </a:lnTo>
                  <a:lnTo>
                    <a:pt x="1093" y="30"/>
                  </a:lnTo>
                  <a:lnTo>
                    <a:pt x="1093" y="32"/>
                  </a:lnTo>
                  <a:lnTo>
                    <a:pt x="1093" y="34"/>
                  </a:lnTo>
                  <a:lnTo>
                    <a:pt x="1093" y="36"/>
                  </a:lnTo>
                  <a:lnTo>
                    <a:pt x="1091" y="38"/>
                  </a:lnTo>
                  <a:lnTo>
                    <a:pt x="1093" y="38"/>
                  </a:lnTo>
                  <a:lnTo>
                    <a:pt x="1093" y="40"/>
                  </a:lnTo>
                  <a:lnTo>
                    <a:pt x="1091" y="42"/>
                  </a:lnTo>
                  <a:lnTo>
                    <a:pt x="1091" y="44"/>
                  </a:lnTo>
                  <a:lnTo>
                    <a:pt x="1091" y="46"/>
                  </a:lnTo>
                  <a:lnTo>
                    <a:pt x="1093" y="46"/>
                  </a:lnTo>
                  <a:lnTo>
                    <a:pt x="1093" y="46"/>
                  </a:lnTo>
                  <a:lnTo>
                    <a:pt x="1095" y="46"/>
                  </a:lnTo>
                  <a:lnTo>
                    <a:pt x="1095" y="44"/>
                  </a:lnTo>
                  <a:lnTo>
                    <a:pt x="1095" y="44"/>
                  </a:lnTo>
                  <a:lnTo>
                    <a:pt x="1093" y="44"/>
                  </a:lnTo>
                  <a:lnTo>
                    <a:pt x="1095" y="42"/>
                  </a:lnTo>
                  <a:lnTo>
                    <a:pt x="1095" y="44"/>
                  </a:lnTo>
                  <a:lnTo>
                    <a:pt x="1098" y="44"/>
                  </a:lnTo>
                  <a:lnTo>
                    <a:pt x="1095" y="46"/>
                  </a:lnTo>
                  <a:lnTo>
                    <a:pt x="1095" y="48"/>
                  </a:lnTo>
                  <a:lnTo>
                    <a:pt x="1093" y="48"/>
                  </a:lnTo>
                  <a:lnTo>
                    <a:pt x="1093" y="50"/>
                  </a:lnTo>
                  <a:lnTo>
                    <a:pt x="1091" y="52"/>
                  </a:lnTo>
                  <a:lnTo>
                    <a:pt x="1091" y="54"/>
                  </a:lnTo>
                  <a:lnTo>
                    <a:pt x="1089" y="56"/>
                  </a:lnTo>
                  <a:lnTo>
                    <a:pt x="1089" y="56"/>
                  </a:lnTo>
                  <a:lnTo>
                    <a:pt x="1087" y="58"/>
                  </a:lnTo>
                  <a:lnTo>
                    <a:pt x="1087" y="60"/>
                  </a:lnTo>
                  <a:lnTo>
                    <a:pt x="1085" y="62"/>
                  </a:lnTo>
                  <a:lnTo>
                    <a:pt x="1085" y="64"/>
                  </a:lnTo>
                  <a:lnTo>
                    <a:pt x="1085" y="66"/>
                  </a:lnTo>
                  <a:lnTo>
                    <a:pt x="1082" y="66"/>
                  </a:lnTo>
                  <a:lnTo>
                    <a:pt x="1082" y="68"/>
                  </a:lnTo>
                  <a:lnTo>
                    <a:pt x="1082" y="70"/>
                  </a:lnTo>
                  <a:lnTo>
                    <a:pt x="1080" y="72"/>
                  </a:lnTo>
                  <a:lnTo>
                    <a:pt x="1080" y="74"/>
                  </a:lnTo>
                  <a:lnTo>
                    <a:pt x="1080" y="76"/>
                  </a:lnTo>
                  <a:lnTo>
                    <a:pt x="1078" y="78"/>
                  </a:lnTo>
                  <a:lnTo>
                    <a:pt x="1078" y="78"/>
                  </a:lnTo>
                  <a:lnTo>
                    <a:pt x="1078" y="80"/>
                  </a:lnTo>
                  <a:lnTo>
                    <a:pt x="1078" y="82"/>
                  </a:lnTo>
                  <a:lnTo>
                    <a:pt x="1076" y="84"/>
                  </a:lnTo>
                  <a:lnTo>
                    <a:pt x="1076" y="86"/>
                  </a:lnTo>
                  <a:lnTo>
                    <a:pt x="1076" y="88"/>
                  </a:lnTo>
                  <a:lnTo>
                    <a:pt x="1076" y="90"/>
                  </a:lnTo>
                  <a:lnTo>
                    <a:pt x="1074" y="90"/>
                  </a:lnTo>
                  <a:lnTo>
                    <a:pt x="1074" y="92"/>
                  </a:lnTo>
                  <a:lnTo>
                    <a:pt x="1074" y="94"/>
                  </a:lnTo>
                  <a:lnTo>
                    <a:pt x="1072" y="96"/>
                  </a:lnTo>
                  <a:lnTo>
                    <a:pt x="1072" y="98"/>
                  </a:lnTo>
                  <a:lnTo>
                    <a:pt x="1070" y="98"/>
                  </a:lnTo>
                  <a:lnTo>
                    <a:pt x="1067" y="100"/>
                  </a:lnTo>
                  <a:lnTo>
                    <a:pt x="1067" y="102"/>
                  </a:lnTo>
                  <a:lnTo>
                    <a:pt x="1067" y="104"/>
                  </a:lnTo>
                  <a:lnTo>
                    <a:pt x="1065" y="106"/>
                  </a:lnTo>
                  <a:lnTo>
                    <a:pt x="1065" y="106"/>
                  </a:lnTo>
                  <a:lnTo>
                    <a:pt x="1063" y="108"/>
                  </a:lnTo>
                  <a:lnTo>
                    <a:pt x="1061" y="110"/>
                  </a:lnTo>
                  <a:lnTo>
                    <a:pt x="1061" y="110"/>
                  </a:lnTo>
                  <a:lnTo>
                    <a:pt x="1059" y="112"/>
                  </a:lnTo>
                  <a:lnTo>
                    <a:pt x="1059" y="114"/>
                  </a:lnTo>
                  <a:lnTo>
                    <a:pt x="1057" y="116"/>
                  </a:lnTo>
                  <a:lnTo>
                    <a:pt x="1057" y="116"/>
                  </a:lnTo>
                  <a:lnTo>
                    <a:pt x="1057" y="118"/>
                  </a:lnTo>
                  <a:lnTo>
                    <a:pt x="1055" y="120"/>
                  </a:lnTo>
                  <a:lnTo>
                    <a:pt x="1055" y="122"/>
                  </a:lnTo>
                  <a:lnTo>
                    <a:pt x="1052" y="124"/>
                  </a:lnTo>
                  <a:lnTo>
                    <a:pt x="1052" y="124"/>
                  </a:lnTo>
                  <a:lnTo>
                    <a:pt x="1050" y="126"/>
                  </a:lnTo>
                  <a:lnTo>
                    <a:pt x="1050" y="128"/>
                  </a:lnTo>
                  <a:lnTo>
                    <a:pt x="1048" y="130"/>
                  </a:lnTo>
                  <a:lnTo>
                    <a:pt x="1048" y="132"/>
                  </a:lnTo>
                  <a:lnTo>
                    <a:pt x="1046" y="132"/>
                  </a:lnTo>
                  <a:lnTo>
                    <a:pt x="1044" y="134"/>
                  </a:lnTo>
                  <a:lnTo>
                    <a:pt x="1044" y="136"/>
                  </a:lnTo>
                  <a:lnTo>
                    <a:pt x="1042" y="138"/>
                  </a:lnTo>
                  <a:lnTo>
                    <a:pt x="1042" y="138"/>
                  </a:lnTo>
                  <a:lnTo>
                    <a:pt x="1040" y="140"/>
                  </a:lnTo>
                  <a:lnTo>
                    <a:pt x="1040" y="142"/>
                  </a:lnTo>
                  <a:lnTo>
                    <a:pt x="1037" y="144"/>
                  </a:lnTo>
                  <a:lnTo>
                    <a:pt x="1037" y="144"/>
                  </a:lnTo>
                  <a:lnTo>
                    <a:pt x="1035" y="146"/>
                  </a:lnTo>
                  <a:lnTo>
                    <a:pt x="1035" y="148"/>
                  </a:lnTo>
                  <a:lnTo>
                    <a:pt x="1033" y="150"/>
                  </a:lnTo>
                  <a:lnTo>
                    <a:pt x="1033" y="152"/>
                  </a:lnTo>
                  <a:lnTo>
                    <a:pt x="1031" y="152"/>
                  </a:lnTo>
                  <a:lnTo>
                    <a:pt x="1031" y="154"/>
                  </a:lnTo>
                  <a:lnTo>
                    <a:pt x="1031" y="156"/>
                  </a:lnTo>
                  <a:lnTo>
                    <a:pt x="1029" y="158"/>
                  </a:lnTo>
                  <a:lnTo>
                    <a:pt x="1029" y="160"/>
                  </a:lnTo>
                  <a:lnTo>
                    <a:pt x="1027" y="160"/>
                  </a:lnTo>
                  <a:lnTo>
                    <a:pt x="1027" y="162"/>
                  </a:lnTo>
                  <a:lnTo>
                    <a:pt x="1024" y="164"/>
                  </a:lnTo>
                  <a:lnTo>
                    <a:pt x="1027" y="166"/>
                  </a:lnTo>
                  <a:lnTo>
                    <a:pt x="1024" y="166"/>
                  </a:lnTo>
                  <a:lnTo>
                    <a:pt x="1024" y="167"/>
                  </a:lnTo>
                  <a:lnTo>
                    <a:pt x="1022" y="167"/>
                  </a:lnTo>
                  <a:lnTo>
                    <a:pt x="1020" y="169"/>
                  </a:lnTo>
                  <a:lnTo>
                    <a:pt x="1020" y="171"/>
                  </a:lnTo>
                  <a:lnTo>
                    <a:pt x="1018" y="173"/>
                  </a:lnTo>
                  <a:lnTo>
                    <a:pt x="1018" y="175"/>
                  </a:lnTo>
                  <a:lnTo>
                    <a:pt x="1016" y="175"/>
                  </a:lnTo>
                  <a:lnTo>
                    <a:pt x="1016" y="177"/>
                  </a:lnTo>
                  <a:lnTo>
                    <a:pt x="1014" y="179"/>
                  </a:lnTo>
                  <a:lnTo>
                    <a:pt x="1014" y="179"/>
                  </a:lnTo>
                  <a:lnTo>
                    <a:pt x="1012" y="181"/>
                  </a:lnTo>
                  <a:lnTo>
                    <a:pt x="1012" y="183"/>
                  </a:lnTo>
                  <a:lnTo>
                    <a:pt x="1009" y="185"/>
                  </a:lnTo>
                  <a:lnTo>
                    <a:pt x="1009" y="187"/>
                  </a:lnTo>
                  <a:lnTo>
                    <a:pt x="1009" y="189"/>
                  </a:lnTo>
                  <a:lnTo>
                    <a:pt x="1012" y="189"/>
                  </a:lnTo>
                  <a:lnTo>
                    <a:pt x="1012" y="189"/>
                  </a:lnTo>
                  <a:lnTo>
                    <a:pt x="1014" y="191"/>
                  </a:lnTo>
                  <a:lnTo>
                    <a:pt x="1012" y="191"/>
                  </a:lnTo>
                  <a:lnTo>
                    <a:pt x="1012" y="191"/>
                  </a:lnTo>
                  <a:lnTo>
                    <a:pt x="1009" y="193"/>
                  </a:lnTo>
                  <a:lnTo>
                    <a:pt x="1012" y="193"/>
                  </a:lnTo>
                  <a:lnTo>
                    <a:pt x="1009" y="193"/>
                  </a:lnTo>
                  <a:lnTo>
                    <a:pt x="1007" y="193"/>
                  </a:lnTo>
                  <a:lnTo>
                    <a:pt x="1005" y="193"/>
                  </a:lnTo>
                  <a:lnTo>
                    <a:pt x="1005" y="195"/>
                  </a:lnTo>
                  <a:lnTo>
                    <a:pt x="1003" y="197"/>
                  </a:lnTo>
                  <a:lnTo>
                    <a:pt x="1003" y="199"/>
                  </a:lnTo>
                  <a:lnTo>
                    <a:pt x="1001" y="199"/>
                  </a:lnTo>
                  <a:lnTo>
                    <a:pt x="1001" y="201"/>
                  </a:lnTo>
                  <a:lnTo>
                    <a:pt x="1003" y="203"/>
                  </a:lnTo>
                  <a:lnTo>
                    <a:pt x="1003" y="203"/>
                  </a:lnTo>
                  <a:lnTo>
                    <a:pt x="1003" y="205"/>
                  </a:lnTo>
                  <a:lnTo>
                    <a:pt x="1003" y="205"/>
                  </a:lnTo>
                  <a:lnTo>
                    <a:pt x="1001" y="207"/>
                  </a:lnTo>
                  <a:lnTo>
                    <a:pt x="999" y="207"/>
                  </a:lnTo>
                  <a:lnTo>
                    <a:pt x="999" y="209"/>
                  </a:lnTo>
                  <a:lnTo>
                    <a:pt x="999" y="211"/>
                  </a:lnTo>
                  <a:lnTo>
                    <a:pt x="997" y="213"/>
                  </a:lnTo>
                  <a:lnTo>
                    <a:pt x="994" y="213"/>
                  </a:lnTo>
                  <a:lnTo>
                    <a:pt x="994" y="215"/>
                  </a:lnTo>
                  <a:lnTo>
                    <a:pt x="992" y="217"/>
                  </a:lnTo>
                  <a:lnTo>
                    <a:pt x="992" y="219"/>
                  </a:lnTo>
                  <a:lnTo>
                    <a:pt x="990" y="219"/>
                  </a:lnTo>
                  <a:lnTo>
                    <a:pt x="990" y="221"/>
                  </a:lnTo>
                  <a:lnTo>
                    <a:pt x="988" y="223"/>
                  </a:lnTo>
                  <a:lnTo>
                    <a:pt x="988" y="225"/>
                  </a:lnTo>
                  <a:lnTo>
                    <a:pt x="988" y="227"/>
                  </a:lnTo>
                  <a:lnTo>
                    <a:pt x="986" y="229"/>
                  </a:lnTo>
                  <a:lnTo>
                    <a:pt x="986" y="229"/>
                  </a:lnTo>
                  <a:lnTo>
                    <a:pt x="984" y="231"/>
                  </a:lnTo>
                  <a:lnTo>
                    <a:pt x="984" y="233"/>
                  </a:lnTo>
                  <a:lnTo>
                    <a:pt x="982" y="235"/>
                  </a:lnTo>
                  <a:lnTo>
                    <a:pt x="982" y="237"/>
                  </a:lnTo>
                  <a:lnTo>
                    <a:pt x="982" y="239"/>
                  </a:lnTo>
                  <a:lnTo>
                    <a:pt x="982" y="241"/>
                  </a:lnTo>
                  <a:lnTo>
                    <a:pt x="982" y="241"/>
                  </a:lnTo>
                  <a:lnTo>
                    <a:pt x="982" y="243"/>
                  </a:lnTo>
                  <a:lnTo>
                    <a:pt x="984" y="245"/>
                  </a:lnTo>
                  <a:lnTo>
                    <a:pt x="984" y="247"/>
                  </a:lnTo>
                  <a:lnTo>
                    <a:pt x="986" y="247"/>
                  </a:lnTo>
                  <a:lnTo>
                    <a:pt x="986" y="249"/>
                  </a:lnTo>
                  <a:lnTo>
                    <a:pt x="986" y="251"/>
                  </a:lnTo>
                  <a:lnTo>
                    <a:pt x="986" y="253"/>
                  </a:lnTo>
                  <a:lnTo>
                    <a:pt x="986" y="255"/>
                  </a:lnTo>
                  <a:lnTo>
                    <a:pt x="984" y="257"/>
                  </a:lnTo>
                  <a:lnTo>
                    <a:pt x="984" y="259"/>
                  </a:lnTo>
                  <a:lnTo>
                    <a:pt x="984" y="261"/>
                  </a:lnTo>
                  <a:lnTo>
                    <a:pt x="982" y="261"/>
                  </a:lnTo>
                  <a:lnTo>
                    <a:pt x="982" y="263"/>
                  </a:lnTo>
                  <a:lnTo>
                    <a:pt x="982" y="265"/>
                  </a:lnTo>
                  <a:lnTo>
                    <a:pt x="982" y="267"/>
                  </a:lnTo>
                  <a:lnTo>
                    <a:pt x="982" y="269"/>
                  </a:lnTo>
                  <a:lnTo>
                    <a:pt x="979" y="271"/>
                  </a:lnTo>
                  <a:lnTo>
                    <a:pt x="979" y="273"/>
                  </a:lnTo>
                  <a:lnTo>
                    <a:pt x="982" y="273"/>
                  </a:lnTo>
                  <a:lnTo>
                    <a:pt x="982" y="275"/>
                  </a:lnTo>
                  <a:lnTo>
                    <a:pt x="979" y="277"/>
                  </a:lnTo>
                  <a:lnTo>
                    <a:pt x="979" y="277"/>
                  </a:lnTo>
                  <a:lnTo>
                    <a:pt x="979" y="279"/>
                  </a:lnTo>
                  <a:lnTo>
                    <a:pt x="977" y="281"/>
                  </a:lnTo>
                  <a:lnTo>
                    <a:pt x="975" y="281"/>
                  </a:lnTo>
                  <a:lnTo>
                    <a:pt x="975" y="283"/>
                  </a:lnTo>
                  <a:lnTo>
                    <a:pt x="973" y="283"/>
                  </a:lnTo>
                  <a:lnTo>
                    <a:pt x="973" y="285"/>
                  </a:lnTo>
                  <a:lnTo>
                    <a:pt x="975" y="287"/>
                  </a:lnTo>
                  <a:lnTo>
                    <a:pt x="973" y="289"/>
                  </a:lnTo>
                  <a:lnTo>
                    <a:pt x="973" y="291"/>
                  </a:lnTo>
                  <a:lnTo>
                    <a:pt x="973" y="293"/>
                  </a:lnTo>
                  <a:lnTo>
                    <a:pt x="973" y="293"/>
                  </a:lnTo>
                  <a:lnTo>
                    <a:pt x="973" y="295"/>
                  </a:lnTo>
                  <a:lnTo>
                    <a:pt x="973" y="297"/>
                  </a:lnTo>
                  <a:lnTo>
                    <a:pt x="975" y="299"/>
                  </a:lnTo>
                  <a:lnTo>
                    <a:pt x="975" y="301"/>
                  </a:lnTo>
                  <a:lnTo>
                    <a:pt x="975" y="303"/>
                  </a:lnTo>
                  <a:lnTo>
                    <a:pt x="975" y="305"/>
                  </a:lnTo>
                  <a:lnTo>
                    <a:pt x="975" y="307"/>
                  </a:lnTo>
                  <a:lnTo>
                    <a:pt x="975" y="309"/>
                  </a:lnTo>
                  <a:lnTo>
                    <a:pt x="975" y="309"/>
                  </a:lnTo>
                  <a:lnTo>
                    <a:pt x="973" y="309"/>
                  </a:lnTo>
                  <a:lnTo>
                    <a:pt x="973" y="311"/>
                  </a:lnTo>
                  <a:lnTo>
                    <a:pt x="971" y="313"/>
                  </a:lnTo>
                  <a:lnTo>
                    <a:pt x="971" y="315"/>
                  </a:lnTo>
                  <a:lnTo>
                    <a:pt x="971" y="315"/>
                  </a:lnTo>
                  <a:lnTo>
                    <a:pt x="969" y="315"/>
                  </a:lnTo>
                  <a:lnTo>
                    <a:pt x="967" y="317"/>
                  </a:lnTo>
                  <a:lnTo>
                    <a:pt x="967" y="317"/>
                  </a:lnTo>
                  <a:lnTo>
                    <a:pt x="967" y="319"/>
                  </a:lnTo>
                  <a:lnTo>
                    <a:pt x="964" y="321"/>
                  </a:lnTo>
                  <a:lnTo>
                    <a:pt x="964" y="323"/>
                  </a:lnTo>
                  <a:lnTo>
                    <a:pt x="962" y="323"/>
                  </a:lnTo>
                  <a:lnTo>
                    <a:pt x="960" y="325"/>
                  </a:lnTo>
                  <a:lnTo>
                    <a:pt x="960" y="325"/>
                  </a:lnTo>
                  <a:lnTo>
                    <a:pt x="958" y="327"/>
                  </a:lnTo>
                  <a:lnTo>
                    <a:pt x="958" y="327"/>
                  </a:lnTo>
                  <a:lnTo>
                    <a:pt x="956" y="327"/>
                  </a:lnTo>
                  <a:lnTo>
                    <a:pt x="956" y="329"/>
                  </a:lnTo>
                  <a:lnTo>
                    <a:pt x="956" y="329"/>
                  </a:lnTo>
                  <a:lnTo>
                    <a:pt x="956" y="331"/>
                  </a:lnTo>
                  <a:lnTo>
                    <a:pt x="956" y="333"/>
                  </a:lnTo>
                  <a:lnTo>
                    <a:pt x="954" y="333"/>
                  </a:lnTo>
                  <a:lnTo>
                    <a:pt x="954" y="335"/>
                  </a:lnTo>
                  <a:lnTo>
                    <a:pt x="951" y="335"/>
                  </a:lnTo>
                  <a:lnTo>
                    <a:pt x="951" y="337"/>
                  </a:lnTo>
                  <a:lnTo>
                    <a:pt x="951" y="339"/>
                  </a:lnTo>
                  <a:lnTo>
                    <a:pt x="949" y="339"/>
                  </a:lnTo>
                  <a:lnTo>
                    <a:pt x="951" y="341"/>
                  </a:lnTo>
                  <a:lnTo>
                    <a:pt x="949" y="341"/>
                  </a:lnTo>
                  <a:lnTo>
                    <a:pt x="949" y="343"/>
                  </a:lnTo>
                  <a:lnTo>
                    <a:pt x="949" y="343"/>
                  </a:lnTo>
                  <a:lnTo>
                    <a:pt x="947" y="341"/>
                  </a:lnTo>
                  <a:lnTo>
                    <a:pt x="947" y="343"/>
                  </a:lnTo>
                  <a:lnTo>
                    <a:pt x="947" y="343"/>
                  </a:lnTo>
                  <a:lnTo>
                    <a:pt x="949" y="345"/>
                  </a:lnTo>
                  <a:lnTo>
                    <a:pt x="947" y="345"/>
                  </a:lnTo>
                  <a:lnTo>
                    <a:pt x="947" y="347"/>
                  </a:lnTo>
                  <a:lnTo>
                    <a:pt x="947" y="347"/>
                  </a:lnTo>
                  <a:lnTo>
                    <a:pt x="945" y="349"/>
                  </a:lnTo>
                  <a:lnTo>
                    <a:pt x="947" y="351"/>
                  </a:lnTo>
                  <a:lnTo>
                    <a:pt x="947" y="353"/>
                  </a:lnTo>
                  <a:lnTo>
                    <a:pt x="947" y="355"/>
                  </a:lnTo>
                  <a:lnTo>
                    <a:pt x="947" y="357"/>
                  </a:lnTo>
                  <a:lnTo>
                    <a:pt x="947" y="359"/>
                  </a:lnTo>
                  <a:lnTo>
                    <a:pt x="947" y="361"/>
                  </a:lnTo>
                  <a:lnTo>
                    <a:pt x="947" y="363"/>
                  </a:lnTo>
                  <a:lnTo>
                    <a:pt x="947" y="365"/>
                  </a:lnTo>
                  <a:lnTo>
                    <a:pt x="949" y="367"/>
                  </a:lnTo>
                  <a:lnTo>
                    <a:pt x="949" y="369"/>
                  </a:lnTo>
                  <a:lnTo>
                    <a:pt x="949" y="371"/>
                  </a:lnTo>
                  <a:lnTo>
                    <a:pt x="949" y="371"/>
                  </a:lnTo>
                  <a:lnTo>
                    <a:pt x="949" y="373"/>
                  </a:lnTo>
                  <a:lnTo>
                    <a:pt x="949" y="375"/>
                  </a:lnTo>
                  <a:lnTo>
                    <a:pt x="949" y="377"/>
                  </a:lnTo>
                  <a:lnTo>
                    <a:pt x="951" y="379"/>
                  </a:lnTo>
                  <a:lnTo>
                    <a:pt x="951" y="381"/>
                  </a:lnTo>
                  <a:lnTo>
                    <a:pt x="951" y="383"/>
                  </a:lnTo>
                  <a:lnTo>
                    <a:pt x="951" y="385"/>
                  </a:lnTo>
                  <a:lnTo>
                    <a:pt x="951" y="387"/>
                  </a:lnTo>
                  <a:lnTo>
                    <a:pt x="951" y="389"/>
                  </a:lnTo>
                  <a:lnTo>
                    <a:pt x="951" y="391"/>
                  </a:lnTo>
                  <a:lnTo>
                    <a:pt x="951" y="391"/>
                  </a:lnTo>
                  <a:lnTo>
                    <a:pt x="951" y="393"/>
                  </a:lnTo>
                  <a:lnTo>
                    <a:pt x="951" y="395"/>
                  </a:lnTo>
                  <a:lnTo>
                    <a:pt x="951" y="397"/>
                  </a:lnTo>
                  <a:lnTo>
                    <a:pt x="951" y="399"/>
                  </a:lnTo>
                  <a:lnTo>
                    <a:pt x="951" y="401"/>
                  </a:lnTo>
                  <a:lnTo>
                    <a:pt x="951" y="403"/>
                  </a:lnTo>
                  <a:lnTo>
                    <a:pt x="954" y="405"/>
                  </a:lnTo>
                  <a:lnTo>
                    <a:pt x="954" y="407"/>
                  </a:lnTo>
                  <a:lnTo>
                    <a:pt x="954" y="409"/>
                  </a:lnTo>
                  <a:lnTo>
                    <a:pt x="954" y="411"/>
                  </a:lnTo>
                  <a:lnTo>
                    <a:pt x="954" y="413"/>
                  </a:lnTo>
                  <a:lnTo>
                    <a:pt x="956" y="413"/>
                  </a:lnTo>
                  <a:lnTo>
                    <a:pt x="956" y="415"/>
                  </a:lnTo>
                  <a:lnTo>
                    <a:pt x="956" y="417"/>
                  </a:lnTo>
                  <a:lnTo>
                    <a:pt x="958" y="419"/>
                  </a:lnTo>
                  <a:lnTo>
                    <a:pt x="960" y="419"/>
                  </a:lnTo>
                  <a:lnTo>
                    <a:pt x="960" y="419"/>
                  </a:lnTo>
                  <a:lnTo>
                    <a:pt x="962" y="419"/>
                  </a:lnTo>
                  <a:lnTo>
                    <a:pt x="964" y="419"/>
                  </a:lnTo>
                  <a:lnTo>
                    <a:pt x="967" y="419"/>
                  </a:lnTo>
                  <a:lnTo>
                    <a:pt x="969" y="419"/>
                  </a:lnTo>
                  <a:lnTo>
                    <a:pt x="969" y="419"/>
                  </a:lnTo>
                  <a:lnTo>
                    <a:pt x="971" y="421"/>
                  </a:lnTo>
                  <a:lnTo>
                    <a:pt x="971" y="421"/>
                  </a:lnTo>
                  <a:lnTo>
                    <a:pt x="973" y="423"/>
                  </a:lnTo>
                  <a:lnTo>
                    <a:pt x="975" y="423"/>
                  </a:lnTo>
                  <a:lnTo>
                    <a:pt x="975" y="425"/>
                  </a:lnTo>
                  <a:lnTo>
                    <a:pt x="977" y="425"/>
                  </a:lnTo>
                  <a:lnTo>
                    <a:pt x="977" y="427"/>
                  </a:lnTo>
                  <a:lnTo>
                    <a:pt x="979" y="427"/>
                  </a:lnTo>
                  <a:lnTo>
                    <a:pt x="982" y="425"/>
                  </a:lnTo>
                  <a:lnTo>
                    <a:pt x="984" y="425"/>
                  </a:lnTo>
                  <a:lnTo>
                    <a:pt x="984" y="425"/>
                  </a:lnTo>
                  <a:lnTo>
                    <a:pt x="986" y="427"/>
                  </a:lnTo>
                  <a:lnTo>
                    <a:pt x="988" y="427"/>
                  </a:lnTo>
                  <a:lnTo>
                    <a:pt x="988" y="429"/>
                  </a:lnTo>
                  <a:lnTo>
                    <a:pt x="988" y="429"/>
                  </a:lnTo>
                  <a:lnTo>
                    <a:pt x="988" y="429"/>
                  </a:lnTo>
                  <a:lnTo>
                    <a:pt x="988" y="429"/>
                  </a:lnTo>
                  <a:lnTo>
                    <a:pt x="990" y="429"/>
                  </a:lnTo>
                  <a:lnTo>
                    <a:pt x="990" y="427"/>
                  </a:lnTo>
                  <a:lnTo>
                    <a:pt x="992" y="425"/>
                  </a:lnTo>
                  <a:lnTo>
                    <a:pt x="992" y="425"/>
                  </a:lnTo>
                  <a:lnTo>
                    <a:pt x="994" y="425"/>
                  </a:lnTo>
                  <a:lnTo>
                    <a:pt x="994" y="425"/>
                  </a:lnTo>
                  <a:lnTo>
                    <a:pt x="997" y="425"/>
                  </a:lnTo>
                  <a:lnTo>
                    <a:pt x="997" y="427"/>
                  </a:lnTo>
                  <a:lnTo>
                    <a:pt x="999" y="429"/>
                  </a:lnTo>
                  <a:lnTo>
                    <a:pt x="999" y="431"/>
                  </a:lnTo>
                  <a:lnTo>
                    <a:pt x="1001" y="431"/>
                  </a:lnTo>
                  <a:lnTo>
                    <a:pt x="1001" y="433"/>
                  </a:lnTo>
                  <a:lnTo>
                    <a:pt x="1003" y="433"/>
                  </a:lnTo>
                  <a:lnTo>
                    <a:pt x="1003" y="435"/>
                  </a:lnTo>
                  <a:lnTo>
                    <a:pt x="1005" y="435"/>
                  </a:lnTo>
                  <a:lnTo>
                    <a:pt x="1005" y="437"/>
                  </a:lnTo>
                  <a:lnTo>
                    <a:pt x="1007" y="437"/>
                  </a:lnTo>
                  <a:lnTo>
                    <a:pt x="1007" y="437"/>
                  </a:lnTo>
                  <a:lnTo>
                    <a:pt x="1009" y="439"/>
                  </a:lnTo>
                  <a:lnTo>
                    <a:pt x="1009" y="439"/>
                  </a:lnTo>
                  <a:lnTo>
                    <a:pt x="1009" y="441"/>
                  </a:lnTo>
                  <a:lnTo>
                    <a:pt x="1009" y="443"/>
                  </a:lnTo>
                  <a:lnTo>
                    <a:pt x="1012" y="443"/>
                  </a:lnTo>
                  <a:lnTo>
                    <a:pt x="1012" y="443"/>
                  </a:lnTo>
                  <a:lnTo>
                    <a:pt x="1014" y="443"/>
                  </a:lnTo>
                  <a:lnTo>
                    <a:pt x="1014" y="445"/>
                  </a:lnTo>
                  <a:lnTo>
                    <a:pt x="1014" y="445"/>
                  </a:lnTo>
                  <a:lnTo>
                    <a:pt x="1014" y="447"/>
                  </a:lnTo>
                  <a:lnTo>
                    <a:pt x="1014" y="447"/>
                  </a:lnTo>
                  <a:lnTo>
                    <a:pt x="1012" y="447"/>
                  </a:lnTo>
                  <a:lnTo>
                    <a:pt x="1009" y="449"/>
                  </a:lnTo>
                  <a:lnTo>
                    <a:pt x="1009" y="447"/>
                  </a:lnTo>
                  <a:lnTo>
                    <a:pt x="1007" y="447"/>
                  </a:lnTo>
                  <a:lnTo>
                    <a:pt x="1005" y="445"/>
                  </a:lnTo>
                  <a:lnTo>
                    <a:pt x="1005" y="445"/>
                  </a:lnTo>
                  <a:lnTo>
                    <a:pt x="1003" y="445"/>
                  </a:lnTo>
                  <a:lnTo>
                    <a:pt x="1001" y="447"/>
                  </a:lnTo>
                  <a:lnTo>
                    <a:pt x="1003" y="449"/>
                  </a:lnTo>
                  <a:lnTo>
                    <a:pt x="1003" y="449"/>
                  </a:lnTo>
                  <a:lnTo>
                    <a:pt x="1003" y="451"/>
                  </a:lnTo>
                  <a:lnTo>
                    <a:pt x="1003" y="453"/>
                  </a:lnTo>
                  <a:lnTo>
                    <a:pt x="1005" y="453"/>
                  </a:lnTo>
                  <a:lnTo>
                    <a:pt x="1003" y="455"/>
                  </a:lnTo>
                  <a:lnTo>
                    <a:pt x="1001" y="455"/>
                  </a:lnTo>
                  <a:lnTo>
                    <a:pt x="1001" y="453"/>
                  </a:lnTo>
                  <a:lnTo>
                    <a:pt x="1001" y="451"/>
                  </a:lnTo>
                  <a:lnTo>
                    <a:pt x="1001" y="449"/>
                  </a:lnTo>
                  <a:lnTo>
                    <a:pt x="1001" y="449"/>
                  </a:lnTo>
                  <a:lnTo>
                    <a:pt x="1001" y="449"/>
                  </a:lnTo>
                  <a:lnTo>
                    <a:pt x="1001" y="447"/>
                  </a:lnTo>
                  <a:lnTo>
                    <a:pt x="999" y="445"/>
                  </a:lnTo>
                  <a:lnTo>
                    <a:pt x="999" y="445"/>
                  </a:lnTo>
                  <a:lnTo>
                    <a:pt x="999" y="443"/>
                  </a:lnTo>
                  <a:lnTo>
                    <a:pt x="997" y="443"/>
                  </a:lnTo>
                  <a:lnTo>
                    <a:pt x="994" y="445"/>
                  </a:lnTo>
                  <a:lnTo>
                    <a:pt x="994" y="447"/>
                  </a:lnTo>
                  <a:lnTo>
                    <a:pt x="992" y="447"/>
                  </a:lnTo>
                  <a:lnTo>
                    <a:pt x="990" y="447"/>
                  </a:lnTo>
                  <a:lnTo>
                    <a:pt x="990" y="449"/>
                  </a:lnTo>
                  <a:lnTo>
                    <a:pt x="992" y="451"/>
                  </a:lnTo>
                  <a:lnTo>
                    <a:pt x="992" y="453"/>
                  </a:lnTo>
                  <a:lnTo>
                    <a:pt x="992" y="453"/>
                  </a:lnTo>
                  <a:lnTo>
                    <a:pt x="990" y="455"/>
                  </a:lnTo>
                  <a:lnTo>
                    <a:pt x="988" y="457"/>
                  </a:lnTo>
                  <a:lnTo>
                    <a:pt x="988" y="459"/>
                  </a:lnTo>
                  <a:lnTo>
                    <a:pt x="990" y="459"/>
                  </a:lnTo>
                  <a:lnTo>
                    <a:pt x="992" y="459"/>
                  </a:lnTo>
                  <a:lnTo>
                    <a:pt x="990" y="459"/>
                  </a:lnTo>
                  <a:lnTo>
                    <a:pt x="990" y="459"/>
                  </a:lnTo>
                  <a:lnTo>
                    <a:pt x="988" y="459"/>
                  </a:lnTo>
                  <a:lnTo>
                    <a:pt x="988" y="461"/>
                  </a:lnTo>
                  <a:lnTo>
                    <a:pt x="990" y="461"/>
                  </a:lnTo>
                  <a:lnTo>
                    <a:pt x="990" y="463"/>
                  </a:lnTo>
                  <a:lnTo>
                    <a:pt x="990" y="465"/>
                  </a:lnTo>
                  <a:lnTo>
                    <a:pt x="992" y="465"/>
                  </a:lnTo>
                  <a:lnTo>
                    <a:pt x="990" y="467"/>
                  </a:lnTo>
                  <a:lnTo>
                    <a:pt x="990" y="469"/>
                  </a:lnTo>
                  <a:lnTo>
                    <a:pt x="992" y="469"/>
                  </a:lnTo>
                  <a:lnTo>
                    <a:pt x="992" y="469"/>
                  </a:lnTo>
                  <a:lnTo>
                    <a:pt x="994" y="471"/>
                  </a:lnTo>
                  <a:lnTo>
                    <a:pt x="997" y="471"/>
                  </a:lnTo>
                  <a:lnTo>
                    <a:pt x="997" y="473"/>
                  </a:lnTo>
                  <a:lnTo>
                    <a:pt x="994" y="475"/>
                  </a:lnTo>
                  <a:lnTo>
                    <a:pt x="997" y="475"/>
                  </a:lnTo>
                  <a:lnTo>
                    <a:pt x="997" y="477"/>
                  </a:lnTo>
                  <a:lnTo>
                    <a:pt x="997" y="479"/>
                  </a:lnTo>
                  <a:lnTo>
                    <a:pt x="997" y="481"/>
                  </a:lnTo>
                  <a:lnTo>
                    <a:pt x="999" y="481"/>
                  </a:lnTo>
                  <a:lnTo>
                    <a:pt x="999" y="483"/>
                  </a:lnTo>
                  <a:lnTo>
                    <a:pt x="1001" y="483"/>
                  </a:lnTo>
                  <a:lnTo>
                    <a:pt x="1003" y="483"/>
                  </a:lnTo>
                  <a:lnTo>
                    <a:pt x="1005" y="483"/>
                  </a:lnTo>
                  <a:lnTo>
                    <a:pt x="1007" y="481"/>
                  </a:lnTo>
                  <a:lnTo>
                    <a:pt x="1005" y="479"/>
                  </a:lnTo>
                  <a:lnTo>
                    <a:pt x="1007" y="479"/>
                  </a:lnTo>
                  <a:lnTo>
                    <a:pt x="1009" y="479"/>
                  </a:lnTo>
                  <a:lnTo>
                    <a:pt x="1009" y="481"/>
                  </a:lnTo>
                  <a:lnTo>
                    <a:pt x="1012" y="483"/>
                  </a:lnTo>
                  <a:lnTo>
                    <a:pt x="1012" y="485"/>
                  </a:lnTo>
                  <a:lnTo>
                    <a:pt x="1012" y="485"/>
                  </a:lnTo>
                  <a:lnTo>
                    <a:pt x="1009" y="483"/>
                  </a:lnTo>
                  <a:lnTo>
                    <a:pt x="1007" y="483"/>
                  </a:lnTo>
                  <a:lnTo>
                    <a:pt x="1005" y="483"/>
                  </a:lnTo>
                  <a:lnTo>
                    <a:pt x="1005" y="483"/>
                  </a:lnTo>
                  <a:lnTo>
                    <a:pt x="1003" y="485"/>
                  </a:lnTo>
                  <a:lnTo>
                    <a:pt x="1003" y="487"/>
                  </a:lnTo>
                  <a:lnTo>
                    <a:pt x="1003" y="489"/>
                  </a:lnTo>
                  <a:lnTo>
                    <a:pt x="1005" y="491"/>
                  </a:lnTo>
                  <a:lnTo>
                    <a:pt x="1005" y="493"/>
                  </a:lnTo>
                  <a:lnTo>
                    <a:pt x="1007" y="493"/>
                  </a:lnTo>
                  <a:lnTo>
                    <a:pt x="1007" y="495"/>
                  </a:lnTo>
                  <a:lnTo>
                    <a:pt x="1009" y="495"/>
                  </a:lnTo>
                  <a:lnTo>
                    <a:pt x="1009" y="497"/>
                  </a:lnTo>
                  <a:lnTo>
                    <a:pt x="1012" y="497"/>
                  </a:lnTo>
                  <a:lnTo>
                    <a:pt x="1014" y="497"/>
                  </a:lnTo>
                  <a:lnTo>
                    <a:pt x="1016" y="497"/>
                  </a:lnTo>
                  <a:lnTo>
                    <a:pt x="1016" y="499"/>
                  </a:lnTo>
                  <a:lnTo>
                    <a:pt x="1018" y="499"/>
                  </a:lnTo>
                  <a:lnTo>
                    <a:pt x="1018" y="499"/>
                  </a:lnTo>
                  <a:lnTo>
                    <a:pt x="1020" y="501"/>
                  </a:lnTo>
                  <a:lnTo>
                    <a:pt x="1020" y="501"/>
                  </a:lnTo>
                  <a:lnTo>
                    <a:pt x="1022" y="501"/>
                  </a:lnTo>
                  <a:lnTo>
                    <a:pt x="1024" y="499"/>
                  </a:lnTo>
                  <a:lnTo>
                    <a:pt x="1024" y="499"/>
                  </a:lnTo>
                  <a:lnTo>
                    <a:pt x="1027" y="499"/>
                  </a:lnTo>
                  <a:lnTo>
                    <a:pt x="1029" y="499"/>
                  </a:lnTo>
                  <a:lnTo>
                    <a:pt x="1031" y="499"/>
                  </a:lnTo>
                  <a:lnTo>
                    <a:pt x="1031" y="499"/>
                  </a:lnTo>
                  <a:lnTo>
                    <a:pt x="1033" y="501"/>
                  </a:lnTo>
                  <a:lnTo>
                    <a:pt x="1033" y="503"/>
                  </a:lnTo>
                  <a:lnTo>
                    <a:pt x="1033" y="505"/>
                  </a:lnTo>
                  <a:lnTo>
                    <a:pt x="1033" y="505"/>
                  </a:lnTo>
                  <a:lnTo>
                    <a:pt x="1033" y="507"/>
                  </a:lnTo>
                  <a:lnTo>
                    <a:pt x="1035" y="509"/>
                  </a:lnTo>
                  <a:lnTo>
                    <a:pt x="1035" y="511"/>
                  </a:lnTo>
                  <a:lnTo>
                    <a:pt x="1033" y="511"/>
                  </a:lnTo>
                  <a:lnTo>
                    <a:pt x="1033" y="513"/>
                  </a:lnTo>
                  <a:lnTo>
                    <a:pt x="1033" y="513"/>
                  </a:lnTo>
                  <a:lnTo>
                    <a:pt x="1033" y="515"/>
                  </a:lnTo>
                  <a:lnTo>
                    <a:pt x="1031" y="515"/>
                  </a:lnTo>
                  <a:lnTo>
                    <a:pt x="1031" y="517"/>
                  </a:lnTo>
                  <a:lnTo>
                    <a:pt x="1031" y="515"/>
                  </a:lnTo>
                  <a:lnTo>
                    <a:pt x="1033" y="517"/>
                  </a:lnTo>
                  <a:lnTo>
                    <a:pt x="1033" y="519"/>
                  </a:lnTo>
                  <a:lnTo>
                    <a:pt x="1033" y="519"/>
                  </a:lnTo>
                  <a:lnTo>
                    <a:pt x="1033" y="521"/>
                  </a:lnTo>
                  <a:lnTo>
                    <a:pt x="1033" y="521"/>
                  </a:lnTo>
                  <a:lnTo>
                    <a:pt x="1031" y="519"/>
                  </a:lnTo>
                  <a:lnTo>
                    <a:pt x="1031" y="519"/>
                  </a:lnTo>
                  <a:lnTo>
                    <a:pt x="1031" y="517"/>
                  </a:lnTo>
                  <a:lnTo>
                    <a:pt x="1029" y="517"/>
                  </a:lnTo>
                  <a:lnTo>
                    <a:pt x="1029" y="517"/>
                  </a:lnTo>
                  <a:lnTo>
                    <a:pt x="1027" y="517"/>
                  </a:lnTo>
                  <a:lnTo>
                    <a:pt x="1024" y="519"/>
                  </a:lnTo>
                  <a:lnTo>
                    <a:pt x="1024" y="521"/>
                  </a:lnTo>
                  <a:lnTo>
                    <a:pt x="1024" y="521"/>
                  </a:lnTo>
                  <a:lnTo>
                    <a:pt x="1024" y="523"/>
                  </a:lnTo>
                  <a:lnTo>
                    <a:pt x="1027" y="525"/>
                  </a:lnTo>
                  <a:lnTo>
                    <a:pt x="1027" y="526"/>
                  </a:lnTo>
                  <a:lnTo>
                    <a:pt x="1027" y="528"/>
                  </a:lnTo>
                  <a:lnTo>
                    <a:pt x="1029" y="528"/>
                  </a:lnTo>
                  <a:lnTo>
                    <a:pt x="1031" y="530"/>
                  </a:lnTo>
                  <a:lnTo>
                    <a:pt x="1033" y="530"/>
                  </a:lnTo>
                  <a:lnTo>
                    <a:pt x="1033" y="528"/>
                  </a:lnTo>
                  <a:lnTo>
                    <a:pt x="1033" y="526"/>
                  </a:lnTo>
                  <a:lnTo>
                    <a:pt x="1035" y="526"/>
                  </a:lnTo>
                  <a:lnTo>
                    <a:pt x="1035" y="525"/>
                  </a:lnTo>
                  <a:lnTo>
                    <a:pt x="1035" y="526"/>
                  </a:lnTo>
                  <a:lnTo>
                    <a:pt x="1037" y="526"/>
                  </a:lnTo>
                  <a:lnTo>
                    <a:pt x="1037" y="526"/>
                  </a:lnTo>
                  <a:lnTo>
                    <a:pt x="1040" y="526"/>
                  </a:lnTo>
                  <a:lnTo>
                    <a:pt x="1042" y="5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8" name="Line 8">
              <a:extLst>
                <a:ext uri="{FF2B5EF4-FFF2-40B4-BE49-F238E27FC236}">
                  <a16:creationId xmlns:a16="http://schemas.microsoft.com/office/drawing/2014/main" id="{73E73DB5-4366-4DF0-9615-2EF90C2BF0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477215" y="4558500"/>
              <a:ext cx="2240" cy="1961"/>
            </a:xfrm>
            <a:prstGeom prst="line">
              <a:avLst/>
            </a:prstGeom>
            <a:noFill/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9" name="Line 9">
              <a:extLst>
                <a:ext uri="{FF2B5EF4-FFF2-40B4-BE49-F238E27FC236}">
                  <a16:creationId xmlns:a16="http://schemas.microsoft.com/office/drawing/2014/main" id="{8108172B-D783-49F7-ACC1-B6DB5B74B9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7457057" y="4533011"/>
              <a:ext cx="2240" cy="1961"/>
            </a:xfrm>
            <a:prstGeom prst="line">
              <a:avLst/>
            </a:prstGeom>
            <a:noFill/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0" name="Freeform 10">
              <a:extLst>
                <a:ext uri="{FF2B5EF4-FFF2-40B4-BE49-F238E27FC236}">
                  <a16:creationId xmlns:a16="http://schemas.microsoft.com/office/drawing/2014/main" id="{AEB0E737-0CDB-4BCF-89E9-72B80E3C4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6625" y="2553665"/>
              <a:ext cx="80629" cy="48037"/>
            </a:xfrm>
            <a:custGeom>
              <a:avLst/>
              <a:gdLst>
                <a:gd name="T0" fmla="*/ 0 w 66"/>
                <a:gd name="T1" fmla="*/ 2147483647 h 44"/>
                <a:gd name="T2" fmla="*/ 2147483647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0 h 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44"/>
                <a:gd name="T29" fmla="*/ 66 w 66"/>
                <a:gd name="T30" fmla="*/ 44 h 4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44">
                  <a:moveTo>
                    <a:pt x="0" y="44"/>
                  </a:moveTo>
                  <a:lnTo>
                    <a:pt x="5" y="40"/>
                  </a:lnTo>
                  <a:lnTo>
                    <a:pt x="13" y="35"/>
                  </a:lnTo>
                  <a:lnTo>
                    <a:pt x="22" y="29"/>
                  </a:lnTo>
                  <a:lnTo>
                    <a:pt x="32" y="22"/>
                  </a:lnTo>
                  <a:lnTo>
                    <a:pt x="42" y="16"/>
                  </a:lnTo>
                  <a:lnTo>
                    <a:pt x="51" y="10"/>
                  </a:lnTo>
                  <a:lnTo>
                    <a:pt x="60" y="4"/>
                  </a:lnTo>
                  <a:lnTo>
                    <a:pt x="66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11">
              <a:extLst>
                <a:ext uri="{FF2B5EF4-FFF2-40B4-BE49-F238E27FC236}">
                  <a16:creationId xmlns:a16="http://schemas.microsoft.com/office/drawing/2014/main" id="{9D01A5CB-6E68-4977-A303-131C82218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808" y="3042864"/>
              <a:ext cx="116464" cy="17646"/>
            </a:xfrm>
            <a:custGeom>
              <a:avLst/>
              <a:gdLst>
                <a:gd name="T0" fmla="*/ 0 w 97"/>
                <a:gd name="T1" fmla="*/ 0 h 17"/>
                <a:gd name="T2" fmla="*/ 2147483647 w 97"/>
                <a:gd name="T3" fmla="*/ 2147483647 h 17"/>
                <a:gd name="T4" fmla="*/ 0 60000 65536"/>
                <a:gd name="T5" fmla="*/ 0 60000 65536"/>
                <a:gd name="T6" fmla="*/ 0 w 97"/>
                <a:gd name="T7" fmla="*/ 0 h 17"/>
                <a:gd name="T8" fmla="*/ 97 w 97"/>
                <a:gd name="T9" fmla="*/ 17 h 17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97" h="17">
                  <a:moveTo>
                    <a:pt x="0" y="0"/>
                  </a:moveTo>
                  <a:lnTo>
                    <a:pt x="97" y="17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2" name="Freeform 12">
              <a:extLst>
                <a:ext uri="{FF2B5EF4-FFF2-40B4-BE49-F238E27FC236}">
                  <a16:creationId xmlns:a16="http://schemas.microsoft.com/office/drawing/2014/main" id="{EE5A471C-1D98-4998-8582-67A82A159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450" y="3038943"/>
              <a:ext cx="78389" cy="156858"/>
            </a:xfrm>
            <a:custGeom>
              <a:avLst/>
              <a:gdLst>
                <a:gd name="T0" fmla="*/ 0 w 64"/>
                <a:gd name="T1" fmla="*/ 0 h 145"/>
                <a:gd name="T2" fmla="*/ 2147483647 w 64"/>
                <a:gd name="T3" fmla="*/ 2147483647 h 145"/>
                <a:gd name="T4" fmla="*/ 2147483647 w 64"/>
                <a:gd name="T5" fmla="*/ 2147483647 h 145"/>
                <a:gd name="T6" fmla="*/ 2147483647 w 64"/>
                <a:gd name="T7" fmla="*/ 2147483647 h 145"/>
                <a:gd name="T8" fmla="*/ 2147483647 w 64"/>
                <a:gd name="T9" fmla="*/ 2147483647 h 145"/>
                <a:gd name="T10" fmla="*/ 2147483647 w 64"/>
                <a:gd name="T11" fmla="*/ 2147483647 h 145"/>
                <a:gd name="T12" fmla="*/ 2147483647 w 64"/>
                <a:gd name="T13" fmla="*/ 2147483647 h 145"/>
                <a:gd name="T14" fmla="*/ 2147483647 w 64"/>
                <a:gd name="T15" fmla="*/ 2147483647 h 145"/>
                <a:gd name="T16" fmla="*/ 2147483647 w 64"/>
                <a:gd name="T17" fmla="*/ 2147483647 h 1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4"/>
                <a:gd name="T28" fmla="*/ 0 h 145"/>
                <a:gd name="T29" fmla="*/ 64 w 64"/>
                <a:gd name="T30" fmla="*/ 145 h 1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4" h="145">
                  <a:moveTo>
                    <a:pt x="0" y="0"/>
                  </a:moveTo>
                  <a:lnTo>
                    <a:pt x="55" y="60"/>
                  </a:lnTo>
                  <a:lnTo>
                    <a:pt x="58" y="70"/>
                  </a:lnTo>
                  <a:lnTo>
                    <a:pt x="60" y="81"/>
                  </a:lnTo>
                  <a:lnTo>
                    <a:pt x="63" y="106"/>
                  </a:lnTo>
                  <a:lnTo>
                    <a:pt x="63" y="117"/>
                  </a:lnTo>
                  <a:lnTo>
                    <a:pt x="63" y="128"/>
                  </a:lnTo>
                  <a:lnTo>
                    <a:pt x="63" y="138"/>
                  </a:lnTo>
                  <a:lnTo>
                    <a:pt x="64" y="145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13">
              <a:extLst>
                <a:ext uri="{FF2B5EF4-FFF2-40B4-BE49-F238E27FC236}">
                  <a16:creationId xmlns:a16="http://schemas.microsoft.com/office/drawing/2014/main" id="{53E6F1E9-27FA-4FED-9CEF-F636716A6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6255" y="2460531"/>
              <a:ext cx="39195" cy="146073"/>
            </a:xfrm>
            <a:custGeom>
              <a:avLst/>
              <a:gdLst>
                <a:gd name="T0" fmla="*/ 2147483647 w 33"/>
                <a:gd name="T1" fmla="*/ 2147483647 h 135"/>
                <a:gd name="T2" fmla="*/ 2147483647 w 33"/>
                <a:gd name="T3" fmla="*/ 2147483647 h 135"/>
                <a:gd name="T4" fmla="*/ 2147483647 w 33"/>
                <a:gd name="T5" fmla="*/ 2147483647 h 135"/>
                <a:gd name="T6" fmla="*/ 0 w 33"/>
                <a:gd name="T7" fmla="*/ 0 h 13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135"/>
                <a:gd name="T14" fmla="*/ 33 w 33"/>
                <a:gd name="T15" fmla="*/ 135 h 13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135">
                  <a:moveTo>
                    <a:pt x="33" y="135"/>
                  </a:moveTo>
                  <a:lnTo>
                    <a:pt x="19" y="97"/>
                  </a:lnTo>
                  <a:lnTo>
                    <a:pt x="14" y="52"/>
                  </a:lnTo>
                  <a:lnTo>
                    <a:pt x="0" y="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4" name="Freeform 14">
              <a:extLst>
                <a:ext uri="{FF2B5EF4-FFF2-40B4-BE49-F238E27FC236}">
                  <a16:creationId xmlns:a16="http://schemas.microsoft.com/office/drawing/2014/main" id="{0B0EECD0-C7F3-4812-91D3-3AAAAE477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005" y="5451610"/>
              <a:ext cx="612558" cy="144112"/>
            </a:xfrm>
            <a:custGeom>
              <a:avLst/>
              <a:gdLst>
                <a:gd name="T0" fmla="*/ 0 w 524"/>
                <a:gd name="T1" fmla="*/ 2147483647 h 140"/>
                <a:gd name="T2" fmla="*/ 2147483647 w 524"/>
                <a:gd name="T3" fmla="*/ 2147483647 h 140"/>
                <a:gd name="T4" fmla="*/ 2147483647 w 524"/>
                <a:gd name="T5" fmla="*/ 2147483647 h 140"/>
                <a:gd name="T6" fmla="*/ 2147483647 w 524"/>
                <a:gd name="T7" fmla="*/ 2147483647 h 140"/>
                <a:gd name="T8" fmla="*/ 2147483647 w 524"/>
                <a:gd name="T9" fmla="*/ 2147483647 h 140"/>
                <a:gd name="T10" fmla="*/ 2147483647 w 524"/>
                <a:gd name="T11" fmla="*/ 2147483647 h 140"/>
                <a:gd name="T12" fmla="*/ 2147483647 w 524"/>
                <a:gd name="T13" fmla="*/ 2147483647 h 140"/>
                <a:gd name="T14" fmla="*/ 2147483647 w 524"/>
                <a:gd name="T15" fmla="*/ 2147483647 h 140"/>
                <a:gd name="T16" fmla="*/ 2147483647 w 524"/>
                <a:gd name="T17" fmla="*/ 2147483647 h 140"/>
                <a:gd name="T18" fmla="*/ 2147483647 w 524"/>
                <a:gd name="T19" fmla="*/ 2147483647 h 140"/>
                <a:gd name="T20" fmla="*/ 2147483647 w 524"/>
                <a:gd name="T21" fmla="*/ 2147483647 h 140"/>
                <a:gd name="T22" fmla="*/ 2147483647 w 524"/>
                <a:gd name="T23" fmla="*/ 2147483647 h 140"/>
                <a:gd name="T24" fmla="*/ 2147483647 w 524"/>
                <a:gd name="T25" fmla="*/ 2147483647 h 140"/>
                <a:gd name="T26" fmla="*/ 2147483647 w 524"/>
                <a:gd name="T27" fmla="*/ 2147483647 h 140"/>
                <a:gd name="T28" fmla="*/ 2147483647 w 524"/>
                <a:gd name="T29" fmla="*/ 2147483647 h 140"/>
                <a:gd name="T30" fmla="*/ 2147483647 w 524"/>
                <a:gd name="T31" fmla="*/ 2147483647 h 140"/>
                <a:gd name="T32" fmla="*/ 2147483647 w 524"/>
                <a:gd name="T33" fmla="*/ 2147483647 h 140"/>
                <a:gd name="T34" fmla="*/ 2147483647 w 524"/>
                <a:gd name="T35" fmla="*/ 0 h 14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24"/>
                <a:gd name="T55" fmla="*/ 0 h 140"/>
                <a:gd name="T56" fmla="*/ 524 w 524"/>
                <a:gd name="T57" fmla="*/ 140 h 14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24" h="140">
                  <a:moveTo>
                    <a:pt x="0" y="140"/>
                  </a:moveTo>
                  <a:lnTo>
                    <a:pt x="89" y="103"/>
                  </a:lnTo>
                  <a:lnTo>
                    <a:pt x="99" y="102"/>
                  </a:lnTo>
                  <a:lnTo>
                    <a:pt x="108" y="103"/>
                  </a:lnTo>
                  <a:lnTo>
                    <a:pt x="117" y="105"/>
                  </a:lnTo>
                  <a:lnTo>
                    <a:pt x="126" y="108"/>
                  </a:lnTo>
                  <a:lnTo>
                    <a:pt x="143" y="113"/>
                  </a:lnTo>
                  <a:lnTo>
                    <a:pt x="151" y="114"/>
                  </a:lnTo>
                  <a:lnTo>
                    <a:pt x="159" y="115"/>
                  </a:lnTo>
                  <a:lnTo>
                    <a:pt x="218" y="105"/>
                  </a:lnTo>
                  <a:lnTo>
                    <a:pt x="232" y="91"/>
                  </a:lnTo>
                  <a:lnTo>
                    <a:pt x="280" y="91"/>
                  </a:lnTo>
                  <a:lnTo>
                    <a:pt x="322" y="68"/>
                  </a:lnTo>
                  <a:lnTo>
                    <a:pt x="355" y="36"/>
                  </a:lnTo>
                  <a:lnTo>
                    <a:pt x="407" y="30"/>
                  </a:lnTo>
                  <a:lnTo>
                    <a:pt x="447" y="40"/>
                  </a:lnTo>
                  <a:lnTo>
                    <a:pt x="472" y="40"/>
                  </a:lnTo>
                  <a:lnTo>
                    <a:pt x="52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15">
              <a:extLst>
                <a:ext uri="{FF2B5EF4-FFF2-40B4-BE49-F238E27FC236}">
                  <a16:creationId xmlns:a16="http://schemas.microsoft.com/office/drawing/2014/main" id="{D38EFDD8-E3F3-4C4C-B465-2C2BCE78C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0727" y="5502589"/>
              <a:ext cx="90707" cy="165680"/>
            </a:xfrm>
            <a:custGeom>
              <a:avLst/>
              <a:gdLst/>
              <a:ahLst/>
              <a:cxnLst>
                <a:cxn ang="0">
                  <a:pos x="0" y="153"/>
                </a:cxn>
                <a:cxn ang="0">
                  <a:pos x="2" y="147"/>
                </a:cxn>
                <a:cxn ang="0">
                  <a:pos x="4" y="140"/>
                </a:cxn>
                <a:cxn ang="0">
                  <a:pos x="6" y="131"/>
                </a:cxn>
                <a:cxn ang="0">
                  <a:pos x="9" y="121"/>
                </a:cxn>
                <a:cxn ang="0">
                  <a:pos x="15" y="100"/>
                </a:cxn>
                <a:cxn ang="0">
                  <a:pos x="24" y="79"/>
                </a:cxn>
                <a:cxn ang="0">
                  <a:pos x="30" y="69"/>
                </a:cxn>
                <a:cxn ang="0">
                  <a:pos x="36" y="58"/>
                </a:cxn>
                <a:cxn ang="0">
                  <a:pos x="51" y="36"/>
                </a:cxn>
                <a:cxn ang="0">
                  <a:pos x="58" y="26"/>
                </a:cxn>
                <a:cxn ang="0">
                  <a:pos x="65" y="16"/>
                </a:cxn>
                <a:cxn ang="0">
                  <a:pos x="71" y="7"/>
                </a:cxn>
                <a:cxn ang="0">
                  <a:pos x="75" y="0"/>
                </a:cxn>
              </a:cxnLst>
              <a:rect l="0" t="0" r="r" b="b"/>
              <a:pathLst>
                <a:path w="75" h="153">
                  <a:moveTo>
                    <a:pt x="0" y="153"/>
                  </a:moveTo>
                  <a:lnTo>
                    <a:pt x="2" y="147"/>
                  </a:lnTo>
                  <a:lnTo>
                    <a:pt x="4" y="140"/>
                  </a:lnTo>
                  <a:lnTo>
                    <a:pt x="6" y="131"/>
                  </a:lnTo>
                  <a:lnTo>
                    <a:pt x="9" y="121"/>
                  </a:lnTo>
                  <a:lnTo>
                    <a:pt x="15" y="100"/>
                  </a:lnTo>
                  <a:lnTo>
                    <a:pt x="24" y="79"/>
                  </a:lnTo>
                  <a:lnTo>
                    <a:pt x="30" y="69"/>
                  </a:lnTo>
                  <a:lnTo>
                    <a:pt x="36" y="58"/>
                  </a:lnTo>
                  <a:lnTo>
                    <a:pt x="51" y="36"/>
                  </a:lnTo>
                  <a:lnTo>
                    <a:pt x="58" y="26"/>
                  </a:lnTo>
                  <a:lnTo>
                    <a:pt x="65" y="16"/>
                  </a:lnTo>
                  <a:lnTo>
                    <a:pt x="71" y="7"/>
                  </a:lnTo>
                  <a:lnTo>
                    <a:pt x="75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6" name="Freeform 16">
              <a:extLst>
                <a:ext uri="{FF2B5EF4-FFF2-40B4-BE49-F238E27FC236}">
                  <a16:creationId xmlns:a16="http://schemas.microsoft.com/office/drawing/2014/main" id="{AFF2408E-E0E7-402F-92BB-38897EBB6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274" y="2292889"/>
              <a:ext cx="77269" cy="328420"/>
            </a:xfrm>
            <a:custGeom>
              <a:avLst/>
              <a:gdLst>
                <a:gd name="T0" fmla="*/ 2147483647 w 64"/>
                <a:gd name="T1" fmla="*/ 2147483647 h 303"/>
                <a:gd name="T2" fmla="*/ 2147483647 w 64"/>
                <a:gd name="T3" fmla="*/ 2147483647 h 303"/>
                <a:gd name="T4" fmla="*/ 2147483647 w 64"/>
                <a:gd name="T5" fmla="*/ 2147483647 h 303"/>
                <a:gd name="T6" fmla="*/ 0 w 64"/>
                <a:gd name="T7" fmla="*/ 2147483647 h 303"/>
                <a:gd name="T8" fmla="*/ 2147483647 w 64"/>
                <a:gd name="T9" fmla="*/ 0 h 30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4"/>
                <a:gd name="T16" fmla="*/ 0 h 303"/>
                <a:gd name="T17" fmla="*/ 64 w 64"/>
                <a:gd name="T18" fmla="*/ 303 h 30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4" h="303">
                  <a:moveTo>
                    <a:pt x="64" y="303"/>
                  </a:moveTo>
                  <a:lnTo>
                    <a:pt x="52" y="215"/>
                  </a:lnTo>
                  <a:lnTo>
                    <a:pt x="10" y="148"/>
                  </a:lnTo>
                  <a:lnTo>
                    <a:pt x="0" y="76"/>
                  </a:lnTo>
                  <a:lnTo>
                    <a:pt x="2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Line 17">
              <a:extLst>
                <a:ext uri="{FF2B5EF4-FFF2-40B4-BE49-F238E27FC236}">
                  <a16:creationId xmlns:a16="http://schemas.microsoft.com/office/drawing/2014/main" id="{3684E9D1-57D5-4701-A5EC-BD63F28C82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94265" y="2117406"/>
              <a:ext cx="22397" cy="42155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8" name="Freeform 18">
              <a:extLst>
                <a:ext uri="{FF2B5EF4-FFF2-40B4-BE49-F238E27FC236}">
                  <a16:creationId xmlns:a16="http://schemas.microsoft.com/office/drawing/2014/main" id="{BAC3E27E-84E0-4E7C-A924-4D68708E8E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4266" y="2142895"/>
              <a:ext cx="116464" cy="1274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96" y="0"/>
                </a:cxn>
              </a:cxnLst>
              <a:rect l="0" t="0" r="r" b="b"/>
              <a:pathLst>
                <a:path w="96" h="12">
                  <a:moveTo>
                    <a:pt x="0" y="12"/>
                  </a:moveTo>
                  <a:lnTo>
                    <a:pt x="96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Line 19">
              <a:extLst>
                <a:ext uri="{FF2B5EF4-FFF2-40B4-BE49-F238E27FC236}">
                  <a16:creationId xmlns:a16="http://schemas.microsoft.com/office/drawing/2014/main" id="{3E8AA490-8D44-4CEE-A1AC-5BD1AA1D76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02891" y="2139952"/>
              <a:ext cx="15677" cy="46076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00" name="Freeform 20">
              <a:extLst>
                <a:ext uri="{FF2B5EF4-FFF2-40B4-BE49-F238E27FC236}">
                  <a16:creationId xmlns:a16="http://schemas.microsoft.com/office/drawing/2014/main" id="{2E08E959-3A46-46AA-A96B-34AFFF4F1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7152" y="2155640"/>
              <a:ext cx="59352" cy="784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32" y="0"/>
                </a:cxn>
                <a:cxn ang="0">
                  <a:pos x="50" y="6"/>
                </a:cxn>
              </a:cxnLst>
              <a:rect l="0" t="0" r="r" b="b"/>
              <a:pathLst>
                <a:path w="50" h="7">
                  <a:moveTo>
                    <a:pt x="0" y="7"/>
                  </a:moveTo>
                  <a:lnTo>
                    <a:pt x="32" y="0"/>
                  </a:lnTo>
                  <a:lnTo>
                    <a:pt x="50" y="6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1" name="Freeform 21">
              <a:extLst>
                <a:ext uri="{FF2B5EF4-FFF2-40B4-BE49-F238E27FC236}">
                  <a16:creationId xmlns:a16="http://schemas.microsoft.com/office/drawing/2014/main" id="{3ADFF8EA-E946-4A1E-B438-0A1028BA8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2909" y="2097797"/>
              <a:ext cx="13439" cy="57842"/>
            </a:xfrm>
            <a:custGeom>
              <a:avLst/>
              <a:gdLst/>
              <a:ahLst/>
              <a:cxnLst>
                <a:cxn ang="0">
                  <a:pos x="6" y="54"/>
                </a:cxn>
                <a:cxn ang="0">
                  <a:pos x="0" y="37"/>
                </a:cxn>
                <a:cxn ang="0">
                  <a:pos x="7" y="24"/>
                </a:cxn>
                <a:cxn ang="0">
                  <a:pos x="9" y="0"/>
                </a:cxn>
              </a:cxnLst>
              <a:rect l="0" t="0" r="r" b="b"/>
              <a:pathLst>
                <a:path w="9" h="54">
                  <a:moveTo>
                    <a:pt x="6" y="54"/>
                  </a:moveTo>
                  <a:lnTo>
                    <a:pt x="0" y="37"/>
                  </a:lnTo>
                  <a:lnTo>
                    <a:pt x="7" y="24"/>
                  </a:lnTo>
                  <a:lnTo>
                    <a:pt x="9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2" name="Freeform 22">
              <a:extLst>
                <a:ext uri="{FF2B5EF4-FFF2-40B4-BE49-F238E27FC236}">
                  <a16:creationId xmlns:a16="http://schemas.microsoft.com/office/drawing/2014/main" id="{572C827D-35CB-46F1-87B4-672C03A29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6681" y="2062504"/>
              <a:ext cx="131023" cy="40196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32" y="38"/>
                </a:cxn>
                <a:cxn ang="0">
                  <a:pos x="67" y="30"/>
                </a:cxn>
                <a:cxn ang="0">
                  <a:pos x="94" y="32"/>
                </a:cxn>
                <a:cxn ang="0">
                  <a:pos x="109" y="0"/>
                </a:cxn>
              </a:cxnLst>
              <a:rect l="0" t="0" r="r" b="b"/>
              <a:pathLst>
                <a:path w="109" h="38">
                  <a:moveTo>
                    <a:pt x="0" y="24"/>
                  </a:moveTo>
                  <a:lnTo>
                    <a:pt x="32" y="38"/>
                  </a:lnTo>
                  <a:lnTo>
                    <a:pt x="67" y="30"/>
                  </a:lnTo>
                  <a:lnTo>
                    <a:pt x="94" y="32"/>
                  </a:lnTo>
                  <a:lnTo>
                    <a:pt x="109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Freeform 23">
              <a:extLst>
                <a:ext uri="{FF2B5EF4-FFF2-40B4-BE49-F238E27FC236}">
                  <a16:creationId xmlns:a16="http://schemas.microsoft.com/office/drawing/2014/main" id="{E9AFDF0A-EF6F-4CF2-86C9-3ABC9133D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8387" y="4078125"/>
              <a:ext cx="156780" cy="84311"/>
            </a:xfrm>
            <a:custGeom>
              <a:avLst/>
              <a:gdLst>
                <a:gd name="T0" fmla="*/ 0 w 130"/>
                <a:gd name="T1" fmla="*/ 2147483647 h 78"/>
                <a:gd name="T2" fmla="*/ 2147483647 w 130"/>
                <a:gd name="T3" fmla="*/ 2147483647 h 78"/>
                <a:gd name="T4" fmla="*/ 2147483647 w 130"/>
                <a:gd name="T5" fmla="*/ 2147483647 h 78"/>
                <a:gd name="T6" fmla="*/ 2147483647 w 130"/>
                <a:gd name="T7" fmla="*/ 0 h 78"/>
                <a:gd name="T8" fmla="*/ 2147483647 w 130"/>
                <a:gd name="T9" fmla="*/ 2147483647 h 78"/>
                <a:gd name="T10" fmla="*/ 2147483647 w 130"/>
                <a:gd name="T11" fmla="*/ 2147483647 h 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0"/>
                <a:gd name="T19" fmla="*/ 0 h 78"/>
                <a:gd name="T20" fmla="*/ 130 w 130"/>
                <a:gd name="T21" fmla="*/ 78 h 7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0" h="78">
                  <a:moveTo>
                    <a:pt x="0" y="78"/>
                  </a:moveTo>
                  <a:lnTo>
                    <a:pt x="19" y="50"/>
                  </a:lnTo>
                  <a:lnTo>
                    <a:pt x="24" y="24"/>
                  </a:lnTo>
                  <a:lnTo>
                    <a:pt x="86" y="0"/>
                  </a:lnTo>
                  <a:lnTo>
                    <a:pt x="115" y="3"/>
                  </a:lnTo>
                  <a:lnTo>
                    <a:pt x="130" y="2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4" name="Line 24">
              <a:extLst>
                <a:ext uri="{FF2B5EF4-FFF2-40B4-BE49-F238E27FC236}">
                  <a16:creationId xmlns:a16="http://schemas.microsoft.com/office/drawing/2014/main" id="{24436CC8-F439-4655-B2B2-A88A7C50D5D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47405" y="4099692"/>
              <a:ext cx="73911" cy="2941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5" name="Freeform 25">
              <a:extLst>
                <a:ext uri="{FF2B5EF4-FFF2-40B4-BE49-F238E27FC236}">
                  <a16:creationId xmlns:a16="http://schemas.microsoft.com/office/drawing/2014/main" id="{B0356447-2328-4EAD-ABCB-DC6FD25D0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1316" y="3970286"/>
              <a:ext cx="240768" cy="131368"/>
            </a:xfrm>
            <a:custGeom>
              <a:avLst/>
              <a:gdLst>
                <a:gd name="T0" fmla="*/ 0 w 199"/>
                <a:gd name="T1" fmla="*/ 2147483647 h 121"/>
                <a:gd name="T2" fmla="*/ 2147483647 w 199"/>
                <a:gd name="T3" fmla="*/ 2147483647 h 121"/>
                <a:gd name="T4" fmla="*/ 2147483647 w 199"/>
                <a:gd name="T5" fmla="*/ 2147483647 h 121"/>
                <a:gd name="T6" fmla="*/ 2147483647 w 199"/>
                <a:gd name="T7" fmla="*/ 2147483647 h 121"/>
                <a:gd name="T8" fmla="*/ 2147483647 w 199"/>
                <a:gd name="T9" fmla="*/ 2147483647 h 121"/>
                <a:gd name="T10" fmla="*/ 2147483647 w 199"/>
                <a:gd name="T11" fmla="*/ 2147483647 h 121"/>
                <a:gd name="T12" fmla="*/ 2147483647 w 199"/>
                <a:gd name="T13" fmla="*/ 2147483647 h 121"/>
                <a:gd name="T14" fmla="*/ 2147483647 w 199"/>
                <a:gd name="T15" fmla="*/ 2147483647 h 121"/>
                <a:gd name="T16" fmla="*/ 2147483647 w 199"/>
                <a:gd name="T17" fmla="*/ 0 h 1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9"/>
                <a:gd name="T28" fmla="*/ 0 h 121"/>
                <a:gd name="T29" fmla="*/ 199 w 199"/>
                <a:gd name="T30" fmla="*/ 121 h 1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9" h="121">
                  <a:moveTo>
                    <a:pt x="0" y="121"/>
                  </a:moveTo>
                  <a:lnTo>
                    <a:pt x="23" y="103"/>
                  </a:lnTo>
                  <a:lnTo>
                    <a:pt x="63" y="102"/>
                  </a:lnTo>
                  <a:lnTo>
                    <a:pt x="75" y="93"/>
                  </a:lnTo>
                  <a:lnTo>
                    <a:pt x="106" y="90"/>
                  </a:lnTo>
                  <a:lnTo>
                    <a:pt x="148" y="58"/>
                  </a:lnTo>
                  <a:lnTo>
                    <a:pt x="185" y="45"/>
                  </a:lnTo>
                  <a:lnTo>
                    <a:pt x="199" y="27"/>
                  </a:lnTo>
                  <a:lnTo>
                    <a:pt x="19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Freeform 26">
              <a:extLst>
                <a:ext uri="{FF2B5EF4-FFF2-40B4-BE49-F238E27FC236}">
                  <a16:creationId xmlns:a16="http://schemas.microsoft.com/office/drawing/2014/main" id="{0672D3F9-83CE-4AB8-85EA-9B13A4CDF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9985" y="2217403"/>
              <a:ext cx="108625" cy="332342"/>
            </a:xfrm>
            <a:custGeom>
              <a:avLst/>
              <a:gdLst/>
              <a:ahLst/>
              <a:cxnLst>
                <a:cxn ang="0">
                  <a:pos x="74" y="307"/>
                </a:cxn>
                <a:cxn ang="0">
                  <a:pos x="76" y="261"/>
                </a:cxn>
                <a:cxn ang="0">
                  <a:pos x="86" y="223"/>
                </a:cxn>
                <a:cxn ang="0">
                  <a:pos x="90" y="193"/>
                </a:cxn>
                <a:cxn ang="0">
                  <a:pos x="72" y="167"/>
                </a:cxn>
                <a:cxn ang="0">
                  <a:pos x="72" y="160"/>
                </a:cxn>
                <a:cxn ang="0">
                  <a:pos x="73" y="153"/>
                </a:cxn>
                <a:cxn ang="0">
                  <a:pos x="77" y="136"/>
                </a:cxn>
                <a:cxn ang="0">
                  <a:pos x="81" y="118"/>
                </a:cxn>
                <a:cxn ang="0">
                  <a:pos x="82" y="110"/>
                </a:cxn>
                <a:cxn ang="0">
                  <a:pos x="82" y="102"/>
                </a:cxn>
                <a:cxn ang="0">
                  <a:pos x="58" y="54"/>
                </a:cxn>
                <a:cxn ang="0">
                  <a:pos x="18" y="24"/>
                </a:cxn>
                <a:cxn ang="0">
                  <a:pos x="0" y="16"/>
                </a:cxn>
                <a:cxn ang="0">
                  <a:pos x="0" y="0"/>
                </a:cxn>
              </a:cxnLst>
              <a:rect l="0" t="0" r="r" b="b"/>
              <a:pathLst>
                <a:path w="90" h="307">
                  <a:moveTo>
                    <a:pt x="74" y="307"/>
                  </a:moveTo>
                  <a:lnTo>
                    <a:pt x="76" y="261"/>
                  </a:lnTo>
                  <a:lnTo>
                    <a:pt x="86" y="223"/>
                  </a:lnTo>
                  <a:lnTo>
                    <a:pt x="90" y="193"/>
                  </a:lnTo>
                  <a:lnTo>
                    <a:pt x="72" y="167"/>
                  </a:lnTo>
                  <a:lnTo>
                    <a:pt x="72" y="160"/>
                  </a:lnTo>
                  <a:lnTo>
                    <a:pt x="73" y="153"/>
                  </a:lnTo>
                  <a:lnTo>
                    <a:pt x="77" y="136"/>
                  </a:lnTo>
                  <a:lnTo>
                    <a:pt x="81" y="118"/>
                  </a:lnTo>
                  <a:lnTo>
                    <a:pt x="82" y="110"/>
                  </a:lnTo>
                  <a:lnTo>
                    <a:pt x="82" y="102"/>
                  </a:lnTo>
                  <a:lnTo>
                    <a:pt x="58" y="54"/>
                  </a:lnTo>
                  <a:lnTo>
                    <a:pt x="18" y="24"/>
                  </a:lnTo>
                  <a:lnTo>
                    <a:pt x="0" y="16"/>
                  </a:lnTo>
                  <a:lnTo>
                    <a:pt x="0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07" name="Freeform 27">
              <a:extLst>
                <a:ext uri="{FF2B5EF4-FFF2-40B4-BE49-F238E27FC236}">
                  <a16:creationId xmlns:a16="http://schemas.microsoft.com/office/drawing/2014/main" id="{CB2FEB7F-A9A0-4F35-B515-10115212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6598" y="2650720"/>
              <a:ext cx="66072" cy="55881"/>
            </a:xfrm>
            <a:custGeom>
              <a:avLst/>
              <a:gdLst>
                <a:gd name="T0" fmla="*/ 2147483647 w 57"/>
                <a:gd name="T1" fmla="*/ 0 h 51"/>
                <a:gd name="T2" fmla="*/ 2147483647 w 57"/>
                <a:gd name="T3" fmla="*/ 2147483647 h 51"/>
                <a:gd name="T4" fmla="*/ 2147483647 w 57"/>
                <a:gd name="T5" fmla="*/ 2147483647 h 51"/>
                <a:gd name="T6" fmla="*/ 2147483647 w 57"/>
                <a:gd name="T7" fmla="*/ 2147483647 h 51"/>
                <a:gd name="T8" fmla="*/ 2147483647 w 57"/>
                <a:gd name="T9" fmla="*/ 2147483647 h 51"/>
                <a:gd name="T10" fmla="*/ 2147483647 w 57"/>
                <a:gd name="T11" fmla="*/ 2147483647 h 51"/>
                <a:gd name="T12" fmla="*/ 2147483647 w 57"/>
                <a:gd name="T13" fmla="*/ 2147483647 h 51"/>
                <a:gd name="T14" fmla="*/ 2147483647 w 57"/>
                <a:gd name="T15" fmla="*/ 2147483647 h 51"/>
                <a:gd name="T16" fmla="*/ 2147483647 w 57"/>
                <a:gd name="T17" fmla="*/ 2147483647 h 51"/>
                <a:gd name="T18" fmla="*/ 2147483647 w 57"/>
                <a:gd name="T19" fmla="*/ 2147483647 h 51"/>
                <a:gd name="T20" fmla="*/ 2147483647 w 57"/>
                <a:gd name="T21" fmla="*/ 2147483647 h 51"/>
                <a:gd name="T22" fmla="*/ 2147483647 w 57"/>
                <a:gd name="T23" fmla="*/ 2147483647 h 51"/>
                <a:gd name="T24" fmla="*/ 2147483647 w 57"/>
                <a:gd name="T25" fmla="*/ 2147483647 h 51"/>
                <a:gd name="T26" fmla="*/ 2147483647 w 57"/>
                <a:gd name="T27" fmla="*/ 2147483647 h 51"/>
                <a:gd name="T28" fmla="*/ 0 w 57"/>
                <a:gd name="T29" fmla="*/ 2147483647 h 51"/>
                <a:gd name="T30" fmla="*/ 0 w 57"/>
                <a:gd name="T31" fmla="*/ 2147483647 h 5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7"/>
                <a:gd name="T49" fmla="*/ 0 h 51"/>
                <a:gd name="T50" fmla="*/ 57 w 57"/>
                <a:gd name="T51" fmla="*/ 51 h 5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7" h="51">
                  <a:moveTo>
                    <a:pt x="57" y="0"/>
                  </a:moveTo>
                  <a:lnTo>
                    <a:pt x="50" y="1"/>
                  </a:lnTo>
                  <a:lnTo>
                    <a:pt x="43" y="3"/>
                  </a:lnTo>
                  <a:lnTo>
                    <a:pt x="39" y="6"/>
                  </a:lnTo>
                  <a:lnTo>
                    <a:pt x="36" y="8"/>
                  </a:lnTo>
                  <a:lnTo>
                    <a:pt x="33" y="11"/>
                  </a:lnTo>
                  <a:lnTo>
                    <a:pt x="28" y="12"/>
                  </a:lnTo>
                  <a:lnTo>
                    <a:pt x="22" y="15"/>
                  </a:lnTo>
                  <a:lnTo>
                    <a:pt x="15" y="17"/>
                  </a:lnTo>
                  <a:lnTo>
                    <a:pt x="11" y="25"/>
                  </a:lnTo>
                  <a:lnTo>
                    <a:pt x="8" y="32"/>
                  </a:lnTo>
                  <a:lnTo>
                    <a:pt x="5" y="39"/>
                  </a:lnTo>
                  <a:lnTo>
                    <a:pt x="1" y="46"/>
                  </a:lnTo>
                  <a:lnTo>
                    <a:pt x="1" y="49"/>
                  </a:lnTo>
                  <a:lnTo>
                    <a:pt x="0" y="5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" name="Freeform 28">
              <a:extLst>
                <a:ext uri="{FF2B5EF4-FFF2-40B4-BE49-F238E27FC236}">
                  <a16:creationId xmlns:a16="http://schemas.microsoft.com/office/drawing/2014/main" id="{60C54131-1994-41C8-B5FB-484D73053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4093" y="1958586"/>
              <a:ext cx="236288" cy="139212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66" y="0"/>
                </a:cxn>
                <a:cxn ang="0">
                  <a:pos x="127" y="9"/>
                </a:cxn>
                <a:cxn ang="0">
                  <a:pos x="169" y="27"/>
                </a:cxn>
                <a:cxn ang="0">
                  <a:pos x="171" y="33"/>
                </a:cxn>
                <a:cxn ang="0">
                  <a:pos x="173" y="40"/>
                </a:cxn>
                <a:cxn ang="0">
                  <a:pos x="174" y="57"/>
                </a:cxn>
                <a:cxn ang="0">
                  <a:pos x="174" y="75"/>
                </a:cxn>
                <a:cxn ang="0">
                  <a:pos x="174" y="83"/>
                </a:cxn>
                <a:cxn ang="0">
                  <a:pos x="175" y="90"/>
                </a:cxn>
                <a:cxn ang="0">
                  <a:pos x="196" y="129"/>
                </a:cxn>
              </a:cxnLst>
              <a:rect l="0" t="0" r="r" b="b"/>
              <a:pathLst>
                <a:path w="196" h="129">
                  <a:moveTo>
                    <a:pt x="0" y="9"/>
                  </a:moveTo>
                  <a:lnTo>
                    <a:pt x="66" y="0"/>
                  </a:lnTo>
                  <a:lnTo>
                    <a:pt x="127" y="9"/>
                  </a:lnTo>
                  <a:lnTo>
                    <a:pt x="169" y="27"/>
                  </a:lnTo>
                  <a:lnTo>
                    <a:pt x="171" y="33"/>
                  </a:lnTo>
                  <a:lnTo>
                    <a:pt x="173" y="40"/>
                  </a:lnTo>
                  <a:lnTo>
                    <a:pt x="174" y="57"/>
                  </a:lnTo>
                  <a:lnTo>
                    <a:pt x="174" y="75"/>
                  </a:lnTo>
                  <a:lnTo>
                    <a:pt x="174" y="83"/>
                  </a:lnTo>
                  <a:lnTo>
                    <a:pt x="175" y="90"/>
                  </a:lnTo>
                  <a:lnTo>
                    <a:pt x="196" y="129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09" name="Freeform 29">
              <a:extLst>
                <a:ext uri="{FF2B5EF4-FFF2-40B4-BE49-F238E27FC236}">
                  <a16:creationId xmlns:a16="http://schemas.microsoft.com/office/drawing/2014/main" id="{FC264248-3BD0-4F92-B705-D5258B2C6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0383" y="2097798"/>
              <a:ext cx="64951" cy="62743"/>
            </a:xfrm>
            <a:custGeom>
              <a:avLst/>
              <a:gdLst>
                <a:gd name="T0" fmla="*/ 0 w 54"/>
                <a:gd name="T1" fmla="*/ 0 h 58"/>
                <a:gd name="T2" fmla="*/ 2147483647 w 54"/>
                <a:gd name="T3" fmla="*/ 2147483647 h 58"/>
                <a:gd name="T4" fmla="*/ 2147483647 w 54"/>
                <a:gd name="T5" fmla="*/ 2147483647 h 58"/>
                <a:gd name="T6" fmla="*/ 2147483647 w 54"/>
                <a:gd name="T7" fmla="*/ 2147483647 h 58"/>
                <a:gd name="T8" fmla="*/ 2147483647 w 54"/>
                <a:gd name="T9" fmla="*/ 2147483647 h 58"/>
                <a:gd name="T10" fmla="*/ 2147483647 w 54"/>
                <a:gd name="T11" fmla="*/ 2147483647 h 58"/>
                <a:gd name="T12" fmla="*/ 2147483647 w 54"/>
                <a:gd name="T13" fmla="*/ 2147483647 h 58"/>
                <a:gd name="T14" fmla="*/ 2147483647 w 54"/>
                <a:gd name="T15" fmla="*/ 2147483647 h 5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4"/>
                <a:gd name="T25" fmla="*/ 0 h 58"/>
                <a:gd name="T26" fmla="*/ 54 w 54"/>
                <a:gd name="T27" fmla="*/ 58 h 5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4" h="58">
                  <a:moveTo>
                    <a:pt x="0" y="0"/>
                  </a:moveTo>
                  <a:lnTo>
                    <a:pt x="3" y="1"/>
                  </a:lnTo>
                  <a:lnTo>
                    <a:pt x="7" y="2"/>
                  </a:lnTo>
                  <a:lnTo>
                    <a:pt x="17" y="5"/>
                  </a:lnTo>
                  <a:lnTo>
                    <a:pt x="27" y="9"/>
                  </a:lnTo>
                  <a:lnTo>
                    <a:pt x="32" y="12"/>
                  </a:lnTo>
                  <a:lnTo>
                    <a:pt x="36" y="15"/>
                  </a:lnTo>
                  <a:lnTo>
                    <a:pt x="54" y="5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Line 30">
              <a:extLst>
                <a:ext uri="{FF2B5EF4-FFF2-40B4-BE49-F238E27FC236}">
                  <a16:creationId xmlns:a16="http://schemas.microsoft.com/office/drawing/2014/main" id="{2B78B6D4-E7E6-4362-BEBB-561603772D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37181" y="2166423"/>
              <a:ext cx="44793" cy="2647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Freeform 31">
              <a:extLst>
                <a:ext uri="{FF2B5EF4-FFF2-40B4-BE49-F238E27FC236}">
                  <a16:creationId xmlns:a16="http://schemas.microsoft.com/office/drawing/2014/main" id="{40D6BAD0-C9B6-401E-A5A2-A7EB4B867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6963" y="2120345"/>
              <a:ext cx="81748" cy="85291"/>
            </a:xfrm>
            <a:custGeom>
              <a:avLst/>
              <a:gdLst/>
              <a:ahLst/>
              <a:cxnLst>
                <a:cxn ang="0">
                  <a:pos x="64" y="79"/>
                </a:cxn>
                <a:cxn ang="0">
                  <a:pos x="67" y="30"/>
                </a:cxn>
                <a:cxn ang="0">
                  <a:pos x="30" y="0"/>
                </a:cxn>
                <a:cxn ang="0">
                  <a:pos x="0" y="0"/>
                </a:cxn>
              </a:cxnLst>
              <a:rect l="0" t="0" r="r" b="b"/>
              <a:pathLst>
                <a:path w="67" h="79">
                  <a:moveTo>
                    <a:pt x="64" y="79"/>
                  </a:moveTo>
                  <a:lnTo>
                    <a:pt x="67" y="30"/>
                  </a:lnTo>
                  <a:lnTo>
                    <a:pt x="30" y="0"/>
                  </a:lnTo>
                  <a:lnTo>
                    <a:pt x="0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2" name="Line 32">
              <a:extLst>
                <a:ext uri="{FF2B5EF4-FFF2-40B4-BE49-F238E27FC236}">
                  <a16:creationId xmlns:a16="http://schemas.microsoft.com/office/drawing/2014/main" id="{22F94EBE-089A-4B65-B87F-E00774F2D6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05012" y="2062504"/>
              <a:ext cx="8959" cy="4215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Freeform 33">
              <a:extLst>
                <a:ext uri="{FF2B5EF4-FFF2-40B4-BE49-F238E27FC236}">
                  <a16:creationId xmlns:a16="http://schemas.microsoft.com/office/drawing/2014/main" id="{5EB86065-AE08-4B40-ACD0-684830110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041" y="2075250"/>
              <a:ext cx="106387" cy="142151"/>
            </a:xfrm>
            <a:custGeom>
              <a:avLst/>
              <a:gdLst>
                <a:gd name="T0" fmla="*/ 2147483647 w 90"/>
                <a:gd name="T1" fmla="*/ 0 h 132"/>
                <a:gd name="T2" fmla="*/ 2147483647 w 90"/>
                <a:gd name="T3" fmla="*/ 2147483647 h 132"/>
                <a:gd name="T4" fmla="*/ 2147483647 w 90"/>
                <a:gd name="T5" fmla="*/ 2147483647 h 132"/>
                <a:gd name="T6" fmla="*/ 2147483647 w 90"/>
                <a:gd name="T7" fmla="*/ 2147483647 h 132"/>
                <a:gd name="T8" fmla="*/ 2147483647 w 90"/>
                <a:gd name="T9" fmla="*/ 2147483647 h 132"/>
                <a:gd name="T10" fmla="*/ 0 w 90"/>
                <a:gd name="T11" fmla="*/ 2147483647 h 132"/>
                <a:gd name="T12" fmla="*/ 2147483647 w 90"/>
                <a:gd name="T13" fmla="*/ 2147483647 h 132"/>
                <a:gd name="T14" fmla="*/ 2147483647 w 90"/>
                <a:gd name="T15" fmla="*/ 2147483647 h 132"/>
                <a:gd name="T16" fmla="*/ 2147483647 w 90"/>
                <a:gd name="T17" fmla="*/ 2147483647 h 132"/>
                <a:gd name="T18" fmla="*/ 2147483647 w 90"/>
                <a:gd name="T19" fmla="*/ 2147483647 h 132"/>
                <a:gd name="T20" fmla="*/ 2147483647 w 90"/>
                <a:gd name="T21" fmla="*/ 2147483647 h 132"/>
                <a:gd name="T22" fmla="*/ 2147483647 w 90"/>
                <a:gd name="T23" fmla="*/ 2147483647 h 132"/>
                <a:gd name="T24" fmla="*/ 2147483647 w 90"/>
                <a:gd name="T25" fmla="*/ 2147483647 h 132"/>
                <a:gd name="T26" fmla="*/ 2147483647 w 90"/>
                <a:gd name="T27" fmla="*/ 2147483647 h 132"/>
                <a:gd name="T28" fmla="*/ 2147483647 w 90"/>
                <a:gd name="T29" fmla="*/ 2147483647 h 132"/>
                <a:gd name="T30" fmla="*/ 2147483647 w 90"/>
                <a:gd name="T31" fmla="*/ 2147483647 h 132"/>
                <a:gd name="T32" fmla="*/ 2147483647 w 90"/>
                <a:gd name="T33" fmla="*/ 2147483647 h 132"/>
                <a:gd name="T34" fmla="*/ 2147483647 w 90"/>
                <a:gd name="T35" fmla="*/ 2147483647 h 132"/>
                <a:gd name="T36" fmla="*/ 2147483647 w 90"/>
                <a:gd name="T37" fmla="*/ 2147483647 h 132"/>
                <a:gd name="T38" fmla="*/ 2147483647 w 90"/>
                <a:gd name="T39" fmla="*/ 2147483647 h 132"/>
                <a:gd name="T40" fmla="*/ 2147483647 w 90"/>
                <a:gd name="T41" fmla="*/ 2147483647 h 132"/>
                <a:gd name="T42" fmla="*/ 2147483647 w 90"/>
                <a:gd name="T43" fmla="*/ 2147483647 h 132"/>
                <a:gd name="T44" fmla="*/ 2147483647 w 90"/>
                <a:gd name="T45" fmla="*/ 2147483647 h 13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0"/>
                <a:gd name="T70" fmla="*/ 0 h 132"/>
                <a:gd name="T71" fmla="*/ 90 w 90"/>
                <a:gd name="T72" fmla="*/ 132 h 13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0" h="132">
                  <a:moveTo>
                    <a:pt x="2" y="0"/>
                  </a:moveTo>
                  <a:lnTo>
                    <a:pt x="4" y="7"/>
                  </a:lnTo>
                  <a:lnTo>
                    <a:pt x="6" y="14"/>
                  </a:lnTo>
                  <a:lnTo>
                    <a:pt x="4" y="18"/>
                  </a:lnTo>
                  <a:lnTo>
                    <a:pt x="2" y="22"/>
                  </a:lnTo>
                  <a:lnTo>
                    <a:pt x="0" y="30"/>
                  </a:lnTo>
                  <a:lnTo>
                    <a:pt x="2" y="36"/>
                  </a:lnTo>
                  <a:lnTo>
                    <a:pt x="5" y="41"/>
                  </a:lnTo>
                  <a:lnTo>
                    <a:pt x="8" y="45"/>
                  </a:lnTo>
                  <a:lnTo>
                    <a:pt x="14" y="48"/>
                  </a:lnTo>
                  <a:lnTo>
                    <a:pt x="24" y="65"/>
                  </a:lnTo>
                  <a:lnTo>
                    <a:pt x="30" y="72"/>
                  </a:lnTo>
                  <a:lnTo>
                    <a:pt x="38" y="78"/>
                  </a:lnTo>
                  <a:lnTo>
                    <a:pt x="45" y="89"/>
                  </a:lnTo>
                  <a:lnTo>
                    <a:pt x="51" y="100"/>
                  </a:lnTo>
                  <a:lnTo>
                    <a:pt x="52" y="104"/>
                  </a:lnTo>
                  <a:lnTo>
                    <a:pt x="53" y="107"/>
                  </a:lnTo>
                  <a:lnTo>
                    <a:pt x="55" y="109"/>
                  </a:lnTo>
                  <a:lnTo>
                    <a:pt x="58" y="111"/>
                  </a:lnTo>
                  <a:lnTo>
                    <a:pt x="65" y="117"/>
                  </a:lnTo>
                  <a:lnTo>
                    <a:pt x="73" y="123"/>
                  </a:lnTo>
                  <a:lnTo>
                    <a:pt x="82" y="127"/>
                  </a:lnTo>
                  <a:lnTo>
                    <a:pt x="90" y="132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Freeform 34">
              <a:extLst>
                <a:ext uri="{FF2B5EF4-FFF2-40B4-BE49-F238E27FC236}">
                  <a16:creationId xmlns:a16="http://schemas.microsoft.com/office/drawing/2014/main" id="{87DB7184-1F24-4231-804C-44DACE65D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9371" y="2194853"/>
              <a:ext cx="208292" cy="89212"/>
            </a:xfrm>
            <a:custGeom>
              <a:avLst/>
              <a:gdLst/>
              <a:ahLst/>
              <a:cxnLst>
                <a:cxn ang="0">
                  <a:pos x="33" y="82"/>
                </a:cxn>
                <a:cxn ang="0">
                  <a:pos x="26" y="66"/>
                </a:cxn>
                <a:cxn ang="0">
                  <a:pos x="21" y="59"/>
                </a:cxn>
                <a:cxn ang="0">
                  <a:pos x="16" y="51"/>
                </a:cxn>
                <a:cxn ang="0">
                  <a:pos x="15" y="46"/>
                </a:cxn>
                <a:cxn ang="0">
                  <a:pos x="13" y="42"/>
                </a:cxn>
                <a:cxn ang="0">
                  <a:pos x="7" y="33"/>
                </a:cxn>
                <a:cxn ang="0">
                  <a:pos x="4" y="19"/>
                </a:cxn>
                <a:cxn ang="0">
                  <a:pos x="3" y="13"/>
                </a:cxn>
                <a:cxn ang="0">
                  <a:pos x="0" y="7"/>
                </a:cxn>
                <a:cxn ang="0">
                  <a:pos x="4" y="3"/>
                </a:cxn>
                <a:cxn ang="0">
                  <a:pos x="7" y="1"/>
                </a:cxn>
                <a:cxn ang="0">
                  <a:pos x="12" y="1"/>
                </a:cxn>
                <a:cxn ang="0">
                  <a:pos x="18" y="0"/>
                </a:cxn>
                <a:cxn ang="0">
                  <a:pos x="26" y="1"/>
                </a:cxn>
                <a:cxn ang="0">
                  <a:pos x="33" y="3"/>
                </a:cxn>
                <a:cxn ang="0">
                  <a:pos x="40" y="5"/>
                </a:cxn>
                <a:cxn ang="0">
                  <a:pos x="48" y="7"/>
                </a:cxn>
                <a:cxn ang="0">
                  <a:pos x="54" y="10"/>
                </a:cxn>
                <a:cxn ang="0">
                  <a:pos x="62" y="13"/>
                </a:cxn>
                <a:cxn ang="0">
                  <a:pos x="78" y="15"/>
                </a:cxn>
                <a:cxn ang="0">
                  <a:pos x="94" y="15"/>
                </a:cxn>
                <a:cxn ang="0">
                  <a:pos x="102" y="15"/>
                </a:cxn>
                <a:cxn ang="0">
                  <a:pos x="109" y="15"/>
                </a:cxn>
                <a:cxn ang="0">
                  <a:pos x="120" y="23"/>
                </a:cxn>
                <a:cxn ang="0">
                  <a:pos x="126" y="26"/>
                </a:cxn>
                <a:cxn ang="0">
                  <a:pos x="133" y="28"/>
                </a:cxn>
                <a:cxn ang="0">
                  <a:pos x="137" y="31"/>
                </a:cxn>
                <a:cxn ang="0">
                  <a:pos x="141" y="35"/>
                </a:cxn>
                <a:cxn ang="0">
                  <a:pos x="151" y="45"/>
                </a:cxn>
                <a:cxn ang="0">
                  <a:pos x="157" y="50"/>
                </a:cxn>
                <a:cxn ang="0">
                  <a:pos x="162" y="54"/>
                </a:cxn>
                <a:cxn ang="0">
                  <a:pos x="168" y="57"/>
                </a:cxn>
                <a:cxn ang="0">
                  <a:pos x="172" y="58"/>
                </a:cxn>
              </a:cxnLst>
              <a:rect l="0" t="0" r="r" b="b"/>
              <a:pathLst>
                <a:path w="172" h="82">
                  <a:moveTo>
                    <a:pt x="33" y="82"/>
                  </a:moveTo>
                  <a:lnTo>
                    <a:pt x="26" y="66"/>
                  </a:lnTo>
                  <a:lnTo>
                    <a:pt x="21" y="59"/>
                  </a:lnTo>
                  <a:lnTo>
                    <a:pt x="16" y="51"/>
                  </a:lnTo>
                  <a:lnTo>
                    <a:pt x="15" y="46"/>
                  </a:lnTo>
                  <a:lnTo>
                    <a:pt x="13" y="42"/>
                  </a:lnTo>
                  <a:lnTo>
                    <a:pt x="7" y="33"/>
                  </a:lnTo>
                  <a:lnTo>
                    <a:pt x="4" y="19"/>
                  </a:lnTo>
                  <a:lnTo>
                    <a:pt x="3" y="13"/>
                  </a:lnTo>
                  <a:lnTo>
                    <a:pt x="0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1"/>
                  </a:lnTo>
                  <a:lnTo>
                    <a:pt x="18" y="0"/>
                  </a:lnTo>
                  <a:lnTo>
                    <a:pt x="26" y="1"/>
                  </a:lnTo>
                  <a:lnTo>
                    <a:pt x="33" y="3"/>
                  </a:lnTo>
                  <a:lnTo>
                    <a:pt x="40" y="5"/>
                  </a:lnTo>
                  <a:lnTo>
                    <a:pt x="48" y="7"/>
                  </a:lnTo>
                  <a:lnTo>
                    <a:pt x="54" y="10"/>
                  </a:lnTo>
                  <a:lnTo>
                    <a:pt x="62" y="13"/>
                  </a:lnTo>
                  <a:lnTo>
                    <a:pt x="78" y="15"/>
                  </a:lnTo>
                  <a:lnTo>
                    <a:pt x="94" y="15"/>
                  </a:lnTo>
                  <a:lnTo>
                    <a:pt x="102" y="15"/>
                  </a:lnTo>
                  <a:lnTo>
                    <a:pt x="109" y="15"/>
                  </a:lnTo>
                  <a:lnTo>
                    <a:pt x="120" y="23"/>
                  </a:lnTo>
                  <a:lnTo>
                    <a:pt x="126" y="26"/>
                  </a:lnTo>
                  <a:lnTo>
                    <a:pt x="133" y="28"/>
                  </a:lnTo>
                  <a:lnTo>
                    <a:pt x="137" y="31"/>
                  </a:lnTo>
                  <a:lnTo>
                    <a:pt x="141" y="35"/>
                  </a:lnTo>
                  <a:lnTo>
                    <a:pt x="151" y="45"/>
                  </a:lnTo>
                  <a:lnTo>
                    <a:pt x="157" y="50"/>
                  </a:lnTo>
                  <a:lnTo>
                    <a:pt x="162" y="54"/>
                  </a:lnTo>
                  <a:lnTo>
                    <a:pt x="168" y="57"/>
                  </a:lnTo>
                  <a:lnTo>
                    <a:pt x="172" y="5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Line 35">
              <a:extLst>
                <a:ext uri="{FF2B5EF4-FFF2-40B4-BE49-F238E27FC236}">
                  <a16:creationId xmlns:a16="http://schemas.microsoft.com/office/drawing/2014/main" id="{3A1424FF-DB37-4297-9B08-21E65B7437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73201" y="1943881"/>
              <a:ext cx="34716" cy="47057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6" name="Freeform 36">
              <a:extLst>
                <a:ext uri="{FF2B5EF4-FFF2-40B4-BE49-F238E27FC236}">
                  <a16:creationId xmlns:a16="http://schemas.microsoft.com/office/drawing/2014/main" id="{8F6EA510-AF5C-4763-BB95-B2F068607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6071" y="2321319"/>
              <a:ext cx="96307" cy="69605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5" y="60"/>
                </a:cxn>
                <a:cxn ang="0">
                  <a:pos x="9" y="56"/>
                </a:cxn>
                <a:cxn ang="0">
                  <a:pos x="12" y="52"/>
                </a:cxn>
                <a:cxn ang="0">
                  <a:pos x="15" y="50"/>
                </a:cxn>
                <a:cxn ang="0">
                  <a:pos x="18" y="49"/>
                </a:cxn>
                <a:cxn ang="0">
                  <a:pos x="23" y="47"/>
                </a:cxn>
                <a:cxn ang="0">
                  <a:pos x="28" y="45"/>
                </a:cxn>
                <a:cxn ang="0">
                  <a:pos x="39" y="43"/>
                </a:cxn>
                <a:cxn ang="0">
                  <a:pos x="44" y="40"/>
                </a:cxn>
                <a:cxn ang="0">
                  <a:pos x="48" y="37"/>
                </a:cxn>
                <a:cxn ang="0">
                  <a:pos x="51" y="34"/>
                </a:cxn>
                <a:cxn ang="0">
                  <a:pos x="56" y="31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5" y="14"/>
                </a:cxn>
                <a:cxn ang="0">
                  <a:pos x="68" y="9"/>
                </a:cxn>
                <a:cxn ang="0">
                  <a:pos x="71" y="4"/>
                </a:cxn>
                <a:cxn ang="0">
                  <a:pos x="74" y="1"/>
                </a:cxn>
                <a:cxn ang="0">
                  <a:pos x="77" y="0"/>
                </a:cxn>
              </a:cxnLst>
              <a:rect l="0" t="0" r="r" b="b"/>
              <a:pathLst>
                <a:path w="77" h="64">
                  <a:moveTo>
                    <a:pt x="0" y="64"/>
                  </a:moveTo>
                  <a:lnTo>
                    <a:pt x="5" y="60"/>
                  </a:lnTo>
                  <a:lnTo>
                    <a:pt x="9" y="56"/>
                  </a:lnTo>
                  <a:lnTo>
                    <a:pt x="12" y="52"/>
                  </a:lnTo>
                  <a:lnTo>
                    <a:pt x="15" y="50"/>
                  </a:lnTo>
                  <a:lnTo>
                    <a:pt x="18" y="49"/>
                  </a:lnTo>
                  <a:lnTo>
                    <a:pt x="23" y="47"/>
                  </a:lnTo>
                  <a:lnTo>
                    <a:pt x="28" y="45"/>
                  </a:lnTo>
                  <a:lnTo>
                    <a:pt x="39" y="43"/>
                  </a:lnTo>
                  <a:lnTo>
                    <a:pt x="44" y="40"/>
                  </a:lnTo>
                  <a:lnTo>
                    <a:pt x="48" y="37"/>
                  </a:lnTo>
                  <a:lnTo>
                    <a:pt x="51" y="34"/>
                  </a:lnTo>
                  <a:lnTo>
                    <a:pt x="56" y="31"/>
                  </a:lnTo>
                  <a:lnTo>
                    <a:pt x="58" y="28"/>
                  </a:lnTo>
                  <a:lnTo>
                    <a:pt x="60" y="24"/>
                  </a:lnTo>
                  <a:lnTo>
                    <a:pt x="65" y="14"/>
                  </a:lnTo>
                  <a:lnTo>
                    <a:pt x="68" y="9"/>
                  </a:lnTo>
                  <a:lnTo>
                    <a:pt x="71" y="4"/>
                  </a:lnTo>
                  <a:lnTo>
                    <a:pt x="74" y="1"/>
                  </a:lnTo>
                  <a:lnTo>
                    <a:pt x="77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Line 37">
              <a:extLst>
                <a:ext uri="{FF2B5EF4-FFF2-40B4-BE49-F238E27FC236}">
                  <a16:creationId xmlns:a16="http://schemas.microsoft.com/office/drawing/2014/main" id="{483D3307-D5E7-49AF-B3D2-7CD65FBEE3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048231" y="2301711"/>
              <a:ext cx="7840" cy="8235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Freeform 38">
              <a:extLst>
                <a:ext uri="{FF2B5EF4-FFF2-40B4-BE49-F238E27FC236}">
                  <a16:creationId xmlns:a16="http://schemas.microsoft.com/office/drawing/2014/main" id="{3CEE61E2-64C7-4ECB-A99F-3F52C0425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6660" y="2374259"/>
              <a:ext cx="105265" cy="133329"/>
            </a:xfrm>
            <a:custGeom>
              <a:avLst/>
              <a:gdLst>
                <a:gd name="T0" fmla="*/ 0 w 87"/>
                <a:gd name="T1" fmla="*/ 0 h 123"/>
                <a:gd name="T2" fmla="*/ 2147483647 w 87"/>
                <a:gd name="T3" fmla="*/ 2147483647 h 123"/>
                <a:gd name="T4" fmla="*/ 2147483647 w 87"/>
                <a:gd name="T5" fmla="*/ 2147483647 h 123"/>
                <a:gd name="T6" fmla="*/ 0 60000 65536"/>
                <a:gd name="T7" fmla="*/ 0 60000 65536"/>
                <a:gd name="T8" fmla="*/ 0 60000 65536"/>
                <a:gd name="T9" fmla="*/ 0 w 87"/>
                <a:gd name="T10" fmla="*/ 0 h 123"/>
                <a:gd name="T11" fmla="*/ 87 w 87"/>
                <a:gd name="T12" fmla="*/ 123 h 12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7" h="123">
                  <a:moveTo>
                    <a:pt x="0" y="0"/>
                  </a:moveTo>
                  <a:lnTo>
                    <a:pt x="35" y="33"/>
                  </a:lnTo>
                  <a:lnTo>
                    <a:pt x="87" y="123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Freeform 39">
              <a:extLst>
                <a:ext uri="{FF2B5EF4-FFF2-40B4-BE49-F238E27FC236}">
                  <a16:creationId xmlns:a16="http://schemas.microsoft.com/office/drawing/2014/main" id="{B15E78B3-E841-4150-84FA-ACC99A2B5B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8644" y="2400729"/>
              <a:ext cx="105265" cy="112742"/>
            </a:xfrm>
            <a:custGeom>
              <a:avLst/>
              <a:gdLst>
                <a:gd name="T0" fmla="*/ 0 w 88"/>
                <a:gd name="T1" fmla="*/ 2147483647 h 105"/>
                <a:gd name="T2" fmla="*/ 2147483647 w 88"/>
                <a:gd name="T3" fmla="*/ 2147483647 h 105"/>
                <a:gd name="T4" fmla="*/ 2147483647 w 88"/>
                <a:gd name="T5" fmla="*/ 0 h 105"/>
                <a:gd name="T6" fmla="*/ 0 60000 65536"/>
                <a:gd name="T7" fmla="*/ 0 60000 65536"/>
                <a:gd name="T8" fmla="*/ 0 60000 65536"/>
                <a:gd name="T9" fmla="*/ 0 w 88"/>
                <a:gd name="T10" fmla="*/ 0 h 105"/>
                <a:gd name="T11" fmla="*/ 88 w 88"/>
                <a:gd name="T12" fmla="*/ 105 h 10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8" h="105">
                  <a:moveTo>
                    <a:pt x="0" y="105"/>
                  </a:moveTo>
                  <a:lnTo>
                    <a:pt x="39" y="26"/>
                  </a:lnTo>
                  <a:lnTo>
                    <a:pt x="88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Freeform 40">
              <a:extLst>
                <a:ext uri="{FF2B5EF4-FFF2-40B4-BE49-F238E27FC236}">
                  <a16:creationId xmlns:a16="http://schemas.microsoft.com/office/drawing/2014/main" id="{DDDA7BCB-45EB-410E-B5CB-1254A7D19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791" y="2299753"/>
              <a:ext cx="89588" cy="26470"/>
            </a:xfrm>
            <a:custGeom>
              <a:avLst/>
              <a:gdLst>
                <a:gd name="T0" fmla="*/ 0 w 72"/>
                <a:gd name="T1" fmla="*/ 0 h 24"/>
                <a:gd name="T2" fmla="*/ 2147483647 w 72"/>
                <a:gd name="T3" fmla="*/ 2147483647 h 24"/>
                <a:gd name="T4" fmla="*/ 2147483647 w 72"/>
                <a:gd name="T5" fmla="*/ 2147483647 h 24"/>
                <a:gd name="T6" fmla="*/ 0 60000 65536"/>
                <a:gd name="T7" fmla="*/ 0 60000 65536"/>
                <a:gd name="T8" fmla="*/ 0 60000 65536"/>
                <a:gd name="T9" fmla="*/ 0 w 72"/>
                <a:gd name="T10" fmla="*/ 0 h 24"/>
                <a:gd name="T11" fmla="*/ 72 w 72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24">
                  <a:moveTo>
                    <a:pt x="0" y="0"/>
                  </a:moveTo>
                  <a:lnTo>
                    <a:pt x="30" y="18"/>
                  </a:lnTo>
                  <a:lnTo>
                    <a:pt x="72" y="2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Freeform 41">
              <a:extLst>
                <a:ext uri="{FF2B5EF4-FFF2-40B4-BE49-F238E27FC236}">
                  <a16:creationId xmlns:a16="http://schemas.microsoft.com/office/drawing/2014/main" id="{7D0A32EC-AE8F-4A3D-9587-3FD1DBD0B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434" y="2547783"/>
              <a:ext cx="31357" cy="4901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2"/>
                </a:cxn>
                <a:cxn ang="0">
                  <a:pos x="7" y="3"/>
                </a:cxn>
                <a:cxn ang="0">
                  <a:pos x="9" y="6"/>
                </a:cxn>
                <a:cxn ang="0">
                  <a:pos x="11" y="9"/>
                </a:cxn>
                <a:cxn ang="0">
                  <a:pos x="10" y="13"/>
                </a:cxn>
                <a:cxn ang="0">
                  <a:pos x="10" y="17"/>
                </a:cxn>
                <a:cxn ang="0">
                  <a:pos x="11" y="20"/>
                </a:cxn>
                <a:cxn ang="0">
                  <a:pos x="13" y="22"/>
                </a:cxn>
                <a:cxn ang="0">
                  <a:pos x="19" y="27"/>
                </a:cxn>
                <a:cxn ang="0">
                  <a:pos x="24" y="33"/>
                </a:cxn>
                <a:cxn ang="0">
                  <a:pos x="25" y="37"/>
                </a:cxn>
                <a:cxn ang="0">
                  <a:pos x="25" y="42"/>
                </a:cxn>
                <a:cxn ang="0">
                  <a:pos x="27" y="45"/>
                </a:cxn>
                <a:cxn ang="0">
                  <a:pos x="28" y="46"/>
                </a:cxn>
                <a:cxn ang="0">
                  <a:pos x="29" y="45"/>
                </a:cxn>
              </a:cxnLst>
              <a:rect l="0" t="0" r="r" b="b"/>
              <a:pathLst>
                <a:path w="29" h="46">
                  <a:moveTo>
                    <a:pt x="0" y="0"/>
                  </a:moveTo>
                  <a:lnTo>
                    <a:pt x="4" y="2"/>
                  </a:lnTo>
                  <a:lnTo>
                    <a:pt x="7" y="3"/>
                  </a:lnTo>
                  <a:lnTo>
                    <a:pt x="9" y="6"/>
                  </a:lnTo>
                  <a:lnTo>
                    <a:pt x="11" y="9"/>
                  </a:lnTo>
                  <a:lnTo>
                    <a:pt x="10" y="13"/>
                  </a:lnTo>
                  <a:lnTo>
                    <a:pt x="10" y="17"/>
                  </a:lnTo>
                  <a:lnTo>
                    <a:pt x="11" y="20"/>
                  </a:lnTo>
                  <a:lnTo>
                    <a:pt x="13" y="22"/>
                  </a:lnTo>
                  <a:lnTo>
                    <a:pt x="19" y="27"/>
                  </a:lnTo>
                  <a:lnTo>
                    <a:pt x="24" y="33"/>
                  </a:lnTo>
                  <a:lnTo>
                    <a:pt x="25" y="37"/>
                  </a:lnTo>
                  <a:lnTo>
                    <a:pt x="25" y="42"/>
                  </a:lnTo>
                  <a:lnTo>
                    <a:pt x="27" y="45"/>
                  </a:lnTo>
                  <a:lnTo>
                    <a:pt x="28" y="46"/>
                  </a:lnTo>
                  <a:lnTo>
                    <a:pt x="29" y="45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Freeform 42">
              <a:extLst>
                <a:ext uri="{FF2B5EF4-FFF2-40B4-BE49-F238E27FC236}">
                  <a16:creationId xmlns:a16="http://schemas.microsoft.com/office/drawing/2014/main" id="{155B25F9-B80B-4003-8081-3E2198C48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6071" y="2536999"/>
              <a:ext cx="35835" cy="58822"/>
            </a:xfrm>
            <a:custGeom>
              <a:avLst/>
              <a:gdLst>
                <a:gd name="T0" fmla="*/ 2147483647 w 27"/>
                <a:gd name="T1" fmla="*/ 0 h 55"/>
                <a:gd name="T2" fmla="*/ 2147483647 w 27"/>
                <a:gd name="T3" fmla="*/ 2147483647 h 55"/>
                <a:gd name="T4" fmla="*/ 2147483647 w 27"/>
                <a:gd name="T5" fmla="*/ 2147483647 h 55"/>
                <a:gd name="T6" fmla="*/ 2147483647 w 27"/>
                <a:gd name="T7" fmla="*/ 2147483647 h 55"/>
                <a:gd name="T8" fmla="*/ 2147483647 w 27"/>
                <a:gd name="T9" fmla="*/ 2147483647 h 55"/>
                <a:gd name="T10" fmla="*/ 2147483647 w 27"/>
                <a:gd name="T11" fmla="*/ 2147483647 h 55"/>
                <a:gd name="T12" fmla="*/ 2147483647 w 27"/>
                <a:gd name="T13" fmla="*/ 2147483647 h 55"/>
                <a:gd name="T14" fmla="*/ 0 w 27"/>
                <a:gd name="T15" fmla="*/ 2147483647 h 5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7"/>
                <a:gd name="T25" fmla="*/ 0 h 55"/>
                <a:gd name="T26" fmla="*/ 27 w 27"/>
                <a:gd name="T27" fmla="*/ 55 h 5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7" h="55">
                  <a:moveTo>
                    <a:pt x="24" y="0"/>
                  </a:moveTo>
                  <a:lnTo>
                    <a:pt x="27" y="28"/>
                  </a:lnTo>
                  <a:lnTo>
                    <a:pt x="25" y="32"/>
                  </a:lnTo>
                  <a:lnTo>
                    <a:pt x="22" y="35"/>
                  </a:lnTo>
                  <a:lnTo>
                    <a:pt x="14" y="43"/>
                  </a:lnTo>
                  <a:lnTo>
                    <a:pt x="6" y="50"/>
                  </a:lnTo>
                  <a:lnTo>
                    <a:pt x="3" y="53"/>
                  </a:lnTo>
                  <a:lnTo>
                    <a:pt x="0" y="55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Freeform 43">
              <a:extLst>
                <a:ext uri="{FF2B5EF4-FFF2-40B4-BE49-F238E27FC236}">
                  <a16:creationId xmlns:a16="http://schemas.microsoft.com/office/drawing/2014/main" id="{BB813C70-515A-4E99-A16D-57DB098FD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4714" y="2536999"/>
              <a:ext cx="62712" cy="10784"/>
            </a:xfrm>
            <a:custGeom>
              <a:avLst/>
              <a:gdLst>
                <a:gd name="T0" fmla="*/ 2147483647 w 51"/>
                <a:gd name="T1" fmla="*/ 0 h 10"/>
                <a:gd name="T2" fmla="*/ 2147483647 w 51"/>
                <a:gd name="T3" fmla="*/ 2147483647 h 10"/>
                <a:gd name="T4" fmla="*/ 2147483647 w 51"/>
                <a:gd name="T5" fmla="*/ 2147483647 h 10"/>
                <a:gd name="T6" fmla="*/ 2147483647 w 51"/>
                <a:gd name="T7" fmla="*/ 2147483647 h 10"/>
                <a:gd name="T8" fmla="*/ 2147483647 w 51"/>
                <a:gd name="T9" fmla="*/ 2147483647 h 10"/>
                <a:gd name="T10" fmla="*/ 2147483647 w 51"/>
                <a:gd name="T11" fmla="*/ 2147483647 h 10"/>
                <a:gd name="T12" fmla="*/ 2147483647 w 51"/>
                <a:gd name="T13" fmla="*/ 2147483647 h 10"/>
                <a:gd name="T14" fmla="*/ 0 w 51"/>
                <a:gd name="T15" fmla="*/ 2147483647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1"/>
                <a:gd name="T25" fmla="*/ 0 h 10"/>
                <a:gd name="T26" fmla="*/ 51 w 51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1" h="10">
                  <a:moveTo>
                    <a:pt x="51" y="0"/>
                  </a:moveTo>
                  <a:lnTo>
                    <a:pt x="47" y="1"/>
                  </a:lnTo>
                  <a:lnTo>
                    <a:pt x="41" y="2"/>
                  </a:lnTo>
                  <a:lnTo>
                    <a:pt x="34" y="4"/>
                  </a:lnTo>
                  <a:lnTo>
                    <a:pt x="27" y="5"/>
                  </a:lnTo>
                  <a:lnTo>
                    <a:pt x="12" y="8"/>
                  </a:lnTo>
                  <a:lnTo>
                    <a:pt x="5" y="9"/>
                  </a:lnTo>
                  <a:lnTo>
                    <a:pt x="0" y="1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Freeform 44">
              <a:extLst>
                <a:ext uri="{FF2B5EF4-FFF2-40B4-BE49-F238E27FC236}">
                  <a16:creationId xmlns:a16="http://schemas.microsoft.com/office/drawing/2014/main" id="{FDB71944-6004-4975-8F62-ACE60EEC6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7524" y="2514451"/>
              <a:ext cx="73911" cy="3333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21"/>
                </a:cxn>
                <a:cxn ang="0">
                  <a:pos x="20" y="23"/>
                </a:cxn>
                <a:cxn ang="0">
                  <a:pos x="25" y="24"/>
                </a:cxn>
                <a:cxn ang="0">
                  <a:pos x="38" y="27"/>
                </a:cxn>
                <a:cxn ang="0">
                  <a:pos x="51" y="28"/>
                </a:cxn>
                <a:cxn ang="0">
                  <a:pos x="57" y="29"/>
                </a:cxn>
                <a:cxn ang="0">
                  <a:pos x="61" y="30"/>
                </a:cxn>
              </a:cxnLst>
              <a:rect l="0" t="0" r="r" b="b"/>
              <a:pathLst>
                <a:path w="61" h="30">
                  <a:moveTo>
                    <a:pt x="0" y="0"/>
                  </a:moveTo>
                  <a:lnTo>
                    <a:pt x="15" y="21"/>
                  </a:lnTo>
                  <a:lnTo>
                    <a:pt x="20" y="23"/>
                  </a:lnTo>
                  <a:lnTo>
                    <a:pt x="25" y="24"/>
                  </a:lnTo>
                  <a:lnTo>
                    <a:pt x="38" y="27"/>
                  </a:lnTo>
                  <a:lnTo>
                    <a:pt x="51" y="28"/>
                  </a:lnTo>
                  <a:lnTo>
                    <a:pt x="57" y="29"/>
                  </a:lnTo>
                  <a:lnTo>
                    <a:pt x="61" y="3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Freeform 45">
              <a:extLst>
                <a:ext uri="{FF2B5EF4-FFF2-40B4-BE49-F238E27FC236}">
                  <a16:creationId xmlns:a16="http://schemas.microsoft.com/office/drawing/2014/main" id="{99A9932B-A968-41D9-889A-F603FC05D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9528" y="2513470"/>
              <a:ext cx="27996" cy="51959"/>
            </a:xfrm>
            <a:custGeom>
              <a:avLst/>
              <a:gdLst>
                <a:gd name="T0" fmla="*/ 2147483647 w 23"/>
                <a:gd name="T1" fmla="*/ 0 h 48"/>
                <a:gd name="T2" fmla="*/ 0 w 23"/>
                <a:gd name="T3" fmla="*/ 2147483647 h 48"/>
                <a:gd name="T4" fmla="*/ 2147483647 w 23"/>
                <a:gd name="T5" fmla="*/ 2147483647 h 48"/>
                <a:gd name="T6" fmla="*/ 2147483647 w 23"/>
                <a:gd name="T7" fmla="*/ 2147483647 h 48"/>
                <a:gd name="T8" fmla="*/ 2147483647 w 23"/>
                <a:gd name="T9" fmla="*/ 2147483647 h 48"/>
                <a:gd name="T10" fmla="*/ 2147483647 w 23"/>
                <a:gd name="T11" fmla="*/ 2147483647 h 48"/>
                <a:gd name="T12" fmla="*/ 2147483647 w 23"/>
                <a:gd name="T13" fmla="*/ 2147483647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48"/>
                <a:gd name="T23" fmla="*/ 23 w 23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48">
                  <a:moveTo>
                    <a:pt x="21" y="0"/>
                  </a:moveTo>
                  <a:lnTo>
                    <a:pt x="0" y="21"/>
                  </a:lnTo>
                  <a:lnTo>
                    <a:pt x="5" y="33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9" y="45"/>
                  </a:lnTo>
                  <a:lnTo>
                    <a:pt x="23" y="4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Freeform 46">
              <a:extLst>
                <a:ext uri="{FF2B5EF4-FFF2-40B4-BE49-F238E27FC236}">
                  <a16:creationId xmlns:a16="http://schemas.microsoft.com/office/drawing/2014/main" id="{CA011A96-97BA-478E-ABFD-CD908A1C4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993" y="2563468"/>
              <a:ext cx="206052" cy="26469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44" y="24"/>
                </a:cxn>
                <a:cxn ang="0">
                  <a:pos x="90" y="15"/>
                </a:cxn>
                <a:cxn ang="0">
                  <a:pos x="102" y="15"/>
                </a:cxn>
                <a:cxn ang="0">
                  <a:pos x="113" y="17"/>
                </a:cxn>
                <a:cxn ang="0">
                  <a:pos x="125" y="18"/>
                </a:cxn>
                <a:cxn ang="0">
                  <a:pos x="135" y="18"/>
                </a:cxn>
                <a:cxn ang="0">
                  <a:pos x="171" y="0"/>
                </a:cxn>
              </a:cxnLst>
              <a:rect l="0" t="0" r="r" b="b"/>
              <a:pathLst>
                <a:path w="171" h="24">
                  <a:moveTo>
                    <a:pt x="0" y="15"/>
                  </a:moveTo>
                  <a:lnTo>
                    <a:pt x="44" y="24"/>
                  </a:lnTo>
                  <a:lnTo>
                    <a:pt x="90" y="15"/>
                  </a:lnTo>
                  <a:lnTo>
                    <a:pt x="102" y="15"/>
                  </a:lnTo>
                  <a:lnTo>
                    <a:pt x="113" y="17"/>
                  </a:lnTo>
                  <a:lnTo>
                    <a:pt x="125" y="18"/>
                  </a:lnTo>
                  <a:lnTo>
                    <a:pt x="135" y="18"/>
                  </a:lnTo>
                  <a:lnTo>
                    <a:pt x="171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Freeform 47">
              <a:extLst>
                <a:ext uri="{FF2B5EF4-FFF2-40B4-BE49-F238E27FC236}">
                  <a16:creationId xmlns:a16="http://schemas.microsoft.com/office/drawing/2014/main" id="{A962F1A2-5576-4BDB-A12E-6B5E7EB4B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7525" y="2545822"/>
              <a:ext cx="78389" cy="29410"/>
            </a:xfrm>
            <a:custGeom>
              <a:avLst/>
              <a:gdLst>
                <a:gd name="T0" fmla="*/ 0 w 64"/>
                <a:gd name="T1" fmla="*/ 2147483647 h 27"/>
                <a:gd name="T2" fmla="*/ 2147483647 w 64"/>
                <a:gd name="T3" fmla="*/ 2147483647 h 27"/>
                <a:gd name="T4" fmla="*/ 2147483647 w 64"/>
                <a:gd name="T5" fmla="*/ 2147483647 h 27"/>
                <a:gd name="T6" fmla="*/ 2147483647 w 64"/>
                <a:gd name="T7" fmla="*/ 2147483647 h 27"/>
                <a:gd name="T8" fmla="*/ 2147483647 w 64"/>
                <a:gd name="T9" fmla="*/ 2147483647 h 27"/>
                <a:gd name="T10" fmla="*/ 2147483647 w 64"/>
                <a:gd name="T11" fmla="*/ 2147483647 h 27"/>
                <a:gd name="T12" fmla="*/ 2147483647 w 64"/>
                <a:gd name="T13" fmla="*/ 2147483647 h 27"/>
                <a:gd name="T14" fmla="*/ 2147483647 w 64"/>
                <a:gd name="T15" fmla="*/ 2147483647 h 27"/>
                <a:gd name="T16" fmla="*/ 2147483647 w 64"/>
                <a:gd name="T17" fmla="*/ 0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4"/>
                <a:gd name="T28" fmla="*/ 0 h 27"/>
                <a:gd name="T29" fmla="*/ 64 w 64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4" h="27">
                  <a:moveTo>
                    <a:pt x="0" y="18"/>
                  </a:moveTo>
                  <a:lnTo>
                    <a:pt x="21" y="13"/>
                  </a:lnTo>
                  <a:lnTo>
                    <a:pt x="41" y="27"/>
                  </a:lnTo>
                  <a:lnTo>
                    <a:pt x="44" y="26"/>
                  </a:lnTo>
                  <a:lnTo>
                    <a:pt x="47" y="23"/>
                  </a:lnTo>
                  <a:lnTo>
                    <a:pt x="53" y="15"/>
                  </a:lnTo>
                  <a:lnTo>
                    <a:pt x="59" y="7"/>
                  </a:lnTo>
                  <a:lnTo>
                    <a:pt x="62" y="3"/>
                  </a:lnTo>
                  <a:lnTo>
                    <a:pt x="6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Freeform 48">
              <a:extLst>
                <a:ext uri="{FF2B5EF4-FFF2-40B4-BE49-F238E27FC236}">
                  <a16:creationId xmlns:a16="http://schemas.microsoft.com/office/drawing/2014/main" id="{78F0F7A8-1281-47CA-9193-56B6B87FD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3240" y="2709542"/>
              <a:ext cx="101905" cy="20588"/>
            </a:xfrm>
            <a:custGeom>
              <a:avLst/>
              <a:gdLst>
                <a:gd name="T0" fmla="*/ 0 w 84"/>
                <a:gd name="T1" fmla="*/ 2147483647 h 19"/>
                <a:gd name="T2" fmla="*/ 2147483647 w 84"/>
                <a:gd name="T3" fmla="*/ 2147483647 h 19"/>
                <a:gd name="T4" fmla="*/ 2147483647 w 84"/>
                <a:gd name="T5" fmla="*/ 2147483647 h 19"/>
                <a:gd name="T6" fmla="*/ 2147483647 w 84"/>
                <a:gd name="T7" fmla="*/ 2147483647 h 19"/>
                <a:gd name="T8" fmla="*/ 2147483647 w 84"/>
                <a:gd name="T9" fmla="*/ 2147483647 h 19"/>
                <a:gd name="T10" fmla="*/ 2147483647 w 84"/>
                <a:gd name="T11" fmla="*/ 2147483647 h 19"/>
                <a:gd name="T12" fmla="*/ 2147483647 w 84"/>
                <a:gd name="T13" fmla="*/ 2147483647 h 19"/>
                <a:gd name="T14" fmla="*/ 2147483647 w 84"/>
                <a:gd name="T15" fmla="*/ 2147483647 h 19"/>
                <a:gd name="T16" fmla="*/ 2147483647 w 84"/>
                <a:gd name="T17" fmla="*/ 0 h 19"/>
                <a:gd name="T18" fmla="*/ 2147483647 w 84"/>
                <a:gd name="T19" fmla="*/ 2147483647 h 19"/>
                <a:gd name="T20" fmla="*/ 2147483647 w 84"/>
                <a:gd name="T21" fmla="*/ 2147483647 h 19"/>
                <a:gd name="T22" fmla="*/ 2147483647 w 84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"/>
                <a:gd name="T37" fmla="*/ 0 h 19"/>
                <a:gd name="T38" fmla="*/ 84 w 84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" h="19">
                  <a:moveTo>
                    <a:pt x="0" y="7"/>
                  </a:moveTo>
                  <a:lnTo>
                    <a:pt x="13" y="14"/>
                  </a:lnTo>
                  <a:lnTo>
                    <a:pt x="20" y="17"/>
                  </a:lnTo>
                  <a:lnTo>
                    <a:pt x="27" y="19"/>
                  </a:lnTo>
                  <a:lnTo>
                    <a:pt x="41" y="16"/>
                  </a:lnTo>
                  <a:lnTo>
                    <a:pt x="54" y="12"/>
                  </a:lnTo>
                  <a:lnTo>
                    <a:pt x="62" y="10"/>
                  </a:lnTo>
                  <a:lnTo>
                    <a:pt x="69" y="7"/>
                  </a:lnTo>
                  <a:lnTo>
                    <a:pt x="84" y="0"/>
                  </a:lnTo>
                  <a:lnTo>
                    <a:pt x="72" y="3"/>
                  </a:lnTo>
                  <a:lnTo>
                    <a:pt x="73" y="3"/>
                  </a:lnTo>
                  <a:lnTo>
                    <a:pt x="75" y="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Freeform 49">
              <a:extLst>
                <a:ext uri="{FF2B5EF4-FFF2-40B4-BE49-F238E27FC236}">
                  <a16:creationId xmlns:a16="http://schemas.microsoft.com/office/drawing/2014/main" id="{3D74333D-1F4D-4C30-B23E-2C3A0AFA7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9842" y="2732091"/>
              <a:ext cx="86229" cy="37254"/>
            </a:xfrm>
            <a:custGeom>
              <a:avLst/>
              <a:gdLst>
                <a:gd name="T0" fmla="*/ 0 w 72"/>
                <a:gd name="T1" fmla="*/ 0 h 34"/>
                <a:gd name="T2" fmla="*/ 2147483647 w 72"/>
                <a:gd name="T3" fmla="*/ 2147483647 h 34"/>
                <a:gd name="T4" fmla="*/ 2147483647 w 72"/>
                <a:gd name="T5" fmla="*/ 2147483647 h 34"/>
                <a:gd name="T6" fmla="*/ 0 60000 65536"/>
                <a:gd name="T7" fmla="*/ 0 60000 65536"/>
                <a:gd name="T8" fmla="*/ 0 60000 65536"/>
                <a:gd name="T9" fmla="*/ 0 w 72"/>
                <a:gd name="T10" fmla="*/ 0 h 34"/>
                <a:gd name="T11" fmla="*/ 72 w 72"/>
                <a:gd name="T12" fmla="*/ 34 h 3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34">
                  <a:moveTo>
                    <a:pt x="0" y="0"/>
                  </a:moveTo>
                  <a:lnTo>
                    <a:pt x="8" y="18"/>
                  </a:lnTo>
                  <a:lnTo>
                    <a:pt x="72" y="3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Line 50">
              <a:extLst>
                <a:ext uri="{FF2B5EF4-FFF2-40B4-BE49-F238E27FC236}">
                  <a16:creationId xmlns:a16="http://schemas.microsoft.com/office/drawing/2014/main" id="{1B259762-1DFE-464F-AA0E-3C3EE9C9D0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62790" y="2595821"/>
              <a:ext cx="62712" cy="2647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eform 51">
              <a:extLst>
                <a:ext uri="{FF2B5EF4-FFF2-40B4-BE49-F238E27FC236}">
                  <a16:creationId xmlns:a16="http://schemas.microsoft.com/office/drawing/2014/main" id="{746A16D5-7CA6-4F93-B2A9-7E5EB6948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3498" y="2334065"/>
              <a:ext cx="154540" cy="39214"/>
            </a:xfrm>
            <a:custGeom>
              <a:avLst/>
              <a:gdLst>
                <a:gd name="T0" fmla="*/ 0 w 129"/>
                <a:gd name="T1" fmla="*/ 0 h 36"/>
                <a:gd name="T2" fmla="*/ 2147483647 w 129"/>
                <a:gd name="T3" fmla="*/ 2147483647 h 36"/>
                <a:gd name="T4" fmla="*/ 2147483647 w 129"/>
                <a:gd name="T5" fmla="*/ 2147483647 h 36"/>
                <a:gd name="T6" fmla="*/ 2147483647 w 129"/>
                <a:gd name="T7" fmla="*/ 2147483647 h 36"/>
                <a:gd name="T8" fmla="*/ 2147483647 w 129"/>
                <a:gd name="T9" fmla="*/ 2147483647 h 36"/>
                <a:gd name="T10" fmla="*/ 2147483647 w 129"/>
                <a:gd name="T11" fmla="*/ 2147483647 h 36"/>
                <a:gd name="T12" fmla="*/ 2147483647 w 129"/>
                <a:gd name="T13" fmla="*/ 2147483647 h 36"/>
                <a:gd name="T14" fmla="*/ 2147483647 w 129"/>
                <a:gd name="T15" fmla="*/ 2147483647 h 36"/>
                <a:gd name="T16" fmla="*/ 2147483647 w 129"/>
                <a:gd name="T17" fmla="*/ 2147483647 h 36"/>
                <a:gd name="T18" fmla="*/ 2147483647 w 129"/>
                <a:gd name="T19" fmla="*/ 2147483647 h 36"/>
                <a:gd name="T20" fmla="*/ 2147483647 w 129"/>
                <a:gd name="T21" fmla="*/ 2147483647 h 36"/>
                <a:gd name="T22" fmla="*/ 2147483647 w 129"/>
                <a:gd name="T23" fmla="*/ 2147483647 h 36"/>
                <a:gd name="T24" fmla="*/ 2147483647 w 129"/>
                <a:gd name="T25" fmla="*/ 2147483647 h 36"/>
                <a:gd name="T26" fmla="*/ 2147483647 w 129"/>
                <a:gd name="T27" fmla="*/ 2147483647 h 36"/>
                <a:gd name="T28" fmla="*/ 2147483647 w 129"/>
                <a:gd name="T29" fmla="*/ 2147483647 h 36"/>
                <a:gd name="T30" fmla="*/ 2147483647 w 129"/>
                <a:gd name="T31" fmla="*/ 2147483647 h 36"/>
                <a:gd name="T32" fmla="*/ 2147483647 w 129"/>
                <a:gd name="T33" fmla="*/ 2147483647 h 36"/>
                <a:gd name="T34" fmla="*/ 2147483647 w 129"/>
                <a:gd name="T35" fmla="*/ 2147483647 h 36"/>
                <a:gd name="T36" fmla="*/ 2147483647 w 129"/>
                <a:gd name="T37" fmla="*/ 2147483647 h 36"/>
                <a:gd name="T38" fmla="*/ 2147483647 w 129"/>
                <a:gd name="T39" fmla="*/ 2147483647 h 36"/>
                <a:gd name="T40" fmla="*/ 2147483647 w 129"/>
                <a:gd name="T41" fmla="*/ 2147483647 h 36"/>
                <a:gd name="T42" fmla="*/ 2147483647 w 129"/>
                <a:gd name="T43" fmla="*/ 2147483647 h 36"/>
                <a:gd name="T44" fmla="*/ 2147483647 w 129"/>
                <a:gd name="T45" fmla="*/ 2147483647 h 36"/>
                <a:gd name="T46" fmla="*/ 2147483647 w 129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9"/>
                <a:gd name="T73" fmla="*/ 0 h 36"/>
                <a:gd name="T74" fmla="*/ 129 w 129"/>
                <a:gd name="T75" fmla="*/ 36 h 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9" h="36">
                  <a:moveTo>
                    <a:pt x="0" y="0"/>
                  </a:moveTo>
                  <a:lnTo>
                    <a:pt x="4" y="2"/>
                  </a:lnTo>
                  <a:lnTo>
                    <a:pt x="8" y="3"/>
                  </a:lnTo>
                  <a:lnTo>
                    <a:pt x="18" y="6"/>
                  </a:lnTo>
                  <a:lnTo>
                    <a:pt x="29" y="9"/>
                  </a:lnTo>
                  <a:lnTo>
                    <a:pt x="33" y="9"/>
                  </a:lnTo>
                  <a:lnTo>
                    <a:pt x="37" y="10"/>
                  </a:lnTo>
                  <a:lnTo>
                    <a:pt x="41" y="13"/>
                  </a:lnTo>
                  <a:lnTo>
                    <a:pt x="44" y="14"/>
                  </a:lnTo>
                  <a:lnTo>
                    <a:pt x="52" y="16"/>
                  </a:lnTo>
                  <a:lnTo>
                    <a:pt x="61" y="22"/>
                  </a:lnTo>
                  <a:lnTo>
                    <a:pt x="66" y="24"/>
                  </a:lnTo>
                  <a:lnTo>
                    <a:pt x="71" y="25"/>
                  </a:lnTo>
                  <a:lnTo>
                    <a:pt x="79" y="28"/>
                  </a:lnTo>
                  <a:lnTo>
                    <a:pt x="88" y="30"/>
                  </a:lnTo>
                  <a:lnTo>
                    <a:pt x="97" y="31"/>
                  </a:lnTo>
                  <a:lnTo>
                    <a:pt x="105" y="32"/>
                  </a:lnTo>
                  <a:lnTo>
                    <a:pt x="107" y="32"/>
                  </a:lnTo>
                  <a:lnTo>
                    <a:pt x="110" y="33"/>
                  </a:lnTo>
                  <a:lnTo>
                    <a:pt x="118" y="34"/>
                  </a:lnTo>
                  <a:lnTo>
                    <a:pt x="122" y="35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29" y="36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Freeform 52">
              <a:extLst>
                <a:ext uri="{FF2B5EF4-FFF2-40B4-BE49-F238E27FC236}">
                  <a16:creationId xmlns:a16="http://schemas.microsoft.com/office/drawing/2014/main" id="{89691B0D-CDE8-41F6-B232-173E82125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1753" y="2249755"/>
              <a:ext cx="83989" cy="147054"/>
            </a:xfrm>
            <a:custGeom>
              <a:avLst/>
              <a:gdLst>
                <a:gd name="T0" fmla="*/ 2147483647 w 69"/>
                <a:gd name="T1" fmla="*/ 0 h 136"/>
                <a:gd name="T2" fmla="*/ 2147483647 w 69"/>
                <a:gd name="T3" fmla="*/ 2147483647 h 136"/>
                <a:gd name="T4" fmla="*/ 2147483647 w 69"/>
                <a:gd name="T5" fmla="*/ 2147483647 h 136"/>
                <a:gd name="T6" fmla="*/ 0 w 69"/>
                <a:gd name="T7" fmla="*/ 2147483647 h 1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9"/>
                <a:gd name="T13" fmla="*/ 0 h 136"/>
                <a:gd name="T14" fmla="*/ 69 w 69"/>
                <a:gd name="T15" fmla="*/ 136 h 1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9" h="136">
                  <a:moveTo>
                    <a:pt x="69" y="0"/>
                  </a:moveTo>
                  <a:lnTo>
                    <a:pt x="61" y="42"/>
                  </a:lnTo>
                  <a:lnTo>
                    <a:pt x="26" y="90"/>
                  </a:lnTo>
                  <a:lnTo>
                    <a:pt x="0" y="136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Freeform 53">
              <a:extLst>
                <a:ext uri="{FF2B5EF4-FFF2-40B4-BE49-F238E27FC236}">
                  <a16:creationId xmlns:a16="http://schemas.microsoft.com/office/drawing/2014/main" id="{6FEE9DE3-3D3F-4129-890B-E786CE62F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179" y="2373280"/>
              <a:ext cx="176936" cy="44116"/>
            </a:xfrm>
            <a:custGeom>
              <a:avLst/>
              <a:gdLst>
                <a:gd name="T0" fmla="*/ 0 w 147"/>
                <a:gd name="T1" fmla="*/ 2147483647 h 41"/>
                <a:gd name="T2" fmla="*/ 2147483647 w 147"/>
                <a:gd name="T3" fmla="*/ 2147483647 h 41"/>
                <a:gd name="T4" fmla="*/ 2147483647 w 147"/>
                <a:gd name="T5" fmla="*/ 2147483647 h 41"/>
                <a:gd name="T6" fmla="*/ 2147483647 w 147"/>
                <a:gd name="T7" fmla="*/ 2147483647 h 41"/>
                <a:gd name="T8" fmla="*/ 2147483647 w 147"/>
                <a:gd name="T9" fmla="*/ 2147483647 h 41"/>
                <a:gd name="T10" fmla="*/ 2147483647 w 147"/>
                <a:gd name="T11" fmla="*/ 2147483647 h 41"/>
                <a:gd name="T12" fmla="*/ 2147483647 w 147"/>
                <a:gd name="T13" fmla="*/ 2147483647 h 41"/>
                <a:gd name="T14" fmla="*/ 2147483647 w 147"/>
                <a:gd name="T15" fmla="*/ 2147483647 h 41"/>
                <a:gd name="T16" fmla="*/ 2147483647 w 147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7"/>
                <a:gd name="T28" fmla="*/ 0 h 41"/>
                <a:gd name="T29" fmla="*/ 147 w 147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7" h="41">
                  <a:moveTo>
                    <a:pt x="0" y="41"/>
                  </a:moveTo>
                  <a:lnTo>
                    <a:pt x="6" y="39"/>
                  </a:lnTo>
                  <a:lnTo>
                    <a:pt x="14" y="36"/>
                  </a:lnTo>
                  <a:lnTo>
                    <a:pt x="24" y="33"/>
                  </a:lnTo>
                  <a:lnTo>
                    <a:pt x="34" y="29"/>
                  </a:lnTo>
                  <a:lnTo>
                    <a:pt x="56" y="21"/>
                  </a:lnTo>
                  <a:lnTo>
                    <a:pt x="67" y="17"/>
                  </a:lnTo>
                  <a:lnTo>
                    <a:pt x="77" y="14"/>
                  </a:lnTo>
                  <a:lnTo>
                    <a:pt x="147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Freeform 54">
              <a:extLst>
                <a:ext uri="{FF2B5EF4-FFF2-40B4-BE49-F238E27FC236}">
                  <a16:creationId xmlns:a16="http://schemas.microsoft.com/office/drawing/2014/main" id="{B0E66359-C611-44FA-A90E-930F8A1D8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4994" y="2349751"/>
              <a:ext cx="131022" cy="29410"/>
            </a:xfrm>
            <a:custGeom>
              <a:avLst/>
              <a:gdLst>
                <a:gd name="T0" fmla="*/ 0 w 134"/>
                <a:gd name="T1" fmla="*/ 2147483647 h 25"/>
                <a:gd name="T2" fmla="*/ 2147483647 w 134"/>
                <a:gd name="T3" fmla="*/ 2147483647 h 25"/>
                <a:gd name="T4" fmla="*/ 2147483647 w 134"/>
                <a:gd name="T5" fmla="*/ 2147483647 h 25"/>
                <a:gd name="T6" fmla="*/ 2147483647 w 134"/>
                <a:gd name="T7" fmla="*/ 2147483647 h 25"/>
                <a:gd name="T8" fmla="*/ 2147483647 w 134"/>
                <a:gd name="T9" fmla="*/ 2147483647 h 25"/>
                <a:gd name="T10" fmla="*/ 2147483647 w 134"/>
                <a:gd name="T11" fmla="*/ 2147483647 h 25"/>
                <a:gd name="T12" fmla="*/ 2147483647 w 134"/>
                <a:gd name="T13" fmla="*/ 2147483647 h 25"/>
                <a:gd name="T14" fmla="*/ 2147483647 w 134"/>
                <a:gd name="T15" fmla="*/ 2147483647 h 25"/>
                <a:gd name="T16" fmla="*/ 2147483647 w 134"/>
                <a:gd name="T17" fmla="*/ 2147483647 h 25"/>
                <a:gd name="T18" fmla="*/ 2147483647 w 134"/>
                <a:gd name="T19" fmla="*/ 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4"/>
                <a:gd name="T31" fmla="*/ 0 h 25"/>
                <a:gd name="T32" fmla="*/ 134 w 134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4" h="25">
                  <a:moveTo>
                    <a:pt x="0" y="22"/>
                  </a:moveTo>
                  <a:lnTo>
                    <a:pt x="7" y="22"/>
                  </a:lnTo>
                  <a:lnTo>
                    <a:pt x="16" y="23"/>
                  </a:lnTo>
                  <a:lnTo>
                    <a:pt x="27" y="24"/>
                  </a:lnTo>
                  <a:lnTo>
                    <a:pt x="40" y="25"/>
                  </a:lnTo>
                  <a:lnTo>
                    <a:pt x="52" y="25"/>
                  </a:lnTo>
                  <a:lnTo>
                    <a:pt x="64" y="25"/>
                  </a:lnTo>
                  <a:lnTo>
                    <a:pt x="76" y="25"/>
                  </a:lnTo>
                  <a:lnTo>
                    <a:pt x="85" y="24"/>
                  </a:lnTo>
                  <a:lnTo>
                    <a:pt x="13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eform 55">
              <a:extLst>
                <a:ext uri="{FF2B5EF4-FFF2-40B4-BE49-F238E27FC236}">
                  <a16:creationId xmlns:a16="http://schemas.microsoft.com/office/drawing/2014/main" id="{B09B93C0-439E-4D0D-81CD-38485BC37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7370" y="2235047"/>
              <a:ext cx="154540" cy="129407"/>
            </a:xfrm>
            <a:custGeom>
              <a:avLst/>
              <a:gdLst>
                <a:gd name="T0" fmla="*/ 0 w 129"/>
                <a:gd name="T1" fmla="*/ 0 h 120"/>
                <a:gd name="T2" fmla="*/ 2147483647 w 129"/>
                <a:gd name="T3" fmla="*/ 2147483647 h 120"/>
                <a:gd name="T4" fmla="*/ 2147483647 w 129"/>
                <a:gd name="T5" fmla="*/ 2147483647 h 120"/>
                <a:gd name="T6" fmla="*/ 2147483647 w 129"/>
                <a:gd name="T7" fmla="*/ 2147483647 h 1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9"/>
                <a:gd name="T13" fmla="*/ 0 h 120"/>
                <a:gd name="T14" fmla="*/ 129 w 129"/>
                <a:gd name="T15" fmla="*/ 120 h 1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9" h="120">
                  <a:moveTo>
                    <a:pt x="0" y="0"/>
                  </a:moveTo>
                  <a:lnTo>
                    <a:pt x="40" y="24"/>
                  </a:lnTo>
                  <a:lnTo>
                    <a:pt x="113" y="84"/>
                  </a:lnTo>
                  <a:lnTo>
                    <a:pt x="129" y="12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Line 56">
              <a:extLst>
                <a:ext uri="{FF2B5EF4-FFF2-40B4-BE49-F238E27FC236}">
                  <a16:creationId xmlns:a16="http://schemas.microsoft.com/office/drawing/2014/main" id="{EA7470AA-F9C7-4F3C-BDB9-C495FF786FA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49591" y="2530135"/>
              <a:ext cx="59352" cy="34313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eform 57">
              <a:extLst>
                <a:ext uri="{FF2B5EF4-FFF2-40B4-BE49-F238E27FC236}">
                  <a16:creationId xmlns:a16="http://schemas.microsoft.com/office/drawing/2014/main" id="{E9B6A6E9-5227-4976-8882-611369C89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3992" y="2396809"/>
              <a:ext cx="52633" cy="1225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5"/>
                </a:cxn>
                <a:cxn ang="0">
                  <a:pos x="3" y="12"/>
                </a:cxn>
                <a:cxn ang="0">
                  <a:pos x="5" y="20"/>
                </a:cxn>
                <a:cxn ang="0">
                  <a:pos x="8" y="29"/>
                </a:cxn>
                <a:cxn ang="0">
                  <a:pos x="13" y="47"/>
                </a:cxn>
                <a:cxn ang="0">
                  <a:pos x="16" y="55"/>
                </a:cxn>
                <a:cxn ang="0">
                  <a:pos x="18" y="61"/>
                </a:cxn>
                <a:cxn ang="0">
                  <a:pos x="39" y="85"/>
                </a:cxn>
                <a:cxn ang="0">
                  <a:pos x="43" y="113"/>
                </a:cxn>
              </a:cxnLst>
              <a:rect l="0" t="0" r="r" b="b"/>
              <a:pathLst>
                <a:path w="43" h="113">
                  <a:moveTo>
                    <a:pt x="0" y="0"/>
                  </a:moveTo>
                  <a:lnTo>
                    <a:pt x="1" y="5"/>
                  </a:lnTo>
                  <a:lnTo>
                    <a:pt x="3" y="12"/>
                  </a:lnTo>
                  <a:lnTo>
                    <a:pt x="5" y="20"/>
                  </a:lnTo>
                  <a:lnTo>
                    <a:pt x="8" y="29"/>
                  </a:lnTo>
                  <a:lnTo>
                    <a:pt x="13" y="47"/>
                  </a:lnTo>
                  <a:lnTo>
                    <a:pt x="16" y="55"/>
                  </a:lnTo>
                  <a:lnTo>
                    <a:pt x="18" y="61"/>
                  </a:lnTo>
                  <a:lnTo>
                    <a:pt x="39" y="85"/>
                  </a:lnTo>
                  <a:lnTo>
                    <a:pt x="43" y="113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44" name="Freeform 58">
              <a:extLst>
                <a:ext uri="{FF2B5EF4-FFF2-40B4-BE49-F238E27FC236}">
                  <a16:creationId xmlns:a16="http://schemas.microsoft.com/office/drawing/2014/main" id="{3A7A14A7-4FEA-4E81-8CCE-AFD11FDC0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8086" y="2017407"/>
              <a:ext cx="40315" cy="103918"/>
            </a:xfrm>
            <a:custGeom>
              <a:avLst/>
              <a:gdLst>
                <a:gd name="T0" fmla="*/ 2147483647 w 34"/>
                <a:gd name="T1" fmla="*/ 0 h 96"/>
                <a:gd name="T2" fmla="*/ 0 w 34"/>
                <a:gd name="T3" fmla="*/ 2147483647 h 96"/>
                <a:gd name="T4" fmla="*/ 2147483647 w 34"/>
                <a:gd name="T5" fmla="*/ 2147483647 h 96"/>
                <a:gd name="T6" fmla="*/ 0 60000 65536"/>
                <a:gd name="T7" fmla="*/ 0 60000 65536"/>
                <a:gd name="T8" fmla="*/ 0 60000 65536"/>
                <a:gd name="T9" fmla="*/ 0 w 34"/>
                <a:gd name="T10" fmla="*/ 0 h 96"/>
                <a:gd name="T11" fmla="*/ 34 w 34"/>
                <a:gd name="T12" fmla="*/ 96 h 9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" h="96">
                  <a:moveTo>
                    <a:pt x="2" y="0"/>
                  </a:moveTo>
                  <a:lnTo>
                    <a:pt x="0" y="42"/>
                  </a:lnTo>
                  <a:lnTo>
                    <a:pt x="34" y="96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Freeform 59">
              <a:extLst>
                <a:ext uri="{FF2B5EF4-FFF2-40B4-BE49-F238E27FC236}">
                  <a16:creationId xmlns:a16="http://schemas.microsoft.com/office/drawing/2014/main" id="{4284C34A-1038-40FD-B658-2CFA8A8D9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30" y="2151717"/>
              <a:ext cx="54872" cy="51959"/>
            </a:xfrm>
            <a:custGeom>
              <a:avLst/>
              <a:gdLst>
                <a:gd name="T0" fmla="*/ 0 w 44"/>
                <a:gd name="T1" fmla="*/ 0 h 48"/>
                <a:gd name="T2" fmla="*/ 2147483647 w 44"/>
                <a:gd name="T3" fmla="*/ 2147483647 h 48"/>
                <a:gd name="T4" fmla="*/ 0 60000 65536"/>
                <a:gd name="T5" fmla="*/ 0 60000 65536"/>
                <a:gd name="T6" fmla="*/ 0 w 44"/>
                <a:gd name="T7" fmla="*/ 0 h 48"/>
                <a:gd name="T8" fmla="*/ 44 w 44"/>
                <a:gd name="T9" fmla="*/ 48 h 4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44" h="48">
                  <a:moveTo>
                    <a:pt x="0" y="0"/>
                  </a:moveTo>
                  <a:lnTo>
                    <a:pt x="44" y="4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Freeform 60">
              <a:extLst>
                <a:ext uri="{FF2B5EF4-FFF2-40B4-BE49-F238E27FC236}">
                  <a16:creationId xmlns:a16="http://schemas.microsoft.com/office/drawing/2014/main" id="{F084322B-AA4A-4E27-ABAF-935B516C2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705" y="1833100"/>
              <a:ext cx="239648" cy="180386"/>
            </a:xfrm>
            <a:custGeom>
              <a:avLst/>
              <a:gdLst>
                <a:gd name="T0" fmla="*/ 0 w 199"/>
                <a:gd name="T1" fmla="*/ 2147483647 h 167"/>
                <a:gd name="T2" fmla="*/ 2147483647 w 199"/>
                <a:gd name="T3" fmla="*/ 2147483647 h 167"/>
                <a:gd name="T4" fmla="*/ 2147483647 w 199"/>
                <a:gd name="T5" fmla="*/ 2147483647 h 167"/>
                <a:gd name="T6" fmla="*/ 2147483647 w 199"/>
                <a:gd name="T7" fmla="*/ 2147483647 h 167"/>
                <a:gd name="T8" fmla="*/ 2147483647 w 199"/>
                <a:gd name="T9" fmla="*/ 0 h 1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9"/>
                <a:gd name="T16" fmla="*/ 0 h 167"/>
                <a:gd name="T17" fmla="*/ 199 w 199"/>
                <a:gd name="T18" fmla="*/ 167 h 16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9" h="167">
                  <a:moveTo>
                    <a:pt x="0" y="167"/>
                  </a:moveTo>
                  <a:lnTo>
                    <a:pt x="8" y="103"/>
                  </a:lnTo>
                  <a:lnTo>
                    <a:pt x="58" y="56"/>
                  </a:lnTo>
                  <a:lnTo>
                    <a:pt x="119" y="50"/>
                  </a:lnTo>
                  <a:lnTo>
                    <a:pt x="199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Line 61">
              <a:extLst>
                <a:ext uri="{FF2B5EF4-FFF2-40B4-BE49-F238E27FC236}">
                  <a16:creationId xmlns:a16="http://schemas.microsoft.com/office/drawing/2014/main" id="{20847C47-BD4A-4600-AD04-391FE40F0E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13331" y="2082111"/>
              <a:ext cx="23516" cy="62743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eform 62">
              <a:extLst>
                <a:ext uri="{FF2B5EF4-FFF2-40B4-BE49-F238E27FC236}">
                  <a16:creationId xmlns:a16="http://schemas.microsoft.com/office/drawing/2014/main" id="{82D63AD9-F4FB-4154-B773-FC0644FF2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015" y="1890942"/>
              <a:ext cx="138861" cy="190190"/>
            </a:xfrm>
            <a:custGeom>
              <a:avLst/>
              <a:gdLst>
                <a:gd name="T0" fmla="*/ 2147483647 w 115"/>
                <a:gd name="T1" fmla="*/ 2147483647 h 176"/>
                <a:gd name="T2" fmla="*/ 0 w 115"/>
                <a:gd name="T3" fmla="*/ 2147483647 h 176"/>
                <a:gd name="T4" fmla="*/ 2147483647 w 115"/>
                <a:gd name="T5" fmla="*/ 2147483647 h 176"/>
                <a:gd name="T6" fmla="*/ 2147483647 w 115"/>
                <a:gd name="T7" fmla="*/ 2147483647 h 176"/>
                <a:gd name="T8" fmla="*/ 2147483647 w 115"/>
                <a:gd name="T9" fmla="*/ 2147483647 h 176"/>
                <a:gd name="T10" fmla="*/ 2147483647 w 115"/>
                <a:gd name="T11" fmla="*/ 2147483647 h 176"/>
                <a:gd name="T12" fmla="*/ 2147483647 w 115"/>
                <a:gd name="T13" fmla="*/ 2147483647 h 176"/>
                <a:gd name="T14" fmla="*/ 2147483647 w 115"/>
                <a:gd name="T15" fmla="*/ 2147483647 h 176"/>
                <a:gd name="T16" fmla="*/ 2147483647 w 115"/>
                <a:gd name="T17" fmla="*/ 0 h 17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5"/>
                <a:gd name="T28" fmla="*/ 0 h 176"/>
                <a:gd name="T29" fmla="*/ 115 w 115"/>
                <a:gd name="T30" fmla="*/ 176 h 17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5" h="176">
                  <a:moveTo>
                    <a:pt x="51" y="176"/>
                  </a:moveTo>
                  <a:lnTo>
                    <a:pt x="0" y="99"/>
                  </a:lnTo>
                  <a:lnTo>
                    <a:pt x="10" y="57"/>
                  </a:lnTo>
                  <a:lnTo>
                    <a:pt x="14" y="53"/>
                  </a:lnTo>
                  <a:lnTo>
                    <a:pt x="20" y="50"/>
                  </a:lnTo>
                  <a:lnTo>
                    <a:pt x="33" y="46"/>
                  </a:lnTo>
                  <a:lnTo>
                    <a:pt x="48" y="42"/>
                  </a:lnTo>
                  <a:lnTo>
                    <a:pt x="62" y="36"/>
                  </a:lnTo>
                  <a:lnTo>
                    <a:pt x="115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Freeform 63">
              <a:extLst>
                <a:ext uri="{FF2B5EF4-FFF2-40B4-BE49-F238E27FC236}">
                  <a16:creationId xmlns:a16="http://schemas.microsoft.com/office/drawing/2014/main" id="{049A8B9A-58B8-40F8-8C4C-AD3692732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0611" y="2592880"/>
              <a:ext cx="68311" cy="109800"/>
            </a:xfrm>
            <a:custGeom>
              <a:avLst/>
              <a:gdLst>
                <a:gd name="T0" fmla="*/ 2147483647 w 56"/>
                <a:gd name="T1" fmla="*/ 2147483647 h 102"/>
                <a:gd name="T2" fmla="*/ 2147483647 w 56"/>
                <a:gd name="T3" fmla="*/ 2147483647 h 102"/>
                <a:gd name="T4" fmla="*/ 2147483647 w 56"/>
                <a:gd name="T5" fmla="*/ 2147483647 h 102"/>
                <a:gd name="T6" fmla="*/ 2147483647 w 56"/>
                <a:gd name="T7" fmla="*/ 2147483647 h 102"/>
                <a:gd name="T8" fmla="*/ 2147483647 w 56"/>
                <a:gd name="T9" fmla="*/ 2147483647 h 102"/>
                <a:gd name="T10" fmla="*/ 2147483647 w 56"/>
                <a:gd name="T11" fmla="*/ 0 h 102"/>
                <a:gd name="T12" fmla="*/ 0 w 56"/>
                <a:gd name="T13" fmla="*/ 2147483647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6"/>
                <a:gd name="T22" fmla="*/ 0 h 102"/>
                <a:gd name="T23" fmla="*/ 56 w 56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6" h="102">
                  <a:moveTo>
                    <a:pt x="11" y="102"/>
                  </a:moveTo>
                  <a:lnTo>
                    <a:pt x="38" y="84"/>
                  </a:lnTo>
                  <a:lnTo>
                    <a:pt x="56" y="63"/>
                  </a:lnTo>
                  <a:lnTo>
                    <a:pt x="35" y="47"/>
                  </a:lnTo>
                  <a:lnTo>
                    <a:pt x="50" y="24"/>
                  </a:lnTo>
                  <a:lnTo>
                    <a:pt x="25" y="0"/>
                  </a:lnTo>
                  <a:lnTo>
                    <a:pt x="0" y="3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0" name="Freeform 64">
              <a:extLst>
                <a:ext uri="{FF2B5EF4-FFF2-40B4-BE49-F238E27FC236}">
                  <a16:creationId xmlns:a16="http://schemas.microsoft.com/office/drawing/2014/main" id="{C67E4F89-65A9-4ECA-A83B-3820E8C2B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2951" y="2792874"/>
              <a:ext cx="36956" cy="68625"/>
            </a:xfrm>
            <a:custGeom>
              <a:avLst/>
              <a:gdLst>
                <a:gd name="T0" fmla="*/ 0 w 30"/>
                <a:gd name="T1" fmla="*/ 0 h 64"/>
                <a:gd name="T2" fmla="*/ 2147483647 w 30"/>
                <a:gd name="T3" fmla="*/ 2147483647 h 64"/>
                <a:gd name="T4" fmla="*/ 2147483647 w 30"/>
                <a:gd name="T5" fmla="*/ 2147483647 h 64"/>
                <a:gd name="T6" fmla="*/ 2147483647 w 30"/>
                <a:gd name="T7" fmla="*/ 2147483647 h 64"/>
                <a:gd name="T8" fmla="*/ 2147483647 w 30"/>
                <a:gd name="T9" fmla="*/ 2147483647 h 64"/>
                <a:gd name="T10" fmla="*/ 2147483647 w 30"/>
                <a:gd name="T11" fmla="*/ 2147483647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64"/>
                <a:gd name="T20" fmla="*/ 30 w 30"/>
                <a:gd name="T21" fmla="*/ 64 h 6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64">
                  <a:moveTo>
                    <a:pt x="0" y="0"/>
                  </a:moveTo>
                  <a:lnTo>
                    <a:pt x="15" y="31"/>
                  </a:lnTo>
                  <a:lnTo>
                    <a:pt x="19" y="40"/>
                  </a:lnTo>
                  <a:lnTo>
                    <a:pt x="23" y="49"/>
                  </a:lnTo>
                  <a:lnTo>
                    <a:pt x="27" y="57"/>
                  </a:lnTo>
                  <a:lnTo>
                    <a:pt x="30" y="6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Freeform 65">
              <a:extLst>
                <a:ext uri="{FF2B5EF4-FFF2-40B4-BE49-F238E27FC236}">
                  <a16:creationId xmlns:a16="http://schemas.microsoft.com/office/drawing/2014/main" id="{8295E91D-2873-4740-88DC-A551A81BF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6880" y="2792874"/>
              <a:ext cx="60472" cy="40194"/>
            </a:xfrm>
            <a:custGeom>
              <a:avLst/>
              <a:gdLst>
                <a:gd name="T0" fmla="*/ 2147483647 w 50"/>
                <a:gd name="T1" fmla="*/ 0 h 37"/>
                <a:gd name="T2" fmla="*/ 2147483647 w 50"/>
                <a:gd name="T3" fmla="*/ 2147483647 h 37"/>
                <a:gd name="T4" fmla="*/ 2147483647 w 50"/>
                <a:gd name="T5" fmla="*/ 2147483647 h 37"/>
                <a:gd name="T6" fmla="*/ 2147483647 w 50"/>
                <a:gd name="T7" fmla="*/ 2147483647 h 37"/>
                <a:gd name="T8" fmla="*/ 2147483647 w 50"/>
                <a:gd name="T9" fmla="*/ 2147483647 h 37"/>
                <a:gd name="T10" fmla="*/ 0 w 50"/>
                <a:gd name="T11" fmla="*/ 2147483647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0"/>
                <a:gd name="T19" fmla="*/ 0 h 37"/>
                <a:gd name="T20" fmla="*/ 50 w 50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0" h="37">
                  <a:moveTo>
                    <a:pt x="50" y="0"/>
                  </a:moveTo>
                  <a:lnTo>
                    <a:pt x="46" y="3"/>
                  </a:lnTo>
                  <a:lnTo>
                    <a:pt x="40" y="8"/>
                  </a:lnTo>
                  <a:lnTo>
                    <a:pt x="33" y="14"/>
                  </a:lnTo>
                  <a:lnTo>
                    <a:pt x="26" y="19"/>
                  </a:lnTo>
                  <a:lnTo>
                    <a:pt x="0" y="37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Freeform 66">
              <a:extLst>
                <a:ext uri="{FF2B5EF4-FFF2-40B4-BE49-F238E27FC236}">
                  <a16:creationId xmlns:a16="http://schemas.microsoft.com/office/drawing/2014/main" id="{A1578C91-2C61-4DDD-9EB1-32B9C490E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2053" y="2664445"/>
              <a:ext cx="136621" cy="44116"/>
            </a:xfrm>
            <a:custGeom>
              <a:avLst/>
              <a:gdLst>
                <a:gd name="T0" fmla="*/ 2147483647 w 112"/>
                <a:gd name="T1" fmla="*/ 2147483647 h 41"/>
                <a:gd name="T2" fmla="*/ 2147483647 w 112"/>
                <a:gd name="T3" fmla="*/ 2147483647 h 41"/>
                <a:gd name="T4" fmla="*/ 2147483647 w 112"/>
                <a:gd name="T5" fmla="*/ 2147483647 h 41"/>
                <a:gd name="T6" fmla="*/ 2147483647 w 112"/>
                <a:gd name="T7" fmla="*/ 2147483647 h 41"/>
                <a:gd name="T8" fmla="*/ 2147483647 w 112"/>
                <a:gd name="T9" fmla="*/ 2147483647 h 41"/>
                <a:gd name="T10" fmla="*/ 2147483647 w 112"/>
                <a:gd name="T11" fmla="*/ 2147483647 h 41"/>
                <a:gd name="T12" fmla="*/ 2147483647 w 112"/>
                <a:gd name="T13" fmla="*/ 2147483647 h 41"/>
                <a:gd name="T14" fmla="*/ 2147483647 w 112"/>
                <a:gd name="T15" fmla="*/ 2147483647 h 41"/>
                <a:gd name="T16" fmla="*/ 0 w 112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2"/>
                <a:gd name="T28" fmla="*/ 0 h 41"/>
                <a:gd name="T29" fmla="*/ 112 w 112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2" h="41">
                  <a:moveTo>
                    <a:pt x="112" y="41"/>
                  </a:moveTo>
                  <a:lnTo>
                    <a:pt x="68" y="16"/>
                  </a:lnTo>
                  <a:lnTo>
                    <a:pt x="61" y="13"/>
                  </a:lnTo>
                  <a:lnTo>
                    <a:pt x="52" y="11"/>
                  </a:lnTo>
                  <a:lnTo>
                    <a:pt x="33" y="7"/>
                  </a:lnTo>
                  <a:lnTo>
                    <a:pt x="23" y="5"/>
                  </a:lnTo>
                  <a:lnTo>
                    <a:pt x="14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3" name="Freeform 67">
              <a:extLst>
                <a:ext uri="{FF2B5EF4-FFF2-40B4-BE49-F238E27FC236}">
                  <a16:creationId xmlns:a16="http://schemas.microsoft.com/office/drawing/2014/main" id="{E76DC5D4-04DB-4A9F-8E27-735F52DAF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9518" y="2769345"/>
              <a:ext cx="188135" cy="157837"/>
            </a:xfrm>
            <a:custGeom>
              <a:avLst/>
              <a:gdLst>
                <a:gd name="T0" fmla="*/ 2147483647 w 154"/>
                <a:gd name="T1" fmla="*/ 0 h 146"/>
                <a:gd name="T2" fmla="*/ 2147483647 w 154"/>
                <a:gd name="T3" fmla="*/ 2147483647 h 146"/>
                <a:gd name="T4" fmla="*/ 2147483647 w 154"/>
                <a:gd name="T5" fmla="*/ 2147483647 h 146"/>
                <a:gd name="T6" fmla="*/ 2147483647 w 154"/>
                <a:gd name="T7" fmla="*/ 2147483647 h 146"/>
                <a:gd name="T8" fmla="*/ 2147483647 w 154"/>
                <a:gd name="T9" fmla="*/ 2147483647 h 146"/>
                <a:gd name="T10" fmla="*/ 2147483647 w 154"/>
                <a:gd name="T11" fmla="*/ 2147483647 h 146"/>
                <a:gd name="T12" fmla="*/ 2147483647 w 154"/>
                <a:gd name="T13" fmla="*/ 2147483647 h 146"/>
                <a:gd name="T14" fmla="*/ 0 w 154"/>
                <a:gd name="T15" fmla="*/ 2147483647 h 146"/>
                <a:gd name="T16" fmla="*/ 2147483647 w 154"/>
                <a:gd name="T17" fmla="*/ 2147483647 h 14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4"/>
                <a:gd name="T28" fmla="*/ 0 h 146"/>
                <a:gd name="T29" fmla="*/ 154 w 154"/>
                <a:gd name="T30" fmla="*/ 146 h 14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4" h="146">
                  <a:moveTo>
                    <a:pt x="154" y="0"/>
                  </a:moveTo>
                  <a:lnTo>
                    <a:pt x="126" y="24"/>
                  </a:lnTo>
                  <a:lnTo>
                    <a:pt x="109" y="54"/>
                  </a:lnTo>
                  <a:lnTo>
                    <a:pt x="73" y="81"/>
                  </a:lnTo>
                  <a:lnTo>
                    <a:pt x="56" y="92"/>
                  </a:lnTo>
                  <a:lnTo>
                    <a:pt x="47" y="97"/>
                  </a:lnTo>
                  <a:lnTo>
                    <a:pt x="38" y="101"/>
                  </a:lnTo>
                  <a:lnTo>
                    <a:pt x="0" y="109"/>
                  </a:lnTo>
                  <a:lnTo>
                    <a:pt x="6" y="146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Freeform 68">
              <a:extLst>
                <a:ext uri="{FF2B5EF4-FFF2-40B4-BE49-F238E27FC236}">
                  <a16:creationId xmlns:a16="http://schemas.microsoft.com/office/drawing/2014/main" id="{8E57CEDE-56D8-430C-B84A-B42ADE301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357" y="2918359"/>
              <a:ext cx="57113" cy="106859"/>
            </a:xfrm>
            <a:custGeom>
              <a:avLst/>
              <a:gdLst>
                <a:gd name="T0" fmla="*/ 0 w 48"/>
                <a:gd name="T1" fmla="*/ 0 h 99"/>
                <a:gd name="T2" fmla="*/ 2147483647 w 48"/>
                <a:gd name="T3" fmla="*/ 2147483647 h 99"/>
                <a:gd name="T4" fmla="*/ 2147483647 w 48"/>
                <a:gd name="T5" fmla="*/ 2147483647 h 99"/>
                <a:gd name="T6" fmla="*/ 2147483647 w 48"/>
                <a:gd name="T7" fmla="*/ 2147483647 h 99"/>
                <a:gd name="T8" fmla="*/ 2147483647 w 48"/>
                <a:gd name="T9" fmla="*/ 2147483647 h 99"/>
                <a:gd name="T10" fmla="*/ 2147483647 w 48"/>
                <a:gd name="T11" fmla="*/ 2147483647 h 99"/>
                <a:gd name="T12" fmla="*/ 2147483647 w 48"/>
                <a:gd name="T13" fmla="*/ 2147483647 h 99"/>
                <a:gd name="T14" fmla="*/ 2147483647 w 48"/>
                <a:gd name="T15" fmla="*/ 2147483647 h 9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"/>
                <a:gd name="T25" fmla="*/ 0 h 99"/>
                <a:gd name="T26" fmla="*/ 48 w 48"/>
                <a:gd name="T27" fmla="*/ 99 h 9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" h="99">
                  <a:moveTo>
                    <a:pt x="0" y="0"/>
                  </a:moveTo>
                  <a:lnTo>
                    <a:pt x="38" y="14"/>
                  </a:lnTo>
                  <a:lnTo>
                    <a:pt x="45" y="45"/>
                  </a:lnTo>
                  <a:lnTo>
                    <a:pt x="47" y="55"/>
                  </a:lnTo>
                  <a:lnTo>
                    <a:pt x="48" y="66"/>
                  </a:lnTo>
                  <a:lnTo>
                    <a:pt x="47" y="77"/>
                  </a:lnTo>
                  <a:lnTo>
                    <a:pt x="45" y="85"/>
                  </a:lnTo>
                  <a:lnTo>
                    <a:pt x="25" y="99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Freeform 69">
              <a:extLst>
                <a:ext uri="{FF2B5EF4-FFF2-40B4-BE49-F238E27FC236}">
                  <a16:creationId xmlns:a16="http://schemas.microsoft.com/office/drawing/2014/main" id="{CF767609-BB31-48D5-86AC-8D79D67E7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046" y="2922281"/>
              <a:ext cx="69431" cy="72547"/>
            </a:xfrm>
            <a:custGeom>
              <a:avLst/>
              <a:gdLst>
                <a:gd name="T0" fmla="*/ 2147483647 w 58"/>
                <a:gd name="T1" fmla="*/ 0 h 67"/>
                <a:gd name="T2" fmla="*/ 2147483647 w 58"/>
                <a:gd name="T3" fmla="*/ 2147483647 h 67"/>
                <a:gd name="T4" fmla="*/ 2147483647 w 58"/>
                <a:gd name="T5" fmla="*/ 2147483647 h 67"/>
                <a:gd name="T6" fmla="*/ 2147483647 w 58"/>
                <a:gd name="T7" fmla="*/ 2147483647 h 67"/>
                <a:gd name="T8" fmla="*/ 2147483647 w 58"/>
                <a:gd name="T9" fmla="*/ 2147483647 h 67"/>
                <a:gd name="T10" fmla="*/ 2147483647 w 58"/>
                <a:gd name="T11" fmla="*/ 2147483647 h 67"/>
                <a:gd name="T12" fmla="*/ 2147483647 w 58"/>
                <a:gd name="T13" fmla="*/ 2147483647 h 67"/>
                <a:gd name="T14" fmla="*/ 0 w 58"/>
                <a:gd name="T15" fmla="*/ 2147483647 h 6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8"/>
                <a:gd name="T25" fmla="*/ 0 h 67"/>
                <a:gd name="T26" fmla="*/ 58 w 58"/>
                <a:gd name="T27" fmla="*/ 67 h 6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8" h="67">
                  <a:moveTo>
                    <a:pt x="58" y="0"/>
                  </a:moveTo>
                  <a:lnTo>
                    <a:pt x="35" y="10"/>
                  </a:lnTo>
                  <a:lnTo>
                    <a:pt x="22" y="26"/>
                  </a:lnTo>
                  <a:lnTo>
                    <a:pt x="14" y="43"/>
                  </a:lnTo>
                  <a:lnTo>
                    <a:pt x="11" y="49"/>
                  </a:lnTo>
                  <a:lnTo>
                    <a:pt x="7" y="56"/>
                  </a:lnTo>
                  <a:lnTo>
                    <a:pt x="3" y="62"/>
                  </a:lnTo>
                  <a:lnTo>
                    <a:pt x="0" y="67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6" name="Line 70">
              <a:extLst>
                <a:ext uri="{FF2B5EF4-FFF2-40B4-BE49-F238E27FC236}">
                  <a16:creationId xmlns:a16="http://schemas.microsoft.com/office/drawing/2014/main" id="{16741F2A-2B00-4719-A6A3-697EB8BDEE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809731" y="2975221"/>
              <a:ext cx="62712" cy="490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Freeform 71">
              <a:extLst>
                <a:ext uri="{FF2B5EF4-FFF2-40B4-BE49-F238E27FC236}">
                  <a16:creationId xmlns:a16="http://schemas.microsoft.com/office/drawing/2014/main" id="{BD838E99-3971-4873-9324-C1E48854E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1542" y="2676209"/>
              <a:ext cx="135501" cy="113721"/>
            </a:xfrm>
            <a:custGeom>
              <a:avLst/>
              <a:gdLst>
                <a:gd name="T0" fmla="*/ 0 w 113"/>
                <a:gd name="T1" fmla="*/ 2147483647 h 105"/>
                <a:gd name="T2" fmla="*/ 2147483647 w 113"/>
                <a:gd name="T3" fmla="*/ 2147483647 h 105"/>
                <a:gd name="T4" fmla="*/ 2147483647 w 113"/>
                <a:gd name="T5" fmla="*/ 2147483647 h 105"/>
                <a:gd name="T6" fmla="*/ 2147483647 w 113"/>
                <a:gd name="T7" fmla="*/ 0 h 10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3"/>
                <a:gd name="T13" fmla="*/ 0 h 105"/>
                <a:gd name="T14" fmla="*/ 113 w 113"/>
                <a:gd name="T15" fmla="*/ 105 h 10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3" h="105">
                  <a:moveTo>
                    <a:pt x="0" y="105"/>
                  </a:moveTo>
                  <a:lnTo>
                    <a:pt x="55" y="51"/>
                  </a:lnTo>
                  <a:lnTo>
                    <a:pt x="65" y="25"/>
                  </a:lnTo>
                  <a:lnTo>
                    <a:pt x="113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Freeform 72">
              <a:extLst>
                <a:ext uri="{FF2B5EF4-FFF2-40B4-BE49-F238E27FC236}">
                  <a16:creationId xmlns:a16="http://schemas.microsoft.com/office/drawing/2014/main" id="{4D1D568D-AED1-40F2-BC02-4C6F3BABD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557" y="3185018"/>
              <a:ext cx="116464" cy="20587"/>
            </a:xfrm>
            <a:custGeom>
              <a:avLst/>
              <a:gdLst>
                <a:gd name="T0" fmla="*/ 0 w 96"/>
                <a:gd name="T1" fmla="*/ 2147483647 h 19"/>
                <a:gd name="T2" fmla="*/ 2147483647 w 96"/>
                <a:gd name="T3" fmla="*/ 2147483647 h 19"/>
                <a:gd name="T4" fmla="*/ 2147483647 w 96"/>
                <a:gd name="T5" fmla="*/ 2147483647 h 19"/>
                <a:gd name="T6" fmla="*/ 2147483647 w 96"/>
                <a:gd name="T7" fmla="*/ 2147483647 h 19"/>
                <a:gd name="T8" fmla="*/ 2147483647 w 96"/>
                <a:gd name="T9" fmla="*/ 2147483647 h 19"/>
                <a:gd name="T10" fmla="*/ 2147483647 w 96"/>
                <a:gd name="T11" fmla="*/ 2147483647 h 19"/>
                <a:gd name="T12" fmla="*/ 2147483647 w 96"/>
                <a:gd name="T13" fmla="*/ 2147483647 h 19"/>
                <a:gd name="T14" fmla="*/ 2147483647 w 96"/>
                <a:gd name="T15" fmla="*/ 2147483647 h 19"/>
                <a:gd name="T16" fmla="*/ 2147483647 w 96"/>
                <a:gd name="T17" fmla="*/ 2147483647 h 19"/>
                <a:gd name="T18" fmla="*/ 2147483647 w 96"/>
                <a:gd name="T19" fmla="*/ 2147483647 h 19"/>
                <a:gd name="T20" fmla="*/ 2147483647 w 96"/>
                <a:gd name="T21" fmla="*/ 2147483647 h 19"/>
                <a:gd name="T22" fmla="*/ 2147483647 w 96"/>
                <a:gd name="T23" fmla="*/ 2147483647 h 19"/>
                <a:gd name="T24" fmla="*/ 2147483647 w 96"/>
                <a:gd name="T25" fmla="*/ 2147483647 h 19"/>
                <a:gd name="T26" fmla="*/ 2147483647 w 96"/>
                <a:gd name="T27" fmla="*/ 2147483647 h 19"/>
                <a:gd name="T28" fmla="*/ 2147483647 w 96"/>
                <a:gd name="T29" fmla="*/ 2147483647 h 19"/>
                <a:gd name="T30" fmla="*/ 2147483647 w 96"/>
                <a:gd name="T31" fmla="*/ 0 h 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6"/>
                <a:gd name="T49" fmla="*/ 0 h 19"/>
                <a:gd name="T50" fmla="*/ 96 w 96"/>
                <a:gd name="T51" fmla="*/ 19 h 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6" h="19">
                  <a:moveTo>
                    <a:pt x="0" y="19"/>
                  </a:moveTo>
                  <a:lnTo>
                    <a:pt x="4" y="17"/>
                  </a:lnTo>
                  <a:lnTo>
                    <a:pt x="7" y="17"/>
                  </a:lnTo>
                  <a:lnTo>
                    <a:pt x="9" y="16"/>
                  </a:lnTo>
                  <a:lnTo>
                    <a:pt x="11" y="15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8" y="11"/>
                  </a:lnTo>
                  <a:lnTo>
                    <a:pt x="28" y="13"/>
                  </a:lnTo>
                  <a:lnTo>
                    <a:pt x="37" y="14"/>
                  </a:lnTo>
                  <a:lnTo>
                    <a:pt x="56" y="19"/>
                  </a:lnTo>
                  <a:lnTo>
                    <a:pt x="74" y="13"/>
                  </a:lnTo>
                  <a:lnTo>
                    <a:pt x="92" y="6"/>
                  </a:lnTo>
                  <a:lnTo>
                    <a:pt x="94" y="2"/>
                  </a:lnTo>
                  <a:lnTo>
                    <a:pt x="96" y="1"/>
                  </a:lnTo>
                  <a:lnTo>
                    <a:pt x="96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9" name="Freeform 73">
              <a:extLst>
                <a:ext uri="{FF2B5EF4-FFF2-40B4-BE49-F238E27FC236}">
                  <a16:creationId xmlns:a16="http://schemas.microsoft.com/office/drawing/2014/main" id="{3475C676-84B1-446B-89B3-5BC58192F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078" y="3206585"/>
              <a:ext cx="258685" cy="7254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0" y="0"/>
                </a:cxn>
                <a:cxn ang="0">
                  <a:pos x="30" y="0"/>
                </a:cxn>
                <a:cxn ang="0">
                  <a:pos x="40" y="1"/>
                </a:cxn>
                <a:cxn ang="0">
                  <a:pos x="46" y="3"/>
                </a:cxn>
                <a:cxn ang="0">
                  <a:pos x="52" y="7"/>
                </a:cxn>
                <a:cxn ang="0">
                  <a:pos x="57" y="10"/>
                </a:cxn>
                <a:cxn ang="0">
                  <a:pos x="59" y="11"/>
                </a:cxn>
                <a:cxn ang="0">
                  <a:pos x="59" y="11"/>
                </a:cxn>
                <a:cxn ang="0">
                  <a:pos x="60" y="15"/>
                </a:cxn>
                <a:cxn ang="0">
                  <a:pos x="61" y="19"/>
                </a:cxn>
                <a:cxn ang="0">
                  <a:pos x="62" y="23"/>
                </a:cxn>
                <a:cxn ang="0">
                  <a:pos x="64" y="24"/>
                </a:cxn>
                <a:cxn ang="0">
                  <a:pos x="66" y="24"/>
                </a:cxn>
                <a:cxn ang="0">
                  <a:pos x="70" y="24"/>
                </a:cxn>
                <a:cxn ang="0">
                  <a:pos x="75" y="23"/>
                </a:cxn>
                <a:cxn ang="0">
                  <a:pos x="76" y="16"/>
                </a:cxn>
                <a:cxn ang="0">
                  <a:pos x="77" y="11"/>
                </a:cxn>
                <a:cxn ang="0">
                  <a:pos x="78" y="10"/>
                </a:cxn>
                <a:cxn ang="0">
                  <a:pos x="80" y="9"/>
                </a:cxn>
                <a:cxn ang="0">
                  <a:pos x="83" y="8"/>
                </a:cxn>
                <a:cxn ang="0">
                  <a:pos x="87" y="9"/>
                </a:cxn>
                <a:cxn ang="0">
                  <a:pos x="89" y="14"/>
                </a:cxn>
                <a:cxn ang="0">
                  <a:pos x="91" y="18"/>
                </a:cxn>
                <a:cxn ang="0">
                  <a:pos x="94" y="21"/>
                </a:cxn>
                <a:cxn ang="0">
                  <a:pos x="99" y="23"/>
                </a:cxn>
                <a:cxn ang="0">
                  <a:pos x="103" y="22"/>
                </a:cxn>
                <a:cxn ang="0">
                  <a:pos x="106" y="22"/>
                </a:cxn>
                <a:cxn ang="0">
                  <a:pos x="111" y="23"/>
                </a:cxn>
                <a:cxn ang="0">
                  <a:pos x="115" y="28"/>
                </a:cxn>
                <a:cxn ang="0">
                  <a:pos x="119" y="35"/>
                </a:cxn>
                <a:cxn ang="0">
                  <a:pos x="121" y="37"/>
                </a:cxn>
                <a:cxn ang="0">
                  <a:pos x="125" y="39"/>
                </a:cxn>
                <a:cxn ang="0">
                  <a:pos x="129" y="41"/>
                </a:cxn>
                <a:cxn ang="0">
                  <a:pos x="135" y="44"/>
                </a:cxn>
                <a:cxn ang="0">
                  <a:pos x="149" y="48"/>
                </a:cxn>
                <a:cxn ang="0">
                  <a:pos x="165" y="53"/>
                </a:cxn>
                <a:cxn ang="0">
                  <a:pos x="181" y="57"/>
                </a:cxn>
                <a:cxn ang="0">
                  <a:pos x="196" y="61"/>
                </a:cxn>
                <a:cxn ang="0">
                  <a:pos x="202" y="63"/>
                </a:cxn>
                <a:cxn ang="0">
                  <a:pos x="207" y="65"/>
                </a:cxn>
                <a:cxn ang="0">
                  <a:pos x="211" y="66"/>
                </a:cxn>
                <a:cxn ang="0">
                  <a:pos x="214" y="67"/>
                </a:cxn>
              </a:cxnLst>
              <a:rect l="0" t="0" r="r" b="b"/>
              <a:pathLst>
                <a:path w="214" h="67">
                  <a:moveTo>
                    <a:pt x="0" y="3"/>
                  </a:moveTo>
                  <a:lnTo>
                    <a:pt x="20" y="0"/>
                  </a:lnTo>
                  <a:lnTo>
                    <a:pt x="30" y="0"/>
                  </a:lnTo>
                  <a:lnTo>
                    <a:pt x="40" y="1"/>
                  </a:lnTo>
                  <a:lnTo>
                    <a:pt x="46" y="3"/>
                  </a:lnTo>
                  <a:lnTo>
                    <a:pt x="52" y="7"/>
                  </a:lnTo>
                  <a:lnTo>
                    <a:pt x="57" y="10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5"/>
                  </a:lnTo>
                  <a:lnTo>
                    <a:pt x="61" y="19"/>
                  </a:lnTo>
                  <a:lnTo>
                    <a:pt x="62" y="23"/>
                  </a:lnTo>
                  <a:lnTo>
                    <a:pt x="64" y="24"/>
                  </a:lnTo>
                  <a:lnTo>
                    <a:pt x="66" y="24"/>
                  </a:lnTo>
                  <a:lnTo>
                    <a:pt x="70" y="24"/>
                  </a:lnTo>
                  <a:lnTo>
                    <a:pt x="75" y="23"/>
                  </a:lnTo>
                  <a:lnTo>
                    <a:pt x="76" y="16"/>
                  </a:lnTo>
                  <a:lnTo>
                    <a:pt x="77" y="11"/>
                  </a:lnTo>
                  <a:lnTo>
                    <a:pt x="78" y="10"/>
                  </a:lnTo>
                  <a:lnTo>
                    <a:pt x="80" y="9"/>
                  </a:lnTo>
                  <a:lnTo>
                    <a:pt x="83" y="8"/>
                  </a:lnTo>
                  <a:lnTo>
                    <a:pt x="87" y="9"/>
                  </a:lnTo>
                  <a:lnTo>
                    <a:pt x="89" y="14"/>
                  </a:lnTo>
                  <a:lnTo>
                    <a:pt x="91" y="18"/>
                  </a:lnTo>
                  <a:lnTo>
                    <a:pt x="94" y="21"/>
                  </a:lnTo>
                  <a:lnTo>
                    <a:pt x="99" y="23"/>
                  </a:lnTo>
                  <a:lnTo>
                    <a:pt x="103" y="22"/>
                  </a:lnTo>
                  <a:lnTo>
                    <a:pt x="106" y="22"/>
                  </a:lnTo>
                  <a:lnTo>
                    <a:pt x="111" y="23"/>
                  </a:lnTo>
                  <a:lnTo>
                    <a:pt x="115" y="28"/>
                  </a:lnTo>
                  <a:lnTo>
                    <a:pt x="119" y="35"/>
                  </a:lnTo>
                  <a:lnTo>
                    <a:pt x="121" y="37"/>
                  </a:lnTo>
                  <a:lnTo>
                    <a:pt x="125" y="39"/>
                  </a:lnTo>
                  <a:lnTo>
                    <a:pt x="129" y="41"/>
                  </a:lnTo>
                  <a:lnTo>
                    <a:pt x="135" y="44"/>
                  </a:lnTo>
                  <a:lnTo>
                    <a:pt x="149" y="48"/>
                  </a:lnTo>
                  <a:lnTo>
                    <a:pt x="165" y="53"/>
                  </a:lnTo>
                  <a:lnTo>
                    <a:pt x="181" y="57"/>
                  </a:lnTo>
                  <a:lnTo>
                    <a:pt x="196" y="61"/>
                  </a:lnTo>
                  <a:lnTo>
                    <a:pt x="202" y="63"/>
                  </a:lnTo>
                  <a:lnTo>
                    <a:pt x="207" y="65"/>
                  </a:lnTo>
                  <a:lnTo>
                    <a:pt x="211" y="66"/>
                  </a:lnTo>
                  <a:lnTo>
                    <a:pt x="214" y="67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0" name="Freeform 74">
              <a:extLst>
                <a:ext uri="{FF2B5EF4-FFF2-40B4-BE49-F238E27FC236}">
                  <a16:creationId xmlns:a16="http://schemas.microsoft.com/office/drawing/2014/main" id="{7550F111-3909-47B3-8D8D-C2D3C345E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9517" y="3229133"/>
              <a:ext cx="88468" cy="134310"/>
            </a:xfrm>
            <a:custGeom>
              <a:avLst/>
              <a:gdLst>
                <a:gd name="T0" fmla="*/ 2147483647 w 74"/>
                <a:gd name="T1" fmla="*/ 0 h 124"/>
                <a:gd name="T2" fmla="*/ 2147483647 w 74"/>
                <a:gd name="T3" fmla="*/ 2147483647 h 124"/>
                <a:gd name="T4" fmla="*/ 2147483647 w 74"/>
                <a:gd name="T5" fmla="*/ 2147483647 h 124"/>
                <a:gd name="T6" fmla="*/ 2147483647 w 74"/>
                <a:gd name="T7" fmla="*/ 2147483647 h 124"/>
                <a:gd name="T8" fmla="*/ 2147483647 w 74"/>
                <a:gd name="T9" fmla="*/ 2147483647 h 124"/>
                <a:gd name="T10" fmla="*/ 2147483647 w 74"/>
                <a:gd name="T11" fmla="*/ 2147483647 h 124"/>
                <a:gd name="T12" fmla="*/ 2147483647 w 74"/>
                <a:gd name="T13" fmla="*/ 2147483647 h 124"/>
                <a:gd name="T14" fmla="*/ 2147483647 w 74"/>
                <a:gd name="T15" fmla="*/ 2147483647 h 124"/>
                <a:gd name="T16" fmla="*/ 2147483647 w 74"/>
                <a:gd name="T17" fmla="*/ 2147483647 h 124"/>
                <a:gd name="T18" fmla="*/ 2147483647 w 74"/>
                <a:gd name="T19" fmla="*/ 2147483647 h 124"/>
                <a:gd name="T20" fmla="*/ 2147483647 w 74"/>
                <a:gd name="T21" fmla="*/ 2147483647 h 124"/>
                <a:gd name="T22" fmla="*/ 2147483647 w 74"/>
                <a:gd name="T23" fmla="*/ 2147483647 h 124"/>
                <a:gd name="T24" fmla="*/ 2147483647 w 74"/>
                <a:gd name="T25" fmla="*/ 2147483647 h 124"/>
                <a:gd name="T26" fmla="*/ 2147483647 w 74"/>
                <a:gd name="T27" fmla="*/ 2147483647 h 124"/>
                <a:gd name="T28" fmla="*/ 2147483647 w 74"/>
                <a:gd name="T29" fmla="*/ 2147483647 h 124"/>
                <a:gd name="T30" fmla="*/ 2147483647 w 74"/>
                <a:gd name="T31" fmla="*/ 2147483647 h 124"/>
                <a:gd name="T32" fmla="*/ 2147483647 w 74"/>
                <a:gd name="T33" fmla="*/ 2147483647 h 124"/>
                <a:gd name="T34" fmla="*/ 2147483647 w 74"/>
                <a:gd name="T35" fmla="*/ 2147483647 h 124"/>
                <a:gd name="T36" fmla="*/ 2147483647 w 74"/>
                <a:gd name="T37" fmla="*/ 2147483647 h 124"/>
                <a:gd name="T38" fmla="*/ 2147483647 w 74"/>
                <a:gd name="T39" fmla="*/ 2147483647 h 124"/>
                <a:gd name="T40" fmla="*/ 2147483647 w 74"/>
                <a:gd name="T41" fmla="*/ 2147483647 h 124"/>
                <a:gd name="T42" fmla="*/ 2147483647 w 74"/>
                <a:gd name="T43" fmla="*/ 2147483647 h 124"/>
                <a:gd name="T44" fmla="*/ 2147483647 w 74"/>
                <a:gd name="T45" fmla="*/ 2147483647 h 124"/>
                <a:gd name="T46" fmla="*/ 2147483647 w 74"/>
                <a:gd name="T47" fmla="*/ 2147483647 h 124"/>
                <a:gd name="T48" fmla="*/ 0 w 74"/>
                <a:gd name="T49" fmla="*/ 2147483647 h 12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4"/>
                <a:gd name="T76" fmla="*/ 0 h 124"/>
                <a:gd name="T77" fmla="*/ 74 w 74"/>
                <a:gd name="T78" fmla="*/ 124 h 12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4" h="124">
                  <a:moveTo>
                    <a:pt x="71" y="0"/>
                  </a:moveTo>
                  <a:lnTo>
                    <a:pt x="73" y="9"/>
                  </a:lnTo>
                  <a:lnTo>
                    <a:pt x="74" y="18"/>
                  </a:lnTo>
                  <a:lnTo>
                    <a:pt x="72" y="36"/>
                  </a:lnTo>
                  <a:lnTo>
                    <a:pt x="67" y="54"/>
                  </a:lnTo>
                  <a:lnTo>
                    <a:pt x="59" y="70"/>
                  </a:lnTo>
                  <a:lnTo>
                    <a:pt x="61" y="83"/>
                  </a:lnTo>
                  <a:lnTo>
                    <a:pt x="61" y="89"/>
                  </a:lnTo>
                  <a:lnTo>
                    <a:pt x="61" y="95"/>
                  </a:lnTo>
                  <a:lnTo>
                    <a:pt x="60" y="100"/>
                  </a:lnTo>
                  <a:lnTo>
                    <a:pt x="58" y="105"/>
                  </a:lnTo>
                  <a:lnTo>
                    <a:pt x="53" y="109"/>
                  </a:lnTo>
                  <a:lnTo>
                    <a:pt x="47" y="112"/>
                  </a:lnTo>
                  <a:lnTo>
                    <a:pt x="43" y="116"/>
                  </a:lnTo>
                  <a:lnTo>
                    <a:pt x="40" y="120"/>
                  </a:lnTo>
                  <a:lnTo>
                    <a:pt x="35" y="122"/>
                  </a:lnTo>
                  <a:lnTo>
                    <a:pt x="30" y="124"/>
                  </a:lnTo>
                  <a:lnTo>
                    <a:pt x="24" y="124"/>
                  </a:lnTo>
                  <a:lnTo>
                    <a:pt x="19" y="123"/>
                  </a:lnTo>
                  <a:lnTo>
                    <a:pt x="14" y="121"/>
                  </a:lnTo>
                  <a:lnTo>
                    <a:pt x="10" y="118"/>
                  </a:lnTo>
                  <a:lnTo>
                    <a:pt x="7" y="116"/>
                  </a:lnTo>
                  <a:lnTo>
                    <a:pt x="4" y="113"/>
                  </a:lnTo>
                  <a:lnTo>
                    <a:pt x="1" y="111"/>
                  </a:lnTo>
                  <a:lnTo>
                    <a:pt x="0" y="11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Freeform 75">
              <a:extLst>
                <a:ext uri="{FF2B5EF4-FFF2-40B4-BE49-F238E27FC236}">
                  <a16:creationId xmlns:a16="http://schemas.microsoft.com/office/drawing/2014/main" id="{25970029-1FEC-4651-B454-D5B580706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1961" y="3356580"/>
              <a:ext cx="105265" cy="35293"/>
            </a:xfrm>
            <a:custGeom>
              <a:avLst/>
              <a:gdLst>
                <a:gd name="T0" fmla="*/ 2147483647 w 88"/>
                <a:gd name="T1" fmla="*/ 0 h 32"/>
                <a:gd name="T2" fmla="*/ 2147483647 w 88"/>
                <a:gd name="T3" fmla="*/ 2147483647 h 32"/>
                <a:gd name="T4" fmla="*/ 2147483647 w 88"/>
                <a:gd name="T5" fmla="*/ 2147483647 h 32"/>
                <a:gd name="T6" fmla="*/ 2147483647 w 88"/>
                <a:gd name="T7" fmla="*/ 2147483647 h 32"/>
                <a:gd name="T8" fmla="*/ 2147483647 w 88"/>
                <a:gd name="T9" fmla="*/ 2147483647 h 32"/>
                <a:gd name="T10" fmla="*/ 2147483647 w 88"/>
                <a:gd name="T11" fmla="*/ 2147483647 h 32"/>
                <a:gd name="T12" fmla="*/ 2147483647 w 88"/>
                <a:gd name="T13" fmla="*/ 2147483647 h 32"/>
                <a:gd name="T14" fmla="*/ 2147483647 w 88"/>
                <a:gd name="T15" fmla="*/ 2147483647 h 32"/>
                <a:gd name="T16" fmla="*/ 2147483647 w 88"/>
                <a:gd name="T17" fmla="*/ 2147483647 h 32"/>
                <a:gd name="T18" fmla="*/ 2147483647 w 88"/>
                <a:gd name="T19" fmla="*/ 2147483647 h 32"/>
                <a:gd name="T20" fmla="*/ 2147483647 w 88"/>
                <a:gd name="T21" fmla="*/ 2147483647 h 32"/>
                <a:gd name="T22" fmla="*/ 2147483647 w 88"/>
                <a:gd name="T23" fmla="*/ 2147483647 h 32"/>
                <a:gd name="T24" fmla="*/ 2147483647 w 88"/>
                <a:gd name="T25" fmla="*/ 2147483647 h 32"/>
                <a:gd name="T26" fmla="*/ 2147483647 w 88"/>
                <a:gd name="T27" fmla="*/ 2147483647 h 32"/>
                <a:gd name="T28" fmla="*/ 2147483647 w 88"/>
                <a:gd name="T29" fmla="*/ 2147483647 h 32"/>
                <a:gd name="T30" fmla="*/ 2147483647 w 88"/>
                <a:gd name="T31" fmla="*/ 2147483647 h 32"/>
                <a:gd name="T32" fmla="*/ 2147483647 w 88"/>
                <a:gd name="T33" fmla="*/ 2147483647 h 32"/>
                <a:gd name="T34" fmla="*/ 2147483647 w 88"/>
                <a:gd name="T35" fmla="*/ 2147483647 h 32"/>
                <a:gd name="T36" fmla="*/ 2147483647 w 88"/>
                <a:gd name="T37" fmla="*/ 2147483647 h 32"/>
                <a:gd name="T38" fmla="*/ 0 w 88"/>
                <a:gd name="T39" fmla="*/ 2147483647 h 3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8"/>
                <a:gd name="T61" fmla="*/ 0 h 32"/>
                <a:gd name="T62" fmla="*/ 88 w 88"/>
                <a:gd name="T63" fmla="*/ 32 h 3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8" h="32">
                  <a:moveTo>
                    <a:pt x="88" y="0"/>
                  </a:moveTo>
                  <a:lnTo>
                    <a:pt x="86" y="1"/>
                  </a:lnTo>
                  <a:lnTo>
                    <a:pt x="83" y="1"/>
                  </a:lnTo>
                  <a:lnTo>
                    <a:pt x="74" y="4"/>
                  </a:lnTo>
                  <a:lnTo>
                    <a:pt x="66" y="7"/>
                  </a:lnTo>
                  <a:lnTo>
                    <a:pt x="64" y="8"/>
                  </a:lnTo>
                  <a:lnTo>
                    <a:pt x="62" y="10"/>
                  </a:lnTo>
                  <a:lnTo>
                    <a:pt x="60" y="13"/>
                  </a:lnTo>
                  <a:lnTo>
                    <a:pt x="58" y="16"/>
                  </a:lnTo>
                  <a:lnTo>
                    <a:pt x="50" y="20"/>
                  </a:lnTo>
                  <a:lnTo>
                    <a:pt x="41" y="22"/>
                  </a:lnTo>
                  <a:lnTo>
                    <a:pt x="32" y="23"/>
                  </a:lnTo>
                  <a:lnTo>
                    <a:pt x="24" y="24"/>
                  </a:lnTo>
                  <a:lnTo>
                    <a:pt x="19" y="26"/>
                  </a:lnTo>
                  <a:lnTo>
                    <a:pt x="15" y="28"/>
                  </a:lnTo>
                  <a:lnTo>
                    <a:pt x="11" y="30"/>
                  </a:lnTo>
                  <a:lnTo>
                    <a:pt x="6" y="32"/>
                  </a:lnTo>
                  <a:lnTo>
                    <a:pt x="2" y="30"/>
                  </a:lnTo>
                  <a:lnTo>
                    <a:pt x="1" y="29"/>
                  </a:lnTo>
                  <a:lnTo>
                    <a:pt x="0" y="2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2" name="Freeform 76">
              <a:extLst>
                <a:ext uri="{FF2B5EF4-FFF2-40B4-BE49-F238E27FC236}">
                  <a16:creationId xmlns:a16="http://schemas.microsoft.com/office/drawing/2014/main" id="{C8EAB20A-AA95-4DD2-9821-AD68652A2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4514" y="3436970"/>
              <a:ext cx="96307" cy="35293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69" y="3"/>
                </a:cxn>
                <a:cxn ang="0">
                  <a:pos x="63" y="6"/>
                </a:cxn>
                <a:cxn ang="0">
                  <a:pos x="59" y="9"/>
                </a:cxn>
                <a:cxn ang="0">
                  <a:pos x="55" y="11"/>
                </a:cxn>
                <a:cxn ang="0">
                  <a:pos x="51" y="14"/>
                </a:cxn>
                <a:cxn ang="0">
                  <a:pos x="46" y="16"/>
                </a:cxn>
                <a:cxn ang="0">
                  <a:pos x="38" y="17"/>
                </a:cxn>
                <a:cxn ang="0">
                  <a:pos x="28" y="19"/>
                </a:cxn>
                <a:cxn ang="0">
                  <a:pos x="21" y="22"/>
                </a:cxn>
                <a:cxn ang="0">
                  <a:pos x="14" y="27"/>
                </a:cxn>
                <a:cxn ang="0">
                  <a:pos x="8" y="31"/>
                </a:cxn>
                <a:cxn ang="0">
                  <a:pos x="4" y="33"/>
                </a:cxn>
                <a:cxn ang="0">
                  <a:pos x="0" y="33"/>
                </a:cxn>
              </a:cxnLst>
              <a:rect l="0" t="0" r="r" b="b"/>
              <a:pathLst>
                <a:path w="78" h="33">
                  <a:moveTo>
                    <a:pt x="78" y="0"/>
                  </a:moveTo>
                  <a:lnTo>
                    <a:pt x="69" y="3"/>
                  </a:lnTo>
                  <a:lnTo>
                    <a:pt x="63" y="6"/>
                  </a:lnTo>
                  <a:lnTo>
                    <a:pt x="59" y="9"/>
                  </a:lnTo>
                  <a:lnTo>
                    <a:pt x="55" y="11"/>
                  </a:lnTo>
                  <a:lnTo>
                    <a:pt x="51" y="14"/>
                  </a:lnTo>
                  <a:lnTo>
                    <a:pt x="46" y="16"/>
                  </a:lnTo>
                  <a:lnTo>
                    <a:pt x="38" y="17"/>
                  </a:lnTo>
                  <a:lnTo>
                    <a:pt x="28" y="19"/>
                  </a:lnTo>
                  <a:lnTo>
                    <a:pt x="21" y="22"/>
                  </a:lnTo>
                  <a:lnTo>
                    <a:pt x="14" y="27"/>
                  </a:lnTo>
                  <a:lnTo>
                    <a:pt x="8" y="31"/>
                  </a:lnTo>
                  <a:lnTo>
                    <a:pt x="4" y="33"/>
                  </a:lnTo>
                  <a:lnTo>
                    <a:pt x="0" y="33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3" name="Freeform 77">
              <a:extLst>
                <a:ext uri="{FF2B5EF4-FFF2-40B4-BE49-F238E27FC236}">
                  <a16:creationId xmlns:a16="http://schemas.microsoft.com/office/drawing/2014/main" id="{FC0424B2-51CF-4151-9217-E0B6FAB4F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710" y="3183057"/>
              <a:ext cx="255326" cy="48037"/>
            </a:xfrm>
            <a:custGeom>
              <a:avLst/>
              <a:gdLst>
                <a:gd name="T0" fmla="*/ 0 w 210"/>
                <a:gd name="T1" fmla="*/ 0 h 45"/>
                <a:gd name="T2" fmla="*/ 2147483647 w 210"/>
                <a:gd name="T3" fmla="*/ 2147483647 h 45"/>
                <a:gd name="T4" fmla="*/ 2147483647 w 210"/>
                <a:gd name="T5" fmla="*/ 2147483647 h 45"/>
                <a:gd name="T6" fmla="*/ 2147483647 w 210"/>
                <a:gd name="T7" fmla="*/ 2147483647 h 45"/>
                <a:gd name="T8" fmla="*/ 2147483647 w 210"/>
                <a:gd name="T9" fmla="*/ 2147483647 h 45"/>
                <a:gd name="T10" fmla="*/ 2147483647 w 210"/>
                <a:gd name="T11" fmla="*/ 2147483647 h 45"/>
                <a:gd name="T12" fmla="*/ 2147483647 w 210"/>
                <a:gd name="T13" fmla="*/ 2147483647 h 45"/>
                <a:gd name="T14" fmla="*/ 2147483647 w 210"/>
                <a:gd name="T15" fmla="*/ 2147483647 h 45"/>
                <a:gd name="T16" fmla="*/ 2147483647 w 210"/>
                <a:gd name="T17" fmla="*/ 2147483647 h 45"/>
                <a:gd name="T18" fmla="*/ 2147483647 w 210"/>
                <a:gd name="T19" fmla="*/ 2147483647 h 45"/>
                <a:gd name="T20" fmla="*/ 2147483647 w 210"/>
                <a:gd name="T21" fmla="*/ 2147483647 h 45"/>
                <a:gd name="T22" fmla="*/ 2147483647 w 210"/>
                <a:gd name="T23" fmla="*/ 2147483647 h 45"/>
                <a:gd name="T24" fmla="*/ 2147483647 w 210"/>
                <a:gd name="T25" fmla="*/ 2147483647 h 45"/>
                <a:gd name="T26" fmla="*/ 2147483647 w 210"/>
                <a:gd name="T27" fmla="*/ 2147483647 h 45"/>
                <a:gd name="T28" fmla="*/ 2147483647 w 210"/>
                <a:gd name="T29" fmla="*/ 2147483647 h 45"/>
                <a:gd name="T30" fmla="*/ 2147483647 w 210"/>
                <a:gd name="T31" fmla="*/ 2147483647 h 45"/>
                <a:gd name="T32" fmla="*/ 2147483647 w 210"/>
                <a:gd name="T33" fmla="*/ 2147483647 h 45"/>
                <a:gd name="T34" fmla="*/ 2147483647 w 210"/>
                <a:gd name="T35" fmla="*/ 2147483647 h 45"/>
                <a:gd name="T36" fmla="*/ 2147483647 w 210"/>
                <a:gd name="T37" fmla="*/ 2147483647 h 45"/>
                <a:gd name="T38" fmla="*/ 2147483647 w 210"/>
                <a:gd name="T39" fmla="*/ 2147483647 h 45"/>
                <a:gd name="T40" fmla="*/ 2147483647 w 210"/>
                <a:gd name="T41" fmla="*/ 2147483647 h 45"/>
                <a:gd name="T42" fmla="*/ 2147483647 w 210"/>
                <a:gd name="T43" fmla="*/ 2147483647 h 45"/>
                <a:gd name="T44" fmla="*/ 2147483647 w 210"/>
                <a:gd name="T45" fmla="*/ 2147483647 h 45"/>
                <a:gd name="T46" fmla="*/ 2147483647 w 210"/>
                <a:gd name="T47" fmla="*/ 2147483647 h 45"/>
                <a:gd name="T48" fmla="*/ 2147483647 w 210"/>
                <a:gd name="T49" fmla="*/ 2147483647 h 45"/>
                <a:gd name="T50" fmla="*/ 2147483647 w 210"/>
                <a:gd name="T51" fmla="*/ 2147483647 h 45"/>
                <a:gd name="T52" fmla="*/ 2147483647 w 210"/>
                <a:gd name="T53" fmla="*/ 2147483647 h 45"/>
                <a:gd name="T54" fmla="*/ 2147483647 w 210"/>
                <a:gd name="T55" fmla="*/ 2147483647 h 45"/>
                <a:gd name="T56" fmla="*/ 2147483647 w 210"/>
                <a:gd name="T57" fmla="*/ 2147483647 h 45"/>
                <a:gd name="T58" fmla="*/ 2147483647 w 210"/>
                <a:gd name="T59" fmla="*/ 2147483647 h 45"/>
                <a:gd name="T60" fmla="*/ 2147483647 w 210"/>
                <a:gd name="T61" fmla="*/ 2147483647 h 45"/>
                <a:gd name="T62" fmla="*/ 2147483647 w 210"/>
                <a:gd name="T63" fmla="*/ 2147483647 h 45"/>
                <a:gd name="T64" fmla="*/ 2147483647 w 210"/>
                <a:gd name="T65" fmla="*/ 2147483647 h 45"/>
                <a:gd name="T66" fmla="*/ 2147483647 w 210"/>
                <a:gd name="T67" fmla="*/ 2147483647 h 45"/>
                <a:gd name="T68" fmla="*/ 2147483647 w 210"/>
                <a:gd name="T69" fmla="*/ 2147483647 h 45"/>
                <a:gd name="T70" fmla="*/ 2147483647 w 210"/>
                <a:gd name="T71" fmla="*/ 2147483647 h 45"/>
                <a:gd name="T72" fmla="*/ 2147483647 w 210"/>
                <a:gd name="T73" fmla="*/ 2147483647 h 45"/>
                <a:gd name="T74" fmla="*/ 2147483647 w 210"/>
                <a:gd name="T75" fmla="*/ 2147483647 h 45"/>
                <a:gd name="T76" fmla="*/ 2147483647 w 210"/>
                <a:gd name="T77" fmla="*/ 2147483647 h 45"/>
                <a:gd name="T78" fmla="*/ 2147483647 w 210"/>
                <a:gd name="T79" fmla="*/ 0 h 45"/>
                <a:gd name="T80" fmla="*/ 2147483647 w 210"/>
                <a:gd name="T81" fmla="*/ 2147483647 h 45"/>
                <a:gd name="T82" fmla="*/ 2147483647 w 210"/>
                <a:gd name="T83" fmla="*/ 2147483647 h 45"/>
                <a:gd name="T84" fmla="*/ 2147483647 w 210"/>
                <a:gd name="T85" fmla="*/ 2147483647 h 45"/>
                <a:gd name="T86" fmla="*/ 2147483647 w 210"/>
                <a:gd name="T87" fmla="*/ 2147483647 h 45"/>
                <a:gd name="T88" fmla="*/ 2147483647 w 210"/>
                <a:gd name="T89" fmla="*/ 2147483647 h 45"/>
                <a:gd name="T90" fmla="*/ 2147483647 w 210"/>
                <a:gd name="T91" fmla="*/ 2147483647 h 45"/>
                <a:gd name="T92" fmla="*/ 2147483647 w 210"/>
                <a:gd name="T93" fmla="*/ 2147483647 h 45"/>
                <a:gd name="T94" fmla="*/ 2147483647 w 210"/>
                <a:gd name="T95" fmla="*/ 2147483647 h 45"/>
                <a:gd name="T96" fmla="*/ 2147483647 w 210"/>
                <a:gd name="T97" fmla="*/ 2147483647 h 45"/>
                <a:gd name="T98" fmla="*/ 2147483647 w 210"/>
                <a:gd name="T99" fmla="*/ 2147483647 h 45"/>
                <a:gd name="T100" fmla="*/ 2147483647 w 210"/>
                <a:gd name="T101" fmla="*/ 2147483647 h 45"/>
                <a:gd name="T102" fmla="*/ 2147483647 w 210"/>
                <a:gd name="T103" fmla="*/ 2147483647 h 45"/>
                <a:gd name="T104" fmla="*/ 2147483647 w 210"/>
                <a:gd name="T105" fmla="*/ 2147483647 h 4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0"/>
                <a:gd name="T160" fmla="*/ 0 h 45"/>
                <a:gd name="T161" fmla="*/ 210 w 210"/>
                <a:gd name="T162" fmla="*/ 45 h 4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0" h="45">
                  <a:moveTo>
                    <a:pt x="0" y="0"/>
                  </a:moveTo>
                  <a:lnTo>
                    <a:pt x="1" y="5"/>
                  </a:lnTo>
                  <a:lnTo>
                    <a:pt x="2" y="10"/>
                  </a:lnTo>
                  <a:lnTo>
                    <a:pt x="2" y="20"/>
                  </a:lnTo>
                  <a:lnTo>
                    <a:pt x="2" y="24"/>
                  </a:lnTo>
                  <a:lnTo>
                    <a:pt x="4" y="28"/>
                  </a:lnTo>
                  <a:lnTo>
                    <a:pt x="6" y="32"/>
                  </a:lnTo>
                  <a:lnTo>
                    <a:pt x="10" y="35"/>
                  </a:lnTo>
                  <a:lnTo>
                    <a:pt x="13" y="42"/>
                  </a:lnTo>
                  <a:lnTo>
                    <a:pt x="15" y="44"/>
                  </a:lnTo>
                  <a:lnTo>
                    <a:pt x="18" y="45"/>
                  </a:lnTo>
                  <a:lnTo>
                    <a:pt x="22" y="45"/>
                  </a:lnTo>
                  <a:lnTo>
                    <a:pt x="25" y="43"/>
                  </a:lnTo>
                  <a:lnTo>
                    <a:pt x="28" y="41"/>
                  </a:lnTo>
                  <a:lnTo>
                    <a:pt x="30" y="39"/>
                  </a:lnTo>
                  <a:lnTo>
                    <a:pt x="42" y="36"/>
                  </a:lnTo>
                  <a:lnTo>
                    <a:pt x="55" y="34"/>
                  </a:lnTo>
                  <a:lnTo>
                    <a:pt x="79" y="31"/>
                  </a:lnTo>
                  <a:lnTo>
                    <a:pt x="83" y="33"/>
                  </a:lnTo>
                  <a:lnTo>
                    <a:pt x="86" y="34"/>
                  </a:lnTo>
                  <a:lnTo>
                    <a:pt x="88" y="34"/>
                  </a:lnTo>
                  <a:lnTo>
                    <a:pt x="90" y="35"/>
                  </a:lnTo>
                  <a:lnTo>
                    <a:pt x="92" y="36"/>
                  </a:lnTo>
                  <a:lnTo>
                    <a:pt x="94" y="37"/>
                  </a:lnTo>
                  <a:lnTo>
                    <a:pt x="97" y="39"/>
                  </a:lnTo>
                  <a:lnTo>
                    <a:pt x="105" y="35"/>
                  </a:lnTo>
                  <a:lnTo>
                    <a:pt x="111" y="31"/>
                  </a:lnTo>
                  <a:lnTo>
                    <a:pt x="117" y="26"/>
                  </a:lnTo>
                  <a:lnTo>
                    <a:pt x="125" y="22"/>
                  </a:lnTo>
                  <a:lnTo>
                    <a:pt x="129" y="20"/>
                  </a:lnTo>
                  <a:lnTo>
                    <a:pt x="133" y="17"/>
                  </a:lnTo>
                  <a:lnTo>
                    <a:pt x="136" y="15"/>
                  </a:lnTo>
                  <a:lnTo>
                    <a:pt x="137" y="14"/>
                  </a:lnTo>
                  <a:lnTo>
                    <a:pt x="140" y="10"/>
                  </a:lnTo>
                  <a:lnTo>
                    <a:pt x="141" y="7"/>
                  </a:lnTo>
                  <a:lnTo>
                    <a:pt x="143" y="5"/>
                  </a:lnTo>
                  <a:lnTo>
                    <a:pt x="143" y="3"/>
                  </a:lnTo>
                  <a:lnTo>
                    <a:pt x="145" y="2"/>
                  </a:lnTo>
                  <a:lnTo>
                    <a:pt x="148" y="1"/>
                  </a:lnTo>
                  <a:lnTo>
                    <a:pt x="151" y="0"/>
                  </a:lnTo>
                  <a:lnTo>
                    <a:pt x="153" y="4"/>
                  </a:lnTo>
                  <a:lnTo>
                    <a:pt x="156" y="7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71" y="5"/>
                  </a:lnTo>
                  <a:lnTo>
                    <a:pt x="180" y="2"/>
                  </a:lnTo>
                  <a:lnTo>
                    <a:pt x="185" y="4"/>
                  </a:lnTo>
                  <a:lnTo>
                    <a:pt x="189" y="4"/>
                  </a:lnTo>
                  <a:lnTo>
                    <a:pt x="194" y="5"/>
                  </a:lnTo>
                  <a:lnTo>
                    <a:pt x="197" y="5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10" y="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Freeform 78">
              <a:extLst>
                <a:ext uri="{FF2B5EF4-FFF2-40B4-BE49-F238E27FC236}">
                  <a16:creationId xmlns:a16="http://schemas.microsoft.com/office/drawing/2014/main" id="{FC0D3436-0DB6-4481-BC60-A9BD99F7C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2723" y="3089922"/>
              <a:ext cx="59352" cy="95095"/>
            </a:xfrm>
            <a:custGeom>
              <a:avLst/>
              <a:gdLst>
                <a:gd name="T0" fmla="*/ 2147483647 w 48"/>
                <a:gd name="T1" fmla="*/ 0 h 88"/>
                <a:gd name="T2" fmla="*/ 2147483647 w 48"/>
                <a:gd name="T3" fmla="*/ 2147483647 h 88"/>
                <a:gd name="T4" fmla="*/ 0 w 48"/>
                <a:gd name="T5" fmla="*/ 2147483647 h 88"/>
                <a:gd name="T6" fmla="*/ 0 w 48"/>
                <a:gd name="T7" fmla="*/ 2147483647 h 88"/>
                <a:gd name="T8" fmla="*/ 2147483647 w 48"/>
                <a:gd name="T9" fmla="*/ 2147483647 h 88"/>
                <a:gd name="T10" fmla="*/ 2147483647 w 48"/>
                <a:gd name="T11" fmla="*/ 2147483647 h 88"/>
                <a:gd name="T12" fmla="*/ 2147483647 w 48"/>
                <a:gd name="T13" fmla="*/ 2147483647 h 88"/>
                <a:gd name="T14" fmla="*/ 2147483647 w 48"/>
                <a:gd name="T15" fmla="*/ 2147483647 h 88"/>
                <a:gd name="T16" fmla="*/ 2147483647 w 48"/>
                <a:gd name="T17" fmla="*/ 2147483647 h 88"/>
                <a:gd name="T18" fmla="*/ 2147483647 w 48"/>
                <a:gd name="T19" fmla="*/ 2147483647 h 88"/>
                <a:gd name="T20" fmla="*/ 2147483647 w 48"/>
                <a:gd name="T21" fmla="*/ 2147483647 h 88"/>
                <a:gd name="T22" fmla="*/ 2147483647 w 48"/>
                <a:gd name="T23" fmla="*/ 2147483647 h 88"/>
                <a:gd name="T24" fmla="*/ 2147483647 w 48"/>
                <a:gd name="T25" fmla="*/ 2147483647 h 88"/>
                <a:gd name="T26" fmla="*/ 2147483647 w 48"/>
                <a:gd name="T27" fmla="*/ 2147483647 h 88"/>
                <a:gd name="T28" fmla="*/ 2147483647 w 48"/>
                <a:gd name="T29" fmla="*/ 2147483647 h 88"/>
                <a:gd name="T30" fmla="*/ 2147483647 w 48"/>
                <a:gd name="T31" fmla="*/ 2147483647 h 88"/>
                <a:gd name="T32" fmla="*/ 2147483647 w 48"/>
                <a:gd name="T33" fmla="*/ 2147483647 h 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8"/>
                <a:gd name="T52" fmla="*/ 0 h 88"/>
                <a:gd name="T53" fmla="*/ 48 w 48"/>
                <a:gd name="T54" fmla="*/ 88 h 8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8" h="88">
                  <a:moveTo>
                    <a:pt x="4" y="0"/>
                  </a:moveTo>
                  <a:lnTo>
                    <a:pt x="1" y="8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1" y="25"/>
                  </a:lnTo>
                  <a:lnTo>
                    <a:pt x="4" y="28"/>
                  </a:lnTo>
                  <a:lnTo>
                    <a:pt x="8" y="30"/>
                  </a:lnTo>
                  <a:lnTo>
                    <a:pt x="12" y="38"/>
                  </a:lnTo>
                  <a:lnTo>
                    <a:pt x="14" y="46"/>
                  </a:lnTo>
                  <a:lnTo>
                    <a:pt x="13" y="55"/>
                  </a:lnTo>
                  <a:lnTo>
                    <a:pt x="10" y="64"/>
                  </a:lnTo>
                  <a:lnTo>
                    <a:pt x="12" y="71"/>
                  </a:lnTo>
                  <a:lnTo>
                    <a:pt x="14" y="76"/>
                  </a:lnTo>
                  <a:lnTo>
                    <a:pt x="18" y="80"/>
                  </a:lnTo>
                  <a:lnTo>
                    <a:pt x="23" y="84"/>
                  </a:lnTo>
                  <a:lnTo>
                    <a:pt x="34" y="87"/>
                  </a:lnTo>
                  <a:lnTo>
                    <a:pt x="48" y="8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Freeform 79">
              <a:extLst>
                <a:ext uri="{FF2B5EF4-FFF2-40B4-BE49-F238E27FC236}">
                  <a16:creationId xmlns:a16="http://schemas.microsoft.com/office/drawing/2014/main" id="{6F7E5683-09C6-47B9-B3E1-00E60569C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1405" y="3245799"/>
              <a:ext cx="307958" cy="1029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5" y="1"/>
                </a:cxn>
                <a:cxn ang="0">
                  <a:pos x="11" y="0"/>
                </a:cxn>
                <a:cxn ang="0">
                  <a:pos x="17" y="0"/>
                </a:cxn>
                <a:cxn ang="0">
                  <a:pos x="24" y="1"/>
                </a:cxn>
                <a:cxn ang="0">
                  <a:pos x="37" y="4"/>
                </a:cxn>
                <a:cxn ang="0">
                  <a:pos x="48" y="7"/>
                </a:cxn>
                <a:cxn ang="0">
                  <a:pos x="54" y="9"/>
                </a:cxn>
                <a:cxn ang="0">
                  <a:pos x="61" y="11"/>
                </a:cxn>
                <a:cxn ang="0">
                  <a:pos x="67" y="12"/>
                </a:cxn>
                <a:cxn ang="0">
                  <a:pos x="68" y="13"/>
                </a:cxn>
                <a:cxn ang="0">
                  <a:pos x="69" y="13"/>
                </a:cxn>
                <a:cxn ang="0">
                  <a:pos x="70" y="17"/>
                </a:cxn>
                <a:cxn ang="0">
                  <a:pos x="71" y="21"/>
                </a:cxn>
                <a:cxn ang="0">
                  <a:pos x="72" y="23"/>
                </a:cxn>
                <a:cxn ang="0">
                  <a:pos x="72" y="24"/>
                </a:cxn>
                <a:cxn ang="0">
                  <a:pos x="74" y="26"/>
                </a:cxn>
                <a:cxn ang="0">
                  <a:pos x="76" y="27"/>
                </a:cxn>
                <a:cxn ang="0">
                  <a:pos x="79" y="29"/>
                </a:cxn>
                <a:cxn ang="0">
                  <a:pos x="83" y="33"/>
                </a:cxn>
                <a:cxn ang="0">
                  <a:pos x="86" y="37"/>
                </a:cxn>
                <a:cxn ang="0">
                  <a:pos x="90" y="39"/>
                </a:cxn>
                <a:cxn ang="0">
                  <a:pos x="95" y="41"/>
                </a:cxn>
                <a:cxn ang="0">
                  <a:pos x="108" y="40"/>
                </a:cxn>
                <a:cxn ang="0">
                  <a:pos x="121" y="39"/>
                </a:cxn>
                <a:cxn ang="0">
                  <a:pos x="123" y="39"/>
                </a:cxn>
                <a:cxn ang="0">
                  <a:pos x="124" y="38"/>
                </a:cxn>
                <a:cxn ang="0">
                  <a:pos x="126" y="37"/>
                </a:cxn>
                <a:cxn ang="0">
                  <a:pos x="127" y="37"/>
                </a:cxn>
                <a:cxn ang="0">
                  <a:pos x="130" y="40"/>
                </a:cxn>
                <a:cxn ang="0">
                  <a:pos x="133" y="45"/>
                </a:cxn>
                <a:cxn ang="0">
                  <a:pos x="136" y="50"/>
                </a:cxn>
                <a:cxn ang="0">
                  <a:pos x="139" y="53"/>
                </a:cxn>
                <a:cxn ang="0">
                  <a:pos x="144" y="50"/>
                </a:cxn>
                <a:cxn ang="0">
                  <a:pos x="150" y="48"/>
                </a:cxn>
                <a:cxn ang="0">
                  <a:pos x="155" y="46"/>
                </a:cxn>
                <a:cxn ang="0">
                  <a:pos x="156" y="45"/>
                </a:cxn>
                <a:cxn ang="0">
                  <a:pos x="157" y="45"/>
                </a:cxn>
                <a:cxn ang="0">
                  <a:pos x="170" y="46"/>
                </a:cxn>
                <a:cxn ang="0">
                  <a:pos x="182" y="48"/>
                </a:cxn>
                <a:cxn ang="0">
                  <a:pos x="194" y="51"/>
                </a:cxn>
                <a:cxn ang="0">
                  <a:pos x="206" y="57"/>
                </a:cxn>
                <a:cxn ang="0">
                  <a:pos x="210" y="62"/>
                </a:cxn>
                <a:cxn ang="0">
                  <a:pos x="215" y="68"/>
                </a:cxn>
                <a:cxn ang="0">
                  <a:pos x="226" y="81"/>
                </a:cxn>
                <a:cxn ang="0">
                  <a:pos x="233" y="86"/>
                </a:cxn>
                <a:cxn ang="0">
                  <a:pos x="240" y="91"/>
                </a:cxn>
                <a:cxn ang="0">
                  <a:pos x="247" y="94"/>
                </a:cxn>
                <a:cxn ang="0">
                  <a:pos x="254" y="95"/>
                </a:cxn>
              </a:cxnLst>
              <a:rect l="0" t="0" r="r" b="b"/>
              <a:pathLst>
                <a:path w="254" h="95">
                  <a:moveTo>
                    <a:pt x="0" y="3"/>
                  </a:moveTo>
                  <a:lnTo>
                    <a:pt x="5" y="1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4" y="1"/>
                  </a:lnTo>
                  <a:lnTo>
                    <a:pt x="37" y="4"/>
                  </a:lnTo>
                  <a:lnTo>
                    <a:pt x="48" y="7"/>
                  </a:lnTo>
                  <a:lnTo>
                    <a:pt x="54" y="9"/>
                  </a:lnTo>
                  <a:lnTo>
                    <a:pt x="61" y="11"/>
                  </a:lnTo>
                  <a:lnTo>
                    <a:pt x="67" y="12"/>
                  </a:lnTo>
                  <a:lnTo>
                    <a:pt x="68" y="13"/>
                  </a:lnTo>
                  <a:lnTo>
                    <a:pt x="69" y="13"/>
                  </a:lnTo>
                  <a:lnTo>
                    <a:pt x="70" y="17"/>
                  </a:lnTo>
                  <a:lnTo>
                    <a:pt x="71" y="21"/>
                  </a:lnTo>
                  <a:lnTo>
                    <a:pt x="72" y="23"/>
                  </a:lnTo>
                  <a:lnTo>
                    <a:pt x="72" y="24"/>
                  </a:lnTo>
                  <a:lnTo>
                    <a:pt x="74" y="26"/>
                  </a:lnTo>
                  <a:lnTo>
                    <a:pt x="76" y="27"/>
                  </a:lnTo>
                  <a:lnTo>
                    <a:pt x="79" y="29"/>
                  </a:lnTo>
                  <a:lnTo>
                    <a:pt x="83" y="33"/>
                  </a:lnTo>
                  <a:lnTo>
                    <a:pt x="86" y="37"/>
                  </a:lnTo>
                  <a:lnTo>
                    <a:pt x="90" y="39"/>
                  </a:lnTo>
                  <a:lnTo>
                    <a:pt x="95" y="41"/>
                  </a:lnTo>
                  <a:lnTo>
                    <a:pt x="108" y="40"/>
                  </a:lnTo>
                  <a:lnTo>
                    <a:pt x="121" y="39"/>
                  </a:lnTo>
                  <a:lnTo>
                    <a:pt x="123" y="39"/>
                  </a:lnTo>
                  <a:lnTo>
                    <a:pt x="124" y="38"/>
                  </a:lnTo>
                  <a:lnTo>
                    <a:pt x="126" y="37"/>
                  </a:lnTo>
                  <a:lnTo>
                    <a:pt x="127" y="37"/>
                  </a:lnTo>
                  <a:lnTo>
                    <a:pt x="130" y="40"/>
                  </a:lnTo>
                  <a:lnTo>
                    <a:pt x="133" y="45"/>
                  </a:lnTo>
                  <a:lnTo>
                    <a:pt x="136" y="50"/>
                  </a:lnTo>
                  <a:lnTo>
                    <a:pt x="139" y="53"/>
                  </a:lnTo>
                  <a:lnTo>
                    <a:pt x="144" y="50"/>
                  </a:lnTo>
                  <a:lnTo>
                    <a:pt x="150" y="48"/>
                  </a:lnTo>
                  <a:lnTo>
                    <a:pt x="155" y="46"/>
                  </a:lnTo>
                  <a:lnTo>
                    <a:pt x="156" y="45"/>
                  </a:lnTo>
                  <a:lnTo>
                    <a:pt x="157" y="45"/>
                  </a:lnTo>
                  <a:lnTo>
                    <a:pt x="170" y="46"/>
                  </a:lnTo>
                  <a:lnTo>
                    <a:pt x="182" y="48"/>
                  </a:lnTo>
                  <a:lnTo>
                    <a:pt x="194" y="51"/>
                  </a:lnTo>
                  <a:lnTo>
                    <a:pt x="206" y="57"/>
                  </a:lnTo>
                  <a:lnTo>
                    <a:pt x="210" y="62"/>
                  </a:lnTo>
                  <a:lnTo>
                    <a:pt x="215" y="68"/>
                  </a:lnTo>
                  <a:lnTo>
                    <a:pt x="226" y="81"/>
                  </a:lnTo>
                  <a:lnTo>
                    <a:pt x="233" y="86"/>
                  </a:lnTo>
                  <a:lnTo>
                    <a:pt x="240" y="91"/>
                  </a:lnTo>
                  <a:lnTo>
                    <a:pt x="247" y="94"/>
                  </a:lnTo>
                  <a:lnTo>
                    <a:pt x="254" y="95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6" name="Freeform 80">
              <a:extLst>
                <a:ext uri="{FF2B5EF4-FFF2-40B4-BE49-F238E27FC236}">
                  <a16:creationId xmlns:a16="http://schemas.microsoft.com/office/drawing/2014/main" id="{41FC4881-557B-4F7D-ABEA-6253991FF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1445" y="3537947"/>
              <a:ext cx="492734" cy="1950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" y="8"/>
                </a:cxn>
                <a:cxn ang="0">
                  <a:pos x="58" y="50"/>
                </a:cxn>
                <a:cxn ang="0">
                  <a:pos x="98" y="62"/>
                </a:cxn>
                <a:cxn ang="0">
                  <a:pos x="108" y="62"/>
                </a:cxn>
                <a:cxn ang="0">
                  <a:pos x="119" y="62"/>
                </a:cxn>
                <a:cxn ang="0">
                  <a:pos x="131" y="61"/>
                </a:cxn>
                <a:cxn ang="0">
                  <a:pos x="144" y="60"/>
                </a:cxn>
                <a:cxn ang="0">
                  <a:pos x="169" y="59"/>
                </a:cxn>
                <a:cxn ang="0">
                  <a:pos x="181" y="59"/>
                </a:cxn>
                <a:cxn ang="0">
                  <a:pos x="191" y="60"/>
                </a:cxn>
                <a:cxn ang="0">
                  <a:pos x="247" y="95"/>
                </a:cxn>
                <a:cxn ang="0">
                  <a:pos x="303" y="90"/>
                </a:cxn>
                <a:cxn ang="0">
                  <a:pos x="334" y="143"/>
                </a:cxn>
                <a:cxn ang="0">
                  <a:pos x="380" y="175"/>
                </a:cxn>
                <a:cxn ang="0">
                  <a:pos x="408" y="181"/>
                </a:cxn>
              </a:cxnLst>
              <a:rect l="0" t="0" r="r" b="b"/>
              <a:pathLst>
                <a:path w="408" h="181">
                  <a:moveTo>
                    <a:pt x="0" y="0"/>
                  </a:moveTo>
                  <a:lnTo>
                    <a:pt x="30" y="8"/>
                  </a:lnTo>
                  <a:lnTo>
                    <a:pt x="58" y="50"/>
                  </a:lnTo>
                  <a:lnTo>
                    <a:pt x="98" y="62"/>
                  </a:lnTo>
                  <a:lnTo>
                    <a:pt x="108" y="62"/>
                  </a:lnTo>
                  <a:lnTo>
                    <a:pt x="119" y="62"/>
                  </a:lnTo>
                  <a:lnTo>
                    <a:pt x="131" y="61"/>
                  </a:lnTo>
                  <a:lnTo>
                    <a:pt x="144" y="60"/>
                  </a:lnTo>
                  <a:lnTo>
                    <a:pt x="169" y="59"/>
                  </a:lnTo>
                  <a:lnTo>
                    <a:pt x="181" y="59"/>
                  </a:lnTo>
                  <a:lnTo>
                    <a:pt x="191" y="60"/>
                  </a:lnTo>
                  <a:lnTo>
                    <a:pt x="247" y="95"/>
                  </a:lnTo>
                  <a:lnTo>
                    <a:pt x="303" y="90"/>
                  </a:lnTo>
                  <a:lnTo>
                    <a:pt x="334" y="143"/>
                  </a:lnTo>
                  <a:lnTo>
                    <a:pt x="380" y="175"/>
                  </a:lnTo>
                  <a:lnTo>
                    <a:pt x="408" y="181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7" name="Freeform 81">
              <a:extLst>
                <a:ext uri="{FF2B5EF4-FFF2-40B4-BE49-F238E27FC236}">
                  <a16:creationId xmlns:a16="http://schemas.microsoft.com/office/drawing/2014/main" id="{2D8FE7B2-AEF3-48BF-9539-12DA89301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6277" y="3535006"/>
              <a:ext cx="134381" cy="199993"/>
            </a:xfrm>
            <a:custGeom>
              <a:avLst/>
              <a:gdLst>
                <a:gd name="T0" fmla="*/ 2147483647 w 113"/>
                <a:gd name="T1" fmla="*/ 0 h 185"/>
                <a:gd name="T2" fmla="*/ 2147483647 w 113"/>
                <a:gd name="T3" fmla="*/ 2147483647 h 185"/>
                <a:gd name="T4" fmla="*/ 2147483647 w 113"/>
                <a:gd name="T5" fmla="*/ 2147483647 h 185"/>
                <a:gd name="T6" fmla="*/ 0 w 113"/>
                <a:gd name="T7" fmla="*/ 2147483647 h 185"/>
                <a:gd name="T8" fmla="*/ 2147483647 w 113"/>
                <a:gd name="T9" fmla="*/ 2147483647 h 185"/>
                <a:gd name="T10" fmla="*/ 2147483647 w 113"/>
                <a:gd name="T11" fmla="*/ 2147483647 h 185"/>
                <a:gd name="T12" fmla="*/ 2147483647 w 113"/>
                <a:gd name="T13" fmla="*/ 2147483647 h 185"/>
                <a:gd name="T14" fmla="*/ 2147483647 w 113"/>
                <a:gd name="T15" fmla="*/ 2147483647 h 185"/>
                <a:gd name="T16" fmla="*/ 2147483647 w 113"/>
                <a:gd name="T17" fmla="*/ 2147483647 h 185"/>
                <a:gd name="T18" fmla="*/ 2147483647 w 113"/>
                <a:gd name="T19" fmla="*/ 2147483647 h 185"/>
                <a:gd name="T20" fmla="*/ 2147483647 w 113"/>
                <a:gd name="T21" fmla="*/ 2147483647 h 185"/>
                <a:gd name="T22" fmla="*/ 2147483647 w 113"/>
                <a:gd name="T23" fmla="*/ 2147483647 h 185"/>
                <a:gd name="T24" fmla="*/ 2147483647 w 113"/>
                <a:gd name="T25" fmla="*/ 2147483647 h 1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3"/>
                <a:gd name="T40" fmla="*/ 0 h 185"/>
                <a:gd name="T41" fmla="*/ 113 w 113"/>
                <a:gd name="T42" fmla="*/ 185 h 18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3" h="185">
                  <a:moveTo>
                    <a:pt x="72" y="0"/>
                  </a:moveTo>
                  <a:lnTo>
                    <a:pt x="38" y="12"/>
                  </a:lnTo>
                  <a:lnTo>
                    <a:pt x="10" y="8"/>
                  </a:lnTo>
                  <a:lnTo>
                    <a:pt x="0" y="24"/>
                  </a:lnTo>
                  <a:lnTo>
                    <a:pt x="8" y="58"/>
                  </a:lnTo>
                  <a:lnTo>
                    <a:pt x="14" y="125"/>
                  </a:lnTo>
                  <a:lnTo>
                    <a:pt x="18" y="132"/>
                  </a:lnTo>
                  <a:lnTo>
                    <a:pt x="22" y="139"/>
                  </a:lnTo>
                  <a:lnTo>
                    <a:pt x="33" y="153"/>
                  </a:lnTo>
                  <a:lnTo>
                    <a:pt x="46" y="166"/>
                  </a:lnTo>
                  <a:lnTo>
                    <a:pt x="52" y="171"/>
                  </a:lnTo>
                  <a:lnTo>
                    <a:pt x="58" y="175"/>
                  </a:lnTo>
                  <a:lnTo>
                    <a:pt x="113" y="185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Freeform 82">
              <a:extLst>
                <a:ext uri="{FF2B5EF4-FFF2-40B4-BE49-F238E27FC236}">
                  <a16:creationId xmlns:a16="http://schemas.microsoft.com/office/drawing/2014/main" id="{0E7EB53B-EF18-49AC-9293-BB0FDCBD1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3136" y="3813427"/>
              <a:ext cx="54872" cy="1764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6" y="0"/>
                </a:cxn>
              </a:cxnLst>
              <a:rect l="0" t="0" r="r" b="b"/>
              <a:pathLst>
                <a:path w="46" h="17">
                  <a:moveTo>
                    <a:pt x="0" y="17"/>
                  </a:moveTo>
                  <a:lnTo>
                    <a:pt x="46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Freeform 83">
              <a:extLst>
                <a:ext uri="{FF2B5EF4-FFF2-40B4-BE49-F238E27FC236}">
                  <a16:creationId xmlns:a16="http://schemas.microsoft.com/office/drawing/2014/main" id="{D01E76BC-4F27-4157-BB7D-5D56CF390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2018" y="3733039"/>
              <a:ext cx="320277" cy="253913"/>
            </a:xfrm>
            <a:custGeom>
              <a:avLst/>
              <a:gdLst>
                <a:gd name="T0" fmla="*/ 2147483647 w 264"/>
                <a:gd name="T1" fmla="*/ 2147483647 h 235"/>
                <a:gd name="T2" fmla="*/ 2147483647 w 264"/>
                <a:gd name="T3" fmla="*/ 2147483647 h 235"/>
                <a:gd name="T4" fmla="*/ 2147483647 w 264"/>
                <a:gd name="T5" fmla="*/ 2147483647 h 235"/>
                <a:gd name="T6" fmla="*/ 2147483647 w 264"/>
                <a:gd name="T7" fmla="*/ 2147483647 h 235"/>
                <a:gd name="T8" fmla="*/ 2147483647 w 264"/>
                <a:gd name="T9" fmla="*/ 2147483647 h 235"/>
                <a:gd name="T10" fmla="*/ 2147483647 w 264"/>
                <a:gd name="T11" fmla="*/ 2147483647 h 235"/>
                <a:gd name="T12" fmla="*/ 2147483647 w 264"/>
                <a:gd name="T13" fmla="*/ 2147483647 h 235"/>
                <a:gd name="T14" fmla="*/ 2147483647 w 264"/>
                <a:gd name="T15" fmla="*/ 2147483647 h 235"/>
                <a:gd name="T16" fmla="*/ 2147483647 w 264"/>
                <a:gd name="T17" fmla="*/ 2147483647 h 235"/>
                <a:gd name="T18" fmla="*/ 2147483647 w 264"/>
                <a:gd name="T19" fmla="*/ 2147483647 h 235"/>
                <a:gd name="T20" fmla="*/ 2147483647 w 264"/>
                <a:gd name="T21" fmla="*/ 2147483647 h 235"/>
                <a:gd name="T22" fmla="*/ 2147483647 w 264"/>
                <a:gd name="T23" fmla="*/ 2147483647 h 235"/>
                <a:gd name="T24" fmla="*/ 2147483647 w 264"/>
                <a:gd name="T25" fmla="*/ 2147483647 h 235"/>
                <a:gd name="T26" fmla="*/ 2147483647 w 264"/>
                <a:gd name="T27" fmla="*/ 2147483647 h 235"/>
                <a:gd name="T28" fmla="*/ 2147483647 w 264"/>
                <a:gd name="T29" fmla="*/ 2147483647 h 235"/>
                <a:gd name="T30" fmla="*/ 2147483647 w 264"/>
                <a:gd name="T31" fmla="*/ 2147483647 h 235"/>
                <a:gd name="T32" fmla="*/ 2147483647 w 264"/>
                <a:gd name="T33" fmla="*/ 2147483647 h 235"/>
                <a:gd name="T34" fmla="*/ 2147483647 w 264"/>
                <a:gd name="T35" fmla="*/ 2147483647 h 235"/>
                <a:gd name="T36" fmla="*/ 2147483647 w 264"/>
                <a:gd name="T37" fmla="*/ 2147483647 h 235"/>
                <a:gd name="T38" fmla="*/ 2147483647 w 264"/>
                <a:gd name="T39" fmla="*/ 2147483647 h 235"/>
                <a:gd name="T40" fmla="*/ 2147483647 w 264"/>
                <a:gd name="T41" fmla="*/ 2147483647 h 235"/>
                <a:gd name="T42" fmla="*/ 2147483647 w 264"/>
                <a:gd name="T43" fmla="*/ 2147483647 h 235"/>
                <a:gd name="T44" fmla="*/ 2147483647 w 264"/>
                <a:gd name="T45" fmla="*/ 2147483647 h 235"/>
                <a:gd name="T46" fmla="*/ 2147483647 w 264"/>
                <a:gd name="T47" fmla="*/ 2147483647 h 235"/>
                <a:gd name="T48" fmla="*/ 2147483647 w 264"/>
                <a:gd name="T49" fmla="*/ 2147483647 h 235"/>
                <a:gd name="T50" fmla="*/ 2147483647 w 264"/>
                <a:gd name="T51" fmla="*/ 2147483647 h 235"/>
                <a:gd name="T52" fmla="*/ 2147483647 w 264"/>
                <a:gd name="T53" fmla="*/ 2147483647 h 235"/>
                <a:gd name="T54" fmla="*/ 2147483647 w 264"/>
                <a:gd name="T55" fmla="*/ 2147483647 h 235"/>
                <a:gd name="T56" fmla="*/ 2147483647 w 264"/>
                <a:gd name="T57" fmla="*/ 2147483647 h 235"/>
                <a:gd name="T58" fmla="*/ 2147483647 w 264"/>
                <a:gd name="T59" fmla="*/ 2147483647 h 235"/>
                <a:gd name="T60" fmla="*/ 2147483647 w 264"/>
                <a:gd name="T61" fmla="*/ 2147483647 h 235"/>
                <a:gd name="T62" fmla="*/ 2147483647 w 264"/>
                <a:gd name="T63" fmla="*/ 2147483647 h 235"/>
                <a:gd name="T64" fmla="*/ 2147483647 w 264"/>
                <a:gd name="T65" fmla="*/ 2147483647 h 235"/>
                <a:gd name="T66" fmla="*/ 2147483647 w 264"/>
                <a:gd name="T67" fmla="*/ 2147483647 h 235"/>
                <a:gd name="T68" fmla="*/ 2147483647 w 264"/>
                <a:gd name="T69" fmla="*/ 2147483647 h 235"/>
                <a:gd name="T70" fmla="*/ 2147483647 w 264"/>
                <a:gd name="T71" fmla="*/ 2147483647 h 235"/>
                <a:gd name="T72" fmla="*/ 2147483647 w 264"/>
                <a:gd name="T73" fmla="*/ 2147483647 h 235"/>
                <a:gd name="T74" fmla="*/ 2147483647 w 264"/>
                <a:gd name="T75" fmla="*/ 2147483647 h 235"/>
                <a:gd name="T76" fmla="*/ 2147483647 w 264"/>
                <a:gd name="T77" fmla="*/ 2147483647 h 235"/>
                <a:gd name="T78" fmla="*/ 2147483647 w 264"/>
                <a:gd name="T79" fmla="*/ 2147483647 h 235"/>
                <a:gd name="T80" fmla="*/ 2147483647 w 264"/>
                <a:gd name="T81" fmla="*/ 2147483647 h 235"/>
                <a:gd name="T82" fmla="*/ 2147483647 w 264"/>
                <a:gd name="T83" fmla="*/ 2147483647 h 235"/>
                <a:gd name="T84" fmla="*/ 2147483647 w 264"/>
                <a:gd name="T85" fmla="*/ 2147483647 h 235"/>
                <a:gd name="T86" fmla="*/ 2147483647 w 264"/>
                <a:gd name="T87" fmla="*/ 2147483647 h 23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64"/>
                <a:gd name="T133" fmla="*/ 0 h 235"/>
                <a:gd name="T134" fmla="*/ 264 w 264"/>
                <a:gd name="T135" fmla="*/ 235 h 23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64" h="235">
                  <a:moveTo>
                    <a:pt x="0" y="0"/>
                  </a:moveTo>
                  <a:lnTo>
                    <a:pt x="2" y="5"/>
                  </a:lnTo>
                  <a:lnTo>
                    <a:pt x="5" y="10"/>
                  </a:lnTo>
                  <a:lnTo>
                    <a:pt x="13" y="20"/>
                  </a:lnTo>
                  <a:lnTo>
                    <a:pt x="21" y="31"/>
                  </a:lnTo>
                  <a:lnTo>
                    <a:pt x="28" y="40"/>
                  </a:lnTo>
                  <a:lnTo>
                    <a:pt x="30" y="35"/>
                  </a:lnTo>
                  <a:lnTo>
                    <a:pt x="32" y="32"/>
                  </a:lnTo>
                  <a:lnTo>
                    <a:pt x="35" y="30"/>
                  </a:lnTo>
                  <a:lnTo>
                    <a:pt x="38" y="30"/>
                  </a:lnTo>
                  <a:lnTo>
                    <a:pt x="46" y="30"/>
                  </a:lnTo>
                  <a:lnTo>
                    <a:pt x="56" y="32"/>
                  </a:lnTo>
                  <a:lnTo>
                    <a:pt x="61" y="35"/>
                  </a:lnTo>
                  <a:lnTo>
                    <a:pt x="64" y="39"/>
                  </a:lnTo>
                  <a:lnTo>
                    <a:pt x="68" y="43"/>
                  </a:lnTo>
                  <a:lnTo>
                    <a:pt x="73" y="46"/>
                  </a:lnTo>
                  <a:lnTo>
                    <a:pt x="75" y="51"/>
                  </a:lnTo>
                  <a:lnTo>
                    <a:pt x="77" y="57"/>
                  </a:lnTo>
                  <a:lnTo>
                    <a:pt x="78" y="62"/>
                  </a:lnTo>
                  <a:lnTo>
                    <a:pt x="79" y="64"/>
                  </a:lnTo>
                  <a:lnTo>
                    <a:pt x="77" y="69"/>
                  </a:lnTo>
                  <a:lnTo>
                    <a:pt x="75" y="75"/>
                  </a:lnTo>
                  <a:lnTo>
                    <a:pt x="74" y="80"/>
                  </a:lnTo>
                  <a:lnTo>
                    <a:pt x="73" y="82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7"/>
                  </a:lnTo>
                  <a:lnTo>
                    <a:pt x="81" y="102"/>
                  </a:lnTo>
                  <a:lnTo>
                    <a:pt x="78" y="108"/>
                  </a:lnTo>
                  <a:lnTo>
                    <a:pt x="75" y="115"/>
                  </a:lnTo>
                  <a:lnTo>
                    <a:pt x="72" y="121"/>
                  </a:lnTo>
                  <a:lnTo>
                    <a:pt x="69" y="127"/>
                  </a:lnTo>
                  <a:lnTo>
                    <a:pt x="78" y="128"/>
                  </a:lnTo>
                  <a:lnTo>
                    <a:pt x="85" y="127"/>
                  </a:lnTo>
                  <a:lnTo>
                    <a:pt x="92" y="124"/>
                  </a:lnTo>
                  <a:lnTo>
                    <a:pt x="99" y="119"/>
                  </a:lnTo>
                  <a:lnTo>
                    <a:pt x="103" y="117"/>
                  </a:lnTo>
                  <a:lnTo>
                    <a:pt x="107" y="115"/>
                  </a:lnTo>
                  <a:lnTo>
                    <a:pt x="110" y="114"/>
                  </a:lnTo>
                  <a:lnTo>
                    <a:pt x="111" y="114"/>
                  </a:lnTo>
                  <a:lnTo>
                    <a:pt x="115" y="118"/>
                  </a:lnTo>
                  <a:lnTo>
                    <a:pt x="118" y="122"/>
                  </a:lnTo>
                  <a:lnTo>
                    <a:pt x="120" y="125"/>
                  </a:lnTo>
                  <a:lnTo>
                    <a:pt x="125" y="127"/>
                  </a:lnTo>
                  <a:lnTo>
                    <a:pt x="130" y="128"/>
                  </a:lnTo>
                  <a:lnTo>
                    <a:pt x="135" y="129"/>
                  </a:lnTo>
                  <a:lnTo>
                    <a:pt x="139" y="131"/>
                  </a:lnTo>
                  <a:lnTo>
                    <a:pt x="141" y="131"/>
                  </a:lnTo>
                  <a:lnTo>
                    <a:pt x="143" y="134"/>
                  </a:lnTo>
                  <a:lnTo>
                    <a:pt x="144" y="136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8" y="137"/>
                  </a:lnTo>
                  <a:lnTo>
                    <a:pt x="151" y="139"/>
                  </a:lnTo>
                  <a:lnTo>
                    <a:pt x="155" y="141"/>
                  </a:lnTo>
                  <a:lnTo>
                    <a:pt x="159" y="144"/>
                  </a:lnTo>
                  <a:lnTo>
                    <a:pt x="162" y="146"/>
                  </a:lnTo>
                  <a:lnTo>
                    <a:pt x="163" y="147"/>
                  </a:lnTo>
                  <a:lnTo>
                    <a:pt x="166" y="152"/>
                  </a:lnTo>
                  <a:lnTo>
                    <a:pt x="168" y="156"/>
                  </a:lnTo>
                  <a:lnTo>
                    <a:pt x="168" y="161"/>
                  </a:lnTo>
                  <a:lnTo>
                    <a:pt x="167" y="167"/>
                  </a:lnTo>
                  <a:lnTo>
                    <a:pt x="168" y="179"/>
                  </a:lnTo>
                  <a:lnTo>
                    <a:pt x="171" y="192"/>
                  </a:lnTo>
                  <a:lnTo>
                    <a:pt x="173" y="198"/>
                  </a:lnTo>
                  <a:lnTo>
                    <a:pt x="177" y="203"/>
                  </a:lnTo>
                  <a:lnTo>
                    <a:pt x="181" y="207"/>
                  </a:lnTo>
                  <a:lnTo>
                    <a:pt x="187" y="209"/>
                  </a:lnTo>
                  <a:lnTo>
                    <a:pt x="198" y="213"/>
                  </a:lnTo>
                  <a:lnTo>
                    <a:pt x="208" y="217"/>
                  </a:lnTo>
                  <a:lnTo>
                    <a:pt x="212" y="219"/>
                  </a:lnTo>
                  <a:lnTo>
                    <a:pt x="216" y="220"/>
                  </a:lnTo>
                  <a:lnTo>
                    <a:pt x="219" y="221"/>
                  </a:lnTo>
                  <a:lnTo>
                    <a:pt x="220" y="221"/>
                  </a:lnTo>
                  <a:lnTo>
                    <a:pt x="223" y="224"/>
                  </a:lnTo>
                  <a:lnTo>
                    <a:pt x="225" y="227"/>
                  </a:lnTo>
                  <a:lnTo>
                    <a:pt x="230" y="229"/>
                  </a:lnTo>
                  <a:lnTo>
                    <a:pt x="236" y="230"/>
                  </a:lnTo>
                  <a:lnTo>
                    <a:pt x="244" y="231"/>
                  </a:lnTo>
                  <a:lnTo>
                    <a:pt x="250" y="233"/>
                  </a:lnTo>
                  <a:lnTo>
                    <a:pt x="256" y="235"/>
                  </a:lnTo>
                  <a:lnTo>
                    <a:pt x="259" y="235"/>
                  </a:lnTo>
                  <a:lnTo>
                    <a:pt x="261" y="234"/>
                  </a:lnTo>
                  <a:lnTo>
                    <a:pt x="263" y="233"/>
                  </a:lnTo>
                  <a:lnTo>
                    <a:pt x="264" y="233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Freeform 84">
              <a:extLst>
                <a:ext uri="{FF2B5EF4-FFF2-40B4-BE49-F238E27FC236}">
                  <a16:creationId xmlns:a16="http://schemas.microsoft.com/office/drawing/2014/main" id="{448EF88F-D0CE-47AD-AB7A-8C061ABDF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083" y="3940874"/>
              <a:ext cx="21277" cy="78429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5" y="4"/>
                </a:cxn>
                <a:cxn ang="0">
                  <a:pos x="13" y="7"/>
                </a:cxn>
                <a:cxn ang="0">
                  <a:pos x="12" y="9"/>
                </a:cxn>
                <a:cxn ang="0">
                  <a:pos x="11" y="10"/>
                </a:cxn>
                <a:cxn ang="0">
                  <a:pos x="10" y="13"/>
                </a:cxn>
                <a:cxn ang="0">
                  <a:pos x="9" y="15"/>
                </a:cxn>
                <a:cxn ang="0">
                  <a:pos x="8" y="18"/>
                </a:cxn>
                <a:cxn ang="0">
                  <a:pos x="7" y="29"/>
                </a:cxn>
                <a:cxn ang="0">
                  <a:pos x="7" y="36"/>
                </a:cxn>
                <a:cxn ang="0">
                  <a:pos x="6" y="41"/>
                </a:cxn>
                <a:cxn ang="0">
                  <a:pos x="6" y="45"/>
                </a:cxn>
                <a:cxn ang="0">
                  <a:pos x="4" y="51"/>
                </a:cxn>
                <a:cxn ang="0">
                  <a:pos x="2" y="55"/>
                </a:cxn>
                <a:cxn ang="0">
                  <a:pos x="0" y="61"/>
                </a:cxn>
                <a:cxn ang="0">
                  <a:pos x="1" y="65"/>
                </a:cxn>
                <a:cxn ang="0">
                  <a:pos x="3" y="70"/>
                </a:cxn>
                <a:cxn ang="0">
                  <a:pos x="4" y="72"/>
                </a:cxn>
                <a:cxn ang="0">
                  <a:pos x="6" y="73"/>
                </a:cxn>
                <a:cxn ang="0">
                  <a:pos x="8" y="73"/>
                </a:cxn>
                <a:cxn ang="0">
                  <a:pos x="10" y="71"/>
                </a:cxn>
              </a:cxnLst>
              <a:rect l="0" t="0" r="r" b="b"/>
              <a:pathLst>
                <a:path w="18" h="73">
                  <a:moveTo>
                    <a:pt x="18" y="0"/>
                  </a:moveTo>
                  <a:lnTo>
                    <a:pt x="15" y="4"/>
                  </a:lnTo>
                  <a:lnTo>
                    <a:pt x="13" y="7"/>
                  </a:lnTo>
                  <a:lnTo>
                    <a:pt x="12" y="9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9" y="15"/>
                  </a:lnTo>
                  <a:lnTo>
                    <a:pt x="8" y="18"/>
                  </a:lnTo>
                  <a:lnTo>
                    <a:pt x="7" y="29"/>
                  </a:lnTo>
                  <a:lnTo>
                    <a:pt x="7" y="36"/>
                  </a:lnTo>
                  <a:lnTo>
                    <a:pt x="6" y="41"/>
                  </a:lnTo>
                  <a:lnTo>
                    <a:pt x="6" y="45"/>
                  </a:lnTo>
                  <a:lnTo>
                    <a:pt x="4" y="51"/>
                  </a:lnTo>
                  <a:lnTo>
                    <a:pt x="2" y="55"/>
                  </a:lnTo>
                  <a:lnTo>
                    <a:pt x="0" y="61"/>
                  </a:lnTo>
                  <a:lnTo>
                    <a:pt x="1" y="65"/>
                  </a:lnTo>
                  <a:lnTo>
                    <a:pt x="3" y="70"/>
                  </a:lnTo>
                  <a:lnTo>
                    <a:pt x="4" y="72"/>
                  </a:lnTo>
                  <a:lnTo>
                    <a:pt x="6" y="73"/>
                  </a:lnTo>
                  <a:lnTo>
                    <a:pt x="8" y="73"/>
                  </a:lnTo>
                  <a:lnTo>
                    <a:pt x="10" y="7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1" name="Freeform 85">
              <a:extLst>
                <a:ext uri="{FF2B5EF4-FFF2-40B4-BE49-F238E27FC236}">
                  <a16:creationId xmlns:a16="http://schemas.microsoft.com/office/drawing/2014/main" id="{0E2545D5-B78D-47EC-AAE3-24A23B4C1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8208" y="3751665"/>
              <a:ext cx="107505" cy="232345"/>
            </a:xfrm>
            <a:custGeom>
              <a:avLst/>
              <a:gdLst>
                <a:gd name="T0" fmla="*/ 2147483647 w 89"/>
                <a:gd name="T1" fmla="*/ 0 h 215"/>
                <a:gd name="T2" fmla="*/ 2147483647 w 89"/>
                <a:gd name="T3" fmla="*/ 2147483647 h 215"/>
                <a:gd name="T4" fmla="*/ 2147483647 w 89"/>
                <a:gd name="T5" fmla="*/ 2147483647 h 215"/>
                <a:gd name="T6" fmla="*/ 2147483647 w 89"/>
                <a:gd name="T7" fmla="*/ 2147483647 h 215"/>
                <a:gd name="T8" fmla="*/ 0 w 89"/>
                <a:gd name="T9" fmla="*/ 2147483647 h 215"/>
                <a:gd name="T10" fmla="*/ 2147483647 w 89"/>
                <a:gd name="T11" fmla="*/ 2147483647 h 215"/>
                <a:gd name="T12" fmla="*/ 2147483647 w 89"/>
                <a:gd name="T13" fmla="*/ 2147483647 h 215"/>
                <a:gd name="T14" fmla="*/ 2147483647 w 89"/>
                <a:gd name="T15" fmla="*/ 2147483647 h 215"/>
                <a:gd name="T16" fmla="*/ 2147483647 w 89"/>
                <a:gd name="T17" fmla="*/ 2147483647 h 215"/>
                <a:gd name="T18" fmla="*/ 2147483647 w 89"/>
                <a:gd name="T19" fmla="*/ 2147483647 h 215"/>
                <a:gd name="T20" fmla="*/ 2147483647 w 89"/>
                <a:gd name="T21" fmla="*/ 2147483647 h 215"/>
                <a:gd name="T22" fmla="*/ 2147483647 w 89"/>
                <a:gd name="T23" fmla="*/ 2147483647 h 215"/>
                <a:gd name="T24" fmla="*/ 2147483647 w 89"/>
                <a:gd name="T25" fmla="*/ 2147483647 h 215"/>
                <a:gd name="T26" fmla="*/ 2147483647 w 89"/>
                <a:gd name="T27" fmla="*/ 2147483647 h 215"/>
                <a:gd name="T28" fmla="*/ 2147483647 w 89"/>
                <a:gd name="T29" fmla="*/ 2147483647 h 215"/>
                <a:gd name="T30" fmla="*/ 2147483647 w 89"/>
                <a:gd name="T31" fmla="*/ 2147483647 h 215"/>
                <a:gd name="T32" fmla="*/ 2147483647 w 89"/>
                <a:gd name="T33" fmla="*/ 2147483647 h 215"/>
                <a:gd name="T34" fmla="*/ 2147483647 w 89"/>
                <a:gd name="T35" fmla="*/ 2147483647 h 215"/>
                <a:gd name="T36" fmla="*/ 2147483647 w 89"/>
                <a:gd name="T37" fmla="*/ 2147483647 h 215"/>
                <a:gd name="T38" fmla="*/ 2147483647 w 89"/>
                <a:gd name="T39" fmla="*/ 2147483647 h 215"/>
                <a:gd name="T40" fmla="*/ 2147483647 w 89"/>
                <a:gd name="T41" fmla="*/ 2147483647 h 215"/>
                <a:gd name="T42" fmla="*/ 2147483647 w 89"/>
                <a:gd name="T43" fmla="*/ 2147483647 h 215"/>
                <a:gd name="T44" fmla="*/ 2147483647 w 89"/>
                <a:gd name="T45" fmla="*/ 2147483647 h 215"/>
                <a:gd name="T46" fmla="*/ 2147483647 w 89"/>
                <a:gd name="T47" fmla="*/ 2147483647 h 215"/>
                <a:gd name="T48" fmla="*/ 2147483647 w 89"/>
                <a:gd name="T49" fmla="*/ 2147483647 h 215"/>
                <a:gd name="T50" fmla="*/ 2147483647 w 89"/>
                <a:gd name="T51" fmla="*/ 2147483647 h 215"/>
                <a:gd name="T52" fmla="*/ 2147483647 w 89"/>
                <a:gd name="T53" fmla="*/ 2147483647 h 215"/>
                <a:gd name="T54" fmla="*/ 2147483647 w 89"/>
                <a:gd name="T55" fmla="*/ 2147483647 h 215"/>
                <a:gd name="T56" fmla="*/ 2147483647 w 89"/>
                <a:gd name="T57" fmla="*/ 2147483647 h 215"/>
                <a:gd name="T58" fmla="*/ 2147483647 w 89"/>
                <a:gd name="T59" fmla="*/ 2147483647 h 215"/>
                <a:gd name="T60" fmla="*/ 2147483647 w 89"/>
                <a:gd name="T61" fmla="*/ 2147483647 h 215"/>
                <a:gd name="T62" fmla="*/ 2147483647 w 89"/>
                <a:gd name="T63" fmla="*/ 2147483647 h 215"/>
                <a:gd name="T64" fmla="*/ 2147483647 w 89"/>
                <a:gd name="T65" fmla="*/ 2147483647 h 215"/>
                <a:gd name="T66" fmla="*/ 2147483647 w 89"/>
                <a:gd name="T67" fmla="*/ 2147483647 h 215"/>
                <a:gd name="T68" fmla="*/ 2147483647 w 89"/>
                <a:gd name="T69" fmla="*/ 2147483647 h 215"/>
                <a:gd name="T70" fmla="*/ 2147483647 w 89"/>
                <a:gd name="T71" fmla="*/ 2147483647 h 215"/>
                <a:gd name="T72" fmla="*/ 2147483647 w 89"/>
                <a:gd name="T73" fmla="*/ 2147483647 h 215"/>
                <a:gd name="T74" fmla="*/ 2147483647 w 89"/>
                <a:gd name="T75" fmla="*/ 2147483647 h 215"/>
                <a:gd name="T76" fmla="*/ 2147483647 w 89"/>
                <a:gd name="T77" fmla="*/ 2147483647 h 215"/>
                <a:gd name="T78" fmla="*/ 2147483647 w 89"/>
                <a:gd name="T79" fmla="*/ 2147483647 h 215"/>
                <a:gd name="T80" fmla="*/ 2147483647 w 89"/>
                <a:gd name="T81" fmla="*/ 2147483647 h 215"/>
                <a:gd name="T82" fmla="*/ 2147483647 w 89"/>
                <a:gd name="T83" fmla="*/ 2147483647 h 215"/>
                <a:gd name="T84" fmla="*/ 2147483647 w 89"/>
                <a:gd name="T85" fmla="*/ 2147483647 h 215"/>
                <a:gd name="T86" fmla="*/ 2147483647 w 89"/>
                <a:gd name="T87" fmla="*/ 2147483647 h 215"/>
                <a:gd name="T88" fmla="*/ 2147483647 w 89"/>
                <a:gd name="T89" fmla="*/ 2147483647 h 21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9"/>
                <a:gd name="T136" fmla="*/ 0 h 215"/>
                <a:gd name="T137" fmla="*/ 89 w 89"/>
                <a:gd name="T138" fmla="*/ 215 h 21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9" h="215">
                  <a:moveTo>
                    <a:pt x="8" y="0"/>
                  </a:moveTo>
                  <a:lnTo>
                    <a:pt x="9" y="8"/>
                  </a:lnTo>
                  <a:lnTo>
                    <a:pt x="8" y="17"/>
                  </a:lnTo>
                  <a:lnTo>
                    <a:pt x="4" y="25"/>
                  </a:lnTo>
                  <a:lnTo>
                    <a:pt x="0" y="32"/>
                  </a:lnTo>
                  <a:lnTo>
                    <a:pt x="6" y="47"/>
                  </a:lnTo>
                  <a:lnTo>
                    <a:pt x="14" y="59"/>
                  </a:lnTo>
                  <a:lnTo>
                    <a:pt x="24" y="69"/>
                  </a:lnTo>
                  <a:lnTo>
                    <a:pt x="31" y="73"/>
                  </a:lnTo>
                  <a:lnTo>
                    <a:pt x="38" y="76"/>
                  </a:lnTo>
                  <a:lnTo>
                    <a:pt x="45" y="84"/>
                  </a:lnTo>
                  <a:lnTo>
                    <a:pt x="51" y="92"/>
                  </a:lnTo>
                  <a:lnTo>
                    <a:pt x="59" y="98"/>
                  </a:lnTo>
                  <a:lnTo>
                    <a:pt x="67" y="104"/>
                  </a:lnTo>
                  <a:lnTo>
                    <a:pt x="75" y="117"/>
                  </a:lnTo>
                  <a:lnTo>
                    <a:pt x="81" y="129"/>
                  </a:lnTo>
                  <a:lnTo>
                    <a:pt x="79" y="134"/>
                  </a:lnTo>
                  <a:lnTo>
                    <a:pt x="77" y="136"/>
                  </a:lnTo>
                  <a:lnTo>
                    <a:pt x="75" y="136"/>
                  </a:lnTo>
                  <a:lnTo>
                    <a:pt x="74" y="137"/>
                  </a:lnTo>
                  <a:lnTo>
                    <a:pt x="73" y="139"/>
                  </a:lnTo>
                  <a:lnTo>
                    <a:pt x="74" y="144"/>
                  </a:lnTo>
                  <a:lnTo>
                    <a:pt x="74" y="148"/>
                  </a:lnTo>
                  <a:lnTo>
                    <a:pt x="75" y="153"/>
                  </a:lnTo>
                  <a:lnTo>
                    <a:pt x="74" y="159"/>
                  </a:lnTo>
                  <a:lnTo>
                    <a:pt x="73" y="163"/>
                  </a:lnTo>
                  <a:lnTo>
                    <a:pt x="72" y="165"/>
                  </a:lnTo>
                  <a:lnTo>
                    <a:pt x="71" y="167"/>
                  </a:lnTo>
                  <a:lnTo>
                    <a:pt x="68" y="169"/>
                  </a:lnTo>
                  <a:lnTo>
                    <a:pt x="66" y="171"/>
                  </a:lnTo>
                  <a:lnTo>
                    <a:pt x="63" y="175"/>
                  </a:lnTo>
                  <a:lnTo>
                    <a:pt x="64" y="179"/>
                  </a:lnTo>
                  <a:lnTo>
                    <a:pt x="67" y="184"/>
                  </a:lnTo>
                  <a:lnTo>
                    <a:pt x="74" y="197"/>
                  </a:lnTo>
                  <a:lnTo>
                    <a:pt x="78" y="203"/>
                  </a:lnTo>
                  <a:lnTo>
                    <a:pt x="82" y="208"/>
                  </a:lnTo>
                  <a:lnTo>
                    <a:pt x="86" y="212"/>
                  </a:lnTo>
                  <a:lnTo>
                    <a:pt x="89" y="215"/>
                  </a:lnTo>
                  <a:lnTo>
                    <a:pt x="89" y="214"/>
                  </a:lnTo>
                  <a:lnTo>
                    <a:pt x="86" y="210"/>
                  </a:lnTo>
                  <a:lnTo>
                    <a:pt x="84" y="205"/>
                  </a:lnTo>
                  <a:lnTo>
                    <a:pt x="83" y="204"/>
                  </a:lnTo>
                  <a:lnTo>
                    <a:pt x="83" y="203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Freeform 86">
              <a:extLst>
                <a:ext uri="{FF2B5EF4-FFF2-40B4-BE49-F238E27FC236}">
                  <a16:creationId xmlns:a16="http://schemas.microsoft.com/office/drawing/2014/main" id="{5C0C8249-E4EE-44B3-9067-3F5C7EB6F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455" y="4042832"/>
              <a:ext cx="19037" cy="44116"/>
            </a:xfrm>
            <a:custGeom>
              <a:avLst/>
              <a:gdLst>
                <a:gd name="T0" fmla="*/ 2147483647 w 16"/>
                <a:gd name="T1" fmla="*/ 0 h 41"/>
                <a:gd name="T2" fmla="*/ 2147483647 w 16"/>
                <a:gd name="T3" fmla="*/ 2147483647 h 41"/>
                <a:gd name="T4" fmla="*/ 0 w 16"/>
                <a:gd name="T5" fmla="*/ 2147483647 h 41"/>
                <a:gd name="T6" fmla="*/ 0 w 16"/>
                <a:gd name="T7" fmla="*/ 2147483647 h 41"/>
                <a:gd name="T8" fmla="*/ 2147483647 w 16"/>
                <a:gd name="T9" fmla="*/ 2147483647 h 41"/>
                <a:gd name="T10" fmla="*/ 2147483647 w 16"/>
                <a:gd name="T11" fmla="*/ 2147483647 h 41"/>
                <a:gd name="T12" fmla="*/ 2147483647 w 16"/>
                <a:gd name="T13" fmla="*/ 2147483647 h 41"/>
                <a:gd name="T14" fmla="*/ 2147483647 w 16"/>
                <a:gd name="T15" fmla="*/ 2147483647 h 41"/>
                <a:gd name="T16" fmla="*/ 2147483647 w 16"/>
                <a:gd name="T17" fmla="*/ 2147483647 h 41"/>
                <a:gd name="T18" fmla="*/ 2147483647 w 16"/>
                <a:gd name="T19" fmla="*/ 2147483647 h 4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41"/>
                <a:gd name="T32" fmla="*/ 16 w 16"/>
                <a:gd name="T33" fmla="*/ 41 h 4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41">
                  <a:moveTo>
                    <a:pt x="3" y="0"/>
                  </a:moveTo>
                  <a:lnTo>
                    <a:pt x="2" y="6"/>
                  </a:lnTo>
                  <a:lnTo>
                    <a:pt x="0" y="12"/>
                  </a:lnTo>
                  <a:lnTo>
                    <a:pt x="0" y="19"/>
                  </a:lnTo>
                  <a:lnTo>
                    <a:pt x="1" y="24"/>
                  </a:lnTo>
                  <a:lnTo>
                    <a:pt x="3" y="31"/>
                  </a:lnTo>
                  <a:lnTo>
                    <a:pt x="5" y="37"/>
                  </a:lnTo>
                  <a:lnTo>
                    <a:pt x="9" y="40"/>
                  </a:lnTo>
                  <a:lnTo>
                    <a:pt x="12" y="41"/>
                  </a:lnTo>
                  <a:lnTo>
                    <a:pt x="16" y="4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3" name="Freeform 87">
              <a:extLst>
                <a:ext uri="{FF2B5EF4-FFF2-40B4-BE49-F238E27FC236}">
                  <a16:creationId xmlns:a16="http://schemas.microsoft.com/office/drawing/2014/main" id="{D1688490-5042-45ED-A565-02B99FC29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6877" y="4132045"/>
              <a:ext cx="194853" cy="299990"/>
            </a:xfrm>
            <a:custGeom>
              <a:avLst/>
              <a:gdLst>
                <a:gd name="T0" fmla="*/ 0 w 162"/>
                <a:gd name="T1" fmla="*/ 0 h 278"/>
                <a:gd name="T2" fmla="*/ 2147483647 w 162"/>
                <a:gd name="T3" fmla="*/ 2147483647 h 278"/>
                <a:gd name="T4" fmla="*/ 2147483647 w 162"/>
                <a:gd name="T5" fmla="*/ 2147483647 h 278"/>
                <a:gd name="T6" fmla="*/ 2147483647 w 162"/>
                <a:gd name="T7" fmla="*/ 2147483647 h 278"/>
                <a:gd name="T8" fmla="*/ 2147483647 w 162"/>
                <a:gd name="T9" fmla="*/ 2147483647 h 278"/>
                <a:gd name="T10" fmla="*/ 2147483647 w 162"/>
                <a:gd name="T11" fmla="*/ 2147483647 h 278"/>
                <a:gd name="T12" fmla="*/ 2147483647 w 162"/>
                <a:gd name="T13" fmla="*/ 2147483647 h 278"/>
                <a:gd name="T14" fmla="*/ 2147483647 w 162"/>
                <a:gd name="T15" fmla="*/ 2147483647 h 278"/>
                <a:gd name="T16" fmla="*/ 2147483647 w 162"/>
                <a:gd name="T17" fmla="*/ 2147483647 h 278"/>
                <a:gd name="T18" fmla="*/ 2147483647 w 162"/>
                <a:gd name="T19" fmla="*/ 2147483647 h 278"/>
                <a:gd name="T20" fmla="*/ 2147483647 w 162"/>
                <a:gd name="T21" fmla="*/ 2147483647 h 278"/>
                <a:gd name="T22" fmla="*/ 2147483647 w 162"/>
                <a:gd name="T23" fmla="*/ 2147483647 h 278"/>
                <a:gd name="T24" fmla="*/ 2147483647 w 162"/>
                <a:gd name="T25" fmla="*/ 2147483647 h 278"/>
                <a:gd name="T26" fmla="*/ 2147483647 w 162"/>
                <a:gd name="T27" fmla="*/ 2147483647 h 278"/>
                <a:gd name="T28" fmla="*/ 2147483647 w 162"/>
                <a:gd name="T29" fmla="*/ 2147483647 h 278"/>
                <a:gd name="T30" fmla="*/ 2147483647 w 162"/>
                <a:gd name="T31" fmla="*/ 2147483647 h 278"/>
                <a:gd name="T32" fmla="*/ 2147483647 w 162"/>
                <a:gd name="T33" fmla="*/ 2147483647 h 278"/>
                <a:gd name="T34" fmla="*/ 2147483647 w 162"/>
                <a:gd name="T35" fmla="*/ 2147483647 h 278"/>
                <a:gd name="T36" fmla="*/ 2147483647 w 162"/>
                <a:gd name="T37" fmla="*/ 2147483647 h 278"/>
                <a:gd name="T38" fmla="*/ 2147483647 w 162"/>
                <a:gd name="T39" fmla="*/ 2147483647 h 278"/>
                <a:gd name="T40" fmla="*/ 2147483647 w 162"/>
                <a:gd name="T41" fmla="*/ 2147483647 h 278"/>
                <a:gd name="T42" fmla="*/ 2147483647 w 162"/>
                <a:gd name="T43" fmla="*/ 2147483647 h 278"/>
                <a:gd name="T44" fmla="*/ 2147483647 w 162"/>
                <a:gd name="T45" fmla="*/ 2147483647 h 278"/>
                <a:gd name="T46" fmla="*/ 2147483647 w 162"/>
                <a:gd name="T47" fmla="*/ 2147483647 h 278"/>
                <a:gd name="T48" fmla="*/ 2147483647 w 162"/>
                <a:gd name="T49" fmla="*/ 2147483647 h 278"/>
                <a:gd name="T50" fmla="*/ 2147483647 w 162"/>
                <a:gd name="T51" fmla="*/ 2147483647 h 278"/>
                <a:gd name="T52" fmla="*/ 2147483647 w 162"/>
                <a:gd name="T53" fmla="*/ 2147483647 h 278"/>
                <a:gd name="T54" fmla="*/ 2147483647 w 162"/>
                <a:gd name="T55" fmla="*/ 2147483647 h 278"/>
                <a:gd name="T56" fmla="*/ 2147483647 w 162"/>
                <a:gd name="T57" fmla="*/ 2147483647 h 278"/>
                <a:gd name="T58" fmla="*/ 2147483647 w 162"/>
                <a:gd name="T59" fmla="*/ 2147483647 h 278"/>
                <a:gd name="T60" fmla="*/ 2147483647 w 162"/>
                <a:gd name="T61" fmla="*/ 2147483647 h 278"/>
                <a:gd name="T62" fmla="*/ 2147483647 w 162"/>
                <a:gd name="T63" fmla="*/ 2147483647 h 278"/>
                <a:gd name="T64" fmla="*/ 2147483647 w 162"/>
                <a:gd name="T65" fmla="*/ 2147483647 h 278"/>
                <a:gd name="T66" fmla="*/ 2147483647 w 162"/>
                <a:gd name="T67" fmla="*/ 2147483647 h 278"/>
                <a:gd name="T68" fmla="*/ 2147483647 w 162"/>
                <a:gd name="T69" fmla="*/ 2147483647 h 278"/>
                <a:gd name="T70" fmla="*/ 2147483647 w 162"/>
                <a:gd name="T71" fmla="*/ 2147483647 h 278"/>
                <a:gd name="T72" fmla="*/ 2147483647 w 162"/>
                <a:gd name="T73" fmla="*/ 2147483647 h 278"/>
                <a:gd name="T74" fmla="*/ 2147483647 w 162"/>
                <a:gd name="T75" fmla="*/ 2147483647 h 278"/>
                <a:gd name="T76" fmla="*/ 2147483647 w 162"/>
                <a:gd name="T77" fmla="*/ 2147483647 h 278"/>
                <a:gd name="T78" fmla="*/ 2147483647 w 162"/>
                <a:gd name="T79" fmla="*/ 2147483647 h 278"/>
                <a:gd name="T80" fmla="*/ 2147483647 w 162"/>
                <a:gd name="T81" fmla="*/ 2147483647 h 278"/>
                <a:gd name="T82" fmla="*/ 2147483647 w 162"/>
                <a:gd name="T83" fmla="*/ 2147483647 h 278"/>
                <a:gd name="T84" fmla="*/ 2147483647 w 162"/>
                <a:gd name="T85" fmla="*/ 2147483647 h 278"/>
                <a:gd name="T86" fmla="*/ 2147483647 w 162"/>
                <a:gd name="T87" fmla="*/ 2147483647 h 278"/>
                <a:gd name="T88" fmla="*/ 2147483647 w 162"/>
                <a:gd name="T89" fmla="*/ 2147483647 h 278"/>
                <a:gd name="T90" fmla="*/ 2147483647 w 162"/>
                <a:gd name="T91" fmla="*/ 2147483647 h 278"/>
                <a:gd name="T92" fmla="*/ 2147483647 w 162"/>
                <a:gd name="T93" fmla="*/ 2147483647 h 278"/>
                <a:gd name="T94" fmla="*/ 2147483647 w 162"/>
                <a:gd name="T95" fmla="*/ 2147483647 h 278"/>
                <a:gd name="T96" fmla="*/ 2147483647 w 162"/>
                <a:gd name="T97" fmla="*/ 2147483647 h 278"/>
                <a:gd name="T98" fmla="*/ 2147483647 w 162"/>
                <a:gd name="T99" fmla="*/ 2147483647 h 278"/>
                <a:gd name="T100" fmla="*/ 2147483647 w 162"/>
                <a:gd name="T101" fmla="*/ 2147483647 h 278"/>
                <a:gd name="T102" fmla="*/ 2147483647 w 162"/>
                <a:gd name="T103" fmla="*/ 2147483647 h 278"/>
                <a:gd name="T104" fmla="*/ 2147483647 w 162"/>
                <a:gd name="T105" fmla="*/ 2147483647 h 278"/>
                <a:gd name="T106" fmla="*/ 2147483647 w 162"/>
                <a:gd name="T107" fmla="*/ 2147483647 h 278"/>
                <a:gd name="T108" fmla="*/ 2147483647 w 162"/>
                <a:gd name="T109" fmla="*/ 2147483647 h 278"/>
                <a:gd name="T110" fmla="*/ 2147483647 w 162"/>
                <a:gd name="T111" fmla="*/ 2147483647 h 278"/>
                <a:gd name="T112" fmla="*/ 2147483647 w 162"/>
                <a:gd name="T113" fmla="*/ 2147483647 h 278"/>
                <a:gd name="T114" fmla="*/ 2147483647 w 162"/>
                <a:gd name="T115" fmla="*/ 2147483647 h 278"/>
                <a:gd name="T116" fmla="*/ 2147483647 w 162"/>
                <a:gd name="T117" fmla="*/ 2147483647 h 278"/>
                <a:gd name="T118" fmla="*/ 2147483647 w 162"/>
                <a:gd name="T119" fmla="*/ 2147483647 h 278"/>
                <a:gd name="T120" fmla="*/ 2147483647 w 162"/>
                <a:gd name="T121" fmla="*/ 2147483647 h 278"/>
                <a:gd name="T122" fmla="*/ 2147483647 w 162"/>
                <a:gd name="T123" fmla="*/ 2147483647 h 278"/>
                <a:gd name="T124" fmla="*/ 2147483647 w 162"/>
                <a:gd name="T125" fmla="*/ 2147483647 h 2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2"/>
                <a:gd name="T190" fmla="*/ 0 h 278"/>
                <a:gd name="T191" fmla="*/ 162 w 162"/>
                <a:gd name="T192" fmla="*/ 278 h 2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2" h="278">
                  <a:moveTo>
                    <a:pt x="0" y="0"/>
                  </a:moveTo>
                  <a:lnTo>
                    <a:pt x="2" y="3"/>
                  </a:lnTo>
                  <a:lnTo>
                    <a:pt x="6" y="6"/>
                  </a:lnTo>
                  <a:lnTo>
                    <a:pt x="11" y="9"/>
                  </a:lnTo>
                  <a:lnTo>
                    <a:pt x="16" y="13"/>
                  </a:lnTo>
                  <a:lnTo>
                    <a:pt x="28" y="23"/>
                  </a:lnTo>
                  <a:lnTo>
                    <a:pt x="34" y="29"/>
                  </a:lnTo>
                  <a:lnTo>
                    <a:pt x="40" y="36"/>
                  </a:lnTo>
                  <a:lnTo>
                    <a:pt x="43" y="42"/>
                  </a:lnTo>
                  <a:lnTo>
                    <a:pt x="44" y="48"/>
                  </a:lnTo>
                  <a:lnTo>
                    <a:pt x="46" y="61"/>
                  </a:lnTo>
                  <a:lnTo>
                    <a:pt x="47" y="73"/>
                  </a:lnTo>
                  <a:lnTo>
                    <a:pt x="48" y="78"/>
                  </a:lnTo>
                  <a:lnTo>
                    <a:pt x="50" y="82"/>
                  </a:lnTo>
                  <a:lnTo>
                    <a:pt x="52" y="85"/>
                  </a:lnTo>
                  <a:lnTo>
                    <a:pt x="55" y="87"/>
                  </a:lnTo>
                  <a:lnTo>
                    <a:pt x="61" y="90"/>
                  </a:lnTo>
                  <a:lnTo>
                    <a:pt x="67" y="92"/>
                  </a:lnTo>
                  <a:lnTo>
                    <a:pt x="72" y="96"/>
                  </a:lnTo>
                  <a:lnTo>
                    <a:pt x="75" y="102"/>
                  </a:lnTo>
                  <a:lnTo>
                    <a:pt x="78" y="110"/>
                  </a:lnTo>
                  <a:lnTo>
                    <a:pt x="80" y="118"/>
                  </a:lnTo>
                  <a:lnTo>
                    <a:pt x="83" y="124"/>
                  </a:lnTo>
                  <a:lnTo>
                    <a:pt x="85" y="127"/>
                  </a:lnTo>
                  <a:lnTo>
                    <a:pt x="88" y="130"/>
                  </a:lnTo>
                  <a:lnTo>
                    <a:pt x="91" y="133"/>
                  </a:lnTo>
                  <a:lnTo>
                    <a:pt x="94" y="136"/>
                  </a:lnTo>
                  <a:lnTo>
                    <a:pt x="96" y="141"/>
                  </a:lnTo>
                  <a:lnTo>
                    <a:pt x="99" y="144"/>
                  </a:lnTo>
                  <a:lnTo>
                    <a:pt x="103" y="148"/>
                  </a:lnTo>
                  <a:lnTo>
                    <a:pt x="106" y="152"/>
                  </a:lnTo>
                  <a:lnTo>
                    <a:pt x="107" y="158"/>
                  </a:lnTo>
                  <a:lnTo>
                    <a:pt x="109" y="165"/>
                  </a:lnTo>
                  <a:lnTo>
                    <a:pt x="111" y="171"/>
                  </a:lnTo>
                  <a:lnTo>
                    <a:pt x="116" y="175"/>
                  </a:lnTo>
                  <a:lnTo>
                    <a:pt x="119" y="180"/>
                  </a:lnTo>
                  <a:lnTo>
                    <a:pt x="122" y="183"/>
                  </a:lnTo>
                  <a:lnTo>
                    <a:pt x="125" y="186"/>
                  </a:lnTo>
                  <a:lnTo>
                    <a:pt x="130" y="188"/>
                  </a:lnTo>
                  <a:lnTo>
                    <a:pt x="133" y="192"/>
                  </a:lnTo>
                  <a:lnTo>
                    <a:pt x="135" y="195"/>
                  </a:lnTo>
                  <a:lnTo>
                    <a:pt x="135" y="198"/>
                  </a:lnTo>
                  <a:lnTo>
                    <a:pt x="134" y="202"/>
                  </a:lnTo>
                  <a:lnTo>
                    <a:pt x="134" y="208"/>
                  </a:lnTo>
                  <a:lnTo>
                    <a:pt x="137" y="214"/>
                  </a:lnTo>
                  <a:lnTo>
                    <a:pt x="141" y="219"/>
                  </a:lnTo>
                  <a:lnTo>
                    <a:pt x="146" y="223"/>
                  </a:lnTo>
                  <a:lnTo>
                    <a:pt x="148" y="229"/>
                  </a:lnTo>
                  <a:lnTo>
                    <a:pt x="149" y="235"/>
                  </a:lnTo>
                  <a:lnTo>
                    <a:pt x="148" y="241"/>
                  </a:lnTo>
                  <a:lnTo>
                    <a:pt x="146" y="247"/>
                  </a:lnTo>
                  <a:lnTo>
                    <a:pt x="150" y="249"/>
                  </a:lnTo>
                  <a:lnTo>
                    <a:pt x="153" y="251"/>
                  </a:lnTo>
                  <a:lnTo>
                    <a:pt x="157" y="253"/>
                  </a:lnTo>
                  <a:lnTo>
                    <a:pt x="161" y="254"/>
                  </a:lnTo>
                  <a:lnTo>
                    <a:pt x="162" y="259"/>
                  </a:lnTo>
                  <a:lnTo>
                    <a:pt x="162" y="263"/>
                  </a:lnTo>
                  <a:lnTo>
                    <a:pt x="161" y="267"/>
                  </a:lnTo>
                  <a:lnTo>
                    <a:pt x="158" y="271"/>
                  </a:lnTo>
                  <a:lnTo>
                    <a:pt x="159" y="274"/>
                  </a:lnTo>
                  <a:lnTo>
                    <a:pt x="160" y="276"/>
                  </a:lnTo>
                  <a:lnTo>
                    <a:pt x="160" y="277"/>
                  </a:lnTo>
                  <a:lnTo>
                    <a:pt x="160" y="27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4" name="Freeform 88">
              <a:extLst>
                <a:ext uri="{FF2B5EF4-FFF2-40B4-BE49-F238E27FC236}">
                  <a16:creationId xmlns:a16="http://schemas.microsoft.com/office/drawing/2014/main" id="{87C00BC8-84F1-4F37-B769-1DEC0ED35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360" y="3865387"/>
              <a:ext cx="87348" cy="80390"/>
            </a:xfrm>
            <a:custGeom>
              <a:avLst/>
              <a:gdLst>
                <a:gd name="T0" fmla="*/ 2147483647 w 72"/>
                <a:gd name="T1" fmla="*/ 0 h 74"/>
                <a:gd name="T2" fmla="*/ 0 w 72"/>
                <a:gd name="T3" fmla="*/ 2147483647 h 74"/>
                <a:gd name="T4" fmla="*/ 2147483647 w 72"/>
                <a:gd name="T5" fmla="*/ 2147483647 h 74"/>
                <a:gd name="T6" fmla="*/ 2147483647 w 72"/>
                <a:gd name="T7" fmla="*/ 2147483647 h 74"/>
                <a:gd name="T8" fmla="*/ 2147483647 w 72"/>
                <a:gd name="T9" fmla="*/ 2147483647 h 74"/>
                <a:gd name="T10" fmla="*/ 2147483647 w 72"/>
                <a:gd name="T11" fmla="*/ 2147483647 h 74"/>
                <a:gd name="T12" fmla="*/ 2147483647 w 72"/>
                <a:gd name="T13" fmla="*/ 2147483647 h 74"/>
                <a:gd name="T14" fmla="*/ 2147483647 w 72"/>
                <a:gd name="T15" fmla="*/ 2147483647 h 74"/>
                <a:gd name="T16" fmla="*/ 2147483647 w 72"/>
                <a:gd name="T17" fmla="*/ 2147483647 h 7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2"/>
                <a:gd name="T28" fmla="*/ 0 h 74"/>
                <a:gd name="T29" fmla="*/ 72 w 72"/>
                <a:gd name="T30" fmla="*/ 74 h 7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2" h="74">
                  <a:moveTo>
                    <a:pt x="2" y="0"/>
                  </a:moveTo>
                  <a:lnTo>
                    <a:pt x="0" y="22"/>
                  </a:lnTo>
                  <a:lnTo>
                    <a:pt x="8" y="44"/>
                  </a:lnTo>
                  <a:lnTo>
                    <a:pt x="24" y="58"/>
                  </a:lnTo>
                  <a:lnTo>
                    <a:pt x="30" y="61"/>
                  </a:lnTo>
                  <a:lnTo>
                    <a:pt x="38" y="64"/>
                  </a:lnTo>
                  <a:lnTo>
                    <a:pt x="45" y="67"/>
                  </a:lnTo>
                  <a:lnTo>
                    <a:pt x="52" y="70"/>
                  </a:lnTo>
                  <a:lnTo>
                    <a:pt x="72" y="7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5" name="Freeform 89">
              <a:extLst>
                <a:ext uri="{FF2B5EF4-FFF2-40B4-BE49-F238E27FC236}">
                  <a16:creationId xmlns:a16="http://schemas.microsoft.com/office/drawing/2014/main" id="{C7AADB09-A5E9-4827-B804-8A690317A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1839" y="3865388"/>
              <a:ext cx="40315" cy="45097"/>
            </a:xfrm>
            <a:custGeom>
              <a:avLst/>
              <a:gdLst>
                <a:gd name="T0" fmla="*/ 2147483647 w 34"/>
                <a:gd name="T1" fmla="*/ 2147483647 h 42"/>
                <a:gd name="T2" fmla="*/ 2147483647 w 34"/>
                <a:gd name="T3" fmla="*/ 2147483647 h 42"/>
                <a:gd name="T4" fmla="*/ 0 w 34"/>
                <a:gd name="T5" fmla="*/ 0 h 42"/>
                <a:gd name="T6" fmla="*/ 0 60000 65536"/>
                <a:gd name="T7" fmla="*/ 0 60000 65536"/>
                <a:gd name="T8" fmla="*/ 0 60000 65536"/>
                <a:gd name="T9" fmla="*/ 0 w 34"/>
                <a:gd name="T10" fmla="*/ 0 h 42"/>
                <a:gd name="T11" fmla="*/ 34 w 34"/>
                <a:gd name="T12" fmla="*/ 42 h 4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" h="42">
                  <a:moveTo>
                    <a:pt x="34" y="42"/>
                  </a:moveTo>
                  <a:lnTo>
                    <a:pt x="18" y="30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6" name="Freeform 90">
              <a:extLst>
                <a:ext uri="{FF2B5EF4-FFF2-40B4-BE49-F238E27FC236}">
                  <a16:creationId xmlns:a16="http://schemas.microsoft.com/office/drawing/2014/main" id="{0FB84B65-4445-4614-9550-4CDF7821D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3925" y="3984990"/>
              <a:ext cx="31357" cy="64704"/>
            </a:xfrm>
            <a:custGeom>
              <a:avLst/>
              <a:gdLst/>
              <a:ahLst/>
              <a:cxnLst>
                <a:cxn ang="0">
                  <a:pos x="26" y="60"/>
                </a:cxn>
                <a:cxn ang="0">
                  <a:pos x="26" y="57"/>
                </a:cxn>
                <a:cxn ang="0">
                  <a:pos x="25" y="52"/>
                </a:cxn>
                <a:cxn ang="0">
                  <a:pos x="24" y="41"/>
                </a:cxn>
                <a:cxn ang="0">
                  <a:pos x="23" y="30"/>
                </a:cxn>
                <a:cxn ang="0">
                  <a:pos x="21" y="24"/>
                </a:cxn>
                <a:cxn ang="0">
                  <a:pos x="20" y="20"/>
                </a:cxn>
                <a:cxn ang="0">
                  <a:pos x="0" y="0"/>
                </a:cxn>
              </a:cxnLst>
              <a:rect l="0" t="0" r="r" b="b"/>
              <a:pathLst>
                <a:path w="26" h="60">
                  <a:moveTo>
                    <a:pt x="26" y="60"/>
                  </a:moveTo>
                  <a:lnTo>
                    <a:pt x="26" y="57"/>
                  </a:lnTo>
                  <a:lnTo>
                    <a:pt x="25" y="52"/>
                  </a:lnTo>
                  <a:lnTo>
                    <a:pt x="24" y="41"/>
                  </a:lnTo>
                  <a:lnTo>
                    <a:pt x="23" y="30"/>
                  </a:lnTo>
                  <a:lnTo>
                    <a:pt x="21" y="24"/>
                  </a:lnTo>
                  <a:lnTo>
                    <a:pt x="20" y="20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7" name="Freeform 91">
              <a:extLst>
                <a:ext uri="{FF2B5EF4-FFF2-40B4-BE49-F238E27FC236}">
                  <a16:creationId xmlns:a16="http://schemas.microsoft.com/office/drawing/2014/main" id="{8D5E3EA3-057D-433E-BEF5-7C9682204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4772" y="3767350"/>
              <a:ext cx="92947" cy="227444"/>
            </a:xfrm>
            <a:custGeom>
              <a:avLst/>
              <a:gdLst>
                <a:gd name="T0" fmla="*/ 0 w 77"/>
                <a:gd name="T1" fmla="*/ 2147483647 h 209"/>
                <a:gd name="T2" fmla="*/ 2147483647 w 77"/>
                <a:gd name="T3" fmla="*/ 2147483647 h 209"/>
                <a:gd name="T4" fmla="*/ 2147483647 w 77"/>
                <a:gd name="T5" fmla="*/ 2147483647 h 209"/>
                <a:gd name="T6" fmla="*/ 2147483647 w 77"/>
                <a:gd name="T7" fmla="*/ 2147483647 h 209"/>
                <a:gd name="T8" fmla="*/ 2147483647 w 77"/>
                <a:gd name="T9" fmla="*/ 2147483647 h 209"/>
                <a:gd name="T10" fmla="*/ 2147483647 w 77"/>
                <a:gd name="T11" fmla="*/ 2147483647 h 209"/>
                <a:gd name="T12" fmla="*/ 2147483647 w 77"/>
                <a:gd name="T13" fmla="*/ 2147483647 h 209"/>
                <a:gd name="T14" fmla="*/ 2147483647 w 77"/>
                <a:gd name="T15" fmla="*/ 2147483647 h 209"/>
                <a:gd name="T16" fmla="*/ 2147483647 w 77"/>
                <a:gd name="T17" fmla="*/ 2147483647 h 209"/>
                <a:gd name="T18" fmla="*/ 2147483647 w 77"/>
                <a:gd name="T19" fmla="*/ 2147483647 h 209"/>
                <a:gd name="T20" fmla="*/ 2147483647 w 77"/>
                <a:gd name="T21" fmla="*/ 2147483647 h 209"/>
                <a:gd name="T22" fmla="*/ 2147483647 w 77"/>
                <a:gd name="T23" fmla="*/ 2147483647 h 209"/>
                <a:gd name="T24" fmla="*/ 2147483647 w 77"/>
                <a:gd name="T25" fmla="*/ 0 h 20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7"/>
                <a:gd name="T40" fmla="*/ 0 h 209"/>
                <a:gd name="T41" fmla="*/ 77 w 77"/>
                <a:gd name="T42" fmla="*/ 209 h 20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7" h="209">
                  <a:moveTo>
                    <a:pt x="0" y="209"/>
                  </a:moveTo>
                  <a:lnTo>
                    <a:pt x="47" y="151"/>
                  </a:lnTo>
                  <a:lnTo>
                    <a:pt x="51" y="102"/>
                  </a:lnTo>
                  <a:lnTo>
                    <a:pt x="51" y="90"/>
                  </a:lnTo>
                  <a:lnTo>
                    <a:pt x="51" y="79"/>
                  </a:lnTo>
                  <a:lnTo>
                    <a:pt x="51" y="68"/>
                  </a:lnTo>
                  <a:lnTo>
                    <a:pt x="53" y="56"/>
                  </a:lnTo>
                  <a:lnTo>
                    <a:pt x="55" y="49"/>
                  </a:lnTo>
                  <a:lnTo>
                    <a:pt x="58" y="42"/>
                  </a:lnTo>
                  <a:lnTo>
                    <a:pt x="65" y="26"/>
                  </a:lnTo>
                  <a:lnTo>
                    <a:pt x="72" y="11"/>
                  </a:lnTo>
                  <a:lnTo>
                    <a:pt x="75" y="5"/>
                  </a:lnTo>
                  <a:lnTo>
                    <a:pt x="77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8" name="Freeform 92">
              <a:extLst>
                <a:ext uri="{FF2B5EF4-FFF2-40B4-BE49-F238E27FC236}">
                  <a16:creationId xmlns:a16="http://schemas.microsoft.com/office/drawing/2014/main" id="{13F08312-A7FD-4960-B51F-DA71D3EC8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3282" y="3914405"/>
              <a:ext cx="108625" cy="60783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3" y="54"/>
                </a:cxn>
                <a:cxn ang="0">
                  <a:pos x="8" y="52"/>
                </a:cxn>
                <a:cxn ang="0">
                  <a:pos x="21" y="47"/>
                </a:cxn>
                <a:cxn ang="0">
                  <a:pos x="34" y="42"/>
                </a:cxn>
                <a:cxn ang="0">
                  <a:pos x="39" y="39"/>
                </a:cxn>
                <a:cxn ang="0">
                  <a:pos x="44" y="37"/>
                </a:cxn>
                <a:cxn ang="0">
                  <a:pos x="66" y="18"/>
                </a:cxn>
                <a:cxn ang="0">
                  <a:pos x="90" y="0"/>
                </a:cxn>
              </a:cxnLst>
              <a:rect l="0" t="0" r="r" b="b"/>
              <a:pathLst>
                <a:path w="90" h="55">
                  <a:moveTo>
                    <a:pt x="0" y="55"/>
                  </a:moveTo>
                  <a:lnTo>
                    <a:pt x="3" y="54"/>
                  </a:lnTo>
                  <a:lnTo>
                    <a:pt x="8" y="52"/>
                  </a:lnTo>
                  <a:lnTo>
                    <a:pt x="21" y="47"/>
                  </a:lnTo>
                  <a:lnTo>
                    <a:pt x="34" y="42"/>
                  </a:lnTo>
                  <a:lnTo>
                    <a:pt x="39" y="39"/>
                  </a:lnTo>
                  <a:lnTo>
                    <a:pt x="44" y="37"/>
                  </a:lnTo>
                  <a:lnTo>
                    <a:pt x="66" y="18"/>
                  </a:lnTo>
                  <a:lnTo>
                    <a:pt x="90" y="0"/>
                  </a:lnTo>
                </a:path>
              </a:pathLst>
            </a:custGeom>
            <a:noFill/>
            <a:ln w="12700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9" name="Freeform 93">
              <a:extLst>
                <a:ext uri="{FF2B5EF4-FFF2-40B4-BE49-F238E27FC236}">
                  <a16:creationId xmlns:a16="http://schemas.microsoft.com/office/drawing/2014/main" id="{E0ACD9E9-E73D-463D-8CC8-06A23A963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760" y="4099692"/>
              <a:ext cx="57112" cy="212739"/>
            </a:xfrm>
            <a:custGeom>
              <a:avLst/>
              <a:gdLst/>
              <a:ahLst/>
              <a:cxnLst>
                <a:cxn ang="0">
                  <a:pos x="17" y="197"/>
                </a:cxn>
                <a:cxn ang="0">
                  <a:pos x="19" y="194"/>
                </a:cxn>
                <a:cxn ang="0">
                  <a:pos x="22" y="189"/>
                </a:cxn>
                <a:cxn ang="0">
                  <a:pos x="30" y="177"/>
                </a:cxn>
                <a:cxn ang="0">
                  <a:pos x="37" y="164"/>
                </a:cxn>
                <a:cxn ang="0">
                  <a:pos x="40" y="158"/>
                </a:cxn>
                <a:cxn ang="0">
                  <a:pos x="42" y="153"/>
                </a:cxn>
                <a:cxn ang="0">
                  <a:pos x="36" y="119"/>
                </a:cxn>
                <a:cxn ang="0">
                  <a:pos x="40" y="92"/>
                </a:cxn>
                <a:cxn ang="0">
                  <a:pos x="48" y="78"/>
                </a:cxn>
                <a:cxn ang="0">
                  <a:pos x="38" y="52"/>
                </a:cxn>
                <a:cxn ang="0">
                  <a:pos x="16" y="32"/>
                </a:cxn>
                <a:cxn ang="0">
                  <a:pos x="0" y="0"/>
                </a:cxn>
              </a:cxnLst>
              <a:rect l="0" t="0" r="r" b="b"/>
              <a:pathLst>
                <a:path w="48" h="197">
                  <a:moveTo>
                    <a:pt x="17" y="197"/>
                  </a:moveTo>
                  <a:lnTo>
                    <a:pt x="19" y="194"/>
                  </a:lnTo>
                  <a:lnTo>
                    <a:pt x="22" y="189"/>
                  </a:lnTo>
                  <a:lnTo>
                    <a:pt x="30" y="177"/>
                  </a:lnTo>
                  <a:lnTo>
                    <a:pt x="37" y="164"/>
                  </a:lnTo>
                  <a:lnTo>
                    <a:pt x="40" y="158"/>
                  </a:lnTo>
                  <a:lnTo>
                    <a:pt x="42" y="153"/>
                  </a:lnTo>
                  <a:lnTo>
                    <a:pt x="36" y="119"/>
                  </a:lnTo>
                  <a:lnTo>
                    <a:pt x="40" y="92"/>
                  </a:lnTo>
                  <a:lnTo>
                    <a:pt x="48" y="78"/>
                  </a:lnTo>
                  <a:lnTo>
                    <a:pt x="38" y="52"/>
                  </a:lnTo>
                  <a:lnTo>
                    <a:pt x="16" y="32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0" name="Freeform 94">
              <a:extLst>
                <a:ext uri="{FF2B5EF4-FFF2-40B4-BE49-F238E27FC236}">
                  <a16:creationId xmlns:a16="http://schemas.microsoft.com/office/drawing/2014/main" id="{BB89BAE8-3038-4A49-9ABB-1EB9889A4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539" y="4177141"/>
              <a:ext cx="22397" cy="138231"/>
            </a:xfrm>
            <a:custGeom>
              <a:avLst/>
              <a:gdLst/>
              <a:ahLst/>
              <a:cxnLst>
                <a:cxn ang="0">
                  <a:pos x="4" y="127"/>
                </a:cxn>
                <a:cxn ang="0">
                  <a:pos x="4" y="114"/>
                </a:cxn>
                <a:cxn ang="0">
                  <a:pos x="11" y="82"/>
                </a:cxn>
                <a:cxn ang="0">
                  <a:pos x="18" y="35"/>
                </a:cxn>
                <a:cxn ang="0">
                  <a:pos x="0" y="0"/>
                </a:cxn>
              </a:cxnLst>
              <a:rect l="0" t="0" r="r" b="b"/>
              <a:pathLst>
                <a:path w="18" h="127">
                  <a:moveTo>
                    <a:pt x="4" y="127"/>
                  </a:moveTo>
                  <a:lnTo>
                    <a:pt x="4" y="114"/>
                  </a:lnTo>
                  <a:lnTo>
                    <a:pt x="11" y="82"/>
                  </a:lnTo>
                  <a:lnTo>
                    <a:pt x="18" y="35"/>
                  </a:lnTo>
                  <a:lnTo>
                    <a:pt x="0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1" name="Line 95">
              <a:extLst>
                <a:ext uri="{FF2B5EF4-FFF2-40B4-BE49-F238E27FC236}">
                  <a16:creationId xmlns:a16="http://schemas.microsoft.com/office/drawing/2014/main" id="{F5C7D770-0C53-426D-9BA4-0367734A46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56365" y="4269295"/>
              <a:ext cx="70551" cy="17646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Freeform 96">
              <a:extLst>
                <a:ext uri="{FF2B5EF4-FFF2-40B4-BE49-F238E27FC236}">
                  <a16:creationId xmlns:a16="http://schemas.microsoft.com/office/drawing/2014/main" id="{93601DD5-E4DF-47B1-8798-E45449037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5286" y="4006558"/>
              <a:ext cx="64951" cy="129407"/>
            </a:xfrm>
            <a:custGeom>
              <a:avLst/>
              <a:gdLst>
                <a:gd name="T0" fmla="*/ 2147483647 w 53"/>
                <a:gd name="T1" fmla="*/ 2147483647 h 120"/>
                <a:gd name="T2" fmla="*/ 2147483647 w 53"/>
                <a:gd name="T3" fmla="*/ 2147483647 h 120"/>
                <a:gd name="T4" fmla="*/ 2147483647 w 53"/>
                <a:gd name="T5" fmla="*/ 2147483647 h 120"/>
                <a:gd name="T6" fmla="*/ 2147483647 w 53"/>
                <a:gd name="T7" fmla="*/ 2147483647 h 120"/>
                <a:gd name="T8" fmla="*/ 2147483647 w 53"/>
                <a:gd name="T9" fmla="*/ 2147483647 h 120"/>
                <a:gd name="T10" fmla="*/ 2147483647 w 53"/>
                <a:gd name="T11" fmla="*/ 2147483647 h 120"/>
                <a:gd name="T12" fmla="*/ 2147483647 w 53"/>
                <a:gd name="T13" fmla="*/ 2147483647 h 120"/>
                <a:gd name="T14" fmla="*/ 2147483647 w 53"/>
                <a:gd name="T15" fmla="*/ 2147483647 h 120"/>
                <a:gd name="T16" fmla="*/ 2147483647 w 53"/>
                <a:gd name="T17" fmla="*/ 2147483647 h 120"/>
                <a:gd name="T18" fmla="*/ 2147483647 w 53"/>
                <a:gd name="T19" fmla="*/ 2147483647 h 120"/>
                <a:gd name="T20" fmla="*/ 2147483647 w 53"/>
                <a:gd name="T21" fmla="*/ 2147483647 h 120"/>
                <a:gd name="T22" fmla="*/ 2147483647 w 53"/>
                <a:gd name="T23" fmla="*/ 2147483647 h 120"/>
                <a:gd name="T24" fmla="*/ 2147483647 w 53"/>
                <a:gd name="T25" fmla="*/ 2147483647 h 120"/>
                <a:gd name="T26" fmla="*/ 2147483647 w 53"/>
                <a:gd name="T27" fmla="*/ 2147483647 h 120"/>
                <a:gd name="T28" fmla="*/ 2147483647 w 53"/>
                <a:gd name="T29" fmla="*/ 2147483647 h 120"/>
                <a:gd name="T30" fmla="*/ 2147483647 w 53"/>
                <a:gd name="T31" fmla="*/ 2147483647 h 120"/>
                <a:gd name="T32" fmla="*/ 2147483647 w 53"/>
                <a:gd name="T33" fmla="*/ 2147483647 h 120"/>
                <a:gd name="T34" fmla="*/ 2147483647 w 53"/>
                <a:gd name="T35" fmla="*/ 2147483647 h 120"/>
                <a:gd name="T36" fmla="*/ 2147483647 w 53"/>
                <a:gd name="T37" fmla="*/ 2147483647 h 120"/>
                <a:gd name="T38" fmla="*/ 2147483647 w 53"/>
                <a:gd name="T39" fmla="*/ 2147483647 h 120"/>
                <a:gd name="T40" fmla="*/ 2147483647 w 53"/>
                <a:gd name="T41" fmla="*/ 2147483647 h 120"/>
                <a:gd name="T42" fmla="*/ 2147483647 w 53"/>
                <a:gd name="T43" fmla="*/ 2147483647 h 120"/>
                <a:gd name="T44" fmla="*/ 2147483647 w 53"/>
                <a:gd name="T45" fmla="*/ 2147483647 h 120"/>
                <a:gd name="T46" fmla="*/ 2147483647 w 53"/>
                <a:gd name="T47" fmla="*/ 2147483647 h 120"/>
                <a:gd name="T48" fmla="*/ 2147483647 w 53"/>
                <a:gd name="T49" fmla="*/ 2147483647 h 120"/>
                <a:gd name="T50" fmla="*/ 0 w 53"/>
                <a:gd name="T51" fmla="*/ 2147483647 h 120"/>
                <a:gd name="T52" fmla="*/ 2147483647 w 53"/>
                <a:gd name="T53" fmla="*/ 2147483647 h 120"/>
                <a:gd name="T54" fmla="*/ 2147483647 w 53"/>
                <a:gd name="T55" fmla="*/ 2147483647 h 120"/>
                <a:gd name="T56" fmla="*/ 2147483647 w 53"/>
                <a:gd name="T57" fmla="*/ 2147483647 h 120"/>
                <a:gd name="T58" fmla="*/ 2147483647 w 53"/>
                <a:gd name="T59" fmla="*/ 2147483647 h 120"/>
                <a:gd name="T60" fmla="*/ 2147483647 w 53"/>
                <a:gd name="T61" fmla="*/ 2147483647 h 120"/>
                <a:gd name="T62" fmla="*/ 2147483647 w 53"/>
                <a:gd name="T63" fmla="*/ 2147483647 h 120"/>
                <a:gd name="T64" fmla="*/ 2147483647 w 53"/>
                <a:gd name="T65" fmla="*/ 2147483647 h 120"/>
                <a:gd name="T66" fmla="*/ 2147483647 w 53"/>
                <a:gd name="T67" fmla="*/ 2147483647 h 120"/>
                <a:gd name="T68" fmla="*/ 2147483647 w 53"/>
                <a:gd name="T69" fmla="*/ 2147483647 h 120"/>
                <a:gd name="T70" fmla="*/ 2147483647 w 53"/>
                <a:gd name="T71" fmla="*/ 2147483647 h 120"/>
                <a:gd name="T72" fmla="*/ 2147483647 w 53"/>
                <a:gd name="T73" fmla="*/ 2147483647 h 120"/>
                <a:gd name="T74" fmla="*/ 2147483647 w 53"/>
                <a:gd name="T75" fmla="*/ 0 h 12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3"/>
                <a:gd name="T115" fmla="*/ 0 h 120"/>
                <a:gd name="T116" fmla="*/ 53 w 53"/>
                <a:gd name="T117" fmla="*/ 120 h 12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3" h="120">
                  <a:moveTo>
                    <a:pt x="53" y="118"/>
                  </a:moveTo>
                  <a:lnTo>
                    <a:pt x="50" y="116"/>
                  </a:lnTo>
                  <a:lnTo>
                    <a:pt x="48" y="115"/>
                  </a:lnTo>
                  <a:lnTo>
                    <a:pt x="45" y="114"/>
                  </a:lnTo>
                  <a:lnTo>
                    <a:pt x="44" y="114"/>
                  </a:lnTo>
                  <a:lnTo>
                    <a:pt x="41" y="114"/>
                  </a:lnTo>
                  <a:lnTo>
                    <a:pt x="38" y="115"/>
                  </a:lnTo>
                  <a:lnTo>
                    <a:pt x="33" y="116"/>
                  </a:lnTo>
                  <a:lnTo>
                    <a:pt x="29" y="117"/>
                  </a:lnTo>
                  <a:lnTo>
                    <a:pt x="25" y="118"/>
                  </a:lnTo>
                  <a:lnTo>
                    <a:pt x="22" y="120"/>
                  </a:lnTo>
                  <a:lnTo>
                    <a:pt x="20" y="120"/>
                  </a:lnTo>
                  <a:lnTo>
                    <a:pt x="18" y="117"/>
                  </a:lnTo>
                  <a:lnTo>
                    <a:pt x="18" y="113"/>
                  </a:lnTo>
                  <a:lnTo>
                    <a:pt x="17" y="107"/>
                  </a:lnTo>
                  <a:lnTo>
                    <a:pt x="17" y="104"/>
                  </a:lnTo>
                  <a:lnTo>
                    <a:pt x="16" y="102"/>
                  </a:lnTo>
                  <a:lnTo>
                    <a:pt x="14" y="100"/>
                  </a:lnTo>
                  <a:lnTo>
                    <a:pt x="10" y="98"/>
                  </a:lnTo>
                  <a:lnTo>
                    <a:pt x="7" y="94"/>
                  </a:lnTo>
                  <a:lnTo>
                    <a:pt x="5" y="91"/>
                  </a:lnTo>
                  <a:lnTo>
                    <a:pt x="4" y="89"/>
                  </a:lnTo>
                  <a:lnTo>
                    <a:pt x="3" y="88"/>
                  </a:lnTo>
                  <a:lnTo>
                    <a:pt x="2" y="86"/>
                  </a:lnTo>
                  <a:lnTo>
                    <a:pt x="1" y="83"/>
                  </a:lnTo>
                  <a:lnTo>
                    <a:pt x="0" y="80"/>
                  </a:lnTo>
                  <a:lnTo>
                    <a:pt x="2" y="74"/>
                  </a:lnTo>
                  <a:lnTo>
                    <a:pt x="5" y="67"/>
                  </a:lnTo>
                  <a:lnTo>
                    <a:pt x="10" y="51"/>
                  </a:lnTo>
                  <a:lnTo>
                    <a:pt x="14" y="43"/>
                  </a:lnTo>
                  <a:lnTo>
                    <a:pt x="18" y="36"/>
                  </a:lnTo>
                  <a:lnTo>
                    <a:pt x="22" y="30"/>
                  </a:lnTo>
                  <a:lnTo>
                    <a:pt x="26" y="26"/>
                  </a:lnTo>
                  <a:lnTo>
                    <a:pt x="26" y="18"/>
                  </a:lnTo>
                  <a:lnTo>
                    <a:pt x="25" y="10"/>
                  </a:lnTo>
                  <a:lnTo>
                    <a:pt x="23" y="5"/>
                  </a:lnTo>
                  <a:lnTo>
                    <a:pt x="20" y="2"/>
                  </a:lnTo>
                  <a:lnTo>
                    <a:pt x="16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3" name="Freeform 97">
              <a:extLst>
                <a:ext uri="{FF2B5EF4-FFF2-40B4-BE49-F238E27FC236}">
                  <a16:creationId xmlns:a16="http://schemas.microsoft.com/office/drawing/2014/main" id="{7560F3BC-54F4-42A2-95E6-4D6B0530FF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915" y="4132046"/>
              <a:ext cx="279963" cy="96075"/>
            </a:xfrm>
            <a:custGeom>
              <a:avLst/>
              <a:gdLst>
                <a:gd name="T0" fmla="*/ 0 w 232"/>
                <a:gd name="T1" fmla="*/ 2147483647 h 89"/>
                <a:gd name="T2" fmla="*/ 2147483647 w 232"/>
                <a:gd name="T3" fmla="*/ 2147483647 h 89"/>
                <a:gd name="T4" fmla="*/ 2147483647 w 232"/>
                <a:gd name="T5" fmla="*/ 2147483647 h 89"/>
                <a:gd name="T6" fmla="*/ 2147483647 w 232"/>
                <a:gd name="T7" fmla="*/ 2147483647 h 89"/>
                <a:gd name="T8" fmla="*/ 2147483647 w 232"/>
                <a:gd name="T9" fmla="*/ 2147483647 h 89"/>
                <a:gd name="T10" fmla="*/ 2147483647 w 232"/>
                <a:gd name="T11" fmla="*/ 2147483647 h 89"/>
                <a:gd name="T12" fmla="*/ 2147483647 w 232"/>
                <a:gd name="T13" fmla="*/ 2147483647 h 89"/>
                <a:gd name="T14" fmla="*/ 2147483647 w 232"/>
                <a:gd name="T15" fmla="*/ 2147483647 h 89"/>
                <a:gd name="T16" fmla="*/ 2147483647 w 232"/>
                <a:gd name="T17" fmla="*/ 2147483647 h 89"/>
                <a:gd name="T18" fmla="*/ 2147483647 w 232"/>
                <a:gd name="T19" fmla="*/ 2147483647 h 89"/>
                <a:gd name="T20" fmla="*/ 2147483647 w 232"/>
                <a:gd name="T21" fmla="*/ 2147483647 h 89"/>
                <a:gd name="T22" fmla="*/ 2147483647 w 232"/>
                <a:gd name="T23" fmla="*/ 2147483647 h 89"/>
                <a:gd name="T24" fmla="*/ 2147483647 w 232"/>
                <a:gd name="T25" fmla="*/ 2147483647 h 89"/>
                <a:gd name="T26" fmla="*/ 2147483647 w 232"/>
                <a:gd name="T27" fmla="*/ 0 h 8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32"/>
                <a:gd name="T43" fmla="*/ 0 h 89"/>
                <a:gd name="T44" fmla="*/ 232 w 232"/>
                <a:gd name="T45" fmla="*/ 89 h 8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32" h="89">
                  <a:moveTo>
                    <a:pt x="0" y="89"/>
                  </a:moveTo>
                  <a:lnTo>
                    <a:pt x="14" y="85"/>
                  </a:lnTo>
                  <a:lnTo>
                    <a:pt x="24" y="65"/>
                  </a:lnTo>
                  <a:lnTo>
                    <a:pt x="34" y="44"/>
                  </a:lnTo>
                  <a:lnTo>
                    <a:pt x="54" y="40"/>
                  </a:lnTo>
                  <a:lnTo>
                    <a:pt x="75" y="65"/>
                  </a:lnTo>
                  <a:lnTo>
                    <a:pt x="107" y="69"/>
                  </a:lnTo>
                  <a:lnTo>
                    <a:pt x="114" y="68"/>
                  </a:lnTo>
                  <a:lnTo>
                    <a:pt x="122" y="66"/>
                  </a:lnTo>
                  <a:lnTo>
                    <a:pt x="129" y="64"/>
                  </a:lnTo>
                  <a:lnTo>
                    <a:pt x="137" y="63"/>
                  </a:lnTo>
                  <a:lnTo>
                    <a:pt x="171" y="61"/>
                  </a:lnTo>
                  <a:lnTo>
                    <a:pt x="202" y="40"/>
                  </a:lnTo>
                  <a:lnTo>
                    <a:pt x="232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4" name="Freeform 98">
              <a:extLst>
                <a:ext uri="{FF2B5EF4-FFF2-40B4-BE49-F238E27FC236}">
                  <a16:creationId xmlns:a16="http://schemas.microsoft.com/office/drawing/2014/main" id="{0F919609-AF7F-4916-80ED-E960A7B2F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237" y="4132044"/>
              <a:ext cx="527449" cy="113721"/>
            </a:xfrm>
            <a:custGeom>
              <a:avLst/>
              <a:gdLst>
                <a:gd name="T0" fmla="*/ 0 w 437"/>
                <a:gd name="T1" fmla="*/ 2147483647 h 105"/>
                <a:gd name="T2" fmla="*/ 2147483647 w 437"/>
                <a:gd name="T3" fmla="*/ 0 h 105"/>
                <a:gd name="T4" fmla="*/ 2147483647 w 437"/>
                <a:gd name="T5" fmla="*/ 2147483647 h 105"/>
                <a:gd name="T6" fmla="*/ 2147483647 w 437"/>
                <a:gd name="T7" fmla="*/ 2147483647 h 105"/>
                <a:gd name="T8" fmla="*/ 2147483647 w 437"/>
                <a:gd name="T9" fmla="*/ 2147483647 h 105"/>
                <a:gd name="T10" fmla="*/ 2147483647 w 437"/>
                <a:gd name="T11" fmla="*/ 2147483647 h 105"/>
                <a:gd name="T12" fmla="*/ 2147483647 w 437"/>
                <a:gd name="T13" fmla="*/ 2147483647 h 105"/>
                <a:gd name="T14" fmla="*/ 2147483647 w 437"/>
                <a:gd name="T15" fmla="*/ 2147483647 h 105"/>
                <a:gd name="T16" fmla="*/ 2147483647 w 437"/>
                <a:gd name="T17" fmla="*/ 2147483647 h 105"/>
                <a:gd name="T18" fmla="*/ 2147483647 w 437"/>
                <a:gd name="T19" fmla="*/ 2147483647 h 105"/>
                <a:gd name="T20" fmla="*/ 2147483647 w 437"/>
                <a:gd name="T21" fmla="*/ 2147483647 h 105"/>
                <a:gd name="T22" fmla="*/ 2147483647 w 437"/>
                <a:gd name="T23" fmla="*/ 2147483647 h 105"/>
                <a:gd name="T24" fmla="*/ 2147483647 w 437"/>
                <a:gd name="T25" fmla="*/ 2147483647 h 105"/>
                <a:gd name="T26" fmla="*/ 2147483647 w 437"/>
                <a:gd name="T27" fmla="*/ 2147483647 h 10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7"/>
                <a:gd name="T43" fmla="*/ 0 h 105"/>
                <a:gd name="T44" fmla="*/ 437 w 437"/>
                <a:gd name="T45" fmla="*/ 105 h 10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7" h="105">
                  <a:moveTo>
                    <a:pt x="0" y="2"/>
                  </a:moveTo>
                  <a:lnTo>
                    <a:pt x="54" y="0"/>
                  </a:lnTo>
                  <a:lnTo>
                    <a:pt x="145" y="20"/>
                  </a:lnTo>
                  <a:lnTo>
                    <a:pt x="211" y="24"/>
                  </a:lnTo>
                  <a:lnTo>
                    <a:pt x="242" y="59"/>
                  </a:lnTo>
                  <a:lnTo>
                    <a:pt x="247" y="61"/>
                  </a:lnTo>
                  <a:lnTo>
                    <a:pt x="253" y="62"/>
                  </a:lnTo>
                  <a:lnTo>
                    <a:pt x="266" y="64"/>
                  </a:lnTo>
                  <a:lnTo>
                    <a:pt x="279" y="65"/>
                  </a:lnTo>
                  <a:lnTo>
                    <a:pt x="286" y="67"/>
                  </a:lnTo>
                  <a:lnTo>
                    <a:pt x="292" y="69"/>
                  </a:lnTo>
                  <a:lnTo>
                    <a:pt x="340" y="105"/>
                  </a:lnTo>
                  <a:lnTo>
                    <a:pt x="397" y="101"/>
                  </a:lnTo>
                  <a:lnTo>
                    <a:pt x="437" y="87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5" name="Freeform 99">
              <a:extLst>
                <a:ext uri="{FF2B5EF4-FFF2-40B4-BE49-F238E27FC236}">
                  <a16:creationId xmlns:a16="http://schemas.microsoft.com/office/drawing/2014/main" id="{FA0BC7E0-A4F1-4D19-BFAD-36CB416DC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589" y="4297725"/>
              <a:ext cx="297880" cy="38235"/>
            </a:xfrm>
            <a:custGeom>
              <a:avLst/>
              <a:gdLst>
                <a:gd name="T0" fmla="*/ 0 w 247"/>
                <a:gd name="T1" fmla="*/ 2147483647 h 36"/>
                <a:gd name="T2" fmla="*/ 2147483647 w 247"/>
                <a:gd name="T3" fmla="*/ 2147483647 h 36"/>
                <a:gd name="T4" fmla="*/ 2147483647 w 247"/>
                <a:gd name="T5" fmla="*/ 2147483647 h 36"/>
                <a:gd name="T6" fmla="*/ 2147483647 w 247"/>
                <a:gd name="T7" fmla="*/ 0 h 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7"/>
                <a:gd name="T13" fmla="*/ 0 h 36"/>
                <a:gd name="T14" fmla="*/ 247 w 247"/>
                <a:gd name="T15" fmla="*/ 36 h 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7" h="36">
                  <a:moveTo>
                    <a:pt x="0" y="32"/>
                  </a:moveTo>
                  <a:lnTo>
                    <a:pt x="74" y="26"/>
                  </a:lnTo>
                  <a:lnTo>
                    <a:pt x="151" y="36"/>
                  </a:lnTo>
                  <a:lnTo>
                    <a:pt x="247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6" name="Freeform 100">
              <a:extLst>
                <a:ext uri="{FF2B5EF4-FFF2-40B4-BE49-F238E27FC236}">
                  <a16:creationId xmlns:a16="http://schemas.microsoft.com/office/drawing/2014/main" id="{71FE7E3E-8822-4744-A2F2-F3DFBB7DA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3737" y="4040871"/>
              <a:ext cx="27996" cy="112742"/>
            </a:xfrm>
            <a:custGeom>
              <a:avLst/>
              <a:gdLst>
                <a:gd name="T0" fmla="*/ 2147483647 w 24"/>
                <a:gd name="T1" fmla="*/ 2147483647 h 104"/>
                <a:gd name="T2" fmla="*/ 2147483647 w 24"/>
                <a:gd name="T3" fmla="*/ 2147483647 h 104"/>
                <a:gd name="T4" fmla="*/ 0 w 24"/>
                <a:gd name="T5" fmla="*/ 2147483647 h 104"/>
                <a:gd name="T6" fmla="*/ 2147483647 w 24"/>
                <a:gd name="T7" fmla="*/ 0 h 10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"/>
                <a:gd name="T13" fmla="*/ 0 h 104"/>
                <a:gd name="T14" fmla="*/ 24 w 24"/>
                <a:gd name="T15" fmla="*/ 104 h 10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" h="104">
                  <a:moveTo>
                    <a:pt x="16" y="104"/>
                  </a:moveTo>
                  <a:lnTo>
                    <a:pt x="2" y="62"/>
                  </a:lnTo>
                  <a:lnTo>
                    <a:pt x="0" y="18"/>
                  </a:lnTo>
                  <a:lnTo>
                    <a:pt x="2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7" name="Freeform 102">
              <a:extLst>
                <a:ext uri="{FF2B5EF4-FFF2-40B4-BE49-F238E27FC236}">
                  <a16:creationId xmlns:a16="http://schemas.microsoft.com/office/drawing/2014/main" id="{69B730DB-F558-4D71-A2D6-B17839455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7702" y="4448700"/>
              <a:ext cx="453540" cy="455868"/>
            </a:xfrm>
            <a:custGeom>
              <a:avLst/>
              <a:gdLst>
                <a:gd name="T0" fmla="*/ 0 w 374"/>
                <a:gd name="T1" fmla="*/ 0 h 422"/>
                <a:gd name="T2" fmla="*/ 2147483647 w 374"/>
                <a:gd name="T3" fmla="*/ 2147483647 h 422"/>
                <a:gd name="T4" fmla="*/ 2147483647 w 374"/>
                <a:gd name="T5" fmla="*/ 2147483647 h 422"/>
                <a:gd name="T6" fmla="*/ 2147483647 w 374"/>
                <a:gd name="T7" fmla="*/ 2147483647 h 422"/>
                <a:gd name="T8" fmla="*/ 2147483647 w 374"/>
                <a:gd name="T9" fmla="*/ 2147483647 h 422"/>
                <a:gd name="T10" fmla="*/ 2147483647 w 374"/>
                <a:gd name="T11" fmla="*/ 2147483647 h 422"/>
                <a:gd name="T12" fmla="*/ 2147483647 w 374"/>
                <a:gd name="T13" fmla="*/ 2147483647 h 422"/>
                <a:gd name="T14" fmla="*/ 2147483647 w 374"/>
                <a:gd name="T15" fmla="*/ 2147483647 h 4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74"/>
                <a:gd name="T25" fmla="*/ 0 h 422"/>
                <a:gd name="T26" fmla="*/ 374 w 374"/>
                <a:gd name="T27" fmla="*/ 422 h 4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74" h="422">
                  <a:moveTo>
                    <a:pt x="0" y="0"/>
                  </a:moveTo>
                  <a:lnTo>
                    <a:pt x="66" y="88"/>
                  </a:lnTo>
                  <a:lnTo>
                    <a:pt x="136" y="118"/>
                  </a:lnTo>
                  <a:lnTo>
                    <a:pt x="205" y="112"/>
                  </a:lnTo>
                  <a:lnTo>
                    <a:pt x="271" y="181"/>
                  </a:lnTo>
                  <a:lnTo>
                    <a:pt x="296" y="250"/>
                  </a:lnTo>
                  <a:lnTo>
                    <a:pt x="296" y="306"/>
                  </a:lnTo>
                  <a:lnTo>
                    <a:pt x="374" y="422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8" name="Freeform 103">
              <a:extLst>
                <a:ext uri="{FF2B5EF4-FFF2-40B4-BE49-F238E27FC236}">
                  <a16:creationId xmlns:a16="http://schemas.microsoft.com/office/drawing/2014/main" id="{586470EC-1270-4F06-B6E6-D96436DFC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9038" y="4332038"/>
              <a:ext cx="223970" cy="10195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6"/>
                </a:cxn>
                <a:cxn ang="0">
                  <a:pos x="7" y="10"/>
                </a:cxn>
                <a:cxn ang="0">
                  <a:pos x="13" y="15"/>
                </a:cxn>
                <a:cxn ang="0">
                  <a:pos x="20" y="18"/>
                </a:cxn>
                <a:cxn ang="0">
                  <a:pos x="34" y="24"/>
                </a:cxn>
                <a:cxn ang="0">
                  <a:pos x="40" y="26"/>
                </a:cxn>
                <a:cxn ang="0">
                  <a:pos x="46" y="28"/>
                </a:cxn>
                <a:cxn ang="0">
                  <a:pos x="50" y="34"/>
                </a:cxn>
                <a:cxn ang="0">
                  <a:pos x="53" y="39"/>
                </a:cxn>
                <a:cxn ang="0">
                  <a:pos x="53" y="41"/>
                </a:cxn>
                <a:cxn ang="0">
                  <a:pos x="53" y="43"/>
                </a:cxn>
                <a:cxn ang="0">
                  <a:pos x="51" y="45"/>
                </a:cxn>
                <a:cxn ang="0">
                  <a:pos x="49" y="47"/>
                </a:cxn>
                <a:cxn ang="0">
                  <a:pos x="47" y="52"/>
                </a:cxn>
                <a:cxn ang="0">
                  <a:pos x="44" y="58"/>
                </a:cxn>
                <a:cxn ang="0">
                  <a:pos x="48" y="59"/>
                </a:cxn>
                <a:cxn ang="0">
                  <a:pos x="50" y="60"/>
                </a:cxn>
                <a:cxn ang="0">
                  <a:pos x="50" y="60"/>
                </a:cxn>
                <a:cxn ang="0">
                  <a:pos x="51" y="60"/>
                </a:cxn>
                <a:cxn ang="0">
                  <a:pos x="51" y="59"/>
                </a:cxn>
                <a:cxn ang="0">
                  <a:pos x="53" y="59"/>
                </a:cxn>
                <a:cxn ang="0">
                  <a:pos x="57" y="58"/>
                </a:cxn>
                <a:cxn ang="0">
                  <a:pos x="64" y="58"/>
                </a:cxn>
                <a:cxn ang="0">
                  <a:pos x="72" y="59"/>
                </a:cxn>
                <a:cxn ang="0">
                  <a:pos x="81" y="61"/>
                </a:cxn>
                <a:cxn ang="0">
                  <a:pos x="99" y="66"/>
                </a:cxn>
                <a:cxn ang="0">
                  <a:pos x="102" y="67"/>
                </a:cxn>
                <a:cxn ang="0">
                  <a:pos x="105" y="68"/>
                </a:cxn>
                <a:cxn ang="0">
                  <a:pos x="111" y="72"/>
                </a:cxn>
                <a:cxn ang="0">
                  <a:pos x="117" y="76"/>
                </a:cxn>
                <a:cxn ang="0">
                  <a:pos x="124" y="78"/>
                </a:cxn>
                <a:cxn ang="0">
                  <a:pos x="132" y="81"/>
                </a:cxn>
                <a:cxn ang="0">
                  <a:pos x="151" y="87"/>
                </a:cxn>
                <a:cxn ang="0">
                  <a:pos x="169" y="92"/>
                </a:cxn>
                <a:cxn ang="0">
                  <a:pos x="177" y="93"/>
                </a:cxn>
                <a:cxn ang="0">
                  <a:pos x="184" y="94"/>
                </a:cxn>
              </a:cxnLst>
              <a:rect l="0" t="0" r="r" b="b"/>
              <a:pathLst>
                <a:path w="184" h="94">
                  <a:moveTo>
                    <a:pt x="0" y="0"/>
                  </a:moveTo>
                  <a:lnTo>
                    <a:pt x="3" y="6"/>
                  </a:lnTo>
                  <a:lnTo>
                    <a:pt x="7" y="10"/>
                  </a:lnTo>
                  <a:lnTo>
                    <a:pt x="13" y="15"/>
                  </a:lnTo>
                  <a:lnTo>
                    <a:pt x="20" y="18"/>
                  </a:lnTo>
                  <a:lnTo>
                    <a:pt x="34" y="24"/>
                  </a:lnTo>
                  <a:lnTo>
                    <a:pt x="40" y="26"/>
                  </a:lnTo>
                  <a:lnTo>
                    <a:pt x="46" y="28"/>
                  </a:lnTo>
                  <a:lnTo>
                    <a:pt x="50" y="34"/>
                  </a:lnTo>
                  <a:lnTo>
                    <a:pt x="53" y="39"/>
                  </a:lnTo>
                  <a:lnTo>
                    <a:pt x="53" y="41"/>
                  </a:lnTo>
                  <a:lnTo>
                    <a:pt x="53" y="43"/>
                  </a:lnTo>
                  <a:lnTo>
                    <a:pt x="51" y="45"/>
                  </a:lnTo>
                  <a:lnTo>
                    <a:pt x="49" y="47"/>
                  </a:lnTo>
                  <a:lnTo>
                    <a:pt x="47" y="52"/>
                  </a:lnTo>
                  <a:lnTo>
                    <a:pt x="44" y="58"/>
                  </a:lnTo>
                  <a:lnTo>
                    <a:pt x="48" y="59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1" y="60"/>
                  </a:lnTo>
                  <a:lnTo>
                    <a:pt x="51" y="59"/>
                  </a:lnTo>
                  <a:lnTo>
                    <a:pt x="53" y="59"/>
                  </a:lnTo>
                  <a:lnTo>
                    <a:pt x="57" y="58"/>
                  </a:lnTo>
                  <a:lnTo>
                    <a:pt x="64" y="58"/>
                  </a:lnTo>
                  <a:lnTo>
                    <a:pt x="72" y="59"/>
                  </a:lnTo>
                  <a:lnTo>
                    <a:pt x="81" y="61"/>
                  </a:lnTo>
                  <a:lnTo>
                    <a:pt x="99" y="66"/>
                  </a:lnTo>
                  <a:lnTo>
                    <a:pt x="102" y="67"/>
                  </a:lnTo>
                  <a:lnTo>
                    <a:pt x="105" y="68"/>
                  </a:lnTo>
                  <a:lnTo>
                    <a:pt x="111" y="72"/>
                  </a:lnTo>
                  <a:lnTo>
                    <a:pt x="117" y="76"/>
                  </a:lnTo>
                  <a:lnTo>
                    <a:pt x="124" y="78"/>
                  </a:lnTo>
                  <a:lnTo>
                    <a:pt x="132" y="81"/>
                  </a:lnTo>
                  <a:lnTo>
                    <a:pt x="151" y="87"/>
                  </a:lnTo>
                  <a:lnTo>
                    <a:pt x="169" y="92"/>
                  </a:lnTo>
                  <a:lnTo>
                    <a:pt x="177" y="93"/>
                  </a:lnTo>
                  <a:lnTo>
                    <a:pt x="184" y="9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9" name="Freeform 104">
              <a:extLst>
                <a:ext uri="{FF2B5EF4-FFF2-40B4-BE49-F238E27FC236}">
                  <a16:creationId xmlns:a16="http://schemas.microsoft.com/office/drawing/2014/main" id="{D445C77B-3F6A-4E58-BA6B-C5F500D77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7899" y="4290864"/>
              <a:ext cx="346034" cy="731348"/>
            </a:xfrm>
            <a:custGeom>
              <a:avLst/>
              <a:gdLst/>
              <a:ahLst/>
              <a:cxnLst>
                <a:cxn ang="0">
                  <a:pos x="274" y="2"/>
                </a:cxn>
                <a:cxn ang="0">
                  <a:pos x="260" y="5"/>
                </a:cxn>
                <a:cxn ang="0">
                  <a:pos x="253" y="22"/>
                </a:cxn>
                <a:cxn ang="0">
                  <a:pos x="247" y="31"/>
                </a:cxn>
                <a:cxn ang="0">
                  <a:pos x="222" y="40"/>
                </a:cxn>
                <a:cxn ang="0">
                  <a:pos x="204" y="43"/>
                </a:cxn>
                <a:cxn ang="0">
                  <a:pos x="191" y="53"/>
                </a:cxn>
                <a:cxn ang="0">
                  <a:pos x="173" y="62"/>
                </a:cxn>
                <a:cxn ang="0">
                  <a:pos x="167" y="64"/>
                </a:cxn>
                <a:cxn ang="0">
                  <a:pos x="151" y="65"/>
                </a:cxn>
                <a:cxn ang="0">
                  <a:pos x="134" y="76"/>
                </a:cxn>
                <a:cxn ang="0">
                  <a:pos x="127" y="80"/>
                </a:cxn>
                <a:cxn ang="0">
                  <a:pos x="121" y="103"/>
                </a:cxn>
                <a:cxn ang="0">
                  <a:pos x="108" y="112"/>
                </a:cxn>
                <a:cxn ang="0">
                  <a:pos x="94" y="117"/>
                </a:cxn>
                <a:cxn ang="0">
                  <a:pos x="77" y="131"/>
                </a:cxn>
                <a:cxn ang="0">
                  <a:pos x="55" y="150"/>
                </a:cxn>
                <a:cxn ang="0">
                  <a:pos x="47" y="166"/>
                </a:cxn>
                <a:cxn ang="0">
                  <a:pos x="36" y="176"/>
                </a:cxn>
                <a:cxn ang="0">
                  <a:pos x="24" y="182"/>
                </a:cxn>
                <a:cxn ang="0">
                  <a:pos x="20" y="186"/>
                </a:cxn>
                <a:cxn ang="0">
                  <a:pos x="10" y="189"/>
                </a:cxn>
                <a:cxn ang="0">
                  <a:pos x="4" y="191"/>
                </a:cxn>
                <a:cxn ang="0">
                  <a:pos x="5" y="204"/>
                </a:cxn>
                <a:cxn ang="0">
                  <a:pos x="12" y="212"/>
                </a:cxn>
                <a:cxn ang="0">
                  <a:pos x="12" y="214"/>
                </a:cxn>
                <a:cxn ang="0">
                  <a:pos x="12" y="222"/>
                </a:cxn>
                <a:cxn ang="0">
                  <a:pos x="14" y="239"/>
                </a:cxn>
                <a:cxn ang="0">
                  <a:pos x="19" y="255"/>
                </a:cxn>
                <a:cxn ang="0">
                  <a:pos x="18" y="261"/>
                </a:cxn>
                <a:cxn ang="0">
                  <a:pos x="16" y="268"/>
                </a:cxn>
                <a:cxn ang="0">
                  <a:pos x="12" y="275"/>
                </a:cxn>
                <a:cxn ang="0">
                  <a:pos x="23" y="289"/>
                </a:cxn>
                <a:cxn ang="0">
                  <a:pos x="29" y="321"/>
                </a:cxn>
                <a:cxn ang="0">
                  <a:pos x="25" y="339"/>
                </a:cxn>
                <a:cxn ang="0">
                  <a:pos x="17" y="353"/>
                </a:cxn>
                <a:cxn ang="0">
                  <a:pos x="5" y="367"/>
                </a:cxn>
                <a:cxn ang="0">
                  <a:pos x="1" y="381"/>
                </a:cxn>
                <a:cxn ang="0">
                  <a:pos x="11" y="410"/>
                </a:cxn>
                <a:cxn ang="0">
                  <a:pos x="9" y="419"/>
                </a:cxn>
                <a:cxn ang="0">
                  <a:pos x="0" y="438"/>
                </a:cxn>
                <a:cxn ang="0">
                  <a:pos x="2" y="452"/>
                </a:cxn>
                <a:cxn ang="0">
                  <a:pos x="6" y="470"/>
                </a:cxn>
                <a:cxn ang="0">
                  <a:pos x="3" y="497"/>
                </a:cxn>
                <a:cxn ang="0">
                  <a:pos x="10" y="512"/>
                </a:cxn>
                <a:cxn ang="0">
                  <a:pos x="26" y="544"/>
                </a:cxn>
                <a:cxn ang="0">
                  <a:pos x="37" y="562"/>
                </a:cxn>
                <a:cxn ang="0">
                  <a:pos x="37" y="580"/>
                </a:cxn>
                <a:cxn ang="0">
                  <a:pos x="44" y="590"/>
                </a:cxn>
                <a:cxn ang="0">
                  <a:pos x="51" y="594"/>
                </a:cxn>
                <a:cxn ang="0">
                  <a:pos x="57" y="606"/>
                </a:cxn>
                <a:cxn ang="0">
                  <a:pos x="68" y="645"/>
                </a:cxn>
                <a:cxn ang="0">
                  <a:pos x="73" y="661"/>
                </a:cxn>
                <a:cxn ang="0">
                  <a:pos x="79" y="677"/>
                </a:cxn>
              </a:cxnLst>
              <a:rect l="0" t="0" r="r" b="b"/>
              <a:pathLst>
                <a:path w="286" h="677">
                  <a:moveTo>
                    <a:pt x="286" y="0"/>
                  </a:moveTo>
                  <a:lnTo>
                    <a:pt x="280" y="2"/>
                  </a:lnTo>
                  <a:lnTo>
                    <a:pt x="274" y="2"/>
                  </a:lnTo>
                  <a:lnTo>
                    <a:pt x="268" y="3"/>
                  </a:lnTo>
                  <a:lnTo>
                    <a:pt x="262" y="4"/>
                  </a:lnTo>
                  <a:lnTo>
                    <a:pt x="260" y="5"/>
                  </a:lnTo>
                  <a:lnTo>
                    <a:pt x="258" y="8"/>
                  </a:lnTo>
                  <a:lnTo>
                    <a:pt x="255" y="15"/>
                  </a:lnTo>
                  <a:lnTo>
                    <a:pt x="253" y="22"/>
                  </a:lnTo>
                  <a:lnTo>
                    <a:pt x="251" y="26"/>
                  </a:lnTo>
                  <a:lnTo>
                    <a:pt x="250" y="28"/>
                  </a:lnTo>
                  <a:lnTo>
                    <a:pt x="247" y="31"/>
                  </a:lnTo>
                  <a:lnTo>
                    <a:pt x="243" y="33"/>
                  </a:lnTo>
                  <a:lnTo>
                    <a:pt x="233" y="37"/>
                  </a:lnTo>
                  <a:lnTo>
                    <a:pt x="222" y="40"/>
                  </a:lnTo>
                  <a:lnTo>
                    <a:pt x="213" y="44"/>
                  </a:lnTo>
                  <a:lnTo>
                    <a:pt x="208" y="43"/>
                  </a:lnTo>
                  <a:lnTo>
                    <a:pt x="204" y="43"/>
                  </a:lnTo>
                  <a:lnTo>
                    <a:pt x="200" y="45"/>
                  </a:lnTo>
                  <a:lnTo>
                    <a:pt x="195" y="48"/>
                  </a:lnTo>
                  <a:lnTo>
                    <a:pt x="191" y="53"/>
                  </a:lnTo>
                  <a:lnTo>
                    <a:pt x="186" y="57"/>
                  </a:lnTo>
                  <a:lnTo>
                    <a:pt x="180" y="59"/>
                  </a:lnTo>
                  <a:lnTo>
                    <a:pt x="173" y="62"/>
                  </a:lnTo>
                  <a:lnTo>
                    <a:pt x="169" y="63"/>
                  </a:lnTo>
                  <a:lnTo>
                    <a:pt x="168" y="64"/>
                  </a:lnTo>
                  <a:lnTo>
                    <a:pt x="167" y="64"/>
                  </a:lnTo>
                  <a:lnTo>
                    <a:pt x="161" y="63"/>
                  </a:lnTo>
                  <a:lnTo>
                    <a:pt x="156" y="63"/>
                  </a:lnTo>
                  <a:lnTo>
                    <a:pt x="151" y="65"/>
                  </a:lnTo>
                  <a:lnTo>
                    <a:pt x="145" y="68"/>
                  </a:lnTo>
                  <a:lnTo>
                    <a:pt x="140" y="72"/>
                  </a:lnTo>
                  <a:lnTo>
                    <a:pt x="134" y="76"/>
                  </a:lnTo>
                  <a:lnTo>
                    <a:pt x="129" y="79"/>
                  </a:lnTo>
                  <a:lnTo>
                    <a:pt x="128" y="80"/>
                  </a:lnTo>
                  <a:lnTo>
                    <a:pt x="127" y="80"/>
                  </a:lnTo>
                  <a:lnTo>
                    <a:pt x="126" y="87"/>
                  </a:lnTo>
                  <a:lnTo>
                    <a:pt x="124" y="95"/>
                  </a:lnTo>
                  <a:lnTo>
                    <a:pt x="121" y="103"/>
                  </a:lnTo>
                  <a:lnTo>
                    <a:pt x="119" y="106"/>
                  </a:lnTo>
                  <a:lnTo>
                    <a:pt x="117" y="108"/>
                  </a:lnTo>
                  <a:lnTo>
                    <a:pt x="108" y="112"/>
                  </a:lnTo>
                  <a:lnTo>
                    <a:pt x="99" y="115"/>
                  </a:lnTo>
                  <a:lnTo>
                    <a:pt x="95" y="116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86" y="124"/>
                  </a:lnTo>
                  <a:lnTo>
                    <a:pt x="77" y="131"/>
                  </a:lnTo>
                  <a:lnTo>
                    <a:pt x="68" y="137"/>
                  </a:lnTo>
                  <a:lnTo>
                    <a:pt x="58" y="143"/>
                  </a:lnTo>
                  <a:lnTo>
                    <a:pt x="55" y="150"/>
                  </a:lnTo>
                  <a:lnTo>
                    <a:pt x="53" y="157"/>
                  </a:lnTo>
                  <a:lnTo>
                    <a:pt x="50" y="163"/>
                  </a:lnTo>
                  <a:lnTo>
                    <a:pt x="47" y="166"/>
                  </a:lnTo>
                  <a:lnTo>
                    <a:pt x="44" y="169"/>
                  </a:lnTo>
                  <a:lnTo>
                    <a:pt x="40" y="174"/>
                  </a:lnTo>
                  <a:lnTo>
                    <a:pt x="36" y="176"/>
                  </a:lnTo>
                  <a:lnTo>
                    <a:pt x="32" y="177"/>
                  </a:lnTo>
                  <a:lnTo>
                    <a:pt x="26" y="179"/>
                  </a:lnTo>
                  <a:lnTo>
                    <a:pt x="24" y="182"/>
                  </a:lnTo>
                  <a:lnTo>
                    <a:pt x="23" y="184"/>
                  </a:lnTo>
                  <a:lnTo>
                    <a:pt x="21" y="186"/>
                  </a:lnTo>
                  <a:lnTo>
                    <a:pt x="20" y="186"/>
                  </a:lnTo>
                  <a:lnTo>
                    <a:pt x="18" y="187"/>
                  </a:lnTo>
                  <a:lnTo>
                    <a:pt x="14" y="188"/>
                  </a:lnTo>
                  <a:lnTo>
                    <a:pt x="10" y="189"/>
                  </a:lnTo>
                  <a:lnTo>
                    <a:pt x="6" y="190"/>
                  </a:lnTo>
                  <a:lnTo>
                    <a:pt x="5" y="191"/>
                  </a:lnTo>
                  <a:lnTo>
                    <a:pt x="4" y="191"/>
                  </a:lnTo>
                  <a:lnTo>
                    <a:pt x="3" y="197"/>
                  </a:lnTo>
                  <a:lnTo>
                    <a:pt x="3" y="201"/>
                  </a:lnTo>
                  <a:lnTo>
                    <a:pt x="5" y="204"/>
                  </a:lnTo>
                  <a:lnTo>
                    <a:pt x="10" y="207"/>
                  </a:lnTo>
                  <a:lnTo>
                    <a:pt x="11" y="210"/>
                  </a:lnTo>
                  <a:lnTo>
                    <a:pt x="12" y="212"/>
                  </a:lnTo>
                  <a:lnTo>
                    <a:pt x="12" y="213"/>
                  </a:lnTo>
                  <a:lnTo>
                    <a:pt x="12" y="214"/>
                  </a:lnTo>
                  <a:lnTo>
                    <a:pt x="12" y="214"/>
                  </a:lnTo>
                  <a:lnTo>
                    <a:pt x="12" y="215"/>
                  </a:lnTo>
                  <a:lnTo>
                    <a:pt x="12" y="219"/>
                  </a:lnTo>
                  <a:lnTo>
                    <a:pt x="12" y="222"/>
                  </a:lnTo>
                  <a:lnTo>
                    <a:pt x="12" y="227"/>
                  </a:lnTo>
                  <a:lnTo>
                    <a:pt x="13" y="232"/>
                  </a:lnTo>
                  <a:lnTo>
                    <a:pt x="14" y="239"/>
                  </a:lnTo>
                  <a:lnTo>
                    <a:pt x="15" y="244"/>
                  </a:lnTo>
                  <a:lnTo>
                    <a:pt x="17" y="250"/>
                  </a:lnTo>
                  <a:lnTo>
                    <a:pt x="19" y="255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18" y="261"/>
                  </a:lnTo>
                  <a:lnTo>
                    <a:pt x="18" y="264"/>
                  </a:lnTo>
                  <a:lnTo>
                    <a:pt x="17" y="266"/>
                  </a:lnTo>
                  <a:lnTo>
                    <a:pt x="16" y="268"/>
                  </a:lnTo>
                  <a:lnTo>
                    <a:pt x="15" y="270"/>
                  </a:lnTo>
                  <a:lnTo>
                    <a:pt x="14" y="272"/>
                  </a:lnTo>
                  <a:lnTo>
                    <a:pt x="12" y="275"/>
                  </a:lnTo>
                  <a:lnTo>
                    <a:pt x="15" y="281"/>
                  </a:lnTo>
                  <a:lnTo>
                    <a:pt x="19" y="285"/>
                  </a:lnTo>
                  <a:lnTo>
                    <a:pt x="23" y="289"/>
                  </a:lnTo>
                  <a:lnTo>
                    <a:pt x="26" y="295"/>
                  </a:lnTo>
                  <a:lnTo>
                    <a:pt x="28" y="307"/>
                  </a:lnTo>
                  <a:lnTo>
                    <a:pt x="29" y="321"/>
                  </a:lnTo>
                  <a:lnTo>
                    <a:pt x="29" y="328"/>
                  </a:lnTo>
                  <a:lnTo>
                    <a:pt x="27" y="334"/>
                  </a:lnTo>
                  <a:lnTo>
                    <a:pt x="25" y="339"/>
                  </a:lnTo>
                  <a:lnTo>
                    <a:pt x="20" y="344"/>
                  </a:lnTo>
                  <a:lnTo>
                    <a:pt x="18" y="349"/>
                  </a:lnTo>
                  <a:lnTo>
                    <a:pt x="17" y="353"/>
                  </a:lnTo>
                  <a:lnTo>
                    <a:pt x="13" y="359"/>
                  </a:lnTo>
                  <a:lnTo>
                    <a:pt x="8" y="364"/>
                  </a:lnTo>
                  <a:lnTo>
                    <a:pt x="5" y="367"/>
                  </a:lnTo>
                  <a:lnTo>
                    <a:pt x="0" y="370"/>
                  </a:lnTo>
                  <a:lnTo>
                    <a:pt x="0" y="375"/>
                  </a:lnTo>
                  <a:lnTo>
                    <a:pt x="1" y="381"/>
                  </a:lnTo>
                  <a:lnTo>
                    <a:pt x="5" y="393"/>
                  </a:lnTo>
                  <a:lnTo>
                    <a:pt x="9" y="405"/>
                  </a:lnTo>
                  <a:lnTo>
                    <a:pt x="11" y="410"/>
                  </a:lnTo>
                  <a:lnTo>
                    <a:pt x="12" y="414"/>
                  </a:lnTo>
                  <a:lnTo>
                    <a:pt x="11" y="416"/>
                  </a:lnTo>
                  <a:lnTo>
                    <a:pt x="9" y="419"/>
                  </a:lnTo>
                  <a:lnTo>
                    <a:pt x="5" y="427"/>
                  </a:lnTo>
                  <a:lnTo>
                    <a:pt x="2" y="435"/>
                  </a:lnTo>
                  <a:lnTo>
                    <a:pt x="0" y="438"/>
                  </a:lnTo>
                  <a:lnTo>
                    <a:pt x="0" y="440"/>
                  </a:lnTo>
                  <a:lnTo>
                    <a:pt x="1" y="446"/>
                  </a:lnTo>
                  <a:lnTo>
                    <a:pt x="2" y="452"/>
                  </a:lnTo>
                  <a:lnTo>
                    <a:pt x="4" y="458"/>
                  </a:lnTo>
                  <a:lnTo>
                    <a:pt x="6" y="464"/>
                  </a:lnTo>
                  <a:lnTo>
                    <a:pt x="6" y="470"/>
                  </a:lnTo>
                  <a:lnTo>
                    <a:pt x="6" y="476"/>
                  </a:lnTo>
                  <a:lnTo>
                    <a:pt x="4" y="490"/>
                  </a:lnTo>
                  <a:lnTo>
                    <a:pt x="3" y="497"/>
                  </a:lnTo>
                  <a:lnTo>
                    <a:pt x="4" y="503"/>
                  </a:lnTo>
                  <a:lnTo>
                    <a:pt x="6" y="508"/>
                  </a:lnTo>
                  <a:lnTo>
                    <a:pt x="10" y="512"/>
                  </a:lnTo>
                  <a:lnTo>
                    <a:pt x="14" y="523"/>
                  </a:lnTo>
                  <a:lnTo>
                    <a:pt x="19" y="534"/>
                  </a:lnTo>
                  <a:lnTo>
                    <a:pt x="26" y="544"/>
                  </a:lnTo>
                  <a:lnTo>
                    <a:pt x="34" y="552"/>
                  </a:lnTo>
                  <a:lnTo>
                    <a:pt x="36" y="557"/>
                  </a:lnTo>
                  <a:lnTo>
                    <a:pt x="37" y="562"/>
                  </a:lnTo>
                  <a:lnTo>
                    <a:pt x="37" y="572"/>
                  </a:lnTo>
                  <a:lnTo>
                    <a:pt x="37" y="576"/>
                  </a:lnTo>
                  <a:lnTo>
                    <a:pt x="37" y="580"/>
                  </a:lnTo>
                  <a:lnTo>
                    <a:pt x="39" y="584"/>
                  </a:lnTo>
                  <a:lnTo>
                    <a:pt x="42" y="587"/>
                  </a:lnTo>
                  <a:lnTo>
                    <a:pt x="44" y="590"/>
                  </a:lnTo>
                  <a:lnTo>
                    <a:pt x="46" y="593"/>
                  </a:lnTo>
                  <a:lnTo>
                    <a:pt x="49" y="594"/>
                  </a:lnTo>
                  <a:lnTo>
                    <a:pt x="51" y="594"/>
                  </a:lnTo>
                  <a:lnTo>
                    <a:pt x="52" y="595"/>
                  </a:lnTo>
                  <a:lnTo>
                    <a:pt x="55" y="600"/>
                  </a:lnTo>
                  <a:lnTo>
                    <a:pt x="57" y="606"/>
                  </a:lnTo>
                  <a:lnTo>
                    <a:pt x="61" y="619"/>
                  </a:lnTo>
                  <a:lnTo>
                    <a:pt x="65" y="633"/>
                  </a:lnTo>
                  <a:lnTo>
                    <a:pt x="68" y="645"/>
                  </a:lnTo>
                  <a:lnTo>
                    <a:pt x="69" y="648"/>
                  </a:lnTo>
                  <a:lnTo>
                    <a:pt x="70" y="652"/>
                  </a:lnTo>
                  <a:lnTo>
                    <a:pt x="73" y="661"/>
                  </a:lnTo>
                  <a:lnTo>
                    <a:pt x="76" y="670"/>
                  </a:lnTo>
                  <a:lnTo>
                    <a:pt x="77" y="674"/>
                  </a:lnTo>
                  <a:lnTo>
                    <a:pt x="79" y="677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0" name="Freeform 105">
              <a:extLst>
                <a:ext uri="{FF2B5EF4-FFF2-40B4-BE49-F238E27FC236}">
                  <a16:creationId xmlns:a16="http://schemas.microsoft.com/office/drawing/2014/main" id="{2027F7FE-ACF7-4B74-8EA4-AB5D42E00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46" y="5022211"/>
              <a:ext cx="146700" cy="13724"/>
            </a:xfrm>
            <a:custGeom>
              <a:avLst/>
              <a:gdLst/>
              <a:ahLst/>
              <a:cxnLst>
                <a:cxn ang="0">
                  <a:pos x="121" y="0"/>
                </a:cxn>
                <a:cxn ang="0">
                  <a:pos x="108" y="4"/>
                </a:cxn>
                <a:cxn ang="0">
                  <a:pos x="95" y="6"/>
                </a:cxn>
                <a:cxn ang="0">
                  <a:pos x="69" y="8"/>
                </a:cxn>
                <a:cxn ang="0">
                  <a:pos x="60" y="10"/>
                </a:cxn>
                <a:cxn ang="0">
                  <a:pos x="53" y="11"/>
                </a:cxn>
                <a:cxn ang="0">
                  <a:pos x="45" y="11"/>
                </a:cxn>
                <a:cxn ang="0">
                  <a:pos x="36" y="10"/>
                </a:cxn>
                <a:cxn ang="0">
                  <a:pos x="30" y="8"/>
                </a:cxn>
                <a:cxn ang="0">
                  <a:pos x="25" y="6"/>
                </a:cxn>
                <a:cxn ang="0">
                  <a:pos x="22" y="5"/>
                </a:cxn>
                <a:cxn ang="0">
                  <a:pos x="19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7" y="4"/>
                </a:cxn>
                <a:cxn ang="0">
                  <a:pos x="0" y="4"/>
                </a:cxn>
              </a:cxnLst>
              <a:rect l="0" t="0" r="r" b="b"/>
              <a:pathLst>
                <a:path w="121" h="11">
                  <a:moveTo>
                    <a:pt x="121" y="0"/>
                  </a:moveTo>
                  <a:lnTo>
                    <a:pt x="108" y="4"/>
                  </a:lnTo>
                  <a:lnTo>
                    <a:pt x="95" y="6"/>
                  </a:lnTo>
                  <a:lnTo>
                    <a:pt x="69" y="8"/>
                  </a:lnTo>
                  <a:lnTo>
                    <a:pt x="60" y="10"/>
                  </a:lnTo>
                  <a:lnTo>
                    <a:pt x="53" y="11"/>
                  </a:lnTo>
                  <a:lnTo>
                    <a:pt x="45" y="11"/>
                  </a:lnTo>
                  <a:lnTo>
                    <a:pt x="36" y="10"/>
                  </a:lnTo>
                  <a:lnTo>
                    <a:pt x="30" y="8"/>
                  </a:lnTo>
                  <a:lnTo>
                    <a:pt x="25" y="6"/>
                  </a:lnTo>
                  <a:lnTo>
                    <a:pt x="22" y="5"/>
                  </a:lnTo>
                  <a:lnTo>
                    <a:pt x="19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7" y="4"/>
                  </a:lnTo>
                  <a:lnTo>
                    <a:pt x="0" y="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1" name="Freeform 106">
              <a:extLst>
                <a:ext uri="{FF2B5EF4-FFF2-40B4-BE49-F238E27FC236}">
                  <a16:creationId xmlns:a16="http://schemas.microsoft.com/office/drawing/2014/main" id="{DC728DCA-6381-4463-A0C3-407EB0C7E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7856" y="5842773"/>
              <a:ext cx="695426" cy="241169"/>
            </a:xfrm>
            <a:custGeom>
              <a:avLst/>
              <a:gdLst>
                <a:gd name="T0" fmla="*/ 2147483647 w 576"/>
                <a:gd name="T1" fmla="*/ 0 h 224"/>
                <a:gd name="T2" fmla="*/ 2147483647 w 576"/>
                <a:gd name="T3" fmla="*/ 2147483647 h 224"/>
                <a:gd name="T4" fmla="*/ 2147483647 w 576"/>
                <a:gd name="T5" fmla="*/ 2147483647 h 224"/>
                <a:gd name="T6" fmla="*/ 2147483647 w 576"/>
                <a:gd name="T7" fmla="*/ 2147483647 h 224"/>
                <a:gd name="T8" fmla="*/ 2147483647 w 576"/>
                <a:gd name="T9" fmla="*/ 2147483647 h 224"/>
                <a:gd name="T10" fmla="*/ 2147483647 w 576"/>
                <a:gd name="T11" fmla="*/ 2147483647 h 224"/>
                <a:gd name="T12" fmla="*/ 2147483647 w 576"/>
                <a:gd name="T13" fmla="*/ 2147483647 h 224"/>
                <a:gd name="T14" fmla="*/ 2147483647 w 576"/>
                <a:gd name="T15" fmla="*/ 2147483647 h 224"/>
                <a:gd name="T16" fmla="*/ 2147483647 w 576"/>
                <a:gd name="T17" fmla="*/ 2147483647 h 224"/>
                <a:gd name="T18" fmla="*/ 2147483647 w 576"/>
                <a:gd name="T19" fmla="*/ 2147483647 h 224"/>
                <a:gd name="T20" fmla="*/ 2147483647 w 576"/>
                <a:gd name="T21" fmla="*/ 2147483647 h 224"/>
                <a:gd name="T22" fmla="*/ 2147483647 w 576"/>
                <a:gd name="T23" fmla="*/ 2147483647 h 224"/>
                <a:gd name="T24" fmla="*/ 2147483647 w 576"/>
                <a:gd name="T25" fmla="*/ 2147483647 h 224"/>
                <a:gd name="T26" fmla="*/ 2147483647 w 576"/>
                <a:gd name="T27" fmla="*/ 2147483647 h 224"/>
                <a:gd name="T28" fmla="*/ 2147483647 w 576"/>
                <a:gd name="T29" fmla="*/ 2147483647 h 224"/>
                <a:gd name="T30" fmla="*/ 2147483647 w 576"/>
                <a:gd name="T31" fmla="*/ 2147483647 h 224"/>
                <a:gd name="T32" fmla="*/ 2147483647 w 576"/>
                <a:gd name="T33" fmla="*/ 2147483647 h 224"/>
                <a:gd name="T34" fmla="*/ 2147483647 w 576"/>
                <a:gd name="T35" fmla="*/ 2147483647 h 224"/>
                <a:gd name="T36" fmla="*/ 2147483647 w 576"/>
                <a:gd name="T37" fmla="*/ 2147483647 h 224"/>
                <a:gd name="T38" fmla="*/ 2147483647 w 576"/>
                <a:gd name="T39" fmla="*/ 2147483647 h 224"/>
                <a:gd name="T40" fmla="*/ 2147483647 w 576"/>
                <a:gd name="T41" fmla="*/ 2147483647 h 224"/>
                <a:gd name="T42" fmla="*/ 2147483647 w 576"/>
                <a:gd name="T43" fmla="*/ 2147483647 h 224"/>
                <a:gd name="T44" fmla="*/ 2147483647 w 576"/>
                <a:gd name="T45" fmla="*/ 2147483647 h 224"/>
                <a:gd name="T46" fmla="*/ 2147483647 w 576"/>
                <a:gd name="T47" fmla="*/ 2147483647 h 224"/>
                <a:gd name="T48" fmla="*/ 2147483647 w 576"/>
                <a:gd name="T49" fmla="*/ 2147483647 h 224"/>
                <a:gd name="T50" fmla="*/ 2147483647 w 576"/>
                <a:gd name="T51" fmla="*/ 2147483647 h 224"/>
                <a:gd name="T52" fmla="*/ 2147483647 w 576"/>
                <a:gd name="T53" fmla="*/ 2147483647 h 224"/>
                <a:gd name="T54" fmla="*/ 2147483647 w 576"/>
                <a:gd name="T55" fmla="*/ 2147483647 h 224"/>
                <a:gd name="T56" fmla="*/ 2147483647 w 576"/>
                <a:gd name="T57" fmla="*/ 2147483647 h 224"/>
                <a:gd name="T58" fmla="*/ 2147483647 w 576"/>
                <a:gd name="T59" fmla="*/ 2147483647 h 224"/>
                <a:gd name="T60" fmla="*/ 2147483647 w 576"/>
                <a:gd name="T61" fmla="*/ 2147483647 h 224"/>
                <a:gd name="T62" fmla="*/ 2147483647 w 576"/>
                <a:gd name="T63" fmla="*/ 2147483647 h 224"/>
                <a:gd name="T64" fmla="*/ 2147483647 w 576"/>
                <a:gd name="T65" fmla="*/ 2147483647 h 224"/>
                <a:gd name="T66" fmla="*/ 2147483647 w 576"/>
                <a:gd name="T67" fmla="*/ 2147483647 h 224"/>
                <a:gd name="T68" fmla="*/ 2147483647 w 576"/>
                <a:gd name="T69" fmla="*/ 2147483647 h 224"/>
                <a:gd name="T70" fmla="*/ 2147483647 w 576"/>
                <a:gd name="T71" fmla="*/ 2147483647 h 224"/>
                <a:gd name="T72" fmla="*/ 2147483647 w 576"/>
                <a:gd name="T73" fmla="*/ 2147483647 h 224"/>
                <a:gd name="T74" fmla="*/ 2147483647 w 576"/>
                <a:gd name="T75" fmla="*/ 2147483647 h 224"/>
                <a:gd name="T76" fmla="*/ 2147483647 w 576"/>
                <a:gd name="T77" fmla="*/ 2147483647 h 224"/>
                <a:gd name="T78" fmla="*/ 2147483647 w 576"/>
                <a:gd name="T79" fmla="*/ 2147483647 h 224"/>
                <a:gd name="T80" fmla="*/ 2147483647 w 576"/>
                <a:gd name="T81" fmla="*/ 2147483647 h 224"/>
                <a:gd name="T82" fmla="*/ 2147483647 w 576"/>
                <a:gd name="T83" fmla="*/ 2147483647 h 224"/>
                <a:gd name="T84" fmla="*/ 2147483647 w 576"/>
                <a:gd name="T85" fmla="*/ 2147483647 h 224"/>
                <a:gd name="T86" fmla="*/ 2147483647 w 576"/>
                <a:gd name="T87" fmla="*/ 2147483647 h 224"/>
                <a:gd name="T88" fmla="*/ 2147483647 w 576"/>
                <a:gd name="T89" fmla="*/ 2147483647 h 224"/>
                <a:gd name="T90" fmla="*/ 2147483647 w 576"/>
                <a:gd name="T91" fmla="*/ 2147483647 h 224"/>
                <a:gd name="T92" fmla="*/ 2147483647 w 576"/>
                <a:gd name="T93" fmla="*/ 2147483647 h 224"/>
                <a:gd name="T94" fmla="*/ 2147483647 w 576"/>
                <a:gd name="T95" fmla="*/ 2147483647 h 224"/>
                <a:gd name="T96" fmla="*/ 2147483647 w 576"/>
                <a:gd name="T97" fmla="*/ 2147483647 h 224"/>
                <a:gd name="T98" fmla="*/ 2147483647 w 576"/>
                <a:gd name="T99" fmla="*/ 2147483647 h 224"/>
                <a:gd name="T100" fmla="*/ 2147483647 w 576"/>
                <a:gd name="T101" fmla="*/ 2147483647 h 22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76"/>
                <a:gd name="T154" fmla="*/ 0 h 224"/>
                <a:gd name="T155" fmla="*/ 576 w 576"/>
                <a:gd name="T156" fmla="*/ 224 h 22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76" h="224">
                  <a:moveTo>
                    <a:pt x="0" y="1"/>
                  </a:moveTo>
                  <a:lnTo>
                    <a:pt x="9" y="1"/>
                  </a:lnTo>
                  <a:lnTo>
                    <a:pt x="19" y="0"/>
                  </a:lnTo>
                  <a:lnTo>
                    <a:pt x="28" y="1"/>
                  </a:lnTo>
                  <a:lnTo>
                    <a:pt x="32" y="2"/>
                  </a:lnTo>
                  <a:lnTo>
                    <a:pt x="36" y="5"/>
                  </a:lnTo>
                  <a:lnTo>
                    <a:pt x="39" y="8"/>
                  </a:lnTo>
                  <a:lnTo>
                    <a:pt x="41" y="12"/>
                  </a:lnTo>
                  <a:lnTo>
                    <a:pt x="43" y="16"/>
                  </a:lnTo>
                  <a:lnTo>
                    <a:pt x="44" y="17"/>
                  </a:lnTo>
                  <a:lnTo>
                    <a:pt x="52" y="16"/>
                  </a:lnTo>
                  <a:lnTo>
                    <a:pt x="59" y="15"/>
                  </a:lnTo>
                  <a:lnTo>
                    <a:pt x="66" y="14"/>
                  </a:lnTo>
                  <a:lnTo>
                    <a:pt x="75" y="15"/>
                  </a:lnTo>
                  <a:lnTo>
                    <a:pt x="78" y="17"/>
                  </a:lnTo>
                  <a:lnTo>
                    <a:pt x="81" y="19"/>
                  </a:lnTo>
                  <a:lnTo>
                    <a:pt x="83" y="22"/>
                  </a:lnTo>
                  <a:lnTo>
                    <a:pt x="85" y="25"/>
                  </a:lnTo>
                  <a:lnTo>
                    <a:pt x="89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7" y="33"/>
                  </a:lnTo>
                  <a:lnTo>
                    <a:pt x="105" y="44"/>
                  </a:lnTo>
                  <a:lnTo>
                    <a:pt x="113" y="55"/>
                  </a:lnTo>
                  <a:lnTo>
                    <a:pt x="112" y="64"/>
                  </a:lnTo>
                  <a:lnTo>
                    <a:pt x="111" y="72"/>
                  </a:lnTo>
                  <a:lnTo>
                    <a:pt x="109" y="78"/>
                  </a:lnTo>
                  <a:lnTo>
                    <a:pt x="107" y="80"/>
                  </a:lnTo>
                  <a:lnTo>
                    <a:pt x="103" y="83"/>
                  </a:lnTo>
                  <a:lnTo>
                    <a:pt x="103" y="86"/>
                  </a:lnTo>
                  <a:lnTo>
                    <a:pt x="104" y="87"/>
                  </a:lnTo>
                  <a:lnTo>
                    <a:pt x="107" y="87"/>
                  </a:lnTo>
                  <a:lnTo>
                    <a:pt x="111" y="87"/>
                  </a:lnTo>
                  <a:lnTo>
                    <a:pt x="119" y="86"/>
                  </a:lnTo>
                  <a:lnTo>
                    <a:pt x="123" y="88"/>
                  </a:lnTo>
                  <a:lnTo>
                    <a:pt x="127" y="90"/>
                  </a:lnTo>
                  <a:lnTo>
                    <a:pt x="129" y="90"/>
                  </a:lnTo>
                  <a:lnTo>
                    <a:pt x="133" y="90"/>
                  </a:lnTo>
                  <a:lnTo>
                    <a:pt x="139" y="88"/>
                  </a:lnTo>
                  <a:lnTo>
                    <a:pt x="145" y="86"/>
                  </a:lnTo>
                  <a:lnTo>
                    <a:pt x="150" y="83"/>
                  </a:lnTo>
                  <a:lnTo>
                    <a:pt x="155" y="81"/>
                  </a:lnTo>
                  <a:lnTo>
                    <a:pt x="159" y="80"/>
                  </a:lnTo>
                  <a:lnTo>
                    <a:pt x="160" y="79"/>
                  </a:lnTo>
                  <a:lnTo>
                    <a:pt x="169" y="79"/>
                  </a:lnTo>
                  <a:lnTo>
                    <a:pt x="178" y="81"/>
                  </a:lnTo>
                  <a:lnTo>
                    <a:pt x="187" y="83"/>
                  </a:lnTo>
                  <a:lnTo>
                    <a:pt x="196" y="84"/>
                  </a:lnTo>
                  <a:lnTo>
                    <a:pt x="200" y="84"/>
                  </a:lnTo>
                  <a:lnTo>
                    <a:pt x="205" y="85"/>
                  </a:lnTo>
                  <a:lnTo>
                    <a:pt x="209" y="87"/>
                  </a:lnTo>
                  <a:lnTo>
                    <a:pt x="213" y="90"/>
                  </a:lnTo>
                  <a:lnTo>
                    <a:pt x="218" y="92"/>
                  </a:lnTo>
                  <a:lnTo>
                    <a:pt x="222" y="94"/>
                  </a:lnTo>
                  <a:lnTo>
                    <a:pt x="226" y="94"/>
                  </a:lnTo>
                  <a:lnTo>
                    <a:pt x="230" y="93"/>
                  </a:lnTo>
                  <a:lnTo>
                    <a:pt x="235" y="94"/>
                  </a:lnTo>
                  <a:lnTo>
                    <a:pt x="239" y="96"/>
                  </a:lnTo>
                  <a:lnTo>
                    <a:pt x="246" y="99"/>
                  </a:lnTo>
                  <a:lnTo>
                    <a:pt x="253" y="102"/>
                  </a:lnTo>
                  <a:lnTo>
                    <a:pt x="261" y="106"/>
                  </a:lnTo>
                  <a:lnTo>
                    <a:pt x="265" y="110"/>
                  </a:lnTo>
                  <a:lnTo>
                    <a:pt x="268" y="114"/>
                  </a:lnTo>
                  <a:lnTo>
                    <a:pt x="271" y="118"/>
                  </a:lnTo>
                  <a:lnTo>
                    <a:pt x="275" y="121"/>
                  </a:lnTo>
                  <a:lnTo>
                    <a:pt x="281" y="125"/>
                  </a:lnTo>
                  <a:lnTo>
                    <a:pt x="285" y="128"/>
                  </a:lnTo>
                  <a:lnTo>
                    <a:pt x="291" y="135"/>
                  </a:lnTo>
                  <a:lnTo>
                    <a:pt x="294" y="138"/>
                  </a:lnTo>
                  <a:lnTo>
                    <a:pt x="297" y="140"/>
                  </a:lnTo>
                  <a:lnTo>
                    <a:pt x="302" y="143"/>
                  </a:lnTo>
                  <a:lnTo>
                    <a:pt x="308" y="146"/>
                  </a:lnTo>
                  <a:lnTo>
                    <a:pt x="310" y="147"/>
                  </a:lnTo>
                  <a:lnTo>
                    <a:pt x="310" y="150"/>
                  </a:lnTo>
                  <a:lnTo>
                    <a:pt x="310" y="154"/>
                  </a:lnTo>
                  <a:lnTo>
                    <a:pt x="310" y="159"/>
                  </a:lnTo>
                  <a:lnTo>
                    <a:pt x="310" y="161"/>
                  </a:lnTo>
                  <a:lnTo>
                    <a:pt x="312" y="162"/>
                  </a:lnTo>
                  <a:lnTo>
                    <a:pt x="316" y="163"/>
                  </a:lnTo>
                  <a:lnTo>
                    <a:pt x="320" y="164"/>
                  </a:lnTo>
                  <a:lnTo>
                    <a:pt x="323" y="166"/>
                  </a:lnTo>
                  <a:lnTo>
                    <a:pt x="324" y="166"/>
                  </a:lnTo>
                  <a:lnTo>
                    <a:pt x="327" y="169"/>
                  </a:lnTo>
                  <a:lnTo>
                    <a:pt x="330" y="171"/>
                  </a:lnTo>
                  <a:lnTo>
                    <a:pt x="337" y="173"/>
                  </a:lnTo>
                  <a:lnTo>
                    <a:pt x="344" y="175"/>
                  </a:lnTo>
                  <a:lnTo>
                    <a:pt x="347" y="177"/>
                  </a:lnTo>
                  <a:lnTo>
                    <a:pt x="350" y="180"/>
                  </a:lnTo>
                  <a:lnTo>
                    <a:pt x="345" y="184"/>
                  </a:lnTo>
                  <a:lnTo>
                    <a:pt x="341" y="190"/>
                  </a:lnTo>
                  <a:lnTo>
                    <a:pt x="337" y="194"/>
                  </a:lnTo>
                  <a:lnTo>
                    <a:pt x="336" y="196"/>
                  </a:lnTo>
                  <a:lnTo>
                    <a:pt x="338" y="201"/>
                  </a:lnTo>
                  <a:lnTo>
                    <a:pt x="341" y="204"/>
                  </a:lnTo>
                  <a:lnTo>
                    <a:pt x="345" y="206"/>
                  </a:lnTo>
                  <a:lnTo>
                    <a:pt x="350" y="208"/>
                  </a:lnTo>
                  <a:lnTo>
                    <a:pt x="356" y="205"/>
                  </a:lnTo>
                  <a:lnTo>
                    <a:pt x="362" y="201"/>
                  </a:lnTo>
                  <a:lnTo>
                    <a:pt x="367" y="197"/>
                  </a:lnTo>
                  <a:lnTo>
                    <a:pt x="373" y="194"/>
                  </a:lnTo>
                  <a:lnTo>
                    <a:pt x="379" y="192"/>
                  </a:lnTo>
                  <a:lnTo>
                    <a:pt x="386" y="190"/>
                  </a:lnTo>
                  <a:lnTo>
                    <a:pt x="399" y="188"/>
                  </a:lnTo>
                  <a:lnTo>
                    <a:pt x="403" y="183"/>
                  </a:lnTo>
                  <a:lnTo>
                    <a:pt x="407" y="181"/>
                  </a:lnTo>
                  <a:lnTo>
                    <a:pt x="411" y="181"/>
                  </a:lnTo>
                  <a:lnTo>
                    <a:pt x="417" y="182"/>
                  </a:lnTo>
                  <a:lnTo>
                    <a:pt x="419" y="186"/>
                  </a:lnTo>
                  <a:lnTo>
                    <a:pt x="420" y="189"/>
                  </a:lnTo>
                  <a:lnTo>
                    <a:pt x="423" y="192"/>
                  </a:lnTo>
                  <a:lnTo>
                    <a:pt x="424" y="193"/>
                  </a:lnTo>
                  <a:lnTo>
                    <a:pt x="424" y="195"/>
                  </a:lnTo>
                  <a:lnTo>
                    <a:pt x="424" y="199"/>
                  </a:lnTo>
                  <a:lnTo>
                    <a:pt x="423" y="204"/>
                  </a:lnTo>
                  <a:lnTo>
                    <a:pt x="423" y="207"/>
                  </a:lnTo>
                  <a:lnTo>
                    <a:pt x="425" y="209"/>
                  </a:lnTo>
                  <a:lnTo>
                    <a:pt x="428" y="209"/>
                  </a:lnTo>
                  <a:lnTo>
                    <a:pt x="429" y="209"/>
                  </a:lnTo>
                  <a:lnTo>
                    <a:pt x="432" y="221"/>
                  </a:lnTo>
                  <a:lnTo>
                    <a:pt x="433" y="222"/>
                  </a:lnTo>
                  <a:lnTo>
                    <a:pt x="436" y="223"/>
                  </a:lnTo>
                  <a:lnTo>
                    <a:pt x="443" y="224"/>
                  </a:lnTo>
                  <a:lnTo>
                    <a:pt x="447" y="224"/>
                  </a:lnTo>
                  <a:lnTo>
                    <a:pt x="451" y="224"/>
                  </a:lnTo>
                  <a:lnTo>
                    <a:pt x="453" y="224"/>
                  </a:lnTo>
                  <a:lnTo>
                    <a:pt x="454" y="224"/>
                  </a:lnTo>
                  <a:lnTo>
                    <a:pt x="462" y="222"/>
                  </a:lnTo>
                  <a:lnTo>
                    <a:pt x="469" y="221"/>
                  </a:lnTo>
                  <a:lnTo>
                    <a:pt x="475" y="220"/>
                  </a:lnTo>
                  <a:lnTo>
                    <a:pt x="481" y="219"/>
                  </a:lnTo>
                  <a:lnTo>
                    <a:pt x="486" y="218"/>
                  </a:lnTo>
                  <a:lnTo>
                    <a:pt x="492" y="217"/>
                  </a:lnTo>
                  <a:lnTo>
                    <a:pt x="499" y="216"/>
                  </a:lnTo>
                  <a:lnTo>
                    <a:pt x="508" y="214"/>
                  </a:lnTo>
                  <a:lnTo>
                    <a:pt x="514" y="198"/>
                  </a:lnTo>
                  <a:lnTo>
                    <a:pt x="520" y="183"/>
                  </a:lnTo>
                  <a:lnTo>
                    <a:pt x="526" y="168"/>
                  </a:lnTo>
                  <a:lnTo>
                    <a:pt x="532" y="152"/>
                  </a:lnTo>
                  <a:lnTo>
                    <a:pt x="534" y="144"/>
                  </a:lnTo>
                  <a:lnTo>
                    <a:pt x="535" y="136"/>
                  </a:lnTo>
                  <a:lnTo>
                    <a:pt x="538" y="129"/>
                  </a:lnTo>
                  <a:lnTo>
                    <a:pt x="542" y="122"/>
                  </a:lnTo>
                  <a:lnTo>
                    <a:pt x="546" y="119"/>
                  </a:lnTo>
                  <a:lnTo>
                    <a:pt x="551" y="117"/>
                  </a:lnTo>
                  <a:lnTo>
                    <a:pt x="556" y="117"/>
                  </a:lnTo>
                  <a:lnTo>
                    <a:pt x="562" y="116"/>
                  </a:lnTo>
                  <a:lnTo>
                    <a:pt x="567" y="114"/>
                  </a:lnTo>
                  <a:lnTo>
                    <a:pt x="571" y="112"/>
                  </a:lnTo>
                  <a:lnTo>
                    <a:pt x="574" y="108"/>
                  </a:lnTo>
                  <a:lnTo>
                    <a:pt x="576" y="103"/>
                  </a:lnTo>
                  <a:lnTo>
                    <a:pt x="575" y="98"/>
                  </a:lnTo>
                  <a:lnTo>
                    <a:pt x="570" y="94"/>
                  </a:lnTo>
                </a:path>
              </a:pathLst>
            </a:custGeom>
            <a:noFill/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Freeform 107">
              <a:extLst>
                <a:ext uri="{FF2B5EF4-FFF2-40B4-BE49-F238E27FC236}">
                  <a16:creationId xmlns:a16="http://schemas.microsoft.com/office/drawing/2014/main" id="{D7CBD701-9E25-4149-BAA1-81E032059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7855" y="5680033"/>
              <a:ext cx="582322" cy="114703"/>
            </a:xfrm>
            <a:custGeom>
              <a:avLst/>
              <a:gdLst>
                <a:gd name="T0" fmla="*/ 2147483647 w 481"/>
                <a:gd name="T1" fmla="*/ 2147483647 h 105"/>
                <a:gd name="T2" fmla="*/ 2147483647 w 481"/>
                <a:gd name="T3" fmla="*/ 2147483647 h 105"/>
                <a:gd name="T4" fmla="*/ 2147483647 w 481"/>
                <a:gd name="T5" fmla="*/ 2147483647 h 105"/>
                <a:gd name="T6" fmla="*/ 2147483647 w 481"/>
                <a:gd name="T7" fmla="*/ 2147483647 h 105"/>
                <a:gd name="T8" fmla="*/ 2147483647 w 481"/>
                <a:gd name="T9" fmla="*/ 2147483647 h 105"/>
                <a:gd name="T10" fmla="*/ 2147483647 w 481"/>
                <a:gd name="T11" fmla="*/ 2147483647 h 105"/>
                <a:gd name="T12" fmla="*/ 2147483647 w 481"/>
                <a:gd name="T13" fmla="*/ 2147483647 h 105"/>
                <a:gd name="T14" fmla="*/ 2147483647 w 481"/>
                <a:gd name="T15" fmla="*/ 2147483647 h 105"/>
                <a:gd name="T16" fmla="*/ 2147483647 w 481"/>
                <a:gd name="T17" fmla="*/ 2147483647 h 105"/>
                <a:gd name="T18" fmla="*/ 2147483647 w 481"/>
                <a:gd name="T19" fmla="*/ 2147483647 h 105"/>
                <a:gd name="T20" fmla="*/ 2147483647 w 481"/>
                <a:gd name="T21" fmla="*/ 2147483647 h 105"/>
                <a:gd name="T22" fmla="*/ 2147483647 w 481"/>
                <a:gd name="T23" fmla="*/ 2147483647 h 105"/>
                <a:gd name="T24" fmla="*/ 2147483647 w 481"/>
                <a:gd name="T25" fmla="*/ 2147483647 h 105"/>
                <a:gd name="T26" fmla="*/ 2147483647 w 481"/>
                <a:gd name="T27" fmla="*/ 2147483647 h 105"/>
                <a:gd name="T28" fmla="*/ 2147483647 w 481"/>
                <a:gd name="T29" fmla="*/ 2147483647 h 105"/>
                <a:gd name="T30" fmla="*/ 2147483647 w 481"/>
                <a:gd name="T31" fmla="*/ 2147483647 h 105"/>
                <a:gd name="T32" fmla="*/ 2147483647 w 481"/>
                <a:gd name="T33" fmla="*/ 2147483647 h 105"/>
                <a:gd name="T34" fmla="*/ 2147483647 w 481"/>
                <a:gd name="T35" fmla="*/ 2147483647 h 105"/>
                <a:gd name="T36" fmla="*/ 2147483647 w 481"/>
                <a:gd name="T37" fmla="*/ 2147483647 h 105"/>
                <a:gd name="T38" fmla="*/ 2147483647 w 481"/>
                <a:gd name="T39" fmla="*/ 2147483647 h 105"/>
                <a:gd name="T40" fmla="*/ 2147483647 w 481"/>
                <a:gd name="T41" fmla="*/ 2147483647 h 105"/>
                <a:gd name="T42" fmla="*/ 2147483647 w 481"/>
                <a:gd name="T43" fmla="*/ 2147483647 h 105"/>
                <a:gd name="T44" fmla="*/ 2147483647 w 481"/>
                <a:gd name="T45" fmla="*/ 2147483647 h 105"/>
                <a:gd name="T46" fmla="*/ 2147483647 w 481"/>
                <a:gd name="T47" fmla="*/ 2147483647 h 105"/>
                <a:gd name="T48" fmla="*/ 2147483647 w 481"/>
                <a:gd name="T49" fmla="*/ 2147483647 h 105"/>
                <a:gd name="T50" fmla="*/ 2147483647 w 481"/>
                <a:gd name="T51" fmla="*/ 2147483647 h 105"/>
                <a:gd name="T52" fmla="*/ 2147483647 w 481"/>
                <a:gd name="T53" fmla="*/ 2147483647 h 105"/>
                <a:gd name="T54" fmla="*/ 2147483647 w 481"/>
                <a:gd name="T55" fmla="*/ 2147483647 h 105"/>
                <a:gd name="T56" fmla="*/ 2147483647 w 481"/>
                <a:gd name="T57" fmla="*/ 2147483647 h 105"/>
                <a:gd name="T58" fmla="*/ 2147483647 w 481"/>
                <a:gd name="T59" fmla="*/ 2147483647 h 105"/>
                <a:gd name="T60" fmla="*/ 2147483647 w 481"/>
                <a:gd name="T61" fmla="*/ 2147483647 h 105"/>
                <a:gd name="T62" fmla="*/ 2147483647 w 481"/>
                <a:gd name="T63" fmla="*/ 2147483647 h 105"/>
                <a:gd name="T64" fmla="*/ 2147483647 w 481"/>
                <a:gd name="T65" fmla="*/ 2147483647 h 105"/>
                <a:gd name="T66" fmla="*/ 2147483647 w 481"/>
                <a:gd name="T67" fmla="*/ 2147483647 h 10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81"/>
                <a:gd name="T103" fmla="*/ 0 h 105"/>
                <a:gd name="T104" fmla="*/ 481 w 481"/>
                <a:gd name="T105" fmla="*/ 105 h 10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81" h="105">
                  <a:moveTo>
                    <a:pt x="0" y="0"/>
                  </a:moveTo>
                  <a:lnTo>
                    <a:pt x="1" y="11"/>
                  </a:lnTo>
                  <a:lnTo>
                    <a:pt x="2" y="16"/>
                  </a:lnTo>
                  <a:lnTo>
                    <a:pt x="4" y="20"/>
                  </a:lnTo>
                  <a:lnTo>
                    <a:pt x="6" y="22"/>
                  </a:lnTo>
                  <a:lnTo>
                    <a:pt x="10" y="25"/>
                  </a:lnTo>
                  <a:lnTo>
                    <a:pt x="18" y="28"/>
                  </a:lnTo>
                  <a:lnTo>
                    <a:pt x="22" y="29"/>
                  </a:lnTo>
                  <a:lnTo>
                    <a:pt x="25" y="29"/>
                  </a:lnTo>
                  <a:lnTo>
                    <a:pt x="27" y="30"/>
                  </a:lnTo>
                  <a:lnTo>
                    <a:pt x="28" y="30"/>
                  </a:lnTo>
                  <a:lnTo>
                    <a:pt x="39" y="29"/>
                  </a:lnTo>
                  <a:lnTo>
                    <a:pt x="48" y="30"/>
                  </a:lnTo>
                  <a:lnTo>
                    <a:pt x="58" y="33"/>
                  </a:lnTo>
                  <a:lnTo>
                    <a:pt x="68" y="36"/>
                  </a:lnTo>
                  <a:lnTo>
                    <a:pt x="71" y="43"/>
                  </a:lnTo>
                  <a:lnTo>
                    <a:pt x="74" y="49"/>
                  </a:lnTo>
                  <a:lnTo>
                    <a:pt x="79" y="54"/>
                  </a:lnTo>
                  <a:lnTo>
                    <a:pt x="85" y="59"/>
                  </a:lnTo>
                  <a:lnTo>
                    <a:pt x="91" y="67"/>
                  </a:lnTo>
                  <a:lnTo>
                    <a:pt x="98" y="73"/>
                  </a:lnTo>
                  <a:lnTo>
                    <a:pt x="105" y="79"/>
                  </a:lnTo>
                  <a:lnTo>
                    <a:pt x="113" y="83"/>
                  </a:lnTo>
                  <a:lnTo>
                    <a:pt x="130" y="89"/>
                  </a:lnTo>
                  <a:lnTo>
                    <a:pt x="149" y="93"/>
                  </a:lnTo>
                  <a:lnTo>
                    <a:pt x="161" y="92"/>
                  </a:lnTo>
                  <a:lnTo>
                    <a:pt x="171" y="91"/>
                  </a:lnTo>
                  <a:lnTo>
                    <a:pt x="179" y="89"/>
                  </a:lnTo>
                  <a:lnTo>
                    <a:pt x="187" y="87"/>
                  </a:lnTo>
                  <a:lnTo>
                    <a:pt x="202" y="83"/>
                  </a:lnTo>
                  <a:lnTo>
                    <a:pt x="211" y="81"/>
                  </a:lnTo>
                  <a:lnTo>
                    <a:pt x="221" y="79"/>
                  </a:lnTo>
                  <a:lnTo>
                    <a:pt x="239" y="73"/>
                  </a:lnTo>
                  <a:lnTo>
                    <a:pt x="243" y="72"/>
                  </a:lnTo>
                  <a:lnTo>
                    <a:pt x="247" y="71"/>
                  </a:lnTo>
                  <a:lnTo>
                    <a:pt x="251" y="70"/>
                  </a:lnTo>
                  <a:lnTo>
                    <a:pt x="252" y="69"/>
                  </a:lnTo>
                  <a:lnTo>
                    <a:pt x="263" y="69"/>
                  </a:lnTo>
                  <a:lnTo>
                    <a:pt x="274" y="69"/>
                  </a:lnTo>
                  <a:lnTo>
                    <a:pt x="285" y="70"/>
                  </a:lnTo>
                  <a:lnTo>
                    <a:pt x="296" y="73"/>
                  </a:lnTo>
                  <a:lnTo>
                    <a:pt x="301" y="76"/>
                  </a:lnTo>
                  <a:lnTo>
                    <a:pt x="307" y="78"/>
                  </a:lnTo>
                  <a:lnTo>
                    <a:pt x="312" y="80"/>
                  </a:lnTo>
                  <a:lnTo>
                    <a:pt x="314" y="81"/>
                  </a:lnTo>
                  <a:lnTo>
                    <a:pt x="332" y="75"/>
                  </a:lnTo>
                  <a:lnTo>
                    <a:pt x="336" y="74"/>
                  </a:lnTo>
                  <a:lnTo>
                    <a:pt x="340" y="73"/>
                  </a:lnTo>
                  <a:lnTo>
                    <a:pt x="343" y="72"/>
                  </a:lnTo>
                  <a:lnTo>
                    <a:pt x="344" y="71"/>
                  </a:lnTo>
                  <a:lnTo>
                    <a:pt x="355" y="72"/>
                  </a:lnTo>
                  <a:lnTo>
                    <a:pt x="364" y="74"/>
                  </a:lnTo>
                  <a:lnTo>
                    <a:pt x="374" y="76"/>
                  </a:lnTo>
                  <a:lnTo>
                    <a:pt x="384" y="79"/>
                  </a:lnTo>
                  <a:lnTo>
                    <a:pt x="390" y="81"/>
                  </a:lnTo>
                  <a:lnTo>
                    <a:pt x="396" y="85"/>
                  </a:lnTo>
                  <a:lnTo>
                    <a:pt x="401" y="88"/>
                  </a:lnTo>
                  <a:lnTo>
                    <a:pt x="403" y="89"/>
                  </a:lnTo>
                  <a:lnTo>
                    <a:pt x="407" y="94"/>
                  </a:lnTo>
                  <a:lnTo>
                    <a:pt x="413" y="97"/>
                  </a:lnTo>
                  <a:lnTo>
                    <a:pt x="426" y="102"/>
                  </a:lnTo>
                  <a:lnTo>
                    <a:pt x="440" y="104"/>
                  </a:lnTo>
                  <a:lnTo>
                    <a:pt x="447" y="105"/>
                  </a:lnTo>
                  <a:lnTo>
                    <a:pt x="453" y="105"/>
                  </a:lnTo>
                  <a:lnTo>
                    <a:pt x="467" y="102"/>
                  </a:lnTo>
                  <a:lnTo>
                    <a:pt x="481" y="97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Freeform 108">
              <a:extLst>
                <a:ext uri="{FF2B5EF4-FFF2-40B4-BE49-F238E27FC236}">
                  <a16:creationId xmlns:a16="http://schemas.microsoft.com/office/drawing/2014/main" id="{F6CA5646-57EB-4583-8AE9-AA04E9198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972" y="5840813"/>
              <a:ext cx="244127" cy="125486"/>
            </a:xfrm>
            <a:custGeom>
              <a:avLst/>
              <a:gdLst>
                <a:gd name="T0" fmla="*/ 2147483647 w 202"/>
                <a:gd name="T1" fmla="*/ 0 h 116"/>
                <a:gd name="T2" fmla="*/ 2147483647 w 202"/>
                <a:gd name="T3" fmla="*/ 2147483647 h 116"/>
                <a:gd name="T4" fmla="*/ 2147483647 w 202"/>
                <a:gd name="T5" fmla="*/ 2147483647 h 116"/>
                <a:gd name="T6" fmla="*/ 2147483647 w 202"/>
                <a:gd name="T7" fmla="*/ 2147483647 h 116"/>
                <a:gd name="T8" fmla="*/ 2147483647 w 202"/>
                <a:gd name="T9" fmla="*/ 2147483647 h 116"/>
                <a:gd name="T10" fmla="*/ 2147483647 w 202"/>
                <a:gd name="T11" fmla="*/ 2147483647 h 116"/>
                <a:gd name="T12" fmla="*/ 2147483647 w 202"/>
                <a:gd name="T13" fmla="*/ 2147483647 h 116"/>
                <a:gd name="T14" fmla="*/ 2147483647 w 202"/>
                <a:gd name="T15" fmla="*/ 2147483647 h 116"/>
                <a:gd name="T16" fmla="*/ 2147483647 w 202"/>
                <a:gd name="T17" fmla="*/ 2147483647 h 116"/>
                <a:gd name="T18" fmla="*/ 2147483647 w 202"/>
                <a:gd name="T19" fmla="*/ 2147483647 h 116"/>
                <a:gd name="T20" fmla="*/ 2147483647 w 202"/>
                <a:gd name="T21" fmla="*/ 2147483647 h 116"/>
                <a:gd name="T22" fmla="*/ 2147483647 w 202"/>
                <a:gd name="T23" fmla="*/ 2147483647 h 116"/>
                <a:gd name="T24" fmla="*/ 2147483647 w 202"/>
                <a:gd name="T25" fmla="*/ 2147483647 h 116"/>
                <a:gd name="T26" fmla="*/ 2147483647 w 202"/>
                <a:gd name="T27" fmla="*/ 2147483647 h 116"/>
                <a:gd name="T28" fmla="*/ 2147483647 w 202"/>
                <a:gd name="T29" fmla="*/ 2147483647 h 116"/>
                <a:gd name="T30" fmla="*/ 2147483647 w 202"/>
                <a:gd name="T31" fmla="*/ 2147483647 h 116"/>
                <a:gd name="T32" fmla="*/ 2147483647 w 202"/>
                <a:gd name="T33" fmla="*/ 2147483647 h 116"/>
                <a:gd name="T34" fmla="*/ 2147483647 w 202"/>
                <a:gd name="T35" fmla="*/ 2147483647 h 116"/>
                <a:gd name="T36" fmla="*/ 2147483647 w 202"/>
                <a:gd name="T37" fmla="*/ 2147483647 h 116"/>
                <a:gd name="T38" fmla="*/ 2147483647 w 202"/>
                <a:gd name="T39" fmla="*/ 2147483647 h 116"/>
                <a:gd name="T40" fmla="*/ 2147483647 w 202"/>
                <a:gd name="T41" fmla="*/ 2147483647 h 116"/>
                <a:gd name="T42" fmla="*/ 2147483647 w 202"/>
                <a:gd name="T43" fmla="*/ 2147483647 h 116"/>
                <a:gd name="T44" fmla="*/ 2147483647 w 202"/>
                <a:gd name="T45" fmla="*/ 2147483647 h 116"/>
                <a:gd name="T46" fmla="*/ 2147483647 w 202"/>
                <a:gd name="T47" fmla="*/ 2147483647 h 116"/>
                <a:gd name="T48" fmla="*/ 2147483647 w 202"/>
                <a:gd name="T49" fmla="*/ 2147483647 h 116"/>
                <a:gd name="T50" fmla="*/ 2147483647 w 202"/>
                <a:gd name="T51" fmla="*/ 2147483647 h 116"/>
                <a:gd name="T52" fmla="*/ 2147483647 w 202"/>
                <a:gd name="T53" fmla="*/ 2147483647 h 116"/>
                <a:gd name="T54" fmla="*/ 2147483647 w 202"/>
                <a:gd name="T55" fmla="*/ 2147483647 h 116"/>
                <a:gd name="T56" fmla="*/ 2147483647 w 202"/>
                <a:gd name="T57" fmla="*/ 2147483647 h 116"/>
                <a:gd name="T58" fmla="*/ 2147483647 w 202"/>
                <a:gd name="T59" fmla="*/ 2147483647 h 116"/>
                <a:gd name="T60" fmla="*/ 2147483647 w 202"/>
                <a:gd name="T61" fmla="*/ 2147483647 h 116"/>
                <a:gd name="T62" fmla="*/ 2147483647 w 202"/>
                <a:gd name="T63" fmla="*/ 2147483647 h 116"/>
                <a:gd name="T64" fmla="*/ 2147483647 w 202"/>
                <a:gd name="T65" fmla="*/ 2147483647 h 116"/>
                <a:gd name="T66" fmla="*/ 2147483647 w 202"/>
                <a:gd name="T67" fmla="*/ 2147483647 h 116"/>
                <a:gd name="T68" fmla="*/ 2147483647 w 202"/>
                <a:gd name="T69" fmla="*/ 2147483647 h 116"/>
                <a:gd name="T70" fmla="*/ 2147483647 w 202"/>
                <a:gd name="T71" fmla="*/ 2147483647 h 116"/>
                <a:gd name="T72" fmla="*/ 2147483647 w 202"/>
                <a:gd name="T73" fmla="*/ 2147483647 h 116"/>
                <a:gd name="T74" fmla="*/ 2147483647 w 202"/>
                <a:gd name="T75" fmla="*/ 2147483647 h 116"/>
                <a:gd name="T76" fmla="*/ 2147483647 w 202"/>
                <a:gd name="T77" fmla="*/ 2147483647 h 116"/>
                <a:gd name="T78" fmla="*/ 2147483647 w 202"/>
                <a:gd name="T79" fmla="*/ 2147483647 h 116"/>
                <a:gd name="T80" fmla="*/ 2147483647 w 202"/>
                <a:gd name="T81" fmla="*/ 2147483647 h 116"/>
                <a:gd name="T82" fmla="*/ 2147483647 w 202"/>
                <a:gd name="T83" fmla="*/ 2147483647 h 116"/>
                <a:gd name="T84" fmla="*/ 2147483647 w 202"/>
                <a:gd name="T85" fmla="*/ 2147483647 h 116"/>
                <a:gd name="T86" fmla="*/ 2147483647 w 202"/>
                <a:gd name="T87" fmla="*/ 2147483647 h 116"/>
                <a:gd name="T88" fmla="*/ 2147483647 w 202"/>
                <a:gd name="T89" fmla="*/ 2147483647 h 116"/>
                <a:gd name="T90" fmla="*/ 2147483647 w 202"/>
                <a:gd name="T91" fmla="*/ 2147483647 h 116"/>
                <a:gd name="T92" fmla="*/ 2147483647 w 202"/>
                <a:gd name="T93" fmla="*/ 2147483647 h 116"/>
                <a:gd name="T94" fmla="*/ 2147483647 w 202"/>
                <a:gd name="T95" fmla="*/ 2147483647 h 116"/>
                <a:gd name="T96" fmla="*/ 2147483647 w 202"/>
                <a:gd name="T97" fmla="*/ 2147483647 h 116"/>
                <a:gd name="T98" fmla="*/ 0 w 202"/>
                <a:gd name="T99" fmla="*/ 2147483647 h 11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2"/>
                <a:gd name="T151" fmla="*/ 0 h 116"/>
                <a:gd name="T152" fmla="*/ 202 w 202"/>
                <a:gd name="T153" fmla="*/ 116 h 11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2" h="116">
                  <a:moveTo>
                    <a:pt x="202" y="0"/>
                  </a:moveTo>
                  <a:lnTo>
                    <a:pt x="199" y="1"/>
                  </a:lnTo>
                  <a:lnTo>
                    <a:pt x="196" y="2"/>
                  </a:lnTo>
                  <a:lnTo>
                    <a:pt x="193" y="5"/>
                  </a:lnTo>
                  <a:lnTo>
                    <a:pt x="189" y="7"/>
                  </a:lnTo>
                  <a:lnTo>
                    <a:pt x="184" y="10"/>
                  </a:lnTo>
                  <a:lnTo>
                    <a:pt x="180" y="15"/>
                  </a:lnTo>
                  <a:lnTo>
                    <a:pt x="175" y="19"/>
                  </a:lnTo>
                  <a:lnTo>
                    <a:pt x="162" y="24"/>
                  </a:lnTo>
                  <a:lnTo>
                    <a:pt x="157" y="22"/>
                  </a:lnTo>
                  <a:lnTo>
                    <a:pt x="152" y="21"/>
                  </a:lnTo>
                  <a:lnTo>
                    <a:pt x="147" y="22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7" y="28"/>
                  </a:lnTo>
                  <a:lnTo>
                    <a:pt x="135" y="34"/>
                  </a:lnTo>
                  <a:lnTo>
                    <a:pt x="133" y="40"/>
                  </a:lnTo>
                  <a:lnTo>
                    <a:pt x="133" y="41"/>
                  </a:lnTo>
                  <a:lnTo>
                    <a:pt x="133" y="42"/>
                  </a:lnTo>
                  <a:lnTo>
                    <a:pt x="132" y="51"/>
                  </a:lnTo>
                  <a:lnTo>
                    <a:pt x="131" y="59"/>
                  </a:lnTo>
                  <a:lnTo>
                    <a:pt x="129" y="66"/>
                  </a:lnTo>
                  <a:lnTo>
                    <a:pt x="126" y="69"/>
                  </a:lnTo>
                  <a:lnTo>
                    <a:pt x="123" y="72"/>
                  </a:lnTo>
                  <a:lnTo>
                    <a:pt x="112" y="70"/>
                  </a:lnTo>
                  <a:lnTo>
                    <a:pt x="101" y="68"/>
                  </a:lnTo>
                  <a:lnTo>
                    <a:pt x="96" y="67"/>
                  </a:lnTo>
                  <a:lnTo>
                    <a:pt x="90" y="67"/>
                  </a:lnTo>
                  <a:lnTo>
                    <a:pt x="77" y="65"/>
                  </a:lnTo>
                  <a:lnTo>
                    <a:pt x="72" y="65"/>
                  </a:lnTo>
                  <a:lnTo>
                    <a:pt x="67" y="64"/>
                  </a:lnTo>
                  <a:lnTo>
                    <a:pt x="64" y="64"/>
                  </a:lnTo>
                  <a:lnTo>
                    <a:pt x="63" y="64"/>
                  </a:lnTo>
                  <a:lnTo>
                    <a:pt x="58" y="64"/>
                  </a:lnTo>
                  <a:lnTo>
                    <a:pt x="52" y="65"/>
                  </a:lnTo>
                  <a:lnTo>
                    <a:pt x="46" y="65"/>
                  </a:lnTo>
                  <a:lnTo>
                    <a:pt x="42" y="68"/>
                  </a:lnTo>
                  <a:lnTo>
                    <a:pt x="39" y="71"/>
                  </a:lnTo>
                  <a:lnTo>
                    <a:pt x="38" y="73"/>
                  </a:lnTo>
                  <a:lnTo>
                    <a:pt x="39" y="74"/>
                  </a:lnTo>
                  <a:lnTo>
                    <a:pt x="40" y="74"/>
                  </a:lnTo>
                  <a:lnTo>
                    <a:pt x="41" y="74"/>
                  </a:lnTo>
                  <a:lnTo>
                    <a:pt x="40" y="74"/>
                  </a:lnTo>
                  <a:lnTo>
                    <a:pt x="39" y="75"/>
                  </a:lnTo>
                  <a:lnTo>
                    <a:pt x="34" y="76"/>
                  </a:lnTo>
                  <a:lnTo>
                    <a:pt x="32" y="82"/>
                  </a:lnTo>
                  <a:lnTo>
                    <a:pt x="28" y="87"/>
                  </a:lnTo>
                  <a:lnTo>
                    <a:pt x="19" y="98"/>
                  </a:lnTo>
                  <a:lnTo>
                    <a:pt x="9" y="107"/>
                  </a:lnTo>
                  <a:lnTo>
                    <a:pt x="0" y="116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Freeform 109">
              <a:extLst>
                <a:ext uri="{FF2B5EF4-FFF2-40B4-BE49-F238E27FC236}">
                  <a16:creationId xmlns:a16="http://schemas.microsoft.com/office/drawing/2014/main" id="{2EE3133C-E332-43A8-95DC-9CAC38E9F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5202" y="5778069"/>
              <a:ext cx="90707" cy="77449"/>
            </a:xfrm>
            <a:custGeom>
              <a:avLst/>
              <a:gdLst>
                <a:gd name="T0" fmla="*/ 2147483647 w 74"/>
                <a:gd name="T1" fmla="*/ 0 h 72"/>
                <a:gd name="T2" fmla="*/ 2147483647 w 74"/>
                <a:gd name="T3" fmla="*/ 2147483647 h 72"/>
                <a:gd name="T4" fmla="*/ 2147483647 w 74"/>
                <a:gd name="T5" fmla="*/ 2147483647 h 72"/>
                <a:gd name="T6" fmla="*/ 2147483647 w 74"/>
                <a:gd name="T7" fmla="*/ 2147483647 h 72"/>
                <a:gd name="T8" fmla="*/ 2147483647 w 74"/>
                <a:gd name="T9" fmla="*/ 2147483647 h 72"/>
                <a:gd name="T10" fmla="*/ 2147483647 w 74"/>
                <a:gd name="T11" fmla="*/ 2147483647 h 72"/>
                <a:gd name="T12" fmla="*/ 2147483647 w 74"/>
                <a:gd name="T13" fmla="*/ 2147483647 h 72"/>
                <a:gd name="T14" fmla="*/ 2147483647 w 74"/>
                <a:gd name="T15" fmla="*/ 2147483647 h 72"/>
                <a:gd name="T16" fmla="*/ 2147483647 w 74"/>
                <a:gd name="T17" fmla="*/ 2147483647 h 72"/>
                <a:gd name="T18" fmla="*/ 2147483647 w 74"/>
                <a:gd name="T19" fmla="*/ 2147483647 h 72"/>
                <a:gd name="T20" fmla="*/ 2147483647 w 74"/>
                <a:gd name="T21" fmla="*/ 2147483647 h 72"/>
                <a:gd name="T22" fmla="*/ 2147483647 w 74"/>
                <a:gd name="T23" fmla="*/ 2147483647 h 72"/>
                <a:gd name="T24" fmla="*/ 2147483647 w 74"/>
                <a:gd name="T25" fmla="*/ 2147483647 h 72"/>
                <a:gd name="T26" fmla="*/ 2147483647 w 74"/>
                <a:gd name="T27" fmla="*/ 2147483647 h 72"/>
                <a:gd name="T28" fmla="*/ 2147483647 w 74"/>
                <a:gd name="T29" fmla="*/ 2147483647 h 72"/>
                <a:gd name="T30" fmla="*/ 2147483647 w 74"/>
                <a:gd name="T31" fmla="*/ 2147483647 h 72"/>
                <a:gd name="T32" fmla="*/ 2147483647 w 74"/>
                <a:gd name="T33" fmla="*/ 2147483647 h 72"/>
                <a:gd name="T34" fmla="*/ 2147483647 w 74"/>
                <a:gd name="T35" fmla="*/ 2147483647 h 72"/>
                <a:gd name="T36" fmla="*/ 2147483647 w 74"/>
                <a:gd name="T37" fmla="*/ 2147483647 h 72"/>
                <a:gd name="T38" fmla="*/ 2147483647 w 74"/>
                <a:gd name="T39" fmla="*/ 2147483647 h 72"/>
                <a:gd name="T40" fmla="*/ 2147483647 w 74"/>
                <a:gd name="T41" fmla="*/ 2147483647 h 72"/>
                <a:gd name="T42" fmla="*/ 2147483647 w 74"/>
                <a:gd name="T43" fmla="*/ 2147483647 h 72"/>
                <a:gd name="T44" fmla="*/ 0 w 74"/>
                <a:gd name="T45" fmla="*/ 2147483647 h 72"/>
                <a:gd name="T46" fmla="*/ 0 w 74"/>
                <a:gd name="T47" fmla="*/ 2147483647 h 72"/>
                <a:gd name="T48" fmla="*/ 0 w 74"/>
                <a:gd name="T49" fmla="*/ 2147483647 h 72"/>
                <a:gd name="T50" fmla="*/ 0 w 74"/>
                <a:gd name="T51" fmla="*/ 2147483647 h 7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4"/>
                <a:gd name="T79" fmla="*/ 0 h 72"/>
                <a:gd name="T80" fmla="*/ 74 w 74"/>
                <a:gd name="T81" fmla="*/ 72 h 7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4" h="72">
                  <a:moveTo>
                    <a:pt x="71" y="0"/>
                  </a:moveTo>
                  <a:lnTo>
                    <a:pt x="73" y="6"/>
                  </a:lnTo>
                  <a:lnTo>
                    <a:pt x="74" y="11"/>
                  </a:lnTo>
                  <a:lnTo>
                    <a:pt x="74" y="14"/>
                  </a:lnTo>
                  <a:lnTo>
                    <a:pt x="72" y="17"/>
                  </a:lnTo>
                  <a:lnTo>
                    <a:pt x="70" y="18"/>
                  </a:lnTo>
                  <a:lnTo>
                    <a:pt x="66" y="20"/>
                  </a:lnTo>
                  <a:lnTo>
                    <a:pt x="61" y="21"/>
                  </a:lnTo>
                  <a:lnTo>
                    <a:pt x="55" y="22"/>
                  </a:lnTo>
                  <a:lnTo>
                    <a:pt x="46" y="27"/>
                  </a:lnTo>
                  <a:lnTo>
                    <a:pt x="36" y="32"/>
                  </a:lnTo>
                  <a:lnTo>
                    <a:pt x="31" y="34"/>
                  </a:lnTo>
                  <a:lnTo>
                    <a:pt x="25" y="36"/>
                  </a:lnTo>
                  <a:lnTo>
                    <a:pt x="20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6" y="44"/>
                  </a:lnTo>
                  <a:lnTo>
                    <a:pt x="12" y="49"/>
                  </a:lnTo>
                  <a:lnTo>
                    <a:pt x="7" y="54"/>
                  </a:lnTo>
                  <a:lnTo>
                    <a:pt x="2" y="58"/>
                  </a:lnTo>
                  <a:lnTo>
                    <a:pt x="1" y="62"/>
                  </a:lnTo>
                  <a:lnTo>
                    <a:pt x="1" y="64"/>
                  </a:lnTo>
                  <a:lnTo>
                    <a:pt x="0" y="67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72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5" name="Freeform 110">
              <a:extLst>
                <a:ext uri="{FF2B5EF4-FFF2-40B4-BE49-F238E27FC236}">
                  <a16:creationId xmlns:a16="http://schemas.microsoft.com/office/drawing/2014/main" id="{31B2D533-5475-42AF-A884-91BEB7EFF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1219" y="5838852"/>
              <a:ext cx="118704" cy="1117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7"/>
                </a:cxn>
                <a:cxn ang="0">
                  <a:pos x="2" y="11"/>
                </a:cxn>
                <a:cxn ang="0">
                  <a:pos x="3" y="14"/>
                </a:cxn>
                <a:cxn ang="0">
                  <a:pos x="4" y="16"/>
                </a:cxn>
                <a:cxn ang="0">
                  <a:pos x="7" y="18"/>
                </a:cxn>
                <a:cxn ang="0">
                  <a:pos x="10" y="18"/>
                </a:cxn>
                <a:cxn ang="0">
                  <a:pos x="14" y="19"/>
                </a:cxn>
                <a:cxn ang="0">
                  <a:pos x="20" y="20"/>
                </a:cxn>
                <a:cxn ang="0">
                  <a:pos x="25" y="26"/>
                </a:cxn>
                <a:cxn ang="0">
                  <a:pos x="30" y="30"/>
                </a:cxn>
                <a:cxn ang="0">
                  <a:pos x="36" y="32"/>
                </a:cxn>
                <a:cxn ang="0">
                  <a:pos x="44" y="34"/>
                </a:cxn>
                <a:cxn ang="0">
                  <a:pos x="53" y="39"/>
                </a:cxn>
                <a:cxn ang="0">
                  <a:pos x="60" y="42"/>
                </a:cxn>
                <a:cxn ang="0">
                  <a:pos x="67" y="44"/>
                </a:cxn>
                <a:cxn ang="0">
                  <a:pos x="75" y="46"/>
                </a:cxn>
                <a:cxn ang="0">
                  <a:pos x="77" y="49"/>
                </a:cxn>
                <a:cxn ang="0">
                  <a:pos x="78" y="52"/>
                </a:cxn>
                <a:cxn ang="0">
                  <a:pos x="77" y="54"/>
                </a:cxn>
                <a:cxn ang="0">
                  <a:pos x="76" y="55"/>
                </a:cxn>
                <a:cxn ang="0">
                  <a:pos x="71" y="57"/>
                </a:cxn>
                <a:cxn ang="0">
                  <a:pos x="65" y="58"/>
                </a:cxn>
                <a:cxn ang="0">
                  <a:pos x="61" y="62"/>
                </a:cxn>
                <a:cxn ang="0">
                  <a:pos x="58" y="68"/>
                </a:cxn>
                <a:cxn ang="0">
                  <a:pos x="57" y="75"/>
                </a:cxn>
                <a:cxn ang="0">
                  <a:pos x="58" y="83"/>
                </a:cxn>
                <a:cxn ang="0">
                  <a:pos x="60" y="90"/>
                </a:cxn>
                <a:cxn ang="0">
                  <a:pos x="63" y="96"/>
                </a:cxn>
                <a:cxn ang="0">
                  <a:pos x="68" y="101"/>
                </a:cxn>
                <a:cxn ang="0">
                  <a:pos x="73" y="104"/>
                </a:cxn>
                <a:cxn ang="0">
                  <a:pos x="79" y="103"/>
                </a:cxn>
                <a:cxn ang="0">
                  <a:pos x="83" y="103"/>
                </a:cxn>
                <a:cxn ang="0">
                  <a:pos x="86" y="103"/>
                </a:cxn>
                <a:cxn ang="0">
                  <a:pos x="88" y="102"/>
                </a:cxn>
                <a:cxn ang="0">
                  <a:pos x="91" y="102"/>
                </a:cxn>
                <a:cxn ang="0">
                  <a:pos x="94" y="102"/>
                </a:cxn>
                <a:cxn ang="0">
                  <a:pos x="99" y="102"/>
                </a:cxn>
              </a:cxnLst>
              <a:rect l="0" t="0" r="r" b="b"/>
              <a:pathLst>
                <a:path w="99" h="104">
                  <a:moveTo>
                    <a:pt x="0" y="0"/>
                  </a:moveTo>
                  <a:lnTo>
                    <a:pt x="1" y="7"/>
                  </a:lnTo>
                  <a:lnTo>
                    <a:pt x="2" y="11"/>
                  </a:lnTo>
                  <a:lnTo>
                    <a:pt x="3" y="14"/>
                  </a:lnTo>
                  <a:lnTo>
                    <a:pt x="4" y="16"/>
                  </a:lnTo>
                  <a:lnTo>
                    <a:pt x="7" y="18"/>
                  </a:lnTo>
                  <a:lnTo>
                    <a:pt x="10" y="18"/>
                  </a:lnTo>
                  <a:lnTo>
                    <a:pt x="14" y="19"/>
                  </a:lnTo>
                  <a:lnTo>
                    <a:pt x="20" y="20"/>
                  </a:lnTo>
                  <a:lnTo>
                    <a:pt x="25" y="26"/>
                  </a:lnTo>
                  <a:lnTo>
                    <a:pt x="30" y="30"/>
                  </a:lnTo>
                  <a:lnTo>
                    <a:pt x="36" y="32"/>
                  </a:lnTo>
                  <a:lnTo>
                    <a:pt x="44" y="34"/>
                  </a:lnTo>
                  <a:lnTo>
                    <a:pt x="53" y="39"/>
                  </a:lnTo>
                  <a:lnTo>
                    <a:pt x="60" y="42"/>
                  </a:lnTo>
                  <a:lnTo>
                    <a:pt x="67" y="44"/>
                  </a:lnTo>
                  <a:lnTo>
                    <a:pt x="75" y="46"/>
                  </a:lnTo>
                  <a:lnTo>
                    <a:pt x="77" y="49"/>
                  </a:lnTo>
                  <a:lnTo>
                    <a:pt x="78" y="52"/>
                  </a:lnTo>
                  <a:lnTo>
                    <a:pt x="77" y="54"/>
                  </a:lnTo>
                  <a:lnTo>
                    <a:pt x="76" y="55"/>
                  </a:lnTo>
                  <a:lnTo>
                    <a:pt x="71" y="57"/>
                  </a:lnTo>
                  <a:lnTo>
                    <a:pt x="65" y="58"/>
                  </a:lnTo>
                  <a:lnTo>
                    <a:pt x="61" y="62"/>
                  </a:lnTo>
                  <a:lnTo>
                    <a:pt x="58" y="68"/>
                  </a:lnTo>
                  <a:lnTo>
                    <a:pt x="57" y="75"/>
                  </a:lnTo>
                  <a:lnTo>
                    <a:pt x="58" y="83"/>
                  </a:lnTo>
                  <a:lnTo>
                    <a:pt x="60" y="90"/>
                  </a:lnTo>
                  <a:lnTo>
                    <a:pt x="63" y="96"/>
                  </a:lnTo>
                  <a:lnTo>
                    <a:pt x="68" y="101"/>
                  </a:lnTo>
                  <a:lnTo>
                    <a:pt x="73" y="104"/>
                  </a:lnTo>
                  <a:lnTo>
                    <a:pt x="79" y="103"/>
                  </a:lnTo>
                  <a:lnTo>
                    <a:pt x="83" y="103"/>
                  </a:lnTo>
                  <a:lnTo>
                    <a:pt x="86" y="103"/>
                  </a:lnTo>
                  <a:lnTo>
                    <a:pt x="88" y="102"/>
                  </a:lnTo>
                  <a:lnTo>
                    <a:pt x="91" y="102"/>
                  </a:lnTo>
                  <a:lnTo>
                    <a:pt x="94" y="102"/>
                  </a:lnTo>
                  <a:lnTo>
                    <a:pt x="99" y="102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96" name="Freeform 111">
              <a:extLst>
                <a:ext uri="{FF2B5EF4-FFF2-40B4-BE49-F238E27FC236}">
                  <a16:creationId xmlns:a16="http://schemas.microsoft.com/office/drawing/2014/main" id="{5350C39A-C668-42D4-BE64-6A6984733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9020" y="4714380"/>
              <a:ext cx="553206" cy="817620"/>
            </a:xfrm>
            <a:custGeom>
              <a:avLst/>
              <a:gdLst>
                <a:gd name="T0" fmla="*/ 2147483647 w 457"/>
                <a:gd name="T1" fmla="*/ 2147483647 h 756"/>
                <a:gd name="T2" fmla="*/ 0 w 457"/>
                <a:gd name="T3" fmla="*/ 2147483647 h 756"/>
                <a:gd name="T4" fmla="*/ 2147483647 w 457"/>
                <a:gd name="T5" fmla="*/ 2147483647 h 756"/>
                <a:gd name="T6" fmla="*/ 2147483647 w 457"/>
                <a:gd name="T7" fmla="*/ 2147483647 h 756"/>
                <a:gd name="T8" fmla="*/ 2147483647 w 457"/>
                <a:gd name="T9" fmla="*/ 2147483647 h 756"/>
                <a:gd name="T10" fmla="*/ 2147483647 w 457"/>
                <a:gd name="T11" fmla="*/ 2147483647 h 756"/>
                <a:gd name="T12" fmla="*/ 2147483647 w 457"/>
                <a:gd name="T13" fmla="*/ 2147483647 h 756"/>
                <a:gd name="T14" fmla="*/ 2147483647 w 457"/>
                <a:gd name="T15" fmla="*/ 2147483647 h 756"/>
                <a:gd name="T16" fmla="*/ 2147483647 w 457"/>
                <a:gd name="T17" fmla="*/ 2147483647 h 756"/>
                <a:gd name="T18" fmla="*/ 2147483647 w 457"/>
                <a:gd name="T19" fmla="*/ 2147483647 h 756"/>
                <a:gd name="T20" fmla="*/ 2147483647 w 457"/>
                <a:gd name="T21" fmla="*/ 2147483647 h 756"/>
                <a:gd name="T22" fmla="*/ 2147483647 w 457"/>
                <a:gd name="T23" fmla="*/ 2147483647 h 756"/>
                <a:gd name="T24" fmla="*/ 2147483647 w 457"/>
                <a:gd name="T25" fmla="*/ 2147483647 h 756"/>
                <a:gd name="T26" fmla="*/ 2147483647 w 457"/>
                <a:gd name="T27" fmla="*/ 2147483647 h 756"/>
                <a:gd name="T28" fmla="*/ 2147483647 w 457"/>
                <a:gd name="T29" fmla="*/ 2147483647 h 756"/>
                <a:gd name="T30" fmla="*/ 2147483647 w 457"/>
                <a:gd name="T31" fmla="*/ 2147483647 h 756"/>
                <a:gd name="T32" fmla="*/ 2147483647 w 457"/>
                <a:gd name="T33" fmla="*/ 2147483647 h 756"/>
                <a:gd name="T34" fmla="*/ 2147483647 w 457"/>
                <a:gd name="T35" fmla="*/ 2147483647 h 756"/>
                <a:gd name="T36" fmla="*/ 2147483647 w 457"/>
                <a:gd name="T37" fmla="*/ 2147483647 h 756"/>
                <a:gd name="T38" fmla="*/ 2147483647 w 457"/>
                <a:gd name="T39" fmla="*/ 2147483647 h 756"/>
                <a:gd name="T40" fmla="*/ 2147483647 w 457"/>
                <a:gd name="T41" fmla="*/ 2147483647 h 756"/>
                <a:gd name="T42" fmla="*/ 2147483647 w 457"/>
                <a:gd name="T43" fmla="*/ 2147483647 h 756"/>
                <a:gd name="T44" fmla="*/ 2147483647 w 457"/>
                <a:gd name="T45" fmla="*/ 2147483647 h 756"/>
                <a:gd name="T46" fmla="*/ 2147483647 w 457"/>
                <a:gd name="T47" fmla="*/ 2147483647 h 756"/>
                <a:gd name="T48" fmla="*/ 2147483647 w 457"/>
                <a:gd name="T49" fmla="*/ 2147483647 h 756"/>
                <a:gd name="T50" fmla="*/ 2147483647 w 457"/>
                <a:gd name="T51" fmla="*/ 2147483647 h 756"/>
                <a:gd name="T52" fmla="*/ 2147483647 w 457"/>
                <a:gd name="T53" fmla="*/ 2147483647 h 756"/>
                <a:gd name="T54" fmla="*/ 2147483647 w 457"/>
                <a:gd name="T55" fmla="*/ 2147483647 h 756"/>
                <a:gd name="T56" fmla="*/ 2147483647 w 457"/>
                <a:gd name="T57" fmla="*/ 2147483647 h 756"/>
                <a:gd name="T58" fmla="*/ 2147483647 w 457"/>
                <a:gd name="T59" fmla="*/ 2147483647 h 756"/>
                <a:gd name="T60" fmla="*/ 2147483647 w 457"/>
                <a:gd name="T61" fmla="*/ 2147483647 h 756"/>
                <a:gd name="T62" fmla="*/ 2147483647 w 457"/>
                <a:gd name="T63" fmla="*/ 2147483647 h 756"/>
                <a:gd name="T64" fmla="*/ 2147483647 w 457"/>
                <a:gd name="T65" fmla="*/ 2147483647 h 756"/>
                <a:gd name="T66" fmla="*/ 2147483647 w 457"/>
                <a:gd name="T67" fmla="*/ 2147483647 h 756"/>
                <a:gd name="T68" fmla="*/ 2147483647 w 457"/>
                <a:gd name="T69" fmla="*/ 0 h 7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57"/>
                <a:gd name="T106" fmla="*/ 0 h 756"/>
                <a:gd name="T107" fmla="*/ 457 w 457"/>
                <a:gd name="T108" fmla="*/ 756 h 7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57" h="756">
                  <a:moveTo>
                    <a:pt x="1" y="724"/>
                  </a:moveTo>
                  <a:lnTo>
                    <a:pt x="0" y="728"/>
                  </a:lnTo>
                  <a:lnTo>
                    <a:pt x="2" y="734"/>
                  </a:lnTo>
                  <a:lnTo>
                    <a:pt x="15" y="747"/>
                  </a:lnTo>
                  <a:lnTo>
                    <a:pt x="48" y="756"/>
                  </a:lnTo>
                  <a:lnTo>
                    <a:pt x="78" y="752"/>
                  </a:lnTo>
                  <a:lnTo>
                    <a:pt x="106" y="749"/>
                  </a:lnTo>
                  <a:lnTo>
                    <a:pt x="133" y="741"/>
                  </a:lnTo>
                  <a:lnTo>
                    <a:pt x="154" y="702"/>
                  </a:lnTo>
                  <a:lnTo>
                    <a:pt x="176" y="635"/>
                  </a:lnTo>
                  <a:lnTo>
                    <a:pt x="208" y="589"/>
                  </a:lnTo>
                  <a:lnTo>
                    <a:pt x="277" y="550"/>
                  </a:lnTo>
                  <a:lnTo>
                    <a:pt x="292" y="497"/>
                  </a:lnTo>
                  <a:lnTo>
                    <a:pt x="273" y="438"/>
                  </a:lnTo>
                  <a:lnTo>
                    <a:pt x="278" y="382"/>
                  </a:lnTo>
                  <a:lnTo>
                    <a:pt x="287" y="374"/>
                  </a:lnTo>
                  <a:lnTo>
                    <a:pt x="298" y="365"/>
                  </a:lnTo>
                  <a:lnTo>
                    <a:pt x="311" y="355"/>
                  </a:lnTo>
                  <a:lnTo>
                    <a:pt x="326" y="346"/>
                  </a:lnTo>
                  <a:lnTo>
                    <a:pt x="341" y="337"/>
                  </a:lnTo>
                  <a:lnTo>
                    <a:pt x="355" y="328"/>
                  </a:lnTo>
                  <a:lnTo>
                    <a:pt x="368" y="321"/>
                  </a:lnTo>
                  <a:lnTo>
                    <a:pt x="378" y="315"/>
                  </a:lnTo>
                  <a:lnTo>
                    <a:pt x="424" y="304"/>
                  </a:lnTo>
                  <a:lnTo>
                    <a:pt x="455" y="294"/>
                  </a:lnTo>
                  <a:lnTo>
                    <a:pt x="455" y="261"/>
                  </a:lnTo>
                  <a:lnTo>
                    <a:pt x="457" y="217"/>
                  </a:lnTo>
                  <a:lnTo>
                    <a:pt x="445" y="163"/>
                  </a:lnTo>
                  <a:lnTo>
                    <a:pt x="427" y="123"/>
                  </a:lnTo>
                  <a:lnTo>
                    <a:pt x="374" y="97"/>
                  </a:lnTo>
                  <a:lnTo>
                    <a:pt x="314" y="62"/>
                  </a:lnTo>
                  <a:lnTo>
                    <a:pt x="267" y="64"/>
                  </a:lnTo>
                  <a:lnTo>
                    <a:pt x="225" y="46"/>
                  </a:lnTo>
                  <a:lnTo>
                    <a:pt x="221" y="24"/>
                  </a:lnTo>
                  <a:lnTo>
                    <a:pt x="209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7" name="Freeform 112">
              <a:extLst>
                <a:ext uri="{FF2B5EF4-FFF2-40B4-BE49-F238E27FC236}">
                  <a16:creationId xmlns:a16="http://schemas.microsoft.com/office/drawing/2014/main" id="{3BA69DA2-3210-4DCF-BABD-37CACB81E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1811" y="5178088"/>
              <a:ext cx="159018" cy="121564"/>
            </a:xfrm>
            <a:custGeom>
              <a:avLst/>
              <a:gdLst/>
              <a:ahLst/>
              <a:cxnLst>
                <a:cxn ang="0">
                  <a:pos x="49" y="112"/>
                </a:cxn>
                <a:cxn ang="0">
                  <a:pos x="30" y="96"/>
                </a:cxn>
                <a:cxn ang="0">
                  <a:pos x="21" y="72"/>
                </a:cxn>
                <a:cxn ang="0">
                  <a:pos x="0" y="47"/>
                </a:cxn>
                <a:cxn ang="0">
                  <a:pos x="2" y="45"/>
                </a:cxn>
                <a:cxn ang="0">
                  <a:pos x="5" y="43"/>
                </a:cxn>
                <a:cxn ang="0">
                  <a:pos x="9" y="40"/>
                </a:cxn>
                <a:cxn ang="0">
                  <a:pos x="13" y="38"/>
                </a:cxn>
                <a:cxn ang="0">
                  <a:pos x="24" y="35"/>
                </a:cxn>
                <a:cxn ang="0">
                  <a:pos x="34" y="32"/>
                </a:cxn>
                <a:cxn ang="0">
                  <a:pos x="73" y="30"/>
                </a:cxn>
                <a:cxn ang="0">
                  <a:pos x="89" y="20"/>
                </a:cxn>
                <a:cxn ang="0">
                  <a:pos x="133" y="0"/>
                </a:cxn>
              </a:cxnLst>
              <a:rect l="0" t="0" r="r" b="b"/>
              <a:pathLst>
                <a:path w="133" h="112">
                  <a:moveTo>
                    <a:pt x="49" y="112"/>
                  </a:moveTo>
                  <a:lnTo>
                    <a:pt x="30" y="96"/>
                  </a:lnTo>
                  <a:lnTo>
                    <a:pt x="21" y="72"/>
                  </a:lnTo>
                  <a:lnTo>
                    <a:pt x="0" y="47"/>
                  </a:lnTo>
                  <a:lnTo>
                    <a:pt x="2" y="45"/>
                  </a:lnTo>
                  <a:lnTo>
                    <a:pt x="5" y="43"/>
                  </a:lnTo>
                  <a:lnTo>
                    <a:pt x="9" y="40"/>
                  </a:lnTo>
                  <a:lnTo>
                    <a:pt x="13" y="38"/>
                  </a:lnTo>
                  <a:lnTo>
                    <a:pt x="24" y="35"/>
                  </a:lnTo>
                  <a:lnTo>
                    <a:pt x="34" y="32"/>
                  </a:lnTo>
                  <a:lnTo>
                    <a:pt x="73" y="30"/>
                  </a:lnTo>
                  <a:lnTo>
                    <a:pt x="89" y="20"/>
                  </a:lnTo>
                  <a:lnTo>
                    <a:pt x="133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98" name="Freeform 113">
              <a:extLst>
                <a:ext uri="{FF2B5EF4-FFF2-40B4-BE49-F238E27FC236}">
                  <a16:creationId xmlns:a16="http://schemas.microsoft.com/office/drawing/2014/main" id="{CAD8A1AD-03C2-4A61-8478-1DDAF4353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2989" y="5061426"/>
              <a:ext cx="135503" cy="48037"/>
            </a:xfrm>
            <a:custGeom>
              <a:avLst/>
              <a:gdLst>
                <a:gd name="T0" fmla="*/ 2147483647 w 112"/>
                <a:gd name="T1" fmla="*/ 2147483647 h 44"/>
                <a:gd name="T2" fmla="*/ 0 w 112"/>
                <a:gd name="T3" fmla="*/ 2147483647 h 44"/>
                <a:gd name="T4" fmla="*/ 0 w 112"/>
                <a:gd name="T5" fmla="*/ 2147483647 h 44"/>
                <a:gd name="T6" fmla="*/ 2147483647 w 112"/>
                <a:gd name="T7" fmla="*/ 2147483647 h 44"/>
                <a:gd name="T8" fmla="*/ 2147483647 w 112"/>
                <a:gd name="T9" fmla="*/ 0 h 44"/>
                <a:gd name="T10" fmla="*/ 2147483647 w 112"/>
                <a:gd name="T11" fmla="*/ 2147483647 h 44"/>
                <a:gd name="T12" fmla="*/ 2147483647 w 112"/>
                <a:gd name="T13" fmla="*/ 2147483647 h 44"/>
                <a:gd name="T14" fmla="*/ 2147483647 w 112"/>
                <a:gd name="T15" fmla="*/ 2147483647 h 44"/>
                <a:gd name="T16" fmla="*/ 2147483647 w 112"/>
                <a:gd name="T17" fmla="*/ 2147483647 h 44"/>
                <a:gd name="T18" fmla="*/ 2147483647 w 112"/>
                <a:gd name="T19" fmla="*/ 2147483647 h 44"/>
                <a:gd name="T20" fmla="*/ 2147483647 w 112"/>
                <a:gd name="T21" fmla="*/ 2147483647 h 44"/>
                <a:gd name="T22" fmla="*/ 2147483647 w 112"/>
                <a:gd name="T23" fmla="*/ 2147483647 h 44"/>
                <a:gd name="T24" fmla="*/ 2147483647 w 112"/>
                <a:gd name="T25" fmla="*/ 2147483647 h 44"/>
                <a:gd name="T26" fmla="*/ 2147483647 w 112"/>
                <a:gd name="T27" fmla="*/ 2147483647 h 44"/>
                <a:gd name="T28" fmla="*/ 2147483647 w 112"/>
                <a:gd name="T29" fmla="*/ 2147483647 h 44"/>
                <a:gd name="T30" fmla="*/ 2147483647 w 112"/>
                <a:gd name="T31" fmla="*/ 2147483647 h 44"/>
                <a:gd name="T32" fmla="*/ 2147483647 w 112"/>
                <a:gd name="T33" fmla="*/ 2147483647 h 44"/>
                <a:gd name="T34" fmla="*/ 2147483647 w 112"/>
                <a:gd name="T35" fmla="*/ 2147483647 h 44"/>
                <a:gd name="T36" fmla="*/ 2147483647 w 112"/>
                <a:gd name="T37" fmla="*/ 2147483647 h 44"/>
                <a:gd name="T38" fmla="*/ 2147483647 w 112"/>
                <a:gd name="T39" fmla="*/ 2147483647 h 44"/>
                <a:gd name="T40" fmla="*/ 2147483647 w 112"/>
                <a:gd name="T41" fmla="*/ 2147483647 h 44"/>
                <a:gd name="T42" fmla="*/ 2147483647 w 112"/>
                <a:gd name="T43" fmla="*/ 2147483647 h 44"/>
                <a:gd name="T44" fmla="*/ 2147483647 w 112"/>
                <a:gd name="T45" fmla="*/ 2147483647 h 44"/>
                <a:gd name="T46" fmla="*/ 2147483647 w 112"/>
                <a:gd name="T47" fmla="*/ 2147483647 h 44"/>
                <a:gd name="T48" fmla="*/ 2147483647 w 112"/>
                <a:gd name="T49" fmla="*/ 2147483647 h 44"/>
                <a:gd name="T50" fmla="*/ 2147483647 w 112"/>
                <a:gd name="T51" fmla="*/ 2147483647 h 44"/>
                <a:gd name="T52" fmla="*/ 2147483647 w 112"/>
                <a:gd name="T53" fmla="*/ 2147483647 h 44"/>
                <a:gd name="T54" fmla="*/ 2147483647 w 112"/>
                <a:gd name="T55" fmla="*/ 2147483647 h 44"/>
                <a:gd name="T56" fmla="*/ 2147483647 w 112"/>
                <a:gd name="T57" fmla="*/ 2147483647 h 44"/>
                <a:gd name="T58" fmla="*/ 2147483647 w 112"/>
                <a:gd name="T59" fmla="*/ 2147483647 h 44"/>
                <a:gd name="T60" fmla="*/ 2147483647 w 112"/>
                <a:gd name="T61" fmla="*/ 2147483647 h 4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2"/>
                <a:gd name="T94" fmla="*/ 0 h 44"/>
                <a:gd name="T95" fmla="*/ 112 w 112"/>
                <a:gd name="T96" fmla="*/ 44 h 4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2" h="44">
                  <a:moveTo>
                    <a:pt x="2" y="28"/>
                  </a:moveTo>
                  <a:lnTo>
                    <a:pt x="0" y="20"/>
                  </a:lnTo>
                  <a:lnTo>
                    <a:pt x="0" y="11"/>
                  </a:lnTo>
                  <a:lnTo>
                    <a:pt x="4" y="5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15" y="2"/>
                  </a:lnTo>
                  <a:lnTo>
                    <a:pt x="17" y="5"/>
                  </a:lnTo>
                  <a:lnTo>
                    <a:pt x="19" y="8"/>
                  </a:lnTo>
                  <a:lnTo>
                    <a:pt x="21" y="9"/>
                  </a:lnTo>
                  <a:lnTo>
                    <a:pt x="24" y="10"/>
                  </a:lnTo>
                  <a:lnTo>
                    <a:pt x="27" y="14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6" y="18"/>
                  </a:lnTo>
                  <a:lnTo>
                    <a:pt x="42" y="17"/>
                  </a:lnTo>
                  <a:lnTo>
                    <a:pt x="50" y="14"/>
                  </a:lnTo>
                  <a:lnTo>
                    <a:pt x="56" y="16"/>
                  </a:lnTo>
                  <a:lnTo>
                    <a:pt x="62" y="18"/>
                  </a:lnTo>
                  <a:lnTo>
                    <a:pt x="67" y="19"/>
                  </a:lnTo>
                  <a:lnTo>
                    <a:pt x="69" y="20"/>
                  </a:lnTo>
                  <a:lnTo>
                    <a:pt x="77" y="19"/>
                  </a:lnTo>
                  <a:lnTo>
                    <a:pt x="85" y="19"/>
                  </a:lnTo>
                  <a:lnTo>
                    <a:pt x="93" y="20"/>
                  </a:lnTo>
                  <a:lnTo>
                    <a:pt x="101" y="22"/>
                  </a:lnTo>
                  <a:lnTo>
                    <a:pt x="104" y="28"/>
                  </a:lnTo>
                  <a:lnTo>
                    <a:pt x="107" y="35"/>
                  </a:lnTo>
                  <a:lnTo>
                    <a:pt x="111" y="41"/>
                  </a:lnTo>
                  <a:lnTo>
                    <a:pt x="112" y="43"/>
                  </a:lnTo>
                  <a:lnTo>
                    <a:pt x="112" y="4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9" name="Freeform 114">
              <a:extLst>
                <a:ext uri="{FF2B5EF4-FFF2-40B4-BE49-F238E27FC236}">
                  <a16:creationId xmlns:a16="http://schemas.microsoft.com/office/drawing/2014/main" id="{72CEC0D0-68A1-4C8E-954C-45F6B51F6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5909" y="2400729"/>
              <a:ext cx="164619" cy="18627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3" y="16"/>
                </a:cxn>
                <a:cxn ang="0">
                  <a:pos x="6" y="14"/>
                </a:cxn>
                <a:cxn ang="0">
                  <a:pos x="10" y="11"/>
                </a:cxn>
                <a:cxn ang="0">
                  <a:pos x="15" y="8"/>
                </a:cxn>
                <a:cxn ang="0">
                  <a:pos x="21" y="4"/>
                </a:cxn>
                <a:cxn ang="0">
                  <a:pos x="29" y="2"/>
                </a:cxn>
                <a:cxn ang="0">
                  <a:pos x="38" y="0"/>
                </a:cxn>
                <a:cxn ang="0">
                  <a:pos x="50" y="0"/>
                </a:cxn>
                <a:cxn ang="0">
                  <a:pos x="136" y="11"/>
                </a:cxn>
              </a:cxnLst>
              <a:rect l="0" t="0" r="r" b="b"/>
              <a:pathLst>
                <a:path w="136" h="18">
                  <a:moveTo>
                    <a:pt x="0" y="18"/>
                  </a:moveTo>
                  <a:lnTo>
                    <a:pt x="3" y="16"/>
                  </a:lnTo>
                  <a:lnTo>
                    <a:pt x="6" y="14"/>
                  </a:lnTo>
                  <a:lnTo>
                    <a:pt x="10" y="11"/>
                  </a:lnTo>
                  <a:lnTo>
                    <a:pt x="15" y="8"/>
                  </a:lnTo>
                  <a:lnTo>
                    <a:pt x="21" y="4"/>
                  </a:lnTo>
                  <a:lnTo>
                    <a:pt x="29" y="2"/>
                  </a:lnTo>
                  <a:lnTo>
                    <a:pt x="38" y="0"/>
                  </a:lnTo>
                  <a:lnTo>
                    <a:pt x="50" y="0"/>
                  </a:lnTo>
                  <a:lnTo>
                    <a:pt x="136" y="11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Freeform 115">
              <a:extLst>
                <a:ext uri="{FF2B5EF4-FFF2-40B4-BE49-F238E27FC236}">
                  <a16:creationId xmlns:a16="http://schemas.microsoft.com/office/drawing/2014/main" id="{9BDFDA59-5ADB-4800-8361-958607593E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5423" y="2231127"/>
              <a:ext cx="164619" cy="39214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48" y="37"/>
                </a:cxn>
                <a:cxn ang="0">
                  <a:pos x="58" y="35"/>
                </a:cxn>
                <a:cxn ang="0">
                  <a:pos x="70" y="31"/>
                </a:cxn>
                <a:cxn ang="0">
                  <a:pos x="82" y="25"/>
                </a:cxn>
                <a:cxn ang="0">
                  <a:pos x="95" y="20"/>
                </a:cxn>
                <a:cxn ang="0">
                  <a:pos x="108" y="14"/>
                </a:cxn>
                <a:cxn ang="0">
                  <a:pos x="120" y="9"/>
                </a:cxn>
                <a:cxn ang="0">
                  <a:pos x="129" y="4"/>
                </a:cxn>
                <a:cxn ang="0">
                  <a:pos x="136" y="1"/>
                </a:cxn>
                <a:cxn ang="0">
                  <a:pos x="136" y="0"/>
                </a:cxn>
              </a:cxnLst>
              <a:rect l="0" t="0" r="r" b="b"/>
              <a:pathLst>
                <a:path w="136" h="37">
                  <a:moveTo>
                    <a:pt x="0" y="28"/>
                  </a:moveTo>
                  <a:lnTo>
                    <a:pt x="48" y="37"/>
                  </a:lnTo>
                  <a:lnTo>
                    <a:pt x="58" y="35"/>
                  </a:lnTo>
                  <a:lnTo>
                    <a:pt x="70" y="31"/>
                  </a:lnTo>
                  <a:lnTo>
                    <a:pt x="82" y="25"/>
                  </a:lnTo>
                  <a:lnTo>
                    <a:pt x="95" y="20"/>
                  </a:lnTo>
                  <a:lnTo>
                    <a:pt x="108" y="14"/>
                  </a:lnTo>
                  <a:lnTo>
                    <a:pt x="120" y="9"/>
                  </a:lnTo>
                  <a:lnTo>
                    <a:pt x="129" y="4"/>
                  </a:lnTo>
                  <a:lnTo>
                    <a:pt x="136" y="1"/>
                  </a:lnTo>
                  <a:lnTo>
                    <a:pt x="136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1" name="Freeform 116">
              <a:extLst>
                <a:ext uri="{FF2B5EF4-FFF2-40B4-BE49-F238E27FC236}">
                  <a16:creationId xmlns:a16="http://schemas.microsoft.com/office/drawing/2014/main" id="{B86A1500-64DE-4DFF-A7C8-630936AA8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183" y="2208578"/>
              <a:ext cx="357232" cy="68625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4" y="49"/>
                </a:cxn>
                <a:cxn ang="0">
                  <a:pos x="9" y="49"/>
                </a:cxn>
                <a:cxn ang="0">
                  <a:pos x="23" y="51"/>
                </a:cxn>
                <a:cxn ang="0">
                  <a:pos x="38" y="54"/>
                </a:cxn>
                <a:cxn ang="0">
                  <a:pos x="55" y="57"/>
                </a:cxn>
                <a:cxn ang="0">
                  <a:pos x="73" y="59"/>
                </a:cxn>
                <a:cxn ang="0">
                  <a:pos x="89" y="61"/>
                </a:cxn>
                <a:cxn ang="0">
                  <a:pos x="104" y="63"/>
                </a:cxn>
                <a:cxn ang="0">
                  <a:pos x="110" y="63"/>
                </a:cxn>
                <a:cxn ang="0">
                  <a:pos x="115" y="63"/>
                </a:cxn>
                <a:cxn ang="0">
                  <a:pos x="154" y="42"/>
                </a:cxn>
                <a:cxn ang="0">
                  <a:pos x="187" y="0"/>
                </a:cxn>
                <a:cxn ang="0">
                  <a:pos x="214" y="3"/>
                </a:cxn>
                <a:cxn ang="0">
                  <a:pos x="296" y="45"/>
                </a:cxn>
              </a:cxnLst>
              <a:rect l="0" t="0" r="r" b="b"/>
              <a:pathLst>
                <a:path w="296" h="63">
                  <a:moveTo>
                    <a:pt x="0" y="48"/>
                  </a:moveTo>
                  <a:lnTo>
                    <a:pt x="4" y="49"/>
                  </a:lnTo>
                  <a:lnTo>
                    <a:pt x="9" y="49"/>
                  </a:lnTo>
                  <a:lnTo>
                    <a:pt x="23" y="51"/>
                  </a:lnTo>
                  <a:lnTo>
                    <a:pt x="38" y="54"/>
                  </a:lnTo>
                  <a:lnTo>
                    <a:pt x="55" y="57"/>
                  </a:lnTo>
                  <a:lnTo>
                    <a:pt x="73" y="59"/>
                  </a:lnTo>
                  <a:lnTo>
                    <a:pt x="89" y="61"/>
                  </a:lnTo>
                  <a:lnTo>
                    <a:pt x="104" y="63"/>
                  </a:lnTo>
                  <a:lnTo>
                    <a:pt x="110" y="63"/>
                  </a:lnTo>
                  <a:lnTo>
                    <a:pt x="115" y="63"/>
                  </a:lnTo>
                  <a:lnTo>
                    <a:pt x="154" y="42"/>
                  </a:lnTo>
                  <a:lnTo>
                    <a:pt x="187" y="0"/>
                  </a:lnTo>
                  <a:lnTo>
                    <a:pt x="214" y="3"/>
                  </a:lnTo>
                  <a:lnTo>
                    <a:pt x="296" y="45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2" name="Freeform 117">
              <a:extLst>
                <a:ext uri="{FF2B5EF4-FFF2-40B4-BE49-F238E27FC236}">
                  <a16:creationId xmlns:a16="http://schemas.microsoft.com/office/drawing/2014/main" id="{ADFF8BFB-5E09-453C-9763-281572DC7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313" y="2244852"/>
              <a:ext cx="31357" cy="116662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8" y="57"/>
                </a:cxn>
                <a:cxn ang="0">
                  <a:pos x="14" y="71"/>
                </a:cxn>
                <a:cxn ang="0">
                  <a:pos x="9" y="86"/>
                </a:cxn>
                <a:cxn ang="0">
                  <a:pos x="6" y="93"/>
                </a:cxn>
                <a:cxn ang="0">
                  <a:pos x="4" y="99"/>
                </a:cxn>
                <a:cxn ang="0">
                  <a:pos x="2" y="104"/>
                </a:cxn>
                <a:cxn ang="0">
                  <a:pos x="0" y="108"/>
                </a:cxn>
              </a:cxnLst>
              <a:rect l="0" t="0" r="r" b="b"/>
              <a:pathLst>
                <a:path w="27" h="108">
                  <a:moveTo>
                    <a:pt x="27" y="0"/>
                  </a:moveTo>
                  <a:lnTo>
                    <a:pt x="18" y="57"/>
                  </a:lnTo>
                  <a:lnTo>
                    <a:pt x="14" y="71"/>
                  </a:lnTo>
                  <a:lnTo>
                    <a:pt x="9" y="86"/>
                  </a:lnTo>
                  <a:lnTo>
                    <a:pt x="6" y="93"/>
                  </a:lnTo>
                  <a:lnTo>
                    <a:pt x="4" y="99"/>
                  </a:lnTo>
                  <a:lnTo>
                    <a:pt x="2" y="104"/>
                  </a:lnTo>
                  <a:lnTo>
                    <a:pt x="0" y="108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3" name="Line 118">
              <a:extLst>
                <a:ext uri="{FF2B5EF4-FFF2-40B4-BE49-F238E27FC236}">
                  <a16:creationId xmlns:a16="http://schemas.microsoft.com/office/drawing/2014/main" id="{733A75C0-8A74-44AB-8890-119E3F9254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05009" y="2501706"/>
              <a:ext cx="13439" cy="81370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4" name="Line 119">
              <a:extLst>
                <a:ext uri="{FF2B5EF4-FFF2-40B4-BE49-F238E27FC236}">
                  <a16:creationId xmlns:a16="http://schemas.microsoft.com/office/drawing/2014/main" id="{DA44A9BA-0552-490C-A0FF-B43FAC118D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20687" y="2603663"/>
              <a:ext cx="26877" cy="3431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5" name="Line 120">
              <a:extLst>
                <a:ext uri="{FF2B5EF4-FFF2-40B4-BE49-F238E27FC236}">
                  <a16:creationId xmlns:a16="http://schemas.microsoft.com/office/drawing/2014/main" id="{7ED2511B-45D3-4A62-B38D-53EBA53E9A6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72535" y="2511510"/>
              <a:ext cx="12317" cy="4215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6" name="Line 121">
              <a:extLst>
                <a:ext uri="{FF2B5EF4-FFF2-40B4-BE49-F238E27FC236}">
                  <a16:creationId xmlns:a16="http://schemas.microsoft.com/office/drawing/2014/main" id="{2DD854FC-F0E3-4C98-BEBC-5B91597545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9823" y="2498766"/>
              <a:ext cx="103027" cy="96075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7" name="Freeform 122">
              <a:extLst>
                <a:ext uri="{FF2B5EF4-FFF2-40B4-BE49-F238E27FC236}">
                  <a16:creationId xmlns:a16="http://schemas.microsoft.com/office/drawing/2014/main" id="{04119163-BBA7-4EAA-9655-57A109CC2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5424" y="2491902"/>
              <a:ext cx="109745" cy="1960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7" y="18"/>
                </a:cxn>
                <a:cxn ang="0">
                  <a:pos x="91" y="0"/>
                </a:cxn>
              </a:cxnLst>
              <a:rect l="0" t="0" r="r" b="b"/>
              <a:pathLst>
                <a:path w="91" h="18">
                  <a:moveTo>
                    <a:pt x="0" y="9"/>
                  </a:moveTo>
                  <a:lnTo>
                    <a:pt x="47" y="18"/>
                  </a:lnTo>
                  <a:lnTo>
                    <a:pt x="91" y="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8" name="Freeform 123">
              <a:extLst>
                <a:ext uri="{FF2B5EF4-FFF2-40B4-BE49-F238E27FC236}">
                  <a16:creationId xmlns:a16="http://schemas.microsoft.com/office/drawing/2014/main" id="{1F71E142-E5FA-4300-AB97-73886D0E2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4736" y="2762481"/>
              <a:ext cx="181416" cy="80390"/>
            </a:xfrm>
            <a:custGeom>
              <a:avLst/>
              <a:gdLst>
                <a:gd name="T0" fmla="*/ 0 w 151"/>
                <a:gd name="T1" fmla="*/ 0 h 74"/>
                <a:gd name="T2" fmla="*/ 2147483647 w 151"/>
                <a:gd name="T3" fmla="*/ 2147483647 h 74"/>
                <a:gd name="T4" fmla="*/ 2147483647 w 151"/>
                <a:gd name="T5" fmla="*/ 2147483647 h 74"/>
                <a:gd name="T6" fmla="*/ 2147483647 w 151"/>
                <a:gd name="T7" fmla="*/ 2147483647 h 7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1"/>
                <a:gd name="T13" fmla="*/ 0 h 74"/>
                <a:gd name="T14" fmla="*/ 151 w 151"/>
                <a:gd name="T15" fmla="*/ 74 h 7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1" h="74">
                  <a:moveTo>
                    <a:pt x="0" y="0"/>
                  </a:moveTo>
                  <a:lnTo>
                    <a:pt x="99" y="64"/>
                  </a:lnTo>
                  <a:lnTo>
                    <a:pt x="135" y="74"/>
                  </a:lnTo>
                  <a:lnTo>
                    <a:pt x="151" y="68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9" name="Line 124">
              <a:extLst>
                <a:ext uri="{FF2B5EF4-FFF2-40B4-BE49-F238E27FC236}">
                  <a16:creationId xmlns:a16="http://schemas.microsoft.com/office/drawing/2014/main" id="{B3E1DE76-315E-428E-84E8-DAC21781B2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52952" y="2402690"/>
              <a:ext cx="145580" cy="588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0" name="Freeform 125">
              <a:extLst>
                <a:ext uri="{FF2B5EF4-FFF2-40B4-BE49-F238E27FC236}">
                  <a16:creationId xmlns:a16="http://schemas.microsoft.com/office/drawing/2014/main" id="{4EAB7BB6-1960-45CF-BD0D-98011CBBD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1873" y="2374259"/>
              <a:ext cx="131023" cy="9803"/>
            </a:xfrm>
            <a:custGeom>
              <a:avLst/>
              <a:gdLst>
                <a:gd name="T0" fmla="*/ 0 w 109"/>
                <a:gd name="T1" fmla="*/ 2147483647 h 9"/>
                <a:gd name="T2" fmla="*/ 2147483647 w 109"/>
                <a:gd name="T3" fmla="*/ 2147483647 h 9"/>
                <a:gd name="T4" fmla="*/ 2147483647 w 109"/>
                <a:gd name="T5" fmla="*/ 0 h 9"/>
                <a:gd name="T6" fmla="*/ 0 60000 65536"/>
                <a:gd name="T7" fmla="*/ 0 60000 65536"/>
                <a:gd name="T8" fmla="*/ 0 60000 65536"/>
                <a:gd name="T9" fmla="*/ 0 w 109"/>
                <a:gd name="T10" fmla="*/ 0 h 9"/>
                <a:gd name="T11" fmla="*/ 109 w 109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9" h="9">
                  <a:moveTo>
                    <a:pt x="0" y="6"/>
                  </a:moveTo>
                  <a:lnTo>
                    <a:pt x="54" y="9"/>
                  </a:lnTo>
                  <a:lnTo>
                    <a:pt x="109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1" name="Freeform 126">
              <a:extLst>
                <a:ext uri="{FF2B5EF4-FFF2-40B4-BE49-F238E27FC236}">
                  <a16:creationId xmlns:a16="http://schemas.microsoft.com/office/drawing/2014/main" id="{6A482F07-F2FE-46FC-ADEA-78C823CD3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121" y="2429160"/>
              <a:ext cx="267644" cy="29410"/>
            </a:xfrm>
            <a:custGeom>
              <a:avLst/>
              <a:gdLst/>
              <a:ahLst/>
              <a:cxnLst>
                <a:cxn ang="0">
                  <a:pos x="222" y="10"/>
                </a:cxn>
                <a:cxn ang="0">
                  <a:pos x="146" y="4"/>
                </a:cxn>
                <a:cxn ang="0">
                  <a:pos x="129" y="3"/>
                </a:cxn>
                <a:cxn ang="0">
                  <a:pos x="112" y="1"/>
                </a:cxn>
                <a:cxn ang="0">
                  <a:pos x="95" y="0"/>
                </a:cxn>
                <a:cxn ang="0">
                  <a:pos x="77" y="1"/>
                </a:cxn>
                <a:cxn ang="0">
                  <a:pos x="0" y="27"/>
                </a:cxn>
              </a:cxnLst>
              <a:rect l="0" t="0" r="r" b="b"/>
              <a:pathLst>
                <a:path w="222" h="27">
                  <a:moveTo>
                    <a:pt x="222" y="10"/>
                  </a:moveTo>
                  <a:lnTo>
                    <a:pt x="146" y="4"/>
                  </a:lnTo>
                  <a:lnTo>
                    <a:pt x="129" y="3"/>
                  </a:lnTo>
                  <a:lnTo>
                    <a:pt x="112" y="1"/>
                  </a:lnTo>
                  <a:lnTo>
                    <a:pt x="95" y="0"/>
                  </a:lnTo>
                  <a:lnTo>
                    <a:pt x="77" y="1"/>
                  </a:lnTo>
                  <a:lnTo>
                    <a:pt x="0" y="27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12" name="Line 127">
              <a:extLst>
                <a:ext uri="{FF2B5EF4-FFF2-40B4-BE49-F238E27FC236}">
                  <a16:creationId xmlns:a16="http://schemas.microsoft.com/office/drawing/2014/main" id="{507CB6CC-69EF-46ED-BE7B-3E42D9D608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17264" y="2031134"/>
              <a:ext cx="15677" cy="34313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3" name="Freeform 128">
              <a:extLst>
                <a:ext uri="{FF2B5EF4-FFF2-40B4-BE49-F238E27FC236}">
                  <a16:creationId xmlns:a16="http://schemas.microsoft.com/office/drawing/2014/main" id="{1F9E9D32-CE27-435C-B1B7-CC151E0D4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754" y="1738007"/>
              <a:ext cx="171337" cy="221561"/>
            </a:xfrm>
            <a:custGeom>
              <a:avLst/>
              <a:gdLst>
                <a:gd name="T0" fmla="*/ 2147483647 w 141"/>
                <a:gd name="T1" fmla="*/ 2147483647 h 205"/>
                <a:gd name="T2" fmla="*/ 2147483647 w 141"/>
                <a:gd name="T3" fmla="*/ 2147483647 h 205"/>
                <a:gd name="T4" fmla="*/ 2147483647 w 141"/>
                <a:gd name="T5" fmla="*/ 2147483647 h 205"/>
                <a:gd name="T6" fmla="*/ 2147483647 w 141"/>
                <a:gd name="T7" fmla="*/ 2147483647 h 205"/>
                <a:gd name="T8" fmla="*/ 2147483647 w 141"/>
                <a:gd name="T9" fmla="*/ 2147483647 h 205"/>
                <a:gd name="T10" fmla="*/ 2147483647 w 141"/>
                <a:gd name="T11" fmla="*/ 2147483647 h 205"/>
                <a:gd name="T12" fmla="*/ 0 w 141"/>
                <a:gd name="T13" fmla="*/ 2147483647 h 205"/>
                <a:gd name="T14" fmla="*/ 2147483647 w 141"/>
                <a:gd name="T15" fmla="*/ 2147483647 h 205"/>
                <a:gd name="T16" fmla="*/ 2147483647 w 141"/>
                <a:gd name="T17" fmla="*/ 2147483647 h 205"/>
                <a:gd name="T18" fmla="*/ 2147483647 w 141"/>
                <a:gd name="T19" fmla="*/ 2147483647 h 205"/>
                <a:gd name="T20" fmla="*/ 2147483647 w 141"/>
                <a:gd name="T21" fmla="*/ 2147483647 h 205"/>
                <a:gd name="T22" fmla="*/ 2147483647 w 141"/>
                <a:gd name="T23" fmla="*/ 0 h 20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1"/>
                <a:gd name="T37" fmla="*/ 0 h 205"/>
                <a:gd name="T38" fmla="*/ 141 w 141"/>
                <a:gd name="T39" fmla="*/ 205 h 20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1" h="205">
                  <a:moveTo>
                    <a:pt x="48" y="205"/>
                  </a:moveTo>
                  <a:lnTo>
                    <a:pt x="22" y="145"/>
                  </a:lnTo>
                  <a:lnTo>
                    <a:pt x="19" y="140"/>
                  </a:lnTo>
                  <a:lnTo>
                    <a:pt x="16" y="135"/>
                  </a:lnTo>
                  <a:lnTo>
                    <a:pt x="9" y="127"/>
                  </a:lnTo>
                  <a:lnTo>
                    <a:pt x="3" y="119"/>
                  </a:lnTo>
                  <a:lnTo>
                    <a:pt x="0" y="109"/>
                  </a:lnTo>
                  <a:lnTo>
                    <a:pt x="12" y="56"/>
                  </a:lnTo>
                  <a:lnTo>
                    <a:pt x="50" y="48"/>
                  </a:lnTo>
                  <a:lnTo>
                    <a:pt x="48" y="12"/>
                  </a:lnTo>
                  <a:lnTo>
                    <a:pt x="93" y="14"/>
                  </a:lnTo>
                  <a:lnTo>
                    <a:pt x="141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4" name="Freeform 129">
              <a:extLst>
                <a:ext uri="{FF2B5EF4-FFF2-40B4-BE49-F238E27FC236}">
                  <a16:creationId xmlns:a16="http://schemas.microsoft.com/office/drawing/2014/main" id="{902FAFF3-C73A-4A78-984A-A2CB56AF3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7583" y="2505628"/>
              <a:ext cx="22397" cy="128427"/>
            </a:xfrm>
            <a:custGeom>
              <a:avLst/>
              <a:gdLst>
                <a:gd name="T0" fmla="*/ 2147483647 w 19"/>
                <a:gd name="T1" fmla="*/ 2147483647 h 119"/>
                <a:gd name="T2" fmla="*/ 2147483647 w 19"/>
                <a:gd name="T3" fmla="*/ 2147483647 h 119"/>
                <a:gd name="T4" fmla="*/ 2147483647 w 19"/>
                <a:gd name="T5" fmla="*/ 2147483647 h 119"/>
                <a:gd name="T6" fmla="*/ 2147483647 w 19"/>
                <a:gd name="T7" fmla="*/ 2147483647 h 119"/>
                <a:gd name="T8" fmla="*/ 2147483647 w 19"/>
                <a:gd name="T9" fmla="*/ 2147483647 h 119"/>
                <a:gd name="T10" fmla="*/ 2147483647 w 19"/>
                <a:gd name="T11" fmla="*/ 2147483647 h 119"/>
                <a:gd name="T12" fmla="*/ 2147483647 w 19"/>
                <a:gd name="T13" fmla="*/ 2147483647 h 119"/>
                <a:gd name="T14" fmla="*/ 2147483647 w 19"/>
                <a:gd name="T15" fmla="*/ 2147483647 h 119"/>
                <a:gd name="T16" fmla="*/ 2147483647 w 19"/>
                <a:gd name="T17" fmla="*/ 2147483647 h 119"/>
                <a:gd name="T18" fmla="*/ 0 w 19"/>
                <a:gd name="T19" fmla="*/ 0 h 1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119"/>
                <a:gd name="T32" fmla="*/ 19 w 19"/>
                <a:gd name="T33" fmla="*/ 119 h 1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119">
                  <a:moveTo>
                    <a:pt x="14" y="119"/>
                  </a:moveTo>
                  <a:lnTo>
                    <a:pt x="16" y="96"/>
                  </a:lnTo>
                  <a:lnTo>
                    <a:pt x="19" y="68"/>
                  </a:lnTo>
                  <a:lnTo>
                    <a:pt x="18" y="61"/>
                  </a:lnTo>
                  <a:lnTo>
                    <a:pt x="15" y="53"/>
                  </a:lnTo>
                  <a:lnTo>
                    <a:pt x="10" y="33"/>
                  </a:lnTo>
                  <a:lnTo>
                    <a:pt x="7" y="23"/>
                  </a:lnTo>
                  <a:lnTo>
                    <a:pt x="4" y="14"/>
                  </a:lnTo>
                  <a:lnTo>
                    <a:pt x="2" y="6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5" name="Freeform 130">
              <a:extLst>
                <a:ext uri="{FF2B5EF4-FFF2-40B4-BE49-F238E27FC236}">
                  <a16:creationId xmlns:a16="http://schemas.microsoft.com/office/drawing/2014/main" id="{D63C952C-9FE7-4F50-95F6-B062033AC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389" y="2703660"/>
              <a:ext cx="113105" cy="73527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12" y="50"/>
                </a:cxn>
                <a:cxn ang="0">
                  <a:pos x="28" y="46"/>
                </a:cxn>
                <a:cxn ang="0">
                  <a:pos x="32" y="43"/>
                </a:cxn>
                <a:cxn ang="0">
                  <a:pos x="37" y="39"/>
                </a:cxn>
                <a:cxn ang="0">
                  <a:pos x="50" y="30"/>
                </a:cxn>
                <a:cxn ang="0">
                  <a:pos x="62" y="20"/>
                </a:cxn>
                <a:cxn ang="0">
                  <a:pos x="67" y="17"/>
                </a:cxn>
                <a:cxn ang="0">
                  <a:pos x="93" y="0"/>
                </a:cxn>
              </a:cxnLst>
              <a:rect l="0" t="0" r="r" b="b"/>
              <a:pathLst>
                <a:path w="93" h="68">
                  <a:moveTo>
                    <a:pt x="0" y="68"/>
                  </a:moveTo>
                  <a:lnTo>
                    <a:pt x="12" y="50"/>
                  </a:lnTo>
                  <a:lnTo>
                    <a:pt x="28" y="46"/>
                  </a:lnTo>
                  <a:lnTo>
                    <a:pt x="32" y="43"/>
                  </a:lnTo>
                  <a:lnTo>
                    <a:pt x="37" y="39"/>
                  </a:lnTo>
                  <a:lnTo>
                    <a:pt x="50" y="30"/>
                  </a:lnTo>
                  <a:lnTo>
                    <a:pt x="62" y="20"/>
                  </a:lnTo>
                  <a:lnTo>
                    <a:pt x="67" y="17"/>
                  </a:lnTo>
                  <a:lnTo>
                    <a:pt x="93" y="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16" name="Freeform 131">
              <a:extLst>
                <a:ext uri="{FF2B5EF4-FFF2-40B4-BE49-F238E27FC236}">
                  <a16:creationId xmlns:a16="http://schemas.microsoft.com/office/drawing/2014/main" id="{B0E1916F-F9C1-401C-B41F-310F65C461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4067" y="2129169"/>
              <a:ext cx="27996" cy="529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19"/>
                </a:cxn>
                <a:cxn ang="0">
                  <a:pos x="23" y="49"/>
                </a:cxn>
              </a:cxnLst>
              <a:rect l="0" t="0" r="r" b="b"/>
              <a:pathLst>
                <a:path w="23" h="49">
                  <a:moveTo>
                    <a:pt x="0" y="0"/>
                  </a:moveTo>
                  <a:lnTo>
                    <a:pt x="7" y="19"/>
                  </a:lnTo>
                  <a:lnTo>
                    <a:pt x="23" y="49"/>
                  </a:lnTo>
                </a:path>
              </a:pathLst>
            </a:custGeom>
            <a:solidFill>
              <a:srgbClr val="FF6B72"/>
            </a:solidFill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7" name="Freeform 132">
              <a:extLst>
                <a:ext uri="{FF2B5EF4-FFF2-40B4-BE49-F238E27FC236}">
                  <a16:creationId xmlns:a16="http://schemas.microsoft.com/office/drawing/2014/main" id="{B03AB71C-F358-4EAF-8090-3EF89DC90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9824" y="2141914"/>
              <a:ext cx="20157" cy="49018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13" y="32"/>
                </a:cxn>
                <a:cxn ang="0">
                  <a:pos x="15" y="0"/>
                </a:cxn>
              </a:cxnLst>
              <a:rect l="0" t="0" r="r" b="b"/>
              <a:pathLst>
                <a:path w="15" h="45">
                  <a:moveTo>
                    <a:pt x="0" y="45"/>
                  </a:moveTo>
                  <a:lnTo>
                    <a:pt x="13" y="32"/>
                  </a:lnTo>
                  <a:lnTo>
                    <a:pt x="15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8" name="Freeform 133">
              <a:extLst>
                <a:ext uri="{FF2B5EF4-FFF2-40B4-BE49-F238E27FC236}">
                  <a16:creationId xmlns:a16="http://schemas.microsoft.com/office/drawing/2014/main" id="{122AB835-8361-4408-97F6-1D6FB708A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5500" y="2055643"/>
              <a:ext cx="4480" cy="84311"/>
            </a:xfrm>
            <a:custGeom>
              <a:avLst/>
              <a:gdLst>
                <a:gd name="T0" fmla="*/ 2147483647 w 3"/>
                <a:gd name="T1" fmla="*/ 2147483647 h 78"/>
                <a:gd name="T2" fmla="*/ 0 w 3"/>
                <a:gd name="T3" fmla="*/ 2147483647 h 78"/>
                <a:gd name="T4" fmla="*/ 2147483647 w 3"/>
                <a:gd name="T5" fmla="*/ 0 h 78"/>
                <a:gd name="T6" fmla="*/ 0 60000 65536"/>
                <a:gd name="T7" fmla="*/ 0 60000 65536"/>
                <a:gd name="T8" fmla="*/ 0 60000 65536"/>
                <a:gd name="T9" fmla="*/ 0 w 3"/>
                <a:gd name="T10" fmla="*/ 0 h 78"/>
                <a:gd name="T11" fmla="*/ 3 w 3"/>
                <a:gd name="T12" fmla="*/ 78 h 7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78">
                  <a:moveTo>
                    <a:pt x="3" y="78"/>
                  </a:moveTo>
                  <a:lnTo>
                    <a:pt x="0" y="39"/>
                  </a:lnTo>
                  <a:lnTo>
                    <a:pt x="2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9" name="Freeform 134">
              <a:extLst>
                <a:ext uri="{FF2B5EF4-FFF2-40B4-BE49-F238E27FC236}">
                  <a16:creationId xmlns:a16="http://schemas.microsoft.com/office/drawing/2014/main" id="{64394B07-6AE9-4820-B120-1FACA0931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981" y="1981135"/>
              <a:ext cx="83988" cy="73527"/>
            </a:xfrm>
            <a:custGeom>
              <a:avLst/>
              <a:gdLst>
                <a:gd name="T0" fmla="*/ 0 w 70"/>
                <a:gd name="T1" fmla="*/ 2147483647 h 68"/>
                <a:gd name="T2" fmla="*/ 2147483647 w 70"/>
                <a:gd name="T3" fmla="*/ 2147483647 h 68"/>
                <a:gd name="T4" fmla="*/ 2147483647 w 70"/>
                <a:gd name="T5" fmla="*/ 0 h 68"/>
                <a:gd name="T6" fmla="*/ 0 60000 65536"/>
                <a:gd name="T7" fmla="*/ 0 60000 65536"/>
                <a:gd name="T8" fmla="*/ 0 60000 65536"/>
                <a:gd name="T9" fmla="*/ 0 w 70"/>
                <a:gd name="T10" fmla="*/ 0 h 68"/>
                <a:gd name="T11" fmla="*/ 70 w 70"/>
                <a:gd name="T12" fmla="*/ 68 h 6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0" h="68">
                  <a:moveTo>
                    <a:pt x="0" y="68"/>
                  </a:moveTo>
                  <a:lnTo>
                    <a:pt x="34" y="33"/>
                  </a:lnTo>
                  <a:lnTo>
                    <a:pt x="7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0" name="Freeform 135">
              <a:extLst>
                <a:ext uri="{FF2B5EF4-FFF2-40B4-BE49-F238E27FC236}">
                  <a16:creationId xmlns:a16="http://schemas.microsoft.com/office/drawing/2014/main" id="{74D9A4F9-0220-48FC-A6B2-41AF5DFC8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5502" y="2051721"/>
              <a:ext cx="47033" cy="99996"/>
            </a:xfrm>
            <a:custGeom>
              <a:avLst/>
              <a:gdLst>
                <a:gd name="T0" fmla="*/ 0 w 40"/>
                <a:gd name="T1" fmla="*/ 0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0 60000 65536"/>
                <a:gd name="T7" fmla="*/ 0 60000 65536"/>
                <a:gd name="T8" fmla="*/ 0 60000 65536"/>
                <a:gd name="T9" fmla="*/ 0 w 40"/>
                <a:gd name="T10" fmla="*/ 0 h 93"/>
                <a:gd name="T11" fmla="*/ 40 w 40"/>
                <a:gd name="T12" fmla="*/ 93 h 9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" h="93">
                  <a:moveTo>
                    <a:pt x="0" y="0"/>
                  </a:moveTo>
                  <a:lnTo>
                    <a:pt x="28" y="60"/>
                  </a:lnTo>
                  <a:lnTo>
                    <a:pt x="40" y="93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1" name="Freeform 136">
              <a:extLst>
                <a:ext uri="{FF2B5EF4-FFF2-40B4-BE49-F238E27FC236}">
                  <a16:creationId xmlns:a16="http://schemas.microsoft.com/office/drawing/2014/main" id="{346CE49B-1EE0-4C21-80C9-CAC33F818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8370" y="2185050"/>
              <a:ext cx="70551" cy="4705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6" y="16"/>
                </a:cxn>
                <a:cxn ang="0">
                  <a:pos x="34" y="23"/>
                </a:cxn>
                <a:cxn ang="0">
                  <a:pos x="44" y="30"/>
                </a:cxn>
                <a:cxn ang="0">
                  <a:pos x="52" y="38"/>
                </a:cxn>
                <a:cxn ang="0">
                  <a:pos x="59" y="43"/>
                </a:cxn>
              </a:cxnLst>
              <a:rect l="0" t="0" r="r" b="b"/>
              <a:pathLst>
                <a:path w="59" h="43">
                  <a:moveTo>
                    <a:pt x="0" y="0"/>
                  </a:moveTo>
                  <a:lnTo>
                    <a:pt x="26" y="16"/>
                  </a:lnTo>
                  <a:lnTo>
                    <a:pt x="34" y="23"/>
                  </a:lnTo>
                  <a:lnTo>
                    <a:pt x="44" y="30"/>
                  </a:lnTo>
                  <a:lnTo>
                    <a:pt x="52" y="38"/>
                  </a:lnTo>
                  <a:lnTo>
                    <a:pt x="59" y="43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22" name="Freeform 137">
              <a:extLst>
                <a:ext uri="{FF2B5EF4-FFF2-40B4-BE49-F238E27FC236}">
                  <a16:creationId xmlns:a16="http://schemas.microsoft.com/office/drawing/2014/main" id="{C1BCF6D5-262B-4E10-AEEE-2AA940C68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756" y="1999761"/>
              <a:ext cx="75576" cy="132635"/>
            </a:xfrm>
            <a:custGeom>
              <a:avLst/>
              <a:gdLst>
                <a:gd name="connsiteX0" fmla="*/ 0 w 7975"/>
                <a:gd name="connsiteY0" fmla="*/ 0 h 8294"/>
                <a:gd name="connsiteX1" fmla="*/ 3861 w 7975"/>
                <a:gd name="connsiteY1" fmla="*/ 3294 h 8294"/>
                <a:gd name="connsiteX2" fmla="*/ 3924 w 7975"/>
                <a:gd name="connsiteY2" fmla="*/ 4647 h 8294"/>
                <a:gd name="connsiteX3" fmla="*/ 3861 w 7975"/>
                <a:gd name="connsiteY3" fmla="*/ 4941 h 8294"/>
                <a:gd name="connsiteX4" fmla="*/ 3797 w 7975"/>
                <a:gd name="connsiteY4" fmla="*/ 5294 h 8294"/>
                <a:gd name="connsiteX5" fmla="*/ 3544 w 7975"/>
                <a:gd name="connsiteY5" fmla="*/ 6000 h 8294"/>
                <a:gd name="connsiteX6" fmla="*/ 3481 w 7975"/>
                <a:gd name="connsiteY6" fmla="*/ 6353 h 8294"/>
                <a:gd name="connsiteX7" fmla="*/ 3418 w 7975"/>
                <a:gd name="connsiteY7" fmla="*/ 6706 h 8294"/>
                <a:gd name="connsiteX8" fmla="*/ 3481 w 7975"/>
                <a:gd name="connsiteY8" fmla="*/ 7000 h 8294"/>
                <a:gd name="connsiteX9" fmla="*/ 3671 w 7975"/>
                <a:gd name="connsiteY9" fmla="*/ 7235 h 8294"/>
                <a:gd name="connsiteX10" fmla="*/ 7975 w 7975"/>
                <a:gd name="connsiteY10" fmla="*/ 8294 h 8294"/>
                <a:gd name="connsiteX0" fmla="*/ 0 w 4920"/>
                <a:gd name="connsiteY0" fmla="*/ 0 h 8723"/>
                <a:gd name="connsiteX1" fmla="*/ 4841 w 4920"/>
                <a:gd name="connsiteY1" fmla="*/ 3972 h 8723"/>
                <a:gd name="connsiteX2" fmla="*/ 4920 w 4920"/>
                <a:gd name="connsiteY2" fmla="*/ 5603 h 8723"/>
                <a:gd name="connsiteX3" fmla="*/ 4841 w 4920"/>
                <a:gd name="connsiteY3" fmla="*/ 5957 h 8723"/>
                <a:gd name="connsiteX4" fmla="*/ 4761 w 4920"/>
                <a:gd name="connsiteY4" fmla="*/ 6383 h 8723"/>
                <a:gd name="connsiteX5" fmla="*/ 4444 w 4920"/>
                <a:gd name="connsiteY5" fmla="*/ 7234 h 8723"/>
                <a:gd name="connsiteX6" fmla="*/ 4365 w 4920"/>
                <a:gd name="connsiteY6" fmla="*/ 7660 h 8723"/>
                <a:gd name="connsiteX7" fmla="*/ 4286 w 4920"/>
                <a:gd name="connsiteY7" fmla="*/ 8085 h 8723"/>
                <a:gd name="connsiteX8" fmla="*/ 4365 w 4920"/>
                <a:gd name="connsiteY8" fmla="*/ 8440 h 8723"/>
                <a:gd name="connsiteX9" fmla="*/ 4603 w 4920"/>
                <a:gd name="connsiteY9" fmla="*/ 8723 h 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20" h="8723">
                  <a:moveTo>
                    <a:pt x="0" y="0"/>
                  </a:moveTo>
                  <a:lnTo>
                    <a:pt x="4841" y="3972"/>
                  </a:lnTo>
                  <a:cubicBezTo>
                    <a:pt x="4867" y="4516"/>
                    <a:pt x="4894" y="5059"/>
                    <a:pt x="4920" y="5603"/>
                  </a:cubicBezTo>
                  <a:cubicBezTo>
                    <a:pt x="4894" y="5721"/>
                    <a:pt x="4867" y="5839"/>
                    <a:pt x="4841" y="5957"/>
                  </a:cubicBezTo>
                  <a:cubicBezTo>
                    <a:pt x="4815" y="6100"/>
                    <a:pt x="4787" y="6241"/>
                    <a:pt x="4761" y="6383"/>
                  </a:cubicBezTo>
                  <a:lnTo>
                    <a:pt x="4444" y="7234"/>
                  </a:lnTo>
                  <a:cubicBezTo>
                    <a:pt x="4418" y="7376"/>
                    <a:pt x="4391" y="7517"/>
                    <a:pt x="4365" y="7660"/>
                  </a:cubicBezTo>
                  <a:cubicBezTo>
                    <a:pt x="4339" y="7802"/>
                    <a:pt x="4312" y="7943"/>
                    <a:pt x="4286" y="8085"/>
                  </a:cubicBezTo>
                  <a:cubicBezTo>
                    <a:pt x="4312" y="8203"/>
                    <a:pt x="4339" y="8322"/>
                    <a:pt x="4365" y="8440"/>
                  </a:cubicBezTo>
                  <a:lnTo>
                    <a:pt x="4603" y="8723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23" name="Line 138">
              <a:extLst>
                <a:ext uri="{FF2B5EF4-FFF2-40B4-BE49-F238E27FC236}">
                  <a16:creationId xmlns:a16="http://schemas.microsoft.com/office/drawing/2014/main" id="{A7E11021-C8B7-482E-9B6B-A2DD7AACBF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2202" y="2228185"/>
              <a:ext cx="85108" cy="18627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24" name="Freeform 139">
              <a:extLst>
                <a:ext uri="{FF2B5EF4-FFF2-40B4-BE49-F238E27FC236}">
                  <a16:creationId xmlns:a16="http://schemas.microsoft.com/office/drawing/2014/main" id="{CFA34F3C-F35C-47D2-BE62-BBD7E7308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9438" y="2412429"/>
              <a:ext cx="142497" cy="188295"/>
            </a:xfrm>
            <a:custGeom>
              <a:avLst/>
              <a:gdLst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2628 w 10000"/>
                <a:gd name="connsiteY4" fmla="*/ 8616 h 10000"/>
                <a:gd name="connsiteX5" fmla="*/ 3577 w 10000"/>
                <a:gd name="connsiteY5" fmla="*/ 8365 h 10000"/>
                <a:gd name="connsiteX6" fmla="*/ 4015 w 10000"/>
                <a:gd name="connsiteY6" fmla="*/ 8239 h 10000"/>
                <a:gd name="connsiteX7" fmla="*/ 4307 w 10000"/>
                <a:gd name="connsiteY7" fmla="*/ 8113 h 10000"/>
                <a:gd name="connsiteX8" fmla="*/ 5255 w 10000"/>
                <a:gd name="connsiteY8" fmla="*/ 7296 h 10000"/>
                <a:gd name="connsiteX9" fmla="*/ 6277 w 10000"/>
                <a:gd name="connsiteY9" fmla="*/ 6698 h 10000"/>
                <a:gd name="connsiteX10" fmla="*/ 7664 w 10000"/>
                <a:gd name="connsiteY10" fmla="*/ 6321 h 10000"/>
                <a:gd name="connsiteX11" fmla="*/ 8540 w 10000"/>
                <a:gd name="connsiteY11" fmla="*/ 4528 h 10000"/>
                <a:gd name="connsiteX12" fmla="*/ 10000 w 10000"/>
                <a:gd name="connsiteY12" fmla="*/ 0 h 10000"/>
                <a:gd name="connsiteX0" fmla="*/ 0 w 8540"/>
                <a:gd name="connsiteY0" fmla="*/ 5472 h 5472"/>
                <a:gd name="connsiteX1" fmla="*/ 949 w 8540"/>
                <a:gd name="connsiteY1" fmla="*/ 4654 h 5472"/>
                <a:gd name="connsiteX2" fmla="*/ 1314 w 8540"/>
                <a:gd name="connsiteY2" fmla="*/ 4497 h 5472"/>
                <a:gd name="connsiteX3" fmla="*/ 1679 w 8540"/>
                <a:gd name="connsiteY3" fmla="*/ 4371 h 5472"/>
                <a:gd name="connsiteX4" fmla="*/ 2628 w 8540"/>
                <a:gd name="connsiteY4" fmla="*/ 4088 h 5472"/>
                <a:gd name="connsiteX5" fmla="*/ 3577 w 8540"/>
                <a:gd name="connsiteY5" fmla="*/ 3837 h 5472"/>
                <a:gd name="connsiteX6" fmla="*/ 4015 w 8540"/>
                <a:gd name="connsiteY6" fmla="*/ 3711 h 5472"/>
                <a:gd name="connsiteX7" fmla="*/ 4307 w 8540"/>
                <a:gd name="connsiteY7" fmla="*/ 3585 h 5472"/>
                <a:gd name="connsiteX8" fmla="*/ 5255 w 8540"/>
                <a:gd name="connsiteY8" fmla="*/ 2768 h 5472"/>
                <a:gd name="connsiteX9" fmla="*/ 6277 w 8540"/>
                <a:gd name="connsiteY9" fmla="*/ 2170 h 5472"/>
                <a:gd name="connsiteX10" fmla="*/ 7664 w 8540"/>
                <a:gd name="connsiteY10" fmla="*/ 1793 h 5472"/>
                <a:gd name="connsiteX11" fmla="*/ 8540 w 8540"/>
                <a:gd name="connsiteY11" fmla="*/ 0 h 5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40" h="5472">
                  <a:moveTo>
                    <a:pt x="0" y="5472"/>
                  </a:moveTo>
                  <a:lnTo>
                    <a:pt x="949" y="4654"/>
                  </a:lnTo>
                  <a:lnTo>
                    <a:pt x="1314" y="4497"/>
                  </a:lnTo>
                  <a:lnTo>
                    <a:pt x="1679" y="4371"/>
                  </a:lnTo>
                  <a:lnTo>
                    <a:pt x="2628" y="4088"/>
                  </a:lnTo>
                  <a:lnTo>
                    <a:pt x="3577" y="3837"/>
                  </a:lnTo>
                  <a:lnTo>
                    <a:pt x="4015" y="3711"/>
                  </a:lnTo>
                  <a:lnTo>
                    <a:pt x="4307" y="3585"/>
                  </a:lnTo>
                  <a:lnTo>
                    <a:pt x="5255" y="2768"/>
                  </a:lnTo>
                  <a:lnTo>
                    <a:pt x="6277" y="2170"/>
                  </a:lnTo>
                  <a:lnTo>
                    <a:pt x="7664" y="1793"/>
                  </a:lnTo>
                  <a:lnTo>
                    <a:pt x="8540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25" name="Freeform 140">
              <a:extLst>
                <a:ext uri="{FF2B5EF4-FFF2-40B4-BE49-F238E27FC236}">
                  <a16:creationId xmlns:a16="http://schemas.microsoft.com/office/drawing/2014/main" id="{57FB4DFB-CF7B-49A6-A491-D82C25240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7828" y="2533078"/>
              <a:ext cx="119824" cy="131368"/>
            </a:xfrm>
            <a:custGeom>
              <a:avLst/>
              <a:gdLst>
                <a:gd name="T0" fmla="*/ 0 w 100"/>
                <a:gd name="T1" fmla="*/ 0 h 121"/>
                <a:gd name="T2" fmla="*/ 2147483647 w 100"/>
                <a:gd name="T3" fmla="*/ 2147483647 h 121"/>
                <a:gd name="T4" fmla="*/ 2147483647 w 100"/>
                <a:gd name="T5" fmla="*/ 2147483647 h 121"/>
                <a:gd name="T6" fmla="*/ 2147483647 w 100"/>
                <a:gd name="T7" fmla="*/ 2147483647 h 121"/>
                <a:gd name="T8" fmla="*/ 2147483647 w 100"/>
                <a:gd name="T9" fmla="*/ 2147483647 h 121"/>
                <a:gd name="T10" fmla="*/ 2147483647 w 100"/>
                <a:gd name="T11" fmla="*/ 2147483647 h 1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"/>
                <a:gd name="T19" fmla="*/ 0 h 121"/>
                <a:gd name="T20" fmla="*/ 100 w 100"/>
                <a:gd name="T21" fmla="*/ 121 h 1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" h="121">
                  <a:moveTo>
                    <a:pt x="0" y="0"/>
                  </a:moveTo>
                  <a:lnTo>
                    <a:pt x="42" y="30"/>
                  </a:lnTo>
                  <a:lnTo>
                    <a:pt x="62" y="47"/>
                  </a:lnTo>
                  <a:lnTo>
                    <a:pt x="70" y="56"/>
                  </a:lnTo>
                  <a:lnTo>
                    <a:pt x="78" y="67"/>
                  </a:lnTo>
                  <a:lnTo>
                    <a:pt x="100" y="12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6" name="Line 141">
              <a:extLst>
                <a:ext uri="{FF2B5EF4-FFF2-40B4-BE49-F238E27FC236}">
                  <a16:creationId xmlns:a16="http://schemas.microsoft.com/office/drawing/2014/main" id="{C3A11B51-A2D5-417B-810F-28D19D20112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66297" y="2707583"/>
              <a:ext cx="33595" cy="4215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7" name="Line 142">
              <a:extLst>
                <a:ext uri="{FF2B5EF4-FFF2-40B4-BE49-F238E27FC236}">
                  <a16:creationId xmlns:a16="http://schemas.microsoft.com/office/drawing/2014/main" id="{DC55AD26-6DD4-4B20-9968-5CC9CE65CB9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397653" y="2664445"/>
              <a:ext cx="6719" cy="3823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8" name="Freeform 143">
              <a:extLst>
                <a:ext uri="{FF2B5EF4-FFF2-40B4-BE49-F238E27FC236}">
                  <a16:creationId xmlns:a16="http://schemas.microsoft.com/office/drawing/2014/main" id="{19AD725D-991A-4BAD-BEC9-D644574B6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4370" y="2703661"/>
              <a:ext cx="58232" cy="26470"/>
            </a:xfrm>
            <a:custGeom>
              <a:avLst/>
              <a:gdLst>
                <a:gd name="T0" fmla="*/ 0 w 49"/>
                <a:gd name="T1" fmla="*/ 0 h 24"/>
                <a:gd name="T2" fmla="*/ 2147483647 w 49"/>
                <a:gd name="T3" fmla="*/ 2147483647 h 24"/>
                <a:gd name="T4" fmla="*/ 2147483647 w 49"/>
                <a:gd name="T5" fmla="*/ 2147483647 h 24"/>
                <a:gd name="T6" fmla="*/ 2147483647 w 49"/>
                <a:gd name="T7" fmla="*/ 2147483647 h 24"/>
                <a:gd name="T8" fmla="*/ 2147483647 w 49"/>
                <a:gd name="T9" fmla="*/ 2147483647 h 24"/>
                <a:gd name="T10" fmla="*/ 2147483647 w 49"/>
                <a:gd name="T11" fmla="*/ 2147483647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9"/>
                <a:gd name="T19" fmla="*/ 0 h 24"/>
                <a:gd name="T20" fmla="*/ 49 w 49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9" h="24">
                  <a:moveTo>
                    <a:pt x="0" y="0"/>
                  </a:moveTo>
                  <a:lnTo>
                    <a:pt x="24" y="15"/>
                  </a:lnTo>
                  <a:lnTo>
                    <a:pt x="31" y="18"/>
                  </a:lnTo>
                  <a:lnTo>
                    <a:pt x="38" y="21"/>
                  </a:lnTo>
                  <a:lnTo>
                    <a:pt x="45" y="23"/>
                  </a:lnTo>
                  <a:lnTo>
                    <a:pt x="49" y="2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9" name="Freeform 144">
              <a:extLst>
                <a:ext uri="{FF2B5EF4-FFF2-40B4-BE49-F238E27FC236}">
                  <a16:creationId xmlns:a16="http://schemas.microsoft.com/office/drawing/2014/main" id="{D90188DD-224B-44D8-9C36-932060EB89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5651" y="3185387"/>
              <a:ext cx="237156" cy="378049"/>
            </a:xfrm>
            <a:custGeom>
              <a:avLst/>
              <a:gdLst>
                <a:gd name="T0" fmla="*/ 0 w 200"/>
                <a:gd name="T1" fmla="*/ 0 h 383"/>
                <a:gd name="T2" fmla="*/ 2147483647 w 200"/>
                <a:gd name="T3" fmla="*/ 2147483647 h 383"/>
                <a:gd name="T4" fmla="*/ 2147483647 w 200"/>
                <a:gd name="T5" fmla="*/ 2147483647 h 383"/>
                <a:gd name="T6" fmla="*/ 2147483647 w 200"/>
                <a:gd name="T7" fmla="*/ 2147483647 h 383"/>
                <a:gd name="T8" fmla="*/ 2147483647 w 200"/>
                <a:gd name="T9" fmla="*/ 2147483647 h 383"/>
                <a:gd name="T10" fmla="*/ 2147483647 w 200"/>
                <a:gd name="T11" fmla="*/ 2147483647 h 383"/>
                <a:gd name="T12" fmla="*/ 2147483647 w 200"/>
                <a:gd name="T13" fmla="*/ 2147483647 h 383"/>
                <a:gd name="T14" fmla="*/ 2147483647 w 200"/>
                <a:gd name="T15" fmla="*/ 2147483647 h 383"/>
                <a:gd name="T16" fmla="*/ 2147483647 w 200"/>
                <a:gd name="T17" fmla="*/ 2147483647 h 383"/>
                <a:gd name="T18" fmla="*/ 2147483647 w 200"/>
                <a:gd name="T19" fmla="*/ 2147483647 h 38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0"/>
                <a:gd name="T31" fmla="*/ 0 h 383"/>
                <a:gd name="T32" fmla="*/ 200 w 200"/>
                <a:gd name="T33" fmla="*/ 383 h 383"/>
                <a:gd name="connsiteX0" fmla="*/ 0 w 9850"/>
                <a:gd name="connsiteY0" fmla="*/ 0 h 9138"/>
                <a:gd name="connsiteX1" fmla="*/ 3000 w 9850"/>
                <a:gd name="connsiteY1" fmla="*/ 1618 h 9138"/>
                <a:gd name="connsiteX2" fmla="*/ 3650 w 9850"/>
                <a:gd name="connsiteY2" fmla="*/ 3446 h 9138"/>
                <a:gd name="connsiteX3" fmla="*/ 5350 w 9850"/>
                <a:gd name="connsiteY3" fmla="*/ 6031 h 9138"/>
                <a:gd name="connsiteX4" fmla="*/ 5950 w 9850"/>
                <a:gd name="connsiteY4" fmla="*/ 6553 h 9138"/>
                <a:gd name="connsiteX5" fmla="*/ 6600 w 9850"/>
                <a:gd name="connsiteY5" fmla="*/ 7075 h 9138"/>
                <a:gd name="connsiteX6" fmla="*/ 7250 w 9850"/>
                <a:gd name="connsiteY6" fmla="*/ 7519 h 9138"/>
                <a:gd name="connsiteX7" fmla="*/ 7850 w 9850"/>
                <a:gd name="connsiteY7" fmla="*/ 7937 h 9138"/>
                <a:gd name="connsiteX8" fmla="*/ 9850 w 9850"/>
                <a:gd name="connsiteY8" fmla="*/ 9138 h 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0" h="9138">
                  <a:moveTo>
                    <a:pt x="0" y="0"/>
                  </a:moveTo>
                  <a:lnTo>
                    <a:pt x="3000" y="1618"/>
                  </a:lnTo>
                  <a:lnTo>
                    <a:pt x="3650" y="3446"/>
                  </a:lnTo>
                  <a:lnTo>
                    <a:pt x="5350" y="6031"/>
                  </a:lnTo>
                  <a:lnTo>
                    <a:pt x="5950" y="6553"/>
                  </a:lnTo>
                  <a:lnTo>
                    <a:pt x="6600" y="7075"/>
                  </a:lnTo>
                  <a:lnTo>
                    <a:pt x="7250" y="7519"/>
                  </a:lnTo>
                  <a:lnTo>
                    <a:pt x="7850" y="7937"/>
                  </a:lnTo>
                  <a:lnTo>
                    <a:pt x="9850" y="9138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0" name="Freeform 145">
              <a:extLst>
                <a:ext uri="{FF2B5EF4-FFF2-40B4-BE49-F238E27FC236}">
                  <a16:creationId xmlns:a16="http://schemas.microsoft.com/office/drawing/2014/main" id="{2A95A9F6-2589-4F32-888F-10F80F9CD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6780" y="5067308"/>
              <a:ext cx="238528" cy="408809"/>
            </a:xfrm>
            <a:custGeom>
              <a:avLst/>
              <a:gdLst>
                <a:gd name="T0" fmla="*/ 0 w 197"/>
                <a:gd name="T1" fmla="*/ 2147483647 h 379"/>
                <a:gd name="T2" fmla="*/ 2147483647 w 197"/>
                <a:gd name="T3" fmla="*/ 2147483647 h 379"/>
                <a:gd name="T4" fmla="*/ 2147483647 w 197"/>
                <a:gd name="T5" fmla="*/ 2147483647 h 379"/>
                <a:gd name="T6" fmla="*/ 2147483647 w 197"/>
                <a:gd name="T7" fmla="*/ 2147483647 h 379"/>
                <a:gd name="T8" fmla="*/ 2147483647 w 197"/>
                <a:gd name="T9" fmla="*/ 2147483647 h 379"/>
                <a:gd name="T10" fmla="*/ 2147483647 w 197"/>
                <a:gd name="T11" fmla="*/ 2147483647 h 379"/>
                <a:gd name="T12" fmla="*/ 2147483647 w 197"/>
                <a:gd name="T13" fmla="*/ 2147483647 h 379"/>
                <a:gd name="T14" fmla="*/ 2147483647 w 197"/>
                <a:gd name="T15" fmla="*/ 2147483647 h 379"/>
                <a:gd name="T16" fmla="*/ 2147483647 w 197"/>
                <a:gd name="T17" fmla="*/ 2147483647 h 379"/>
                <a:gd name="T18" fmla="*/ 2147483647 w 197"/>
                <a:gd name="T19" fmla="*/ 2147483647 h 379"/>
                <a:gd name="T20" fmla="*/ 2147483647 w 197"/>
                <a:gd name="T21" fmla="*/ 0 h 3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7"/>
                <a:gd name="T34" fmla="*/ 0 h 379"/>
                <a:gd name="T35" fmla="*/ 197 w 197"/>
                <a:gd name="T36" fmla="*/ 379 h 37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7" h="379">
                  <a:moveTo>
                    <a:pt x="0" y="379"/>
                  </a:moveTo>
                  <a:lnTo>
                    <a:pt x="1" y="361"/>
                  </a:lnTo>
                  <a:lnTo>
                    <a:pt x="10" y="337"/>
                  </a:lnTo>
                  <a:lnTo>
                    <a:pt x="55" y="304"/>
                  </a:lnTo>
                  <a:lnTo>
                    <a:pt x="79" y="247"/>
                  </a:lnTo>
                  <a:lnTo>
                    <a:pt x="106" y="225"/>
                  </a:lnTo>
                  <a:lnTo>
                    <a:pt x="115" y="192"/>
                  </a:lnTo>
                  <a:lnTo>
                    <a:pt x="155" y="142"/>
                  </a:lnTo>
                  <a:lnTo>
                    <a:pt x="195" y="100"/>
                  </a:lnTo>
                  <a:lnTo>
                    <a:pt x="197" y="42"/>
                  </a:lnTo>
                  <a:lnTo>
                    <a:pt x="184" y="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31" name="Freeform 146">
              <a:extLst>
                <a:ext uri="{FF2B5EF4-FFF2-40B4-BE49-F238E27FC236}">
                  <a16:creationId xmlns:a16="http://schemas.microsoft.com/office/drawing/2014/main" id="{1DC9E253-1485-447E-BB24-0BF32CE4E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311" y="1613499"/>
              <a:ext cx="238528" cy="35293"/>
            </a:xfrm>
            <a:custGeom>
              <a:avLst/>
              <a:gdLst>
                <a:gd name="T0" fmla="*/ 2147483647 w 197"/>
                <a:gd name="T1" fmla="*/ 2147483647 h 33"/>
                <a:gd name="T2" fmla="*/ 2147483647 w 197"/>
                <a:gd name="T3" fmla="*/ 2147483647 h 33"/>
                <a:gd name="T4" fmla="*/ 2147483647 w 197"/>
                <a:gd name="T5" fmla="*/ 2147483647 h 33"/>
                <a:gd name="T6" fmla="*/ 2147483647 w 197"/>
                <a:gd name="T7" fmla="*/ 2147483647 h 33"/>
                <a:gd name="T8" fmla="*/ 2147483647 w 197"/>
                <a:gd name="T9" fmla="*/ 2147483647 h 33"/>
                <a:gd name="T10" fmla="*/ 2147483647 w 197"/>
                <a:gd name="T11" fmla="*/ 2147483647 h 33"/>
                <a:gd name="T12" fmla="*/ 2147483647 w 197"/>
                <a:gd name="T13" fmla="*/ 2147483647 h 33"/>
                <a:gd name="T14" fmla="*/ 2147483647 w 197"/>
                <a:gd name="T15" fmla="*/ 2147483647 h 33"/>
                <a:gd name="T16" fmla="*/ 2147483647 w 197"/>
                <a:gd name="T17" fmla="*/ 2147483647 h 33"/>
                <a:gd name="T18" fmla="*/ 2147483647 w 197"/>
                <a:gd name="T19" fmla="*/ 2147483647 h 33"/>
                <a:gd name="T20" fmla="*/ 2147483647 w 197"/>
                <a:gd name="T21" fmla="*/ 2147483647 h 33"/>
                <a:gd name="T22" fmla="*/ 2147483647 w 197"/>
                <a:gd name="T23" fmla="*/ 2147483647 h 33"/>
                <a:gd name="T24" fmla="*/ 2147483647 w 197"/>
                <a:gd name="T25" fmla="*/ 2147483647 h 33"/>
                <a:gd name="T26" fmla="*/ 2147483647 w 197"/>
                <a:gd name="T27" fmla="*/ 2147483647 h 33"/>
                <a:gd name="T28" fmla="*/ 2147483647 w 197"/>
                <a:gd name="T29" fmla="*/ 2147483647 h 33"/>
                <a:gd name="T30" fmla="*/ 2147483647 w 197"/>
                <a:gd name="T31" fmla="*/ 2147483647 h 33"/>
                <a:gd name="T32" fmla="*/ 2147483647 w 197"/>
                <a:gd name="T33" fmla="*/ 2147483647 h 33"/>
                <a:gd name="T34" fmla="*/ 2147483647 w 197"/>
                <a:gd name="T35" fmla="*/ 2147483647 h 33"/>
                <a:gd name="T36" fmla="*/ 2147483647 w 197"/>
                <a:gd name="T37" fmla="*/ 2147483647 h 33"/>
                <a:gd name="T38" fmla="*/ 2147483647 w 197"/>
                <a:gd name="T39" fmla="*/ 2147483647 h 33"/>
                <a:gd name="T40" fmla="*/ 2147483647 w 197"/>
                <a:gd name="T41" fmla="*/ 2147483647 h 33"/>
                <a:gd name="T42" fmla="*/ 2147483647 w 197"/>
                <a:gd name="T43" fmla="*/ 2147483647 h 33"/>
                <a:gd name="T44" fmla="*/ 2147483647 w 197"/>
                <a:gd name="T45" fmla="*/ 2147483647 h 33"/>
                <a:gd name="T46" fmla="*/ 2147483647 w 197"/>
                <a:gd name="T47" fmla="*/ 2147483647 h 33"/>
                <a:gd name="T48" fmla="*/ 2147483647 w 197"/>
                <a:gd name="T49" fmla="*/ 2147483647 h 33"/>
                <a:gd name="T50" fmla="*/ 2147483647 w 197"/>
                <a:gd name="T51" fmla="*/ 2147483647 h 33"/>
                <a:gd name="T52" fmla="*/ 2147483647 w 197"/>
                <a:gd name="T53" fmla="*/ 2147483647 h 33"/>
                <a:gd name="T54" fmla="*/ 2147483647 w 197"/>
                <a:gd name="T55" fmla="*/ 2147483647 h 33"/>
                <a:gd name="T56" fmla="*/ 2147483647 w 197"/>
                <a:gd name="T57" fmla="*/ 2147483647 h 33"/>
                <a:gd name="T58" fmla="*/ 2147483647 w 197"/>
                <a:gd name="T59" fmla="*/ 2147483647 h 33"/>
                <a:gd name="T60" fmla="*/ 2147483647 w 197"/>
                <a:gd name="T61" fmla="*/ 2147483647 h 33"/>
                <a:gd name="T62" fmla="*/ 2147483647 w 197"/>
                <a:gd name="T63" fmla="*/ 2147483647 h 33"/>
                <a:gd name="T64" fmla="*/ 2147483647 w 197"/>
                <a:gd name="T65" fmla="*/ 2147483647 h 33"/>
                <a:gd name="T66" fmla="*/ 2147483647 w 197"/>
                <a:gd name="T67" fmla="*/ 2147483647 h 33"/>
                <a:gd name="T68" fmla="*/ 2147483647 w 197"/>
                <a:gd name="T69" fmla="*/ 2147483647 h 33"/>
                <a:gd name="T70" fmla="*/ 2147483647 w 197"/>
                <a:gd name="T71" fmla="*/ 2147483647 h 33"/>
                <a:gd name="T72" fmla="*/ 2147483647 w 197"/>
                <a:gd name="T73" fmla="*/ 2147483647 h 33"/>
                <a:gd name="T74" fmla="*/ 2147483647 w 197"/>
                <a:gd name="T75" fmla="*/ 2147483647 h 33"/>
                <a:gd name="T76" fmla="*/ 2147483647 w 197"/>
                <a:gd name="T77" fmla="*/ 0 h 33"/>
                <a:gd name="T78" fmla="*/ 2147483647 w 197"/>
                <a:gd name="T79" fmla="*/ 0 h 33"/>
                <a:gd name="T80" fmla="*/ 2147483647 w 197"/>
                <a:gd name="T81" fmla="*/ 2147483647 h 33"/>
                <a:gd name="T82" fmla="*/ 2147483647 w 197"/>
                <a:gd name="T83" fmla="*/ 0 h 33"/>
                <a:gd name="T84" fmla="*/ 2147483647 w 197"/>
                <a:gd name="T85" fmla="*/ 0 h 33"/>
                <a:gd name="T86" fmla="*/ 2147483647 w 197"/>
                <a:gd name="T87" fmla="*/ 2147483647 h 33"/>
                <a:gd name="T88" fmla="*/ 2147483647 w 197"/>
                <a:gd name="T89" fmla="*/ 2147483647 h 33"/>
                <a:gd name="T90" fmla="*/ 2147483647 w 197"/>
                <a:gd name="T91" fmla="*/ 2147483647 h 33"/>
                <a:gd name="T92" fmla="*/ 2147483647 w 197"/>
                <a:gd name="T93" fmla="*/ 2147483647 h 33"/>
                <a:gd name="T94" fmla="*/ 0 w 197"/>
                <a:gd name="T95" fmla="*/ 2147483647 h 3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97"/>
                <a:gd name="T145" fmla="*/ 0 h 33"/>
                <a:gd name="T146" fmla="*/ 197 w 197"/>
                <a:gd name="T147" fmla="*/ 33 h 3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97" h="33">
                  <a:moveTo>
                    <a:pt x="197" y="24"/>
                  </a:moveTo>
                  <a:lnTo>
                    <a:pt x="191" y="29"/>
                  </a:lnTo>
                  <a:lnTo>
                    <a:pt x="184" y="33"/>
                  </a:lnTo>
                  <a:lnTo>
                    <a:pt x="175" y="31"/>
                  </a:lnTo>
                  <a:lnTo>
                    <a:pt x="165" y="29"/>
                  </a:lnTo>
                  <a:lnTo>
                    <a:pt x="161" y="28"/>
                  </a:lnTo>
                  <a:lnTo>
                    <a:pt x="157" y="28"/>
                  </a:lnTo>
                  <a:lnTo>
                    <a:pt x="155" y="27"/>
                  </a:lnTo>
                  <a:lnTo>
                    <a:pt x="154" y="27"/>
                  </a:lnTo>
                  <a:lnTo>
                    <a:pt x="147" y="23"/>
                  </a:lnTo>
                  <a:lnTo>
                    <a:pt x="140" y="18"/>
                  </a:lnTo>
                  <a:lnTo>
                    <a:pt x="137" y="19"/>
                  </a:lnTo>
                  <a:lnTo>
                    <a:pt x="135" y="21"/>
                  </a:lnTo>
                  <a:lnTo>
                    <a:pt x="133" y="22"/>
                  </a:lnTo>
                  <a:lnTo>
                    <a:pt x="130" y="23"/>
                  </a:lnTo>
                  <a:lnTo>
                    <a:pt x="127" y="23"/>
                  </a:lnTo>
                  <a:lnTo>
                    <a:pt x="124" y="21"/>
                  </a:lnTo>
                  <a:lnTo>
                    <a:pt x="120" y="16"/>
                  </a:lnTo>
                  <a:lnTo>
                    <a:pt x="115" y="11"/>
                  </a:lnTo>
                  <a:lnTo>
                    <a:pt x="113" y="8"/>
                  </a:lnTo>
                  <a:lnTo>
                    <a:pt x="110" y="7"/>
                  </a:lnTo>
                  <a:lnTo>
                    <a:pt x="106" y="6"/>
                  </a:lnTo>
                  <a:lnTo>
                    <a:pt x="102" y="6"/>
                  </a:lnTo>
                  <a:lnTo>
                    <a:pt x="99" y="7"/>
                  </a:lnTo>
                  <a:lnTo>
                    <a:pt x="94" y="8"/>
                  </a:lnTo>
                  <a:lnTo>
                    <a:pt x="92" y="5"/>
                  </a:lnTo>
                  <a:lnTo>
                    <a:pt x="90" y="4"/>
                  </a:lnTo>
                  <a:lnTo>
                    <a:pt x="88" y="4"/>
                  </a:lnTo>
                  <a:lnTo>
                    <a:pt x="86" y="5"/>
                  </a:lnTo>
                  <a:lnTo>
                    <a:pt x="83" y="9"/>
                  </a:lnTo>
                  <a:lnTo>
                    <a:pt x="79" y="13"/>
                  </a:lnTo>
                  <a:lnTo>
                    <a:pt x="74" y="12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7" y="7"/>
                  </a:lnTo>
                  <a:lnTo>
                    <a:pt x="64" y="3"/>
                  </a:lnTo>
                  <a:lnTo>
                    <a:pt x="61" y="2"/>
                  </a:lnTo>
                  <a:lnTo>
                    <a:pt x="58" y="1"/>
                  </a:lnTo>
                  <a:lnTo>
                    <a:pt x="53" y="0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1"/>
                  </a:lnTo>
                  <a:lnTo>
                    <a:pt x="9" y="7"/>
                  </a:lnTo>
                  <a:lnTo>
                    <a:pt x="7" y="11"/>
                  </a:lnTo>
                  <a:lnTo>
                    <a:pt x="5" y="15"/>
                  </a:lnTo>
                  <a:lnTo>
                    <a:pt x="0" y="2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2" name="Freeform 147">
              <a:extLst>
                <a:ext uri="{FF2B5EF4-FFF2-40B4-BE49-F238E27FC236}">
                  <a16:creationId xmlns:a16="http://schemas.microsoft.com/office/drawing/2014/main" id="{45C23992-7E08-4B7D-B0C3-7486F2B29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6334" y="1688007"/>
              <a:ext cx="66071" cy="87252"/>
            </a:xfrm>
            <a:custGeom>
              <a:avLst/>
              <a:gdLst>
                <a:gd name="T0" fmla="*/ 0 w 55"/>
                <a:gd name="T1" fmla="*/ 0 h 81"/>
                <a:gd name="T2" fmla="*/ 0 w 55"/>
                <a:gd name="T3" fmla="*/ 2147483647 h 81"/>
                <a:gd name="T4" fmla="*/ 2147483647 w 55"/>
                <a:gd name="T5" fmla="*/ 2147483647 h 81"/>
                <a:gd name="T6" fmla="*/ 2147483647 w 55"/>
                <a:gd name="T7" fmla="*/ 2147483647 h 81"/>
                <a:gd name="T8" fmla="*/ 2147483647 w 55"/>
                <a:gd name="T9" fmla="*/ 2147483647 h 81"/>
                <a:gd name="T10" fmla="*/ 2147483647 w 55"/>
                <a:gd name="T11" fmla="*/ 2147483647 h 81"/>
                <a:gd name="T12" fmla="*/ 2147483647 w 55"/>
                <a:gd name="T13" fmla="*/ 2147483647 h 81"/>
                <a:gd name="T14" fmla="*/ 2147483647 w 55"/>
                <a:gd name="T15" fmla="*/ 2147483647 h 81"/>
                <a:gd name="T16" fmla="*/ 2147483647 w 55"/>
                <a:gd name="T17" fmla="*/ 2147483647 h 81"/>
                <a:gd name="T18" fmla="*/ 2147483647 w 55"/>
                <a:gd name="T19" fmla="*/ 2147483647 h 81"/>
                <a:gd name="T20" fmla="*/ 2147483647 w 55"/>
                <a:gd name="T21" fmla="*/ 2147483647 h 81"/>
                <a:gd name="T22" fmla="*/ 2147483647 w 55"/>
                <a:gd name="T23" fmla="*/ 2147483647 h 81"/>
                <a:gd name="T24" fmla="*/ 2147483647 w 55"/>
                <a:gd name="T25" fmla="*/ 2147483647 h 81"/>
                <a:gd name="T26" fmla="*/ 2147483647 w 55"/>
                <a:gd name="T27" fmla="*/ 2147483647 h 81"/>
                <a:gd name="T28" fmla="*/ 2147483647 w 55"/>
                <a:gd name="T29" fmla="*/ 2147483647 h 81"/>
                <a:gd name="T30" fmla="*/ 2147483647 w 55"/>
                <a:gd name="T31" fmla="*/ 2147483647 h 81"/>
                <a:gd name="T32" fmla="*/ 2147483647 w 55"/>
                <a:gd name="T33" fmla="*/ 2147483647 h 81"/>
                <a:gd name="T34" fmla="*/ 2147483647 w 55"/>
                <a:gd name="T35" fmla="*/ 2147483647 h 81"/>
                <a:gd name="T36" fmla="*/ 2147483647 w 55"/>
                <a:gd name="T37" fmla="*/ 2147483647 h 81"/>
                <a:gd name="T38" fmla="*/ 2147483647 w 55"/>
                <a:gd name="T39" fmla="*/ 2147483647 h 81"/>
                <a:gd name="T40" fmla="*/ 2147483647 w 55"/>
                <a:gd name="T41" fmla="*/ 2147483647 h 81"/>
                <a:gd name="T42" fmla="*/ 2147483647 w 55"/>
                <a:gd name="T43" fmla="*/ 2147483647 h 81"/>
                <a:gd name="T44" fmla="*/ 2147483647 w 55"/>
                <a:gd name="T45" fmla="*/ 2147483647 h 81"/>
                <a:gd name="T46" fmla="*/ 2147483647 w 55"/>
                <a:gd name="T47" fmla="*/ 2147483647 h 81"/>
                <a:gd name="T48" fmla="*/ 2147483647 w 55"/>
                <a:gd name="T49" fmla="*/ 2147483647 h 81"/>
                <a:gd name="T50" fmla="*/ 2147483647 w 55"/>
                <a:gd name="T51" fmla="*/ 2147483647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5"/>
                <a:gd name="T79" fmla="*/ 0 h 81"/>
                <a:gd name="T80" fmla="*/ 55 w 55"/>
                <a:gd name="T81" fmla="*/ 81 h 8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5" h="81">
                  <a:moveTo>
                    <a:pt x="0" y="0"/>
                  </a:moveTo>
                  <a:lnTo>
                    <a:pt x="0" y="3"/>
                  </a:lnTo>
                  <a:lnTo>
                    <a:pt x="1" y="7"/>
                  </a:lnTo>
                  <a:lnTo>
                    <a:pt x="6" y="16"/>
                  </a:lnTo>
                  <a:lnTo>
                    <a:pt x="7" y="23"/>
                  </a:lnTo>
                  <a:lnTo>
                    <a:pt x="8" y="30"/>
                  </a:lnTo>
                  <a:lnTo>
                    <a:pt x="10" y="34"/>
                  </a:lnTo>
                  <a:lnTo>
                    <a:pt x="12" y="36"/>
                  </a:lnTo>
                  <a:lnTo>
                    <a:pt x="15" y="37"/>
                  </a:lnTo>
                  <a:lnTo>
                    <a:pt x="16" y="41"/>
                  </a:lnTo>
                  <a:lnTo>
                    <a:pt x="16" y="43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7" y="41"/>
                  </a:lnTo>
                  <a:lnTo>
                    <a:pt x="19" y="42"/>
                  </a:lnTo>
                  <a:lnTo>
                    <a:pt x="21" y="45"/>
                  </a:lnTo>
                  <a:lnTo>
                    <a:pt x="25" y="52"/>
                  </a:lnTo>
                  <a:lnTo>
                    <a:pt x="27" y="59"/>
                  </a:lnTo>
                  <a:lnTo>
                    <a:pt x="31" y="64"/>
                  </a:lnTo>
                  <a:lnTo>
                    <a:pt x="35" y="67"/>
                  </a:lnTo>
                  <a:lnTo>
                    <a:pt x="39" y="70"/>
                  </a:lnTo>
                  <a:lnTo>
                    <a:pt x="42" y="74"/>
                  </a:lnTo>
                  <a:lnTo>
                    <a:pt x="46" y="76"/>
                  </a:lnTo>
                  <a:lnTo>
                    <a:pt x="51" y="78"/>
                  </a:lnTo>
                  <a:lnTo>
                    <a:pt x="55" y="8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3" name="Freeform 148">
              <a:extLst>
                <a:ext uri="{FF2B5EF4-FFF2-40B4-BE49-F238E27FC236}">
                  <a16:creationId xmlns:a16="http://schemas.microsoft.com/office/drawing/2014/main" id="{AF0D6659-AFF1-420D-8A0B-36B6C35E2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5492" y="2730130"/>
              <a:ext cx="57113" cy="39214"/>
            </a:xfrm>
            <a:custGeom>
              <a:avLst/>
              <a:gdLst>
                <a:gd name="T0" fmla="*/ 0 w 48"/>
                <a:gd name="T1" fmla="*/ 2147483647 h 36"/>
                <a:gd name="T2" fmla="*/ 2147483647 w 48"/>
                <a:gd name="T3" fmla="*/ 2147483647 h 36"/>
                <a:gd name="T4" fmla="*/ 2147483647 w 48"/>
                <a:gd name="T5" fmla="*/ 0 h 36"/>
                <a:gd name="T6" fmla="*/ 0 60000 65536"/>
                <a:gd name="T7" fmla="*/ 0 60000 65536"/>
                <a:gd name="T8" fmla="*/ 0 60000 65536"/>
                <a:gd name="T9" fmla="*/ 0 w 48"/>
                <a:gd name="T10" fmla="*/ 0 h 36"/>
                <a:gd name="T11" fmla="*/ 48 w 48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8" h="36">
                  <a:moveTo>
                    <a:pt x="0" y="36"/>
                  </a:moveTo>
                  <a:lnTo>
                    <a:pt x="12" y="21"/>
                  </a:lnTo>
                  <a:lnTo>
                    <a:pt x="48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4" name="Line 149">
              <a:extLst>
                <a:ext uri="{FF2B5EF4-FFF2-40B4-BE49-F238E27FC236}">
                  <a16:creationId xmlns:a16="http://schemas.microsoft.com/office/drawing/2014/main" id="{819FC56E-62EC-40DD-8BEB-F5B36F50E3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401011" y="2700719"/>
              <a:ext cx="19037" cy="51959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5" name="Freeform 150">
              <a:extLst>
                <a:ext uri="{FF2B5EF4-FFF2-40B4-BE49-F238E27FC236}">
                  <a16:creationId xmlns:a16="http://schemas.microsoft.com/office/drawing/2014/main" id="{BCD3F0DC-5C1C-47DC-A5C2-BA10EF4C0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807" y="3698725"/>
              <a:ext cx="192614" cy="90194"/>
            </a:xfrm>
            <a:custGeom>
              <a:avLst/>
              <a:gdLst>
                <a:gd name="T0" fmla="*/ 0 w 160"/>
                <a:gd name="T1" fmla="*/ 0 h 84"/>
                <a:gd name="T2" fmla="*/ 2147483647 w 160"/>
                <a:gd name="T3" fmla="*/ 2147483647 h 84"/>
                <a:gd name="T4" fmla="*/ 2147483647 w 160"/>
                <a:gd name="T5" fmla="*/ 2147483647 h 84"/>
                <a:gd name="T6" fmla="*/ 0 60000 65536"/>
                <a:gd name="T7" fmla="*/ 0 60000 65536"/>
                <a:gd name="T8" fmla="*/ 0 60000 65536"/>
                <a:gd name="T9" fmla="*/ 0 w 160"/>
                <a:gd name="T10" fmla="*/ 0 h 84"/>
                <a:gd name="T11" fmla="*/ 160 w 160"/>
                <a:gd name="T12" fmla="*/ 84 h 8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0" h="84">
                  <a:moveTo>
                    <a:pt x="0" y="0"/>
                  </a:moveTo>
                  <a:lnTo>
                    <a:pt x="109" y="75"/>
                  </a:lnTo>
                  <a:lnTo>
                    <a:pt x="160" y="84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6" name="Freeform 151">
              <a:extLst>
                <a:ext uri="{FF2B5EF4-FFF2-40B4-BE49-F238E27FC236}">
                  <a16:creationId xmlns:a16="http://schemas.microsoft.com/office/drawing/2014/main" id="{524C91EB-2EB1-4417-A1F2-F0B570919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315" y="2725228"/>
              <a:ext cx="131022" cy="39214"/>
            </a:xfrm>
            <a:custGeom>
              <a:avLst/>
              <a:gdLst>
                <a:gd name="T0" fmla="*/ 2147483647 w 125"/>
                <a:gd name="T1" fmla="*/ 2147483647 h 40"/>
                <a:gd name="T2" fmla="*/ 2147483647 w 125"/>
                <a:gd name="T3" fmla="*/ 2147483647 h 40"/>
                <a:gd name="T4" fmla="*/ 0 w 125"/>
                <a:gd name="T5" fmla="*/ 0 h 40"/>
                <a:gd name="T6" fmla="*/ 0 60000 65536"/>
                <a:gd name="T7" fmla="*/ 0 60000 65536"/>
                <a:gd name="T8" fmla="*/ 0 60000 65536"/>
                <a:gd name="T9" fmla="*/ 0 w 125"/>
                <a:gd name="T10" fmla="*/ 0 h 40"/>
                <a:gd name="T11" fmla="*/ 125 w 125"/>
                <a:gd name="T12" fmla="*/ 40 h 4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5" h="40">
                  <a:moveTo>
                    <a:pt x="125" y="40"/>
                  </a:moveTo>
                  <a:lnTo>
                    <a:pt x="65" y="14"/>
                  </a:lnTo>
                  <a:lnTo>
                    <a:pt x="0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7" name="Freeform 152">
              <a:extLst>
                <a:ext uri="{FF2B5EF4-FFF2-40B4-BE49-F238E27FC236}">
                  <a16:creationId xmlns:a16="http://schemas.microsoft.com/office/drawing/2014/main" id="{B1C225D4-26CD-4C7A-87A2-4A2FEF11A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273" y="3037963"/>
              <a:ext cx="90707" cy="23528"/>
            </a:xfrm>
            <a:custGeom>
              <a:avLst/>
              <a:gdLst>
                <a:gd name="T0" fmla="*/ 0 w 74"/>
                <a:gd name="T1" fmla="*/ 2147483647 h 22"/>
                <a:gd name="T2" fmla="*/ 2147483647 w 74"/>
                <a:gd name="T3" fmla="*/ 2147483647 h 22"/>
                <a:gd name="T4" fmla="*/ 2147483647 w 74"/>
                <a:gd name="T5" fmla="*/ 0 h 22"/>
                <a:gd name="T6" fmla="*/ 0 60000 65536"/>
                <a:gd name="T7" fmla="*/ 0 60000 65536"/>
                <a:gd name="T8" fmla="*/ 0 60000 65536"/>
                <a:gd name="T9" fmla="*/ 0 w 74"/>
                <a:gd name="T10" fmla="*/ 0 h 22"/>
                <a:gd name="T11" fmla="*/ 74 w 74"/>
                <a:gd name="T12" fmla="*/ 22 h 2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4" h="22">
                  <a:moveTo>
                    <a:pt x="0" y="22"/>
                  </a:moveTo>
                  <a:lnTo>
                    <a:pt x="54" y="8"/>
                  </a:lnTo>
                  <a:lnTo>
                    <a:pt x="74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38" name="Line 153">
              <a:extLst>
                <a:ext uri="{FF2B5EF4-FFF2-40B4-BE49-F238E27FC236}">
                  <a16:creationId xmlns:a16="http://schemas.microsoft.com/office/drawing/2014/main" id="{A1B0CF2A-D870-4F6F-AB36-FFEAA922946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029221" y="2998748"/>
              <a:ext cx="111985" cy="3921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39" name="Line 154">
              <a:extLst>
                <a:ext uri="{FF2B5EF4-FFF2-40B4-BE49-F238E27FC236}">
                  <a16:creationId xmlns:a16="http://schemas.microsoft.com/office/drawing/2014/main" id="{2C23F8CD-C23F-4B88-8E7A-DD1F940AF0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03798" y="3343835"/>
              <a:ext cx="51513" cy="34313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0" name="Line 155">
              <a:extLst>
                <a:ext uri="{FF2B5EF4-FFF2-40B4-BE49-F238E27FC236}">
                  <a16:creationId xmlns:a16="http://schemas.microsoft.com/office/drawing/2014/main" id="{475C0805-A795-4473-8A5A-000157EBC52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40633" y="2782089"/>
              <a:ext cx="8959" cy="57842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41" name="Freeform 156">
              <a:extLst>
                <a:ext uri="{FF2B5EF4-FFF2-40B4-BE49-F238E27FC236}">
                  <a16:creationId xmlns:a16="http://schemas.microsoft.com/office/drawing/2014/main" id="{BEF9AAAB-8931-4A30-8A36-EF4C40E6D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4846" y="3077178"/>
              <a:ext cx="73825" cy="111684"/>
            </a:xfrm>
            <a:custGeom>
              <a:avLst/>
              <a:gdLst>
                <a:gd name="T0" fmla="*/ 2147483647 w 57"/>
                <a:gd name="T1" fmla="*/ 2147483647 h 70"/>
                <a:gd name="T2" fmla="*/ 2147483647 w 57"/>
                <a:gd name="T3" fmla="*/ 2147483647 h 70"/>
                <a:gd name="T4" fmla="*/ 2147483647 w 57"/>
                <a:gd name="T5" fmla="*/ 2147483647 h 70"/>
                <a:gd name="T6" fmla="*/ 0 w 57"/>
                <a:gd name="T7" fmla="*/ 0 h 7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7"/>
                <a:gd name="T13" fmla="*/ 0 h 70"/>
                <a:gd name="T14" fmla="*/ 57 w 57"/>
                <a:gd name="T15" fmla="*/ 70 h 70"/>
                <a:gd name="connsiteX0" fmla="*/ 10807 w 10807"/>
                <a:gd name="connsiteY0" fmla="*/ 14795 h 14795"/>
                <a:gd name="connsiteX1" fmla="*/ 9298 w 10807"/>
                <a:gd name="connsiteY1" fmla="*/ 6571 h 14795"/>
                <a:gd name="connsiteX2" fmla="*/ 2807 w 10807"/>
                <a:gd name="connsiteY2" fmla="*/ 286 h 14795"/>
                <a:gd name="connsiteX3" fmla="*/ 0 w 10807"/>
                <a:gd name="connsiteY3" fmla="*/ 0 h 14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07" h="14795">
                  <a:moveTo>
                    <a:pt x="10807" y="14795"/>
                  </a:moveTo>
                  <a:lnTo>
                    <a:pt x="9298" y="6571"/>
                  </a:lnTo>
                  <a:lnTo>
                    <a:pt x="2807" y="286"/>
                  </a:lnTo>
                  <a:lnTo>
                    <a:pt x="0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2" name="Oval 157">
              <a:extLst>
                <a:ext uri="{FF2B5EF4-FFF2-40B4-BE49-F238E27FC236}">
                  <a16:creationId xmlns:a16="http://schemas.microsoft.com/office/drawing/2014/main" id="{61270CA7-B02F-4894-AACC-1FC2BCB41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0839" y="3135018"/>
              <a:ext cx="23519" cy="2352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3" name="Line 158">
              <a:extLst>
                <a:ext uri="{FF2B5EF4-FFF2-40B4-BE49-F238E27FC236}">
                  <a16:creationId xmlns:a16="http://schemas.microsoft.com/office/drawing/2014/main" id="{F6BEB76D-4C4E-4C2E-8998-1771EC0236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51190" y="2975220"/>
              <a:ext cx="126544" cy="71566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4" name="Line 159">
              <a:extLst>
                <a:ext uri="{FF2B5EF4-FFF2-40B4-BE49-F238E27FC236}">
                  <a16:creationId xmlns:a16="http://schemas.microsoft.com/office/drawing/2014/main" id="{0CCE3324-518C-4EEE-8D67-5A5DD6BFD7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897" y="2886987"/>
              <a:ext cx="162378" cy="77448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5" name="Oval 160">
              <a:extLst>
                <a:ext uri="{FF2B5EF4-FFF2-40B4-BE49-F238E27FC236}">
                  <a16:creationId xmlns:a16="http://schemas.microsoft.com/office/drawing/2014/main" id="{1B81CDBA-5C3F-4D3F-A8A7-5E474EBBF5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8795" y="2960514"/>
              <a:ext cx="24637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6" name="Freeform 161">
              <a:extLst>
                <a:ext uri="{FF2B5EF4-FFF2-40B4-BE49-F238E27FC236}">
                  <a16:creationId xmlns:a16="http://schemas.microsoft.com/office/drawing/2014/main" id="{6563FFE8-1B7A-4D27-9384-3BBF09D05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338" y="2743856"/>
              <a:ext cx="45913" cy="29410"/>
            </a:xfrm>
            <a:custGeom>
              <a:avLst/>
              <a:gdLst>
                <a:gd name="T0" fmla="*/ 0 w 70"/>
                <a:gd name="T1" fmla="*/ 0 h 30"/>
                <a:gd name="T2" fmla="*/ 2147483647 w 70"/>
                <a:gd name="T3" fmla="*/ 2147483647 h 30"/>
                <a:gd name="T4" fmla="*/ 0 60000 65536"/>
                <a:gd name="T5" fmla="*/ 0 60000 65536"/>
                <a:gd name="T6" fmla="*/ 0 w 70"/>
                <a:gd name="T7" fmla="*/ 0 h 30"/>
                <a:gd name="T8" fmla="*/ 70 w 70"/>
                <a:gd name="T9" fmla="*/ 30 h 30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70" h="30">
                  <a:moveTo>
                    <a:pt x="0" y="0"/>
                  </a:moveTo>
                  <a:lnTo>
                    <a:pt x="70" y="3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47" name="Line 162">
              <a:extLst>
                <a:ext uri="{FF2B5EF4-FFF2-40B4-BE49-F238E27FC236}">
                  <a16:creationId xmlns:a16="http://schemas.microsoft.com/office/drawing/2014/main" id="{D356C57C-BAD3-43F1-A8B5-5141F6BEDB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3251" y="2771305"/>
              <a:ext cx="274364" cy="119605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48" name="Freeform 163">
              <a:extLst>
                <a:ext uri="{FF2B5EF4-FFF2-40B4-BE49-F238E27FC236}">
                  <a16:creationId xmlns:a16="http://schemas.microsoft.com/office/drawing/2014/main" id="{EF7DE681-AAF0-430E-831E-86D152E8A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286" y="3570298"/>
              <a:ext cx="339314" cy="193131"/>
            </a:xfrm>
            <a:custGeom>
              <a:avLst/>
              <a:gdLst>
                <a:gd name="T0" fmla="*/ 0 w 269"/>
                <a:gd name="T1" fmla="*/ 0 h 173"/>
                <a:gd name="T2" fmla="*/ 2147483647 w 269"/>
                <a:gd name="T3" fmla="*/ 2147483647 h 173"/>
                <a:gd name="T4" fmla="*/ 2147483647 w 269"/>
                <a:gd name="T5" fmla="*/ 2147483647 h 173"/>
                <a:gd name="T6" fmla="*/ 2147483647 w 269"/>
                <a:gd name="T7" fmla="*/ 2147483647 h 173"/>
                <a:gd name="T8" fmla="*/ 2147483647 w 269"/>
                <a:gd name="T9" fmla="*/ 2147483647 h 173"/>
                <a:gd name="T10" fmla="*/ 2147483647 w 269"/>
                <a:gd name="T11" fmla="*/ 2147483647 h 173"/>
                <a:gd name="T12" fmla="*/ 2147483647 w 269"/>
                <a:gd name="T13" fmla="*/ 2147483647 h 173"/>
                <a:gd name="T14" fmla="*/ 2147483647 w 269"/>
                <a:gd name="T15" fmla="*/ 2147483647 h 173"/>
                <a:gd name="T16" fmla="*/ 2147483647 w 269"/>
                <a:gd name="T17" fmla="*/ 2147483647 h 173"/>
                <a:gd name="T18" fmla="*/ 2147483647 w 269"/>
                <a:gd name="T19" fmla="*/ 2147483647 h 173"/>
                <a:gd name="T20" fmla="*/ 2147483647 w 269"/>
                <a:gd name="T21" fmla="*/ 2147483647 h 173"/>
                <a:gd name="T22" fmla="*/ 2147483647 w 269"/>
                <a:gd name="T23" fmla="*/ 2147483647 h 173"/>
                <a:gd name="T24" fmla="*/ 2147483647 w 269"/>
                <a:gd name="T25" fmla="*/ 2147483647 h 173"/>
                <a:gd name="T26" fmla="*/ 2147483647 w 269"/>
                <a:gd name="T27" fmla="*/ 2147483647 h 17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9"/>
                <a:gd name="T43" fmla="*/ 0 h 173"/>
                <a:gd name="T44" fmla="*/ 269 w 269"/>
                <a:gd name="T45" fmla="*/ 173 h 17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9" h="173">
                  <a:moveTo>
                    <a:pt x="0" y="0"/>
                  </a:moveTo>
                  <a:lnTo>
                    <a:pt x="48" y="33"/>
                  </a:lnTo>
                  <a:lnTo>
                    <a:pt x="99" y="59"/>
                  </a:lnTo>
                  <a:lnTo>
                    <a:pt x="121" y="100"/>
                  </a:lnTo>
                  <a:lnTo>
                    <a:pt x="128" y="102"/>
                  </a:lnTo>
                  <a:lnTo>
                    <a:pt x="136" y="104"/>
                  </a:lnTo>
                  <a:lnTo>
                    <a:pt x="145" y="104"/>
                  </a:lnTo>
                  <a:lnTo>
                    <a:pt x="154" y="105"/>
                  </a:lnTo>
                  <a:lnTo>
                    <a:pt x="164" y="105"/>
                  </a:lnTo>
                  <a:lnTo>
                    <a:pt x="173" y="106"/>
                  </a:lnTo>
                  <a:lnTo>
                    <a:pt x="181" y="108"/>
                  </a:lnTo>
                  <a:lnTo>
                    <a:pt x="187" y="111"/>
                  </a:lnTo>
                  <a:lnTo>
                    <a:pt x="209" y="159"/>
                  </a:lnTo>
                  <a:lnTo>
                    <a:pt x="269" y="173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9" name="Freeform 165">
              <a:extLst>
                <a:ext uri="{FF2B5EF4-FFF2-40B4-BE49-F238E27FC236}">
                  <a16:creationId xmlns:a16="http://schemas.microsoft.com/office/drawing/2014/main" id="{7A21401D-89F0-4115-AA9A-80DC96FB4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083" y="3977147"/>
              <a:ext cx="234049" cy="65684"/>
            </a:xfrm>
            <a:custGeom>
              <a:avLst/>
              <a:gdLst>
                <a:gd name="T0" fmla="*/ 0 w 192"/>
                <a:gd name="T1" fmla="*/ 0 h 60"/>
                <a:gd name="T2" fmla="*/ 2147483647 w 192"/>
                <a:gd name="T3" fmla="*/ 2147483647 h 60"/>
                <a:gd name="T4" fmla="*/ 2147483647 w 192"/>
                <a:gd name="T5" fmla="*/ 2147483647 h 60"/>
                <a:gd name="T6" fmla="*/ 2147483647 w 192"/>
                <a:gd name="T7" fmla="*/ 2147483647 h 6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2"/>
                <a:gd name="T13" fmla="*/ 0 h 60"/>
                <a:gd name="T14" fmla="*/ 192 w 192"/>
                <a:gd name="T15" fmla="*/ 60 h 6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2" h="60">
                  <a:moveTo>
                    <a:pt x="0" y="0"/>
                  </a:moveTo>
                  <a:lnTo>
                    <a:pt x="60" y="32"/>
                  </a:lnTo>
                  <a:lnTo>
                    <a:pt x="83" y="42"/>
                  </a:lnTo>
                  <a:lnTo>
                    <a:pt x="192" y="6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0" name="Freeform 166">
              <a:extLst>
                <a:ext uri="{FF2B5EF4-FFF2-40B4-BE49-F238E27FC236}">
                  <a16:creationId xmlns:a16="http://schemas.microsoft.com/office/drawing/2014/main" id="{2B6821A6-78CB-4588-9F66-6197FCFC61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4116" y="2106621"/>
              <a:ext cx="255326" cy="32352"/>
            </a:xfrm>
            <a:custGeom>
              <a:avLst/>
              <a:gdLst>
                <a:gd name="T0" fmla="*/ 0 w 212"/>
                <a:gd name="T1" fmla="*/ 2147483647 h 30"/>
                <a:gd name="T2" fmla="*/ 2147483647 w 212"/>
                <a:gd name="T3" fmla="*/ 2147483647 h 30"/>
                <a:gd name="T4" fmla="*/ 2147483647 w 212"/>
                <a:gd name="T5" fmla="*/ 0 h 30"/>
                <a:gd name="T6" fmla="*/ 2147483647 w 212"/>
                <a:gd name="T7" fmla="*/ 0 h 30"/>
                <a:gd name="T8" fmla="*/ 2147483647 w 212"/>
                <a:gd name="T9" fmla="*/ 0 h 30"/>
                <a:gd name="T10" fmla="*/ 2147483647 w 212"/>
                <a:gd name="T11" fmla="*/ 2147483647 h 30"/>
                <a:gd name="T12" fmla="*/ 2147483647 w 212"/>
                <a:gd name="T13" fmla="*/ 2147483647 h 30"/>
                <a:gd name="T14" fmla="*/ 2147483647 w 212"/>
                <a:gd name="T15" fmla="*/ 2147483647 h 30"/>
                <a:gd name="T16" fmla="*/ 2147483647 w 212"/>
                <a:gd name="T17" fmla="*/ 2147483647 h 30"/>
                <a:gd name="T18" fmla="*/ 2147483647 w 212"/>
                <a:gd name="T19" fmla="*/ 2147483647 h 30"/>
                <a:gd name="T20" fmla="*/ 2147483647 w 212"/>
                <a:gd name="T21" fmla="*/ 2147483647 h 30"/>
                <a:gd name="T22" fmla="*/ 2147483647 w 212"/>
                <a:gd name="T23" fmla="*/ 2147483647 h 30"/>
                <a:gd name="T24" fmla="*/ 2147483647 w 212"/>
                <a:gd name="T25" fmla="*/ 2147483647 h 3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2"/>
                <a:gd name="T40" fmla="*/ 0 h 30"/>
                <a:gd name="T41" fmla="*/ 212 w 212"/>
                <a:gd name="T42" fmla="*/ 30 h 3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2" h="30">
                  <a:moveTo>
                    <a:pt x="0" y="30"/>
                  </a:moveTo>
                  <a:lnTo>
                    <a:pt x="50" y="26"/>
                  </a:lnTo>
                  <a:lnTo>
                    <a:pt x="81" y="0"/>
                  </a:lnTo>
                  <a:lnTo>
                    <a:pt x="87" y="0"/>
                  </a:lnTo>
                  <a:lnTo>
                    <a:pt x="93" y="0"/>
                  </a:lnTo>
                  <a:lnTo>
                    <a:pt x="109" y="2"/>
                  </a:lnTo>
                  <a:lnTo>
                    <a:pt x="127" y="4"/>
                  </a:lnTo>
                  <a:lnTo>
                    <a:pt x="147" y="7"/>
                  </a:lnTo>
                  <a:lnTo>
                    <a:pt x="166" y="10"/>
                  </a:lnTo>
                  <a:lnTo>
                    <a:pt x="184" y="13"/>
                  </a:lnTo>
                  <a:lnTo>
                    <a:pt x="200" y="16"/>
                  </a:lnTo>
                  <a:lnTo>
                    <a:pt x="206" y="17"/>
                  </a:lnTo>
                  <a:lnTo>
                    <a:pt x="212" y="1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1" name="Line 167">
              <a:extLst>
                <a:ext uri="{FF2B5EF4-FFF2-40B4-BE49-F238E27FC236}">
                  <a16:creationId xmlns:a16="http://schemas.microsoft.com/office/drawing/2014/main" id="{DEC6C004-74E8-4BE5-A2D6-076F617FC7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45472" y="2235048"/>
              <a:ext cx="32476" cy="32352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52" name="Line 168">
              <a:extLst>
                <a:ext uri="{FF2B5EF4-FFF2-40B4-BE49-F238E27FC236}">
                  <a16:creationId xmlns:a16="http://schemas.microsoft.com/office/drawing/2014/main" id="{F04A6DDA-BB9A-4C37-8A8C-76BEA1518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6356" y="2137011"/>
              <a:ext cx="29117" cy="98036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3" name="Line 169">
              <a:extLst>
                <a:ext uri="{FF2B5EF4-FFF2-40B4-BE49-F238E27FC236}">
                  <a16:creationId xmlns:a16="http://schemas.microsoft.com/office/drawing/2014/main" id="{44E277E0-C9DB-46E3-9208-17F6FB4137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9263" y="2099759"/>
              <a:ext cx="16797" cy="61763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4" name="Oval 170">
              <a:extLst>
                <a:ext uri="{FF2B5EF4-FFF2-40B4-BE49-F238E27FC236}">
                  <a16:creationId xmlns:a16="http://schemas.microsoft.com/office/drawing/2014/main" id="{2AE0DB93-2D0B-4B08-873D-1D2B53C527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4705" y="2087013"/>
              <a:ext cx="24637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5" name="Freeform 171">
              <a:extLst>
                <a:ext uri="{FF2B5EF4-FFF2-40B4-BE49-F238E27FC236}">
                  <a16:creationId xmlns:a16="http://schemas.microsoft.com/office/drawing/2014/main" id="{1B6EF4B6-D585-4B40-8F37-ED691FB5BB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78" y="1893882"/>
              <a:ext cx="41433" cy="139212"/>
            </a:xfrm>
            <a:custGeom>
              <a:avLst/>
              <a:gdLst>
                <a:gd name="T0" fmla="*/ 2147483647 w 34"/>
                <a:gd name="T1" fmla="*/ 2147483647 h 129"/>
                <a:gd name="T2" fmla="*/ 2147483647 w 34"/>
                <a:gd name="T3" fmla="*/ 2147483647 h 129"/>
                <a:gd name="T4" fmla="*/ 2147483647 w 34"/>
                <a:gd name="T5" fmla="*/ 2147483647 h 129"/>
                <a:gd name="T6" fmla="*/ 2147483647 w 34"/>
                <a:gd name="T7" fmla="*/ 2147483647 h 129"/>
                <a:gd name="T8" fmla="*/ 2147483647 w 34"/>
                <a:gd name="T9" fmla="*/ 2147483647 h 129"/>
                <a:gd name="T10" fmla="*/ 2147483647 w 34"/>
                <a:gd name="T11" fmla="*/ 2147483647 h 129"/>
                <a:gd name="T12" fmla="*/ 2147483647 w 34"/>
                <a:gd name="T13" fmla="*/ 2147483647 h 129"/>
                <a:gd name="T14" fmla="*/ 2147483647 w 34"/>
                <a:gd name="T15" fmla="*/ 2147483647 h 129"/>
                <a:gd name="T16" fmla="*/ 2147483647 w 34"/>
                <a:gd name="T17" fmla="*/ 2147483647 h 129"/>
                <a:gd name="T18" fmla="*/ 0 w 34"/>
                <a:gd name="T19" fmla="*/ 0 h 1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"/>
                <a:gd name="T31" fmla="*/ 0 h 129"/>
                <a:gd name="T32" fmla="*/ 34 w 34"/>
                <a:gd name="T33" fmla="*/ 129 h 1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" h="129">
                  <a:moveTo>
                    <a:pt x="34" y="129"/>
                  </a:moveTo>
                  <a:lnTo>
                    <a:pt x="32" y="124"/>
                  </a:lnTo>
                  <a:lnTo>
                    <a:pt x="29" y="118"/>
                  </a:lnTo>
                  <a:lnTo>
                    <a:pt x="26" y="111"/>
                  </a:lnTo>
                  <a:lnTo>
                    <a:pt x="22" y="103"/>
                  </a:lnTo>
                  <a:lnTo>
                    <a:pt x="16" y="86"/>
                  </a:lnTo>
                  <a:lnTo>
                    <a:pt x="13" y="78"/>
                  </a:lnTo>
                  <a:lnTo>
                    <a:pt x="12" y="71"/>
                  </a:lnTo>
                  <a:lnTo>
                    <a:pt x="20" y="28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6" name="Freeform 172">
              <a:extLst>
                <a:ext uri="{FF2B5EF4-FFF2-40B4-BE49-F238E27FC236}">
                  <a16:creationId xmlns:a16="http://schemas.microsoft.com/office/drawing/2014/main" id="{E093F7F1-7700-4E00-8217-FBC275CB32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78" y="2017409"/>
              <a:ext cx="223970" cy="124506"/>
            </a:xfrm>
            <a:custGeom>
              <a:avLst/>
              <a:gdLst>
                <a:gd name="T0" fmla="*/ 0 w 185"/>
                <a:gd name="T1" fmla="*/ 2147483647 h 115"/>
                <a:gd name="T2" fmla="*/ 2147483647 w 185"/>
                <a:gd name="T3" fmla="*/ 2147483647 h 115"/>
                <a:gd name="T4" fmla="*/ 0 w 185"/>
                <a:gd name="T5" fmla="*/ 2147483647 h 115"/>
                <a:gd name="T6" fmla="*/ 2147483647 w 185"/>
                <a:gd name="T7" fmla="*/ 2147483647 h 115"/>
                <a:gd name="T8" fmla="*/ 2147483647 w 185"/>
                <a:gd name="T9" fmla="*/ 2147483647 h 115"/>
                <a:gd name="T10" fmla="*/ 2147483647 w 185"/>
                <a:gd name="T11" fmla="*/ 2147483647 h 115"/>
                <a:gd name="T12" fmla="*/ 2147483647 w 185"/>
                <a:gd name="T13" fmla="*/ 2147483647 h 115"/>
                <a:gd name="T14" fmla="*/ 2147483647 w 185"/>
                <a:gd name="T15" fmla="*/ 2147483647 h 115"/>
                <a:gd name="T16" fmla="*/ 2147483647 w 185"/>
                <a:gd name="T17" fmla="*/ 2147483647 h 115"/>
                <a:gd name="T18" fmla="*/ 2147483647 w 185"/>
                <a:gd name="T19" fmla="*/ 0 h 115"/>
                <a:gd name="T20" fmla="*/ 2147483647 w 185"/>
                <a:gd name="T21" fmla="*/ 0 h 115"/>
                <a:gd name="T22" fmla="*/ 2147483647 w 185"/>
                <a:gd name="T23" fmla="*/ 2147483647 h 115"/>
                <a:gd name="T24" fmla="*/ 2147483647 w 185"/>
                <a:gd name="T25" fmla="*/ 2147483647 h 1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5"/>
                <a:gd name="T40" fmla="*/ 0 h 115"/>
                <a:gd name="T41" fmla="*/ 185 w 185"/>
                <a:gd name="T42" fmla="*/ 115 h 1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5" h="115">
                  <a:moveTo>
                    <a:pt x="0" y="115"/>
                  </a:moveTo>
                  <a:lnTo>
                    <a:pt x="9" y="86"/>
                  </a:lnTo>
                  <a:lnTo>
                    <a:pt x="0" y="57"/>
                  </a:lnTo>
                  <a:lnTo>
                    <a:pt x="12" y="28"/>
                  </a:lnTo>
                  <a:lnTo>
                    <a:pt x="17" y="24"/>
                  </a:lnTo>
                  <a:lnTo>
                    <a:pt x="24" y="21"/>
                  </a:lnTo>
                  <a:lnTo>
                    <a:pt x="40" y="13"/>
                  </a:lnTo>
                  <a:lnTo>
                    <a:pt x="57" y="5"/>
                  </a:lnTo>
                  <a:lnTo>
                    <a:pt x="65" y="2"/>
                  </a:lnTo>
                  <a:lnTo>
                    <a:pt x="72" y="0"/>
                  </a:lnTo>
                  <a:lnTo>
                    <a:pt x="123" y="0"/>
                  </a:lnTo>
                  <a:lnTo>
                    <a:pt x="147" y="9"/>
                  </a:lnTo>
                  <a:lnTo>
                    <a:pt x="185" y="4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7" name="Freeform 173">
              <a:extLst>
                <a:ext uri="{FF2B5EF4-FFF2-40B4-BE49-F238E27FC236}">
                  <a16:creationId xmlns:a16="http://schemas.microsoft.com/office/drawing/2014/main" id="{38AF4974-FC23-4E38-93EF-7FDFF57F7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2026" y="1905647"/>
              <a:ext cx="302360" cy="149015"/>
            </a:xfrm>
            <a:custGeom>
              <a:avLst/>
              <a:gdLst>
                <a:gd name="T0" fmla="*/ 2147483647 w 250"/>
                <a:gd name="T1" fmla="*/ 2147483647 h 138"/>
                <a:gd name="T2" fmla="*/ 0 w 250"/>
                <a:gd name="T3" fmla="*/ 2147483647 h 138"/>
                <a:gd name="T4" fmla="*/ 2147483647 w 250"/>
                <a:gd name="T5" fmla="*/ 2147483647 h 138"/>
                <a:gd name="T6" fmla="*/ 2147483647 w 250"/>
                <a:gd name="T7" fmla="*/ 2147483647 h 138"/>
                <a:gd name="T8" fmla="*/ 2147483647 w 250"/>
                <a:gd name="T9" fmla="*/ 2147483647 h 138"/>
                <a:gd name="T10" fmla="*/ 2147483647 w 250"/>
                <a:gd name="T11" fmla="*/ 2147483647 h 138"/>
                <a:gd name="T12" fmla="*/ 2147483647 w 250"/>
                <a:gd name="T13" fmla="*/ 2147483647 h 138"/>
                <a:gd name="T14" fmla="*/ 2147483647 w 250"/>
                <a:gd name="T15" fmla="*/ 2147483647 h 138"/>
                <a:gd name="T16" fmla="*/ 2147483647 w 250"/>
                <a:gd name="T17" fmla="*/ 0 h 13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0"/>
                <a:gd name="T28" fmla="*/ 0 h 138"/>
                <a:gd name="T29" fmla="*/ 250 w 250"/>
                <a:gd name="T30" fmla="*/ 138 h 13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0" h="138">
                  <a:moveTo>
                    <a:pt x="12" y="138"/>
                  </a:moveTo>
                  <a:lnTo>
                    <a:pt x="0" y="106"/>
                  </a:lnTo>
                  <a:lnTo>
                    <a:pt x="14" y="48"/>
                  </a:lnTo>
                  <a:lnTo>
                    <a:pt x="28" y="30"/>
                  </a:lnTo>
                  <a:lnTo>
                    <a:pt x="103" y="16"/>
                  </a:lnTo>
                  <a:lnTo>
                    <a:pt x="139" y="18"/>
                  </a:lnTo>
                  <a:lnTo>
                    <a:pt x="153" y="8"/>
                  </a:lnTo>
                  <a:lnTo>
                    <a:pt x="236" y="16"/>
                  </a:lnTo>
                  <a:lnTo>
                    <a:pt x="25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8" name="Oval 174">
              <a:extLst>
                <a:ext uri="{FF2B5EF4-FFF2-40B4-BE49-F238E27FC236}">
                  <a16:creationId xmlns:a16="http://schemas.microsoft.com/office/drawing/2014/main" id="{6946B538-45C9-4EEE-A3E7-C787DC7A48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5385" y="2045839"/>
              <a:ext cx="2687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9" name="Line 176">
              <a:extLst>
                <a:ext uri="{FF2B5EF4-FFF2-40B4-BE49-F238E27FC236}">
                  <a16:creationId xmlns:a16="http://schemas.microsoft.com/office/drawing/2014/main" id="{CFDB8394-645B-4E9F-BBF3-CD50F71BDF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5502" y="2632095"/>
              <a:ext cx="15677" cy="3627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0" name="Freeform 177">
              <a:extLst>
                <a:ext uri="{FF2B5EF4-FFF2-40B4-BE49-F238E27FC236}">
                  <a16:creationId xmlns:a16="http://schemas.microsoft.com/office/drawing/2014/main" id="{07230402-D72E-490D-A817-F5D0681CF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8940" y="2667387"/>
              <a:ext cx="51513" cy="32352"/>
            </a:xfrm>
            <a:custGeom>
              <a:avLst/>
              <a:gdLst>
                <a:gd name="T0" fmla="*/ 0 w 49"/>
                <a:gd name="T1" fmla="*/ 0 h 34"/>
                <a:gd name="T2" fmla="*/ 2147483647 w 49"/>
                <a:gd name="T3" fmla="*/ 2147483647 h 34"/>
                <a:gd name="T4" fmla="*/ 0 60000 65536"/>
                <a:gd name="T5" fmla="*/ 0 60000 65536"/>
                <a:gd name="T6" fmla="*/ 0 w 49"/>
                <a:gd name="T7" fmla="*/ 0 h 34"/>
                <a:gd name="T8" fmla="*/ 49 w 49"/>
                <a:gd name="T9" fmla="*/ 34 h 34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49" h="34">
                  <a:moveTo>
                    <a:pt x="0" y="0"/>
                  </a:moveTo>
                  <a:lnTo>
                    <a:pt x="49" y="3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1" name="Freeform 178">
              <a:extLst>
                <a:ext uri="{FF2B5EF4-FFF2-40B4-BE49-F238E27FC236}">
                  <a16:creationId xmlns:a16="http://schemas.microsoft.com/office/drawing/2014/main" id="{E05AC185-5F4E-4CC1-8997-2199FB1AF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7180" y="2332104"/>
              <a:ext cx="194853" cy="80390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85" y="70"/>
                </a:cxn>
                <a:cxn ang="0">
                  <a:pos x="129" y="68"/>
                </a:cxn>
                <a:cxn ang="0">
                  <a:pos x="153" y="32"/>
                </a:cxn>
                <a:cxn ang="0">
                  <a:pos x="161" y="0"/>
                </a:cxn>
              </a:cxnLst>
              <a:rect l="0" t="0" r="r" b="b"/>
              <a:pathLst>
                <a:path w="161" h="74">
                  <a:moveTo>
                    <a:pt x="0" y="74"/>
                  </a:moveTo>
                  <a:lnTo>
                    <a:pt x="85" y="70"/>
                  </a:lnTo>
                  <a:lnTo>
                    <a:pt x="129" y="68"/>
                  </a:lnTo>
                  <a:lnTo>
                    <a:pt x="153" y="32"/>
                  </a:lnTo>
                  <a:lnTo>
                    <a:pt x="161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2" name="Freeform 179">
              <a:extLst>
                <a:ext uri="{FF2B5EF4-FFF2-40B4-BE49-F238E27FC236}">
                  <a16:creationId xmlns:a16="http://schemas.microsoft.com/office/drawing/2014/main" id="{EA0EE5C4-56DC-46A9-9888-44F4FAA77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2641" y="2364456"/>
              <a:ext cx="153419" cy="48038"/>
            </a:xfrm>
            <a:custGeom>
              <a:avLst/>
              <a:gdLst>
                <a:gd name="T0" fmla="*/ 0 w 127"/>
                <a:gd name="T1" fmla="*/ 0 h 44"/>
                <a:gd name="T2" fmla="*/ 2147483647 w 127"/>
                <a:gd name="T3" fmla="*/ 2147483647 h 44"/>
                <a:gd name="T4" fmla="*/ 2147483647 w 127"/>
                <a:gd name="T5" fmla="*/ 2147483647 h 44"/>
                <a:gd name="T6" fmla="*/ 0 60000 65536"/>
                <a:gd name="T7" fmla="*/ 0 60000 65536"/>
                <a:gd name="T8" fmla="*/ 0 60000 65536"/>
                <a:gd name="T9" fmla="*/ 0 w 127"/>
                <a:gd name="T10" fmla="*/ 0 h 44"/>
                <a:gd name="T11" fmla="*/ 127 w 127"/>
                <a:gd name="T12" fmla="*/ 44 h 4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7" h="44">
                  <a:moveTo>
                    <a:pt x="0" y="0"/>
                  </a:moveTo>
                  <a:lnTo>
                    <a:pt x="65" y="36"/>
                  </a:lnTo>
                  <a:lnTo>
                    <a:pt x="127" y="4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3" name="Freeform 180">
              <a:extLst>
                <a:ext uri="{FF2B5EF4-FFF2-40B4-BE49-F238E27FC236}">
                  <a16:creationId xmlns:a16="http://schemas.microsoft.com/office/drawing/2014/main" id="{2AFF2802-E468-4C60-A48A-94AAA52FB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180" y="2328183"/>
              <a:ext cx="106387" cy="25489"/>
            </a:xfrm>
            <a:custGeom>
              <a:avLst/>
              <a:gdLst>
                <a:gd name="T0" fmla="*/ 2147483647 w 87"/>
                <a:gd name="T1" fmla="*/ 2147483647 h 24"/>
                <a:gd name="T2" fmla="*/ 2147483647 w 87"/>
                <a:gd name="T3" fmla="*/ 2147483647 h 24"/>
                <a:gd name="T4" fmla="*/ 0 w 87"/>
                <a:gd name="T5" fmla="*/ 0 h 24"/>
                <a:gd name="T6" fmla="*/ 0 60000 65536"/>
                <a:gd name="T7" fmla="*/ 0 60000 65536"/>
                <a:gd name="T8" fmla="*/ 0 60000 65536"/>
                <a:gd name="T9" fmla="*/ 0 w 87"/>
                <a:gd name="T10" fmla="*/ 0 h 24"/>
                <a:gd name="T11" fmla="*/ 87 w 87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7" h="24">
                  <a:moveTo>
                    <a:pt x="87" y="24"/>
                  </a:moveTo>
                  <a:lnTo>
                    <a:pt x="42" y="2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4" name="Freeform 181">
              <a:extLst>
                <a:ext uri="{FF2B5EF4-FFF2-40B4-BE49-F238E27FC236}">
                  <a16:creationId xmlns:a16="http://schemas.microsoft.com/office/drawing/2014/main" id="{CA148B60-BF18-4A8E-AB98-6C136F5ED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816" y="2364456"/>
              <a:ext cx="78389" cy="10784"/>
            </a:xfrm>
            <a:custGeom>
              <a:avLst/>
              <a:gdLst>
                <a:gd name="T0" fmla="*/ 0 w 64"/>
                <a:gd name="T1" fmla="*/ 2147483647 h 10"/>
                <a:gd name="T2" fmla="*/ 2147483647 w 64"/>
                <a:gd name="T3" fmla="*/ 2147483647 h 10"/>
                <a:gd name="T4" fmla="*/ 2147483647 w 64"/>
                <a:gd name="T5" fmla="*/ 0 h 10"/>
                <a:gd name="T6" fmla="*/ 0 60000 65536"/>
                <a:gd name="T7" fmla="*/ 0 60000 65536"/>
                <a:gd name="T8" fmla="*/ 0 60000 65536"/>
                <a:gd name="T9" fmla="*/ 0 w 64"/>
                <a:gd name="T10" fmla="*/ 0 h 10"/>
                <a:gd name="T11" fmla="*/ 64 w 64"/>
                <a:gd name="T12" fmla="*/ 10 h 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4" h="10">
                  <a:moveTo>
                    <a:pt x="0" y="10"/>
                  </a:moveTo>
                  <a:lnTo>
                    <a:pt x="52" y="8"/>
                  </a:lnTo>
                  <a:lnTo>
                    <a:pt x="6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5" name="Freeform 182">
              <a:extLst>
                <a:ext uri="{FF2B5EF4-FFF2-40B4-BE49-F238E27FC236}">
                  <a16:creationId xmlns:a16="http://schemas.microsoft.com/office/drawing/2014/main" id="{0AC0826A-0C7B-4311-BCA7-7767774C6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480" y="2337005"/>
              <a:ext cx="136621" cy="25489"/>
            </a:xfrm>
            <a:custGeom>
              <a:avLst/>
              <a:gdLst>
                <a:gd name="T0" fmla="*/ 0 w 113"/>
                <a:gd name="T1" fmla="*/ 2147483647 h 24"/>
                <a:gd name="T2" fmla="*/ 2147483647 w 113"/>
                <a:gd name="T3" fmla="*/ 2147483647 h 24"/>
                <a:gd name="T4" fmla="*/ 2147483647 w 113"/>
                <a:gd name="T5" fmla="*/ 0 h 24"/>
                <a:gd name="T6" fmla="*/ 2147483647 w 113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3"/>
                <a:gd name="T13" fmla="*/ 0 h 24"/>
                <a:gd name="T14" fmla="*/ 113 w 113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3" h="24">
                  <a:moveTo>
                    <a:pt x="0" y="24"/>
                  </a:moveTo>
                  <a:lnTo>
                    <a:pt x="42" y="12"/>
                  </a:lnTo>
                  <a:lnTo>
                    <a:pt x="77" y="0"/>
                  </a:lnTo>
                  <a:lnTo>
                    <a:pt x="113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6" name="Freeform 183">
              <a:extLst>
                <a:ext uri="{FF2B5EF4-FFF2-40B4-BE49-F238E27FC236}">
                  <a16:creationId xmlns:a16="http://schemas.microsoft.com/office/drawing/2014/main" id="{40AE82FF-2C70-42C1-A8D4-0389234ED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070" y="2514451"/>
              <a:ext cx="58232" cy="715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" y="22"/>
                </a:cxn>
                <a:cxn ang="0">
                  <a:pos x="48" y="66"/>
                </a:cxn>
              </a:cxnLst>
              <a:rect l="0" t="0" r="r" b="b"/>
              <a:pathLst>
                <a:path w="48" h="66">
                  <a:moveTo>
                    <a:pt x="0" y="0"/>
                  </a:moveTo>
                  <a:lnTo>
                    <a:pt x="30" y="22"/>
                  </a:lnTo>
                  <a:lnTo>
                    <a:pt x="48" y="66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7" name="Freeform 184">
              <a:extLst>
                <a:ext uri="{FF2B5EF4-FFF2-40B4-BE49-F238E27FC236}">
                  <a16:creationId xmlns:a16="http://schemas.microsoft.com/office/drawing/2014/main" id="{406FDEF5-168C-4051-8B9E-CEE401E32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6501" y="2725228"/>
              <a:ext cx="62712" cy="98036"/>
            </a:xfrm>
            <a:custGeom>
              <a:avLst/>
              <a:gdLst>
                <a:gd name="T0" fmla="*/ 0 w 52"/>
                <a:gd name="T1" fmla="*/ 2147483647 h 90"/>
                <a:gd name="T2" fmla="*/ 2147483647 w 52"/>
                <a:gd name="T3" fmla="*/ 2147483647 h 90"/>
                <a:gd name="T4" fmla="*/ 2147483647 w 52"/>
                <a:gd name="T5" fmla="*/ 0 h 90"/>
                <a:gd name="T6" fmla="*/ 0 60000 65536"/>
                <a:gd name="T7" fmla="*/ 0 60000 65536"/>
                <a:gd name="T8" fmla="*/ 0 60000 65536"/>
                <a:gd name="T9" fmla="*/ 0 w 52"/>
                <a:gd name="T10" fmla="*/ 0 h 90"/>
                <a:gd name="T11" fmla="*/ 52 w 52"/>
                <a:gd name="T12" fmla="*/ 90 h 9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" h="90">
                  <a:moveTo>
                    <a:pt x="0" y="90"/>
                  </a:moveTo>
                  <a:lnTo>
                    <a:pt x="34" y="62"/>
                  </a:lnTo>
                  <a:lnTo>
                    <a:pt x="52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8" name="Freeform 185">
              <a:extLst>
                <a:ext uri="{FF2B5EF4-FFF2-40B4-BE49-F238E27FC236}">
                  <a16:creationId xmlns:a16="http://schemas.microsoft.com/office/drawing/2014/main" id="{897A075E-0AD2-42DE-8AF6-DD6D64A77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722" y="2452687"/>
              <a:ext cx="82869" cy="40196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0" y="38"/>
                </a:cxn>
              </a:cxnLst>
              <a:rect l="0" t="0" r="r" b="b"/>
              <a:pathLst>
                <a:path w="68" h="38">
                  <a:moveTo>
                    <a:pt x="68" y="0"/>
                  </a:moveTo>
                  <a:lnTo>
                    <a:pt x="0" y="3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9" name="Freeform 186">
              <a:extLst>
                <a:ext uri="{FF2B5EF4-FFF2-40B4-BE49-F238E27FC236}">
                  <a16:creationId xmlns:a16="http://schemas.microsoft.com/office/drawing/2014/main" id="{14CCC5FD-B8C0-4B99-B885-45577B2C9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8425" y="2441905"/>
              <a:ext cx="26877" cy="25489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6" y="8"/>
                </a:cxn>
                <a:cxn ang="0">
                  <a:pos x="22" y="0"/>
                </a:cxn>
              </a:cxnLst>
              <a:rect l="0" t="0" r="r" b="b"/>
              <a:pathLst>
                <a:path w="22" h="24">
                  <a:moveTo>
                    <a:pt x="0" y="24"/>
                  </a:moveTo>
                  <a:lnTo>
                    <a:pt x="6" y="8"/>
                  </a:lnTo>
                  <a:lnTo>
                    <a:pt x="22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0" name="Freeform 187">
              <a:extLst>
                <a:ext uri="{FF2B5EF4-FFF2-40B4-BE49-F238E27FC236}">
                  <a16:creationId xmlns:a16="http://schemas.microsoft.com/office/drawing/2014/main" id="{BF6C8522-2401-48D8-8BD9-3D884E683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3498" y="2276222"/>
              <a:ext cx="170217" cy="55881"/>
            </a:xfrm>
            <a:custGeom>
              <a:avLst/>
              <a:gdLst>
                <a:gd name="T0" fmla="*/ 2147483647 w 141"/>
                <a:gd name="T1" fmla="*/ 0 h 52"/>
                <a:gd name="T2" fmla="*/ 2147483647 w 141"/>
                <a:gd name="T3" fmla="*/ 2147483647 h 52"/>
                <a:gd name="T4" fmla="*/ 2147483647 w 141"/>
                <a:gd name="T5" fmla="*/ 2147483647 h 52"/>
                <a:gd name="T6" fmla="*/ 0 w 141"/>
                <a:gd name="T7" fmla="*/ 2147483647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52"/>
                <a:gd name="T14" fmla="*/ 141 w 141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52">
                  <a:moveTo>
                    <a:pt x="141" y="0"/>
                  </a:moveTo>
                  <a:lnTo>
                    <a:pt x="107" y="6"/>
                  </a:lnTo>
                  <a:lnTo>
                    <a:pt x="56" y="16"/>
                  </a:lnTo>
                  <a:lnTo>
                    <a:pt x="0" y="52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1" name="Freeform 188">
              <a:extLst>
                <a:ext uri="{FF2B5EF4-FFF2-40B4-BE49-F238E27FC236}">
                  <a16:creationId xmlns:a16="http://schemas.microsoft.com/office/drawing/2014/main" id="{1F168683-51EE-442B-8966-30D34B164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760" y="2670327"/>
              <a:ext cx="24637" cy="51959"/>
            </a:xfrm>
            <a:custGeom>
              <a:avLst/>
              <a:gdLst>
                <a:gd name="T0" fmla="*/ 2147483647 w 21"/>
                <a:gd name="T1" fmla="*/ 2147483647 h 48"/>
                <a:gd name="T2" fmla="*/ 0 w 21"/>
                <a:gd name="T3" fmla="*/ 2147483647 h 48"/>
                <a:gd name="T4" fmla="*/ 2147483647 w 21"/>
                <a:gd name="T5" fmla="*/ 0 h 48"/>
                <a:gd name="T6" fmla="*/ 0 60000 65536"/>
                <a:gd name="T7" fmla="*/ 0 60000 65536"/>
                <a:gd name="T8" fmla="*/ 0 60000 65536"/>
                <a:gd name="T9" fmla="*/ 0 w 21"/>
                <a:gd name="T10" fmla="*/ 0 h 48"/>
                <a:gd name="T11" fmla="*/ 21 w 21"/>
                <a:gd name="T12" fmla="*/ 48 h 4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" h="48">
                  <a:moveTo>
                    <a:pt x="21" y="48"/>
                  </a:moveTo>
                  <a:lnTo>
                    <a:pt x="0" y="14"/>
                  </a:lnTo>
                  <a:lnTo>
                    <a:pt x="12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2" name="Line 189">
              <a:extLst>
                <a:ext uri="{FF2B5EF4-FFF2-40B4-BE49-F238E27FC236}">
                  <a16:creationId xmlns:a16="http://schemas.microsoft.com/office/drawing/2014/main" id="{310F99FE-259A-4F14-99C8-0A55C202B8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41751" y="2618368"/>
              <a:ext cx="31357" cy="3039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3" name="Freeform 190">
              <a:extLst>
                <a:ext uri="{FF2B5EF4-FFF2-40B4-BE49-F238E27FC236}">
                  <a16:creationId xmlns:a16="http://schemas.microsoft.com/office/drawing/2014/main" id="{B75BDBEE-59A6-4FB9-9D67-E64B0782C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959" y="2648759"/>
              <a:ext cx="44793" cy="19607"/>
            </a:xfrm>
            <a:custGeom>
              <a:avLst/>
              <a:gdLst>
                <a:gd name="T0" fmla="*/ 0 w 38"/>
                <a:gd name="T1" fmla="*/ 2147483647 h 18"/>
                <a:gd name="T2" fmla="*/ 2147483647 w 38"/>
                <a:gd name="T3" fmla="*/ 2147483647 h 18"/>
                <a:gd name="T4" fmla="*/ 2147483647 w 38"/>
                <a:gd name="T5" fmla="*/ 0 h 18"/>
                <a:gd name="T6" fmla="*/ 0 60000 65536"/>
                <a:gd name="T7" fmla="*/ 0 60000 65536"/>
                <a:gd name="T8" fmla="*/ 0 60000 65536"/>
                <a:gd name="T9" fmla="*/ 0 w 38"/>
                <a:gd name="T10" fmla="*/ 0 h 18"/>
                <a:gd name="T11" fmla="*/ 38 w 3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8" h="18">
                  <a:moveTo>
                    <a:pt x="0" y="18"/>
                  </a:moveTo>
                  <a:lnTo>
                    <a:pt x="26" y="10"/>
                  </a:lnTo>
                  <a:lnTo>
                    <a:pt x="38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4" name="Freeform 191">
              <a:extLst>
                <a:ext uri="{FF2B5EF4-FFF2-40B4-BE49-F238E27FC236}">
                  <a16:creationId xmlns:a16="http://schemas.microsoft.com/office/drawing/2014/main" id="{EAE6944E-39A0-42F1-8860-BA26F74DD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6389" y="2521313"/>
              <a:ext cx="49273" cy="103918"/>
            </a:xfrm>
            <a:custGeom>
              <a:avLst/>
              <a:gdLst>
                <a:gd name="T0" fmla="*/ 0 w 41"/>
                <a:gd name="T1" fmla="*/ 2147483647 h 96"/>
                <a:gd name="T2" fmla="*/ 2147483647 w 41"/>
                <a:gd name="T3" fmla="*/ 2147483647 h 96"/>
                <a:gd name="T4" fmla="*/ 2147483647 w 41"/>
                <a:gd name="T5" fmla="*/ 2147483647 h 96"/>
                <a:gd name="T6" fmla="*/ 2147483647 w 41"/>
                <a:gd name="T7" fmla="*/ 0 h 9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1"/>
                <a:gd name="T13" fmla="*/ 0 h 96"/>
                <a:gd name="T14" fmla="*/ 41 w 41"/>
                <a:gd name="T15" fmla="*/ 96 h 9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1" h="96">
                  <a:moveTo>
                    <a:pt x="0" y="96"/>
                  </a:moveTo>
                  <a:lnTo>
                    <a:pt x="31" y="72"/>
                  </a:lnTo>
                  <a:lnTo>
                    <a:pt x="41" y="22"/>
                  </a:lnTo>
                  <a:lnTo>
                    <a:pt x="23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5" name="Line 192">
              <a:extLst>
                <a:ext uri="{FF2B5EF4-FFF2-40B4-BE49-F238E27FC236}">
                  <a16:creationId xmlns:a16="http://schemas.microsoft.com/office/drawing/2014/main" id="{E5056EFF-108E-419D-B3BA-EE4EFCFEBA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46993" y="2953653"/>
              <a:ext cx="157899" cy="43136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6" name="Line 193">
              <a:extLst>
                <a:ext uri="{FF2B5EF4-FFF2-40B4-BE49-F238E27FC236}">
                  <a16:creationId xmlns:a16="http://schemas.microsoft.com/office/drawing/2014/main" id="{9A67A1B0-DD5A-4A55-980F-9820E186D1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57524" y="2859538"/>
              <a:ext cx="32476" cy="43136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7" name="Line 194">
              <a:extLst>
                <a:ext uri="{FF2B5EF4-FFF2-40B4-BE49-F238E27FC236}">
                  <a16:creationId xmlns:a16="http://schemas.microsoft.com/office/drawing/2014/main" id="{19C2F903-6E8F-4121-911F-B6AA2DA479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28075" y="2777186"/>
              <a:ext cx="27996" cy="49998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8" name="Freeform 195">
              <a:extLst>
                <a:ext uri="{FF2B5EF4-FFF2-40B4-BE49-F238E27FC236}">
                  <a16:creationId xmlns:a16="http://schemas.microsoft.com/office/drawing/2014/main" id="{FF413B28-53F1-40A6-A58E-714C7A409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4890" y="2902673"/>
              <a:ext cx="53753" cy="50979"/>
            </a:xfrm>
            <a:custGeom>
              <a:avLst/>
              <a:gdLst/>
              <a:ahLst/>
              <a:cxnLst>
                <a:cxn ang="0">
                  <a:pos x="0" y="47"/>
                </a:cxn>
                <a:cxn ang="0">
                  <a:pos x="34" y="22"/>
                </a:cxn>
                <a:cxn ang="0">
                  <a:pos x="46" y="0"/>
                </a:cxn>
              </a:cxnLst>
              <a:rect l="0" t="0" r="r" b="b"/>
              <a:pathLst>
                <a:path w="46" h="47">
                  <a:moveTo>
                    <a:pt x="0" y="47"/>
                  </a:moveTo>
                  <a:lnTo>
                    <a:pt x="34" y="22"/>
                  </a:lnTo>
                  <a:lnTo>
                    <a:pt x="46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79" name="Line 196">
              <a:extLst>
                <a:ext uri="{FF2B5EF4-FFF2-40B4-BE49-F238E27FC236}">
                  <a16:creationId xmlns:a16="http://schemas.microsoft.com/office/drawing/2014/main" id="{98C20694-FA5C-46AB-8C7E-6D7BC6C7ABF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9999" y="2827185"/>
              <a:ext cx="38075" cy="3235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0" name="Freeform 197">
              <a:extLst>
                <a:ext uri="{FF2B5EF4-FFF2-40B4-BE49-F238E27FC236}">
                  <a16:creationId xmlns:a16="http://schemas.microsoft.com/office/drawing/2014/main" id="{CEDD47B0-1F6C-4C0B-BBF4-E86C71F96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2424" y="2265440"/>
              <a:ext cx="52632" cy="109800"/>
            </a:xfrm>
            <a:custGeom>
              <a:avLst/>
              <a:gdLst>
                <a:gd name="T0" fmla="*/ 2147483647 w 43"/>
                <a:gd name="T1" fmla="*/ 2147483647 h 102"/>
                <a:gd name="T2" fmla="*/ 2147483647 w 43"/>
                <a:gd name="T3" fmla="*/ 2147483647 h 102"/>
                <a:gd name="T4" fmla="*/ 0 w 43"/>
                <a:gd name="T5" fmla="*/ 0 h 102"/>
                <a:gd name="T6" fmla="*/ 0 60000 65536"/>
                <a:gd name="T7" fmla="*/ 0 60000 65536"/>
                <a:gd name="T8" fmla="*/ 0 60000 65536"/>
                <a:gd name="T9" fmla="*/ 0 w 43"/>
                <a:gd name="T10" fmla="*/ 0 h 102"/>
                <a:gd name="T11" fmla="*/ 43 w 43"/>
                <a:gd name="T12" fmla="*/ 102 h 10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" h="102">
                  <a:moveTo>
                    <a:pt x="43" y="102"/>
                  </a:moveTo>
                  <a:lnTo>
                    <a:pt x="20" y="60"/>
                  </a:lnTo>
                  <a:lnTo>
                    <a:pt x="0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1" name="Line 198">
              <a:extLst>
                <a:ext uri="{FF2B5EF4-FFF2-40B4-BE49-F238E27FC236}">
                  <a16:creationId xmlns:a16="http://schemas.microsoft.com/office/drawing/2014/main" id="{13FDA406-B0FF-476F-978D-CCCE5BD850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45259" y="3058550"/>
              <a:ext cx="32476" cy="59802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2" name="Freeform 199">
              <a:extLst>
                <a:ext uri="{FF2B5EF4-FFF2-40B4-BE49-F238E27FC236}">
                  <a16:creationId xmlns:a16="http://schemas.microsoft.com/office/drawing/2014/main" id="{2FEEA87E-F685-4B7D-B1BB-5A244D744E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2977" y="3533045"/>
              <a:ext cx="92947" cy="48038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24" y="28"/>
                </a:cxn>
                <a:cxn ang="0">
                  <a:pos x="41" y="4"/>
                </a:cxn>
                <a:cxn ang="0">
                  <a:pos x="77" y="0"/>
                </a:cxn>
              </a:cxnLst>
              <a:rect l="0" t="0" r="r" b="b"/>
              <a:pathLst>
                <a:path w="77" h="44">
                  <a:moveTo>
                    <a:pt x="0" y="44"/>
                  </a:moveTo>
                  <a:lnTo>
                    <a:pt x="24" y="28"/>
                  </a:lnTo>
                  <a:lnTo>
                    <a:pt x="41" y="4"/>
                  </a:lnTo>
                  <a:lnTo>
                    <a:pt x="77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3" name="Line 200">
              <a:extLst>
                <a:ext uri="{FF2B5EF4-FFF2-40B4-BE49-F238E27FC236}">
                  <a16:creationId xmlns:a16="http://schemas.microsoft.com/office/drawing/2014/main" id="{6617E23E-4099-49C0-BF1A-0DCEC45C9A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59364" y="3350698"/>
              <a:ext cx="24637" cy="93135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4" name="Line 201">
              <a:extLst>
                <a:ext uri="{FF2B5EF4-FFF2-40B4-BE49-F238E27FC236}">
                  <a16:creationId xmlns:a16="http://schemas.microsoft.com/office/drawing/2014/main" id="{A5690B55-24B3-4CE8-AE3E-CD93ED8910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43592" y="4191846"/>
              <a:ext cx="60472" cy="3921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5" name="Freeform 202">
              <a:extLst>
                <a:ext uri="{FF2B5EF4-FFF2-40B4-BE49-F238E27FC236}">
                  <a16:creationId xmlns:a16="http://schemas.microsoft.com/office/drawing/2014/main" id="{000875C3-79D7-4F2E-9186-78E5BBD53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3777" y="4151652"/>
              <a:ext cx="34716" cy="3333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4"/>
                </a:cxn>
                <a:cxn ang="0">
                  <a:pos x="28" y="31"/>
                </a:cxn>
              </a:cxnLst>
              <a:rect l="0" t="0" r="r" b="b"/>
              <a:pathLst>
                <a:path w="28" h="31">
                  <a:moveTo>
                    <a:pt x="0" y="0"/>
                  </a:moveTo>
                  <a:lnTo>
                    <a:pt x="6" y="24"/>
                  </a:lnTo>
                  <a:lnTo>
                    <a:pt x="28" y="31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6" name="Freeform 203">
              <a:extLst>
                <a:ext uri="{FF2B5EF4-FFF2-40B4-BE49-F238E27FC236}">
                  <a16:creationId xmlns:a16="http://schemas.microsoft.com/office/drawing/2014/main" id="{5C0E3E59-F6AB-47BE-93E1-ED205414D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7688" y="4224198"/>
              <a:ext cx="50393" cy="529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2" y="25"/>
                </a:cxn>
                <a:cxn ang="0">
                  <a:pos x="36" y="40"/>
                </a:cxn>
              </a:cxnLst>
              <a:rect l="0" t="0" r="r" b="b"/>
              <a:pathLst>
                <a:path w="36" h="40">
                  <a:moveTo>
                    <a:pt x="0" y="0"/>
                  </a:moveTo>
                  <a:lnTo>
                    <a:pt x="22" y="25"/>
                  </a:lnTo>
                  <a:lnTo>
                    <a:pt x="36" y="4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7" name="Line 204">
              <a:extLst>
                <a:ext uri="{FF2B5EF4-FFF2-40B4-BE49-F238E27FC236}">
                  <a16:creationId xmlns:a16="http://schemas.microsoft.com/office/drawing/2014/main" id="{A3EF04A9-0ADD-4C5E-8A40-92505F1C5E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463776" y="4107536"/>
              <a:ext cx="25757" cy="45097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8" name="Freeform 205">
              <a:extLst>
                <a:ext uri="{FF2B5EF4-FFF2-40B4-BE49-F238E27FC236}">
                  <a16:creationId xmlns:a16="http://schemas.microsoft.com/office/drawing/2014/main" id="{4DDE8F1F-5BCC-46FF-84F6-F5DCF433A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536" y="5664347"/>
              <a:ext cx="67191" cy="11764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47" y="30"/>
                </a:cxn>
                <a:cxn ang="0">
                  <a:pos x="39" y="50"/>
                </a:cxn>
                <a:cxn ang="0">
                  <a:pos x="0" y="109"/>
                </a:cxn>
              </a:cxnLst>
              <a:rect l="0" t="0" r="r" b="b"/>
              <a:pathLst>
                <a:path w="56" h="109">
                  <a:moveTo>
                    <a:pt x="56" y="0"/>
                  </a:moveTo>
                  <a:lnTo>
                    <a:pt x="47" y="30"/>
                  </a:lnTo>
                  <a:lnTo>
                    <a:pt x="39" y="50"/>
                  </a:lnTo>
                  <a:lnTo>
                    <a:pt x="0" y="109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89" name="Freeform 206">
              <a:extLst>
                <a:ext uri="{FF2B5EF4-FFF2-40B4-BE49-F238E27FC236}">
                  <a16:creationId xmlns:a16="http://schemas.microsoft.com/office/drawing/2014/main" id="{0745AF86-9FA0-4A17-B4C0-341A23937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9388" y="5557487"/>
              <a:ext cx="137741" cy="49998"/>
            </a:xfrm>
            <a:custGeom>
              <a:avLst/>
              <a:gdLst>
                <a:gd name="T0" fmla="*/ 0 w 114"/>
                <a:gd name="T1" fmla="*/ 0 h 46"/>
                <a:gd name="T2" fmla="*/ 2147483647 w 114"/>
                <a:gd name="T3" fmla="*/ 2147483647 h 46"/>
                <a:gd name="T4" fmla="*/ 2147483647 w 114"/>
                <a:gd name="T5" fmla="*/ 2147483647 h 46"/>
                <a:gd name="T6" fmla="*/ 2147483647 w 114"/>
                <a:gd name="T7" fmla="*/ 2147483647 h 4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4"/>
                <a:gd name="T13" fmla="*/ 0 h 46"/>
                <a:gd name="T14" fmla="*/ 114 w 114"/>
                <a:gd name="T15" fmla="*/ 46 h 4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4" h="46">
                  <a:moveTo>
                    <a:pt x="0" y="0"/>
                  </a:moveTo>
                  <a:lnTo>
                    <a:pt x="29" y="5"/>
                  </a:lnTo>
                  <a:lnTo>
                    <a:pt x="54" y="28"/>
                  </a:lnTo>
                  <a:lnTo>
                    <a:pt x="114" y="46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0" name="Oval 207">
              <a:extLst>
                <a:ext uri="{FF2B5EF4-FFF2-40B4-BE49-F238E27FC236}">
                  <a16:creationId xmlns:a16="http://schemas.microsoft.com/office/drawing/2014/main" id="{5001461C-7D69-4888-86CC-8C6A834D44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5011" y="2586998"/>
              <a:ext cx="2463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1" name="Freeform 208">
              <a:extLst>
                <a:ext uri="{FF2B5EF4-FFF2-40B4-BE49-F238E27FC236}">
                  <a16:creationId xmlns:a16="http://schemas.microsoft.com/office/drawing/2014/main" id="{A5DB7A7A-2CCD-4E7E-BCD0-744B81845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809" y="2635035"/>
              <a:ext cx="22397" cy="61763"/>
            </a:xfrm>
            <a:custGeom>
              <a:avLst/>
              <a:gdLst>
                <a:gd name="T0" fmla="*/ 0 w 18"/>
                <a:gd name="T1" fmla="*/ 2147483647 h 57"/>
                <a:gd name="T2" fmla="*/ 2147483647 w 18"/>
                <a:gd name="T3" fmla="*/ 2147483647 h 57"/>
                <a:gd name="T4" fmla="*/ 2147483647 w 18"/>
                <a:gd name="T5" fmla="*/ 2147483647 h 57"/>
                <a:gd name="T6" fmla="*/ 2147483647 w 18"/>
                <a:gd name="T7" fmla="*/ 0 h 5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57"/>
                <a:gd name="T14" fmla="*/ 18 w 18"/>
                <a:gd name="T15" fmla="*/ 57 h 5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57">
                  <a:moveTo>
                    <a:pt x="0" y="57"/>
                  </a:moveTo>
                  <a:lnTo>
                    <a:pt x="5" y="20"/>
                  </a:lnTo>
                  <a:lnTo>
                    <a:pt x="12" y="12"/>
                  </a:lnTo>
                  <a:lnTo>
                    <a:pt x="18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2" name="Freeform 209">
              <a:extLst>
                <a:ext uri="{FF2B5EF4-FFF2-40B4-BE49-F238E27FC236}">
                  <a16:creationId xmlns:a16="http://schemas.microsoft.com/office/drawing/2014/main" id="{94653270-9DBA-4C01-ABBC-5F871667A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9334" y="2699739"/>
              <a:ext cx="32476" cy="980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9" y="9"/>
                </a:cxn>
              </a:cxnLst>
              <a:rect l="0" t="0" r="r" b="b"/>
              <a:pathLst>
                <a:path w="29" h="9">
                  <a:moveTo>
                    <a:pt x="0" y="0"/>
                  </a:moveTo>
                  <a:lnTo>
                    <a:pt x="29" y="9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93" name="Line 210">
              <a:extLst>
                <a:ext uri="{FF2B5EF4-FFF2-40B4-BE49-F238E27FC236}">
                  <a16:creationId xmlns:a16="http://schemas.microsoft.com/office/drawing/2014/main" id="{B5C75E78-0B1F-4AF0-8516-8171CEC26E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0578" y="2375239"/>
              <a:ext cx="15677" cy="90194"/>
            </a:xfrm>
            <a:prstGeom prst="line">
              <a:avLst/>
            </a:pr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94" name="Oval 211">
              <a:extLst>
                <a:ext uri="{FF2B5EF4-FFF2-40B4-BE49-F238E27FC236}">
                  <a16:creationId xmlns:a16="http://schemas.microsoft.com/office/drawing/2014/main" id="{F19A6A69-A7BE-4B51-88D5-33B8218CA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1030" y="2523274"/>
              <a:ext cx="26877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5" name="Freeform 212">
              <a:extLst>
                <a:ext uri="{FF2B5EF4-FFF2-40B4-BE49-F238E27FC236}">
                  <a16:creationId xmlns:a16="http://schemas.microsoft.com/office/drawing/2014/main" id="{C143B39C-6EBF-4C32-B846-7785EBC87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1446" y="3438931"/>
              <a:ext cx="42555" cy="9607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30" y="42"/>
                </a:cxn>
                <a:cxn ang="0">
                  <a:pos x="36" y="0"/>
                </a:cxn>
              </a:cxnLst>
              <a:rect l="0" t="0" r="r" b="b"/>
              <a:pathLst>
                <a:path w="36" h="89">
                  <a:moveTo>
                    <a:pt x="0" y="89"/>
                  </a:moveTo>
                  <a:lnTo>
                    <a:pt x="30" y="42"/>
                  </a:lnTo>
                  <a:lnTo>
                    <a:pt x="36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96" name="Freeform 214">
              <a:extLst>
                <a:ext uri="{FF2B5EF4-FFF2-40B4-BE49-F238E27FC236}">
                  <a16:creationId xmlns:a16="http://schemas.microsoft.com/office/drawing/2014/main" id="{1C723F12-9742-48F1-80DD-BEA74C85B9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0648" y="5032995"/>
              <a:ext cx="5599" cy="68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4"/>
                </a:cxn>
                <a:cxn ang="0">
                  <a:pos x="1" y="5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2" y="4"/>
                </a:cxn>
                <a:cxn ang="0">
                  <a:pos x="4" y="0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lnTo>
                    <a:pt x="2" y="4"/>
                  </a:lnTo>
                  <a:lnTo>
                    <a:pt x="1" y="5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CC99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97" name="Oval 215">
              <a:extLst>
                <a:ext uri="{FF2B5EF4-FFF2-40B4-BE49-F238E27FC236}">
                  <a16:creationId xmlns:a16="http://schemas.microsoft.com/office/drawing/2014/main" id="{1941BBC5-83E2-486D-AF64-28AFC9190B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6749" y="2259556"/>
              <a:ext cx="2463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8" name="Oval 216">
              <a:extLst>
                <a:ext uri="{FF2B5EF4-FFF2-40B4-BE49-F238E27FC236}">
                  <a16:creationId xmlns:a16="http://schemas.microsoft.com/office/drawing/2014/main" id="{438511A1-AD56-4290-BA0C-EE13A95DAC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9491" y="2695818"/>
              <a:ext cx="2463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9" name="Freeform 217">
              <a:extLst>
                <a:ext uri="{FF2B5EF4-FFF2-40B4-BE49-F238E27FC236}">
                  <a16:creationId xmlns:a16="http://schemas.microsoft.com/office/drawing/2014/main" id="{0E3530B5-0F7F-458D-8950-858E72487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9415" y="2786010"/>
              <a:ext cx="103027" cy="194112"/>
            </a:xfrm>
            <a:custGeom>
              <a:avLst/>
              <a:gdLst>
                <a:gd name="T0" fmla="*/ 0 w 85"/>
                <a:gd name="T1" fmla="*/ 0 h 179"/>
                <a:gd name="T2" fmla="*/ 2147483647 w 85"/>
                <a:gd name="T3" fmla="*/ 2147483647 h 179"/>
                <a:gd name="T4" fmla="*/ 2147483647 w 85"/>
                <a:gd name="T5" fmla="*/ 2147483647 h 179"/>
                <a:gd name="T6" fmla="*/ 0 60000 65536"/>
                <a:gd name="T7" fmla="*/ 0 60000 65536"/>
                <a:gd name="T8" fmla="*/ 0 60000 65536"/>
                <a:gd name="T9" fmla="*/ 0 w 85"/>
                <a:gd name="T10" fmla="*/ 0 h 179"/>
                <a:gd name="T11" fmla="*/ 85 w 85"/>
                <a:gd name="T12" fmla="*/ 179 h 17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5" h="179">
                  <a:moveTo>
                    <a:pt x="0" y="0"/>
                  </a:moveTo>
                  <a:lnTo>
                    <a:pt x="69" y="91"/>
                  </a:lnTo>
                  <a:lnTo>
                    <a:pt x="85" y="179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0" name="Oval 218">
              <a:extLst>
                <a:ext uri="{FF2B5EF4-FFF2-40B4-BE49-F238E27FC236}">
                  <a16:creationId xmlns:a16="http://schemas.microsoft.com/office/drawing/2014/main" id="{3123BB75-55B4-4754-997F-53E1CAE3F7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4196" y="2326222"/>
              <a:ext cx="2015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1" name="Oval 219">
              <a:extLst>
                <a:ext uri="{FF2B5EF4-FFF2-40B4-BE49-F238E27FC236}">
                  <a16:creationId xmlns:a16="http://schemas.microsoft.com/office/drawing/2014/main" id="{591ED3A7-CF32-4D61-B5B6-9B594CDCDA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8198" y="3370306"/>
              <a:ext cx="2127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2" name="Oval 220">
              <a:extLst>
                <a:ext uri="{FF2B5EF4-FFF2-40B4-BE49-F238E27FC236}">
                  <a16:creationId xmlns:a16="http://schemas.microsoft.com/office/drawing/2014/main" id="{63A5A1D6-DA70-4F7E-9C4A-09E06FC24C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5011" y="2049759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3" name="Oval 221">
              <a:extLst>
                <a:ext uri="{FF2B5EF4-FFF2-40B4-BE49-F238E27FC236}">
                  <a16:creationId xmlns:a16="http://schemas.microsoft.com/office/drawing/2014/main" id="{6C79485C-73C4-4958-AD93-D0702EBC69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633" y="2555625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4" name="Oval 222">
              <a:extLst>
                <a:ext uri="{FF2B5EF4-FFF2-40B4-BE49-F238E27FC236}">
                  <a16:creationId xmlns:a16="http://schemas.microsoft.com/office/drawing/2014/main" id="{67A1DD30-8FF5-4607-ADB1-6BF5775EC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5706" y="3177174"/>
              <a:ext cx="20157" cy="1960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5" name="Line 223">
              <a:extLst>
                <a:ext uri="{FF2B5EF4-FFF2-40B4-BE49-F238E27FC236}">
                  <a16:creationId xmlns:a16="http://schemas.microsoft.com/office/drawing/2014/main" id="{C03D1F13-3BE8-4219-9A08-C1AD6E9BF8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61485" y="2703660"/>
              <a:ext cx="44793" cy="2451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6" name="Freeform 224">
              <a:extLst>
                <a:ext uri="{FF2B5EF4-FFF2-40B4-BE49-F238E27FC236}">
                  <a16:creationId xmlns:a16="http://schemas.microsoft.com/office/drawing/2014/main" id="{6B122BAC-4F36-4909-A03F-8D93C3DA72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014" y="4099692"/>
              <a:ext cx="184775" cy="6372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1" y="24"/>
                </a:cxn>
                <a:cxn ang="0">
                  <a:pos x="153" y="59"/>
                </a:cxn>
              </a:cxnLst>
              <a:rect l="0" t="0" r="r" b="b"/>
              <a:pathLst>
                <a:path w="153" h="59">
                  <a:moveTo>
                    <a:pt x="0" y="0"/>
                  </a:moveTo>
                  <a:lnTo>
                    <a:pt x="81" y="24"/>
                  </a:lnTo>
                  <a:lnTo>
                    <a:pt x="153" y="59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07" name="Line 225">
              <a:extLst>
                <a:ext uri="{FF2B5EF4-FFF2-40B4-BE49-F238E27FC236}">
                  <a16:creationId xmlns:a16="http://schemas.microsoft.com/office/drawing/2014/main" id="{AA56FDE0-71A4-432C-B850-E48192EC76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76549" y="4163418"/>
              <a:ext cx="110865" cy="55880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08" name="Freeform 226">
              <a:extLst>
                <a:ext uri="{FF2B5EF4-FFF2-40B4-BE49-F238E27FC236}">
                  <a16:creationId xmlns:a16="http://schemas.microsoft.com/office/drawing/2014/main" id="{3C82F0EE-1943-4412-8BBB-F98D80D9E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7413" y="4219296"/>
              <a:ext cx="175816" cy="784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32"/>
                </a:cxn>
                <a:cxn ang="0">
                  <a:pos x="147" y="72"/>
                </a:cxn>
              </a:cxnLst>
              <a:rect l="0" t="0" r="r" b="b"/>
              <a:pathLst>
                <a:path w="147" h="72">
                  <a:moveTo>
                    <a:pt x="0" y="0"/>
                  </a:moveTo>
                  <a:lnTo>
                    <a:pt x="97" y="32"/>
                  </a:lnTo>
                  <a:lnTo>
                    <a:pt x="147" y="72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09" name="Freeform 227">
              <a:extLst>
                <a:ext uri="{FF2B5EF4-FFF2-40B4-BE49-F238E27FC236}">
                  <a16:creationId xmlns:a16="http://schemas.microsoft.com/office/drawing/2014/main" id="{768C3582-FBAD-467F-90A2-9309AF8A5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3309" y="4308509"/>
              <a:ext cx="72789" cy="3235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9" y="30"/>
                </a:cxn>
              </a:cxnLst>
              <a:rect l="0" t="0" r="r" b="b"/>
              <a:pathLst>
                <a:path w="59" h="30">
                  <a:moveTo>
                    <a:pt x="0" y="0"/>
                  </a:moveTo>
                  <a:lnTo>
                    <a:pt x="59" y="3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10" name="Line 228">
              <a:extLst>
                <a:ext uri="{FF2B5EF4-FFF2-40B4-BE49-F238E27FC236}">
                  <a16:creationId xmlns:a16="http://schemas.microsoft.com/office/drawing/2014/main" id="{3599D4D0-982D-422B-A3E3-A6F250257C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8085293" y="4362428"/>
              <a:ext cx="17917" cy="11765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11" name="Oval 229">
              <a:extLst>
                <a:ext uri="{FF2B5EF4-FFF2-40B4-BE49-F238E27FC236}">
                  <a16:creationId xmlns:a16="http://schemas.microsoft.com/office/drawing/2014/main" id="{75B46026-18B5-45F3-8947-580F744E5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3151" y="4292823"/>
              <a:ext cx="25756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2" name="Line 230">
              <a:extLst>
                <a:ext uri="{FF2B5EF4-FFF2-40B4-BE49-F238E27FC236}">
                  <a16:creationId xmlns:a16="http://schemas.microsoft.com/office/drawing/2014/main" id="{DCCA1F97-D401-4ED8-A025-204F874D18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0501" y="4339881"/>
              <a:ext cx="44793" cy="24509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3" name="Oval 231">
              <a:extLst>
                <a:ext uri="{FF2B5EF4-FFF2-40B4-BE49-F238E27FC236}">
                  <a16:creationId xmlns:a16="http://schemas.microsoft.com/office/drawing/2014/main" id="{BD4E3CFA-3F5E-490D-97BA-4A8CC5B92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8731" y="4368311"/>
              <a:ext cx="25756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4" name="Oval 232">
              <a:extLst>
                <a:ext uri="{FF2B5EF4-FFF2-40B4-BE49-F238E27FC236}">
                  <a16:creationId xmlns:a16="http://schemas.microsoft.com/office/drawing/2014/main" id="{5E96D170-6C3D-476E-8E7D-FC8605AB38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6005" y="3083060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5" name="Oval 233">
              <a:extLst>
                <a:ext uri="{FF2B5EF4-FFF2-40B4-BE49-F238E27FC236}">
                  <a16:creationId xmlns:a16="http://schemas.microsoft.com/office/drawing/2014/main" id="{A6D7DBFC-18F2-47E9-9115-10516E327D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6361" y="3378147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6" name="Oval 235">
              <a:extLst>
                <a:ext uri="{FF2B5EF4-FFF2-40B4-BE49-F238E27FC236}">
                  <a16:creationId xmlns:a16="http://schemas.microsoft.com/office/drawing/2014/main" id="{1E2C2CD5-0C95-4F1E-B5BF-6D843DFC9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6082" y="4014400"/>
              <a:ext cx="19037" cy="1960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7" name="Oval 236">
              <a:extLst>
                <a:ext uri="{FF2B5EF4-FFF2-40B4-BE49-F238E27FC236}">
                  <a16:creationId xmlns:a16="http://schemas.microsoft.com/office/drawing/2014/main" id="{7D3A6300-FF3B-4884-B762-2244E8B860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7814" y="4078124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8" name="Oval 237">
              <a:extLst>
                <a:ext uri="{FF2B5EF4-FFF2-40B4-BE49-F238E27FC236}">
                  <a16:creationId xmlns:a16="http://schemas.microsoft.com/office/drawing/2014/main" id="{F2837810-91E4-4404-8A1F-D8E79E4CE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0708" y="3907542"/>
              <a:ext cx="21277" cy="1666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9" name="Freeform 238">
              <a:extLst>
                <a:ext uri="{FF2B5EF4-FFF2-40B4-BE49-F238E27FC236}">
                  <a16:creationId xmlns:a16="http://schemas.microsoft.com/office/drawing/2014/main" id="{5FCC2870-9DD7-4855-BDEC-F3BBDA8F8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24" y="3754606"/>
              <a:ext cx="166857" cy="54900"/>
            </a:xfrm>
            <a:custGeom>
              <a:avLst/>
              <a:gdLst>
                <a:gd name="T0" fmla="*/ 0 w 139"/>
                <a:gd name="T1" fmla="*/ 0 h 51"/>
                <a:gd name="T2" fmla="*/ 2147483647 w 139"/>
                <a:gd name="T3" fmla="*/ 2147483647 h 51"/>
                <a:gd name="T4" fmla="*/ 2147483647 w 139"/>
                <a:gd name="T5" fmla="*/ 2147483647 h 51"/>
                <a:gd name="T6" fmla="*/ 2147483647 w 139"/>
                <a:gd name="T7" fmla="*/ 2147483647 h 5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9"/>
                <a:gd name="T13" fmla="*/ 0 h 51"/>
                <a:gd name="T14" fmla="*/ 139 w 139"/>
                <a:gd name="T15" fmla="*/ 51 h 5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9" h="51">
                  <a:moveTo>
                    <a:pt x="0" y="0"/>
                  </a:moveTo>
                  <a:lnTo>
                    <a:pt x="42" y="23"/>
                  </a:lnTo>
                  <a:lnTo>
                    <a:pt x="101" y="39"/>
                  </a:lnTo>
                  <a:lnTo>
                    <a:pt x="139" y="5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0" name="Line 239">
              <a:extLst>
                <a:ext uri="{FF2B5EF4-FFF2-40B4-BE49-F238E27FC236}">
                  <a16:creationId xmlns:a16="http://schemas.microsoft.com/office/drawing/2014/main" id="{63719C16-7501-4C35-804F-A9B9A737EF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35540" y="3808525"/>
              <a:ext cx="55992" cy="51959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1" name="Line 240">
              <a:extLst>
                <a:ext uri="{FF2B5EF4-FFF2-40B4-BE49-F238E27FC236}">
                  <a16:creationId xmlns:a16="http://schemas.microsoft.com/office/drawing/2014/main" id="{857123FF-9D59-4255-B273-DDAD2634540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884814" y="3854603"/>
              <a:ext cx="75029" cy="11764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2" name="Freeform 241">
              <a:extLst>
                <a:ext uri="{FF2B5EF4-FFF2-40B4-BE49-F238E27FC236}">
                  <a16:creationId xmlns:a16="http://schemas.microsoft.com/office/drawing/2014/main" id="{A236A00E-3321-46CC-85B2-8315BF9FF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7604" y="5433962"/>
              <a:ext cx="87348" cy="19607"/>
            </a:xfrm>
            <a:custGeom>
              <a:avLst/>
              <a:gdLst>
                <a:gd name="T0" fmla="*/ 0 w 73"/>
                <a:gd name="T1" fmla="*/ 2147483647 h 18"/>
                <a:gd name="T2" fmla="*/ 2147483647 w 73"/>
                <a:gd name="T3" fmla="*/ 0 h 18"/>
                <a:gd name="T4" fmla="*/ 2147483647 w 73"/>
                <a:gd name="T5" fmla="*/ 2147483647 h 18"/>
                <a:gd name="T6" fmla="*/ 0 60000 65536"/>
                <a:gd name="T7" fmla="*/ 0 60000 65536"/>
                <a:gd name="T8" fmla="*/ 0 60000 65536"/>
                <a:gd name="T9" fmla="*/ 0 w 73"/>
                <a:gd name="T10" fmla="*/ 0 h 18"/>
                <a:gd name="T11" fmla="*/ 73 w 73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18">
                  <a:moveTo>
                    <a:pt x="0" y="18"/>
                  </a:moveTo>
                  <a:lnTo>
                    <a:pt x="47" y="0"/>
                  </a:lnTo>
                  <a:lnTo>
                    <a:pt x="73" y="16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3" name="Oval 242">
              <a:extLst>
                <a:ext uri="{FF2B5EF4-FFF2-40B4-BE49-F238E27FC236}">
                  <a16:creationId xmlns:a16="http://schemas.microsoft.com/office/drawing/2014/main" id="{07320DDA-94A8-4138-9340-AA0FB8D77C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7213" y="4281060"/>
              <a:ext cx="23519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4" name="Oval 243">
              <a:extLst>
                <a:ext uri="{FF2B5EF4-FFF2-40B4-BE49-F238E27FC236}">
                  <a16:creationId xmlns:a16="http://schemas.microsoft.com/office/drawing/2014/main" id="{70D01460-CD20-4B5E-BBFB-1B382AFBA1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1198" y="4325176"/>
              <a:ext cx="2127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5" name="Oval 244">
              <a:extLst>
                <a:ext uri="{FF2B5EF4-FFF2-40B4-BE49-F238E27FC236}">
                  <a16:creationId xmlns:a16="http://schemas.microsoft.com/office/drawing/2014/main" id="{17472E41-FD9B-49E5-A01D-BD7103AA22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8098" y="5071229"/>
              <a:ext cx="2687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6" name="Oval 246">
              <a:extLst>
                <a:ext uri="{FF2B5EF4-FFF2-40B4-BE49-F238E27FC236}">
                  <a16:creationId xmlns:a16="http://schemas.microsoft.com/office/drawing/2014/main" id="{D629AC57-5E53-49A7-B335-9905D58D35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7604" y="5936888"/>
              <a:ext cx="2575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7" name="Oval 247">
              <a:extLst>
                <a:ext uri="{FF2B5EF4-FFF2-40B4-BE49-F238E27FC236}">
                  <a16:creationId xmlns:a16="http://schemas.microsoft.com/office/drawing/2014/main" id="{CB18831A-7965-49A9-91D1-C04677199C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0150" y="3936953"/>
              <a:ext cx="1903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8" name="Oval 248">
              <a:extLst>
                <a:ext uri="{FF2B5EF4-FFF2-40B4-BE49-F238E27FC236}">
                  <a16:creationId xmlns:a16="http://schemas.microsoft.com/office/drawing/2014/main" id="{FB047086-3FA4-49DA-B8A2-E84AAEE1B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3195" y="3902640"/>
              <a:ext cx="2239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9" name="Line 249">
              <a:extLst>
                <a:ext uri="{FF2B5EF4-FFF2-40B4-BE49-F238E27FC236}">
                  <a16:creationId xmlns:a16="http://schemas.microsoft.com/office/drawing/2014/main" id="{201643DA-5996-4EE1-AA01-E0948C996F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29221" y="3045806"/>
              <a:ext cx="36956" cy="2941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30" name="Oval 250">
              <a:extLst>
                <a:ext uri="{FF2B5EF4-FFF2-40B4-BE49-F238E27FC236}">
                  <a16:creationId xmlns:a16="http://schemas.microsoft.com/office/drawing/2014/main" id="{EABAF92B-FCD1-44C2-8326-8CE3DBE3CE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6422" y="2812480"/>
              <a:ext cx="2239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1" name="Oval 251">
              <a:extLst>
                <a:ext uri="{FF2B5EF4-FFF2-40B4-BE49-F238E27FC236}">
                  <a16:creationId xmlns:a16="http://schemas.microsoft.com/office/drawing/2014/main" id="{E3182096-8C6D-4764-8AD4-EA536E692D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5224" y="2428179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2" name="Oval 252">
              <a:extLst>
                <a:ext uri="{FF2B5EF4-FFF2-40B4-BE49-F238E27FC236}">
                  <a16:creationId xmlns:a16="http://schemas.microsoft.com/office/drawing/2014/main" id="{F86CCD8E-171C-4AAB-8897-3939CFFB44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844" y="2065446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3" name="Oval 253">
              <a:extLst>
                <a:ext uri="{FF2B5EF4-FFF2-40B4-BE49-F238E27FC236}">
                  <a16:creationId xmlns:a16="http://schemas.microsoft.com/office/drawing/2014/main" id="{39616CEC-1DEA-4B01-810B-6E5A68119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9124" y="2110542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4" name="Oval 254">
              <a:extLst>
                <a:ext uri="{FF2B5EF4-FFF2-40B4-BE49-F238E27FC236}">
                  <a16:creationId xmlns:a16="http://schemas.microsoft.com/office/drawing/2014/main" id="{4D49DA6D-EE07-4F6A-93FF-B36B909B6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3554" y="2986004"/>
              <a:ext cx="2463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5" name="Oval 255">
              <a:extLst>
                <a:ext uri="{FF2B5EF4-FFF2-40B4-BE49-F238E27FC236}">
                  <a16:creationId xmlns:a16="http://schemas.microsoft.com/office/drawing/2014/main" id="{377E143D-E183-4C02-96AC-1A8E41DE4D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307" y="1898784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6" name="Oval 256">
              <a:extLst>
                <a:ext uri="{FF2B5EF4-FFF2-40B4-BE49-F238E27FC236}">
                  <a16:creationId xmlns:a16="http://schemas.microsoft.com/office/drawing/2014/main" id="{7B606D81-5214-4C9F-8094-95C5ED8D35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2762" y="1626245"/>
              <a:ext cx="19037" cy="1960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7" name="Oval 257">
              <a:extLst>
                <a:ext uri="{FF2B5EF4-FFF2-40B4-BE49-F238E27FC236}">
                  <a16:creationId xmlns:a16="http://schemas.microsoft.com/office/drawing/2014/main" id="{8A2E0A4C-8D55-4519-AB3D-3BC3A76CF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4015" y="1677223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8" name="Oval 259">
              <a:extLst>
                <a:ext uri="{FF2B5EF4-FFF2-40B4-BE49-F238E27FC236}">
                  <a16:creationId xmlns:a16="http://schemas.microsoft.com/office/drawing/2014/main" id="{6A6F2DA5-9238-4260-9B77-919F059BF9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7319" y="3578141"/>
              <a:ext cx="2463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9" name="Freeform 260">
              <a:extLst>
                <a:ext uri="{FF2B5EF4-FFF2-40B4-BE49-F238E27FC236}">
                  <a16:creationId xmlns:a16="http://schemas.microsoft.com/office/drawing/2014/main" id="{2E6C17EA-566F-4B60-BAD6-EF953AA990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4787" y="1928195"/>
              <a:ext cx="48153" cy="74508"/>
            </a:xfrm>
            <a:custGeom>
              <a:avLst/>
              <a:gdLst>
                <a:gd name="T0" fmla="*/ 0 w 39"/>
                <a:gd name="T1" fmla="*/ 0 h 69"/>
                <a:gd name="T2" fmla="*/ 2147483647 w 39"/>
                <a:gd name="T3" fmla="*/ 2147483647 h 69"/>
                <a:gd name="T4" fmla="*/ 2147483647 w 39"/>
                <a:gd name="T5" fmla="*/ 2147483647 h 69"/>
                <a:gd name="T6" fmla="*/ 2147483647 w 39"/>
                <a:gd name="T7" fmla="*/ 2147483647 h 6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69"/>
                <a:gd name="T14" fmla="*/ 39 w 39"/>
                <a:gd name="T15" fmla="*/ 69 h 6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69">
                  <a:moveTo>
                    <a:pt x="0" y="0"/>
                  </a:moveTo>
                  <a:lnTo>
                    <a:pt x="33" y="8"/>
                  </a:lnTo>
                  <a:lnTo>
                    <a:pt x="39" y="38"/>
                  </a:lnTo>
                  <a:lnTo>
                    <a:pt x="21" y="69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0" name="Line 261">
              <a:extLst>
                <a:ext uri="{FF2B5EF4-FFF2-40B4-BE49-F238E27FC236}">
                  <a16:creationId xmlns:a16="http://schemas.microsoft.com/office/drawing/2014/main" id="{779094A6-1D91-4864-9691-8DE38C3FB32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01586" y="1939959"/>
              <a:ext cx="23516" cy="22548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1" name="Line 262">
              <a:extLst>
                <a:ext uri="{FF2B5EF4-FFF2-40B4-BE49-F238E27FC236}">
                  <a16:creationId xmlns:a16="http://schemas.microsoft.com/office/drawing/2014/main" id="{EC79B088-8D0A-47FE-AEFF-A1D8B8133D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969895" y="2024272"/>
              <a:ext cx="23519" cy="3627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2" name="Freeform 263">
              <a:extLst>
                <a:ext uri="{FF2B5EF4-FFF2-40B4-BE49-F238E27FC236}">
                  <a16:creationId xmlns:a16="http://schemas.microsoft.com/office/drawing/2014/main" id="{C41B45BB-BE03-44C1-8477-8E6BFF265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9327" y="2082112"/>
              <a:ext cx="109745" cy="73527"/>
            </a:xfrm>
            <a:custGeom>
              <a:avLst/>
              <a:gdLst>
                <a:gd name="T0" fmla="*/ 2147483647 w 105"/>
                <a:gd name="T1" fmla="*/ 2147483647 h 76"/>
                <a:gd name="T2" fmla="*/ 2147483647 w 105"/>
                <a:gd name="T3" fmla="*/ 2147483647 h 76"/>
                <a:gd name="T4" fmla="*/ 2147483647 w 105"/>
                <a:gd name="T5" fmla="*/ 2147483647 h 76"/>
                <a:gd name="T6" fmla="*/ 2147483647 w 105"/>
                <a:gd name="T7" fmla="*/ 0 h 76"/>
                <a:gd name="T8" fmla="*/ 0 w 105"/>
                <a:gd name="T9" fmla="*/ 2147483647 h 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5"/>
                <a:gd name="T16" fmla="*/ 0 h 76"/>
                <a:gd name="T17" fmla="*/ 105 w 105"/>
                <a:gd name="T18" fmla="*/ 76 h 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5" h="76">
                  <a:moveTo>
                    <a:pt x="93" y="76"/>
                  </a:moveTo>
                  <a:lnTo>
                    <a:pt x="105" y="68"/>
                  </a:lnTo>
                  <a:lnTo>
                    <a:pt x="77" y="27"/>
                  </a:lnTo>
                  <a:lnTo>
                    <a:pt x="55" y="0"/>
                  </a:lnTo>
                  <a:lnTo>
                    <a:pt x="0" y="1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3" name="Oval 264">
              <a:extLst>
                <a:ext uri="{FF2B5EF4-FFF2-40B4-BE49-F238E27FC236}">
                  <a16:creationId xmlns:a16="http://schemas.microsoft.com/office/drawing/2014/main" id="{CD5A2F50-CF84-414B-94A1-78B204444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4436" y="2115445"/>
              <a:ext cx="2127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4" name="Freeform 265">
              <a:extLst>
                <a:ext uri="{FF2B5EF4-FFF2-40B4-BE49-F238E27FC236}">
                  <a16:creationId xmlns:a16="http://schemas.microsoft.com/office/drawing/2014/main" id="{3B6DD28C-A455-4A01-971E-DDE8D8D67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2880" y="2057604"/>
              <a:ext cx="219491" cy="59802"/>
            </a:xfrm>
            <a:custGeom>
              <a:avLst/>
              <a:gdLst>
                <a:gd name="T0" fmla="*/ 0 w 182"/>
                <a:gd name="T1" fmla="*/ 2147483647 h 55"/>
                <a:gd name="T2" fmla="*/ 2147483647 w 182"/>
                <a:gd name="T3" fmla="*/ 2147483647 h 55"/>
                <a:gd name="T4" fmla="*/ 2147483647 w 182"/>
                <a:gd name="T5" fmla="*/ 2147483647 h 55"/>
                <a:gd name="T6" fmla="*/ 2147483647 w 182"/>
                <a:gd name="T7" fmla="*/ 0 h 5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2"/>
                <a:gd name="T13" fmla="*/ 0 h 55"/>
                <a:gd name="T14" fmla="*/ 182 w 182"/>
                <a:gd name="T15" fmla="*/ 55 h 5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2" h="55">
                  <a:moveTo>
                    <a:pt x="0" y="55"/>
                  </a:moveTo>
                  <a:lnTo>
                    <a:pt x="74" y="7"/>
                  </a:lnTo>
                  <a:lnTo>
                    <a:pt x="138" y="13"/>
                  </a:lnTo>
                  <a:lnTo>
                    <a:pt x="182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5" name="Freeform 266">
              <a:extLst>
                <a:ext uri="{FF2B5EF4-FFF2-40B4-BE49-F238E27FC236}">
                  <a16:creationId xmlns:a16="http://schemas.microsoft.com/office/drawing/2014/main" id="{3C307C82-6690-4A39-9FC4-1AC84D6F2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014" y="4184984"/>
              <a:ext cx="45913" cy="39214"/>
            </a:xfrm>
            <a:custGeom>
              <a:avLst/>
              <a:gdLst>
                <a:gd name="T0" fmla="*/ 0 w 35"/>
                <a:gd name="T1" fmla="*/ 0 h 34"/>
                <a:gd name="T2" fmla="*/ 2147483647 w 35"/>
                <a:gd name="T3" fmla="*/ 2147483647 h 34"/>
                <a:gd name="T4" fmla="*/ 2147483647 w 35"/>
                <a:gd name="T5" fmla="*/ 2147483647 h 34"/>
                <a:gd name="T6" fmla="*/ 0 60000 65536"/>
                <a:gd name="T7" fmla="*/ 0 60000 65536"/>
                <a:gd name="T8" fmla="*/ 0 60000 65536"/>
                <a:gd name="T9" fmla="*/ 0 w 35"/>
                <a:gd name="T10" fmla="*/ 0 h 34"/>
                <a:gd name="T11" fmla="*/ 35 w 35"/>
                <a:gd name="T12" fmla="*/ 34 h 3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5" h="34">
                  <a:moveTo>
                    <a:pt x="0" y="0"/>
                  </a:moveTo>
                  <a:lnTo>
                    <a:pt x="18" y="6"/>
                  </a:lnTo>
                  <a:lnTo>
                    <a:pt x="35" y="34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6" name="Freeform 267">
              <a:extLst>
                <a:ext uri="{FF2B5EF4-FFF2-40B4-BE49-F238E27FC236}">
                  <a16:creationId xmlns:a16="http://schemas.microsoft.com/office/drawing/2014/main" id="{228F02D1-C70C-490B-B6C2-E755E1A12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4949" y="4173220"/>
              <a:ext cx="54872" cy="12744"/>
            </a:xfrm>
            <a:custGeom>
              <a:avLst/>
              <a:gdLst>
                <a:gd name="T0" fmla="*/ 0 w 45"/>
                <a:gd name="T1" fmla="*/ 2147483647 h 12"/>
                <a:gd name="T2" fmla="*/ 2147483647 w 45"/>
                <a:gd name="T3" fmla="*/ 2147483647 h 12"/>
                <a:gd name="T4" fmla="*/ 2147483647 w 45"/>
                <a:gd name="T5" fmla="*/ 0 h 12"/>
                <a:gd name="T6" fmla="*/ 0 60000 65536"/>
                <a:gd name="T7" fmla="*/ 0 60000 65536"/>
                <a:gd name="T8" fmla="*/ 0 60000 65536"/>
                <a:gd name="T9" fmla="*/ 0 w 45"/>
                <a:gd name="T10" fmla="*/ 0 h 12"/>
                <a:gd name="T11" fmla="*/ 45 w 45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5" h="12">
                  <a:moveTo>
                    <a:pt x="0" y="1"/>
                  </a:moveTo>
                  <a:lnTo>
                    <a:pt x="14" y="12"/>
                  </a:lnTo>
                  <a:lnTo>
                    <a:pt x="45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7" name="Line 268">
              <a:extLst>
                <a:ext uri="{FF2B5EF4-FFF2-40B4-BE49-F238E27FC236}">
                  <a16:creationId xmlns:a16="http://schemas.microsoft.com/office/drawing/2014/main" id="{963157DE-0249-4259-963A-9D53B5A24C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0626" y="4150671"/>
              <a:ext cx="52632" cy="22549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8" name="Line 269">
              <a:extLst>
                <a:ext uri="{FF2B5EF4-FFF2-40B4-BE49-F238E27FC236}">
                  <a16:creationId xmlns:a16="http://schemas.microsoft.com/office/drawing/2014/main" id="{3B4BCFD6-7291-4D51-AF2C-C02E6899AC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11904" y="4171259"/>
              <a:ext cx="20157" cy="5784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9" name="Line 270">
              <a:extLst>
                <a:ext uri="{FF2B5EF4-FFF2-40B4-BE49-F238E27FC236}">
                  <a16:creationId xmlns:a16="http://schemas.microsoft.com/office/drawing/2014/main" id="{A3BB2C11-432F-4F24-B96B-36A7A0B814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58151" y="4157535"/>
              <a:ext cx="32476" cy="36272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0" name="Freeform 271">
              <a:extLst>
                <a:ext uri="{FF2B5EF4-FFF2-40B4-BE49-F238E27FC236}">
                  <a16:creationId xmlns:a16="http://schemas.microsoft.com/office/drawing/2014/main" id="{D82ABF7F-B6AC-45EB-A9E9-EDA57181D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0434" y="2168384"/>
              <a:ext cx="45915" cy="34313"/>
            </a:xfrm>
            <a:custGeom>
              <a:avLst/>
              <a:gdLst/>
              <a:ahLst/>
              <a:cxnLst>
                <a:cxn ang="0">
                  <a:pos x="37" y="32"/>
                </a:cxn>
                <a:cxn ang="0">
                  <a:pos x="15" y="6"/>
                </a:cxn>
                <a:cxn ang="0">
                  <a:pos x="0" y="0"/>
                </a:cxn>
              </a:cxnLst>
              <a:rect l="0" t="0" r="r" b="b"/>
              <a:pathLst>
                <a:path w="37" h="32">
                  <a:moveTo>
                    <a:pt x="37" y="32"/>
                  </a:moveTo>
                  <a:lnTo>
                    <a:pt x="15" y="6"/>
                  </a:lnTo>
                  <a:lnTo>
                    <a:pt x="0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51" name="Freeform 272">
              <a:extLst>
                <a:ext uri="{FF2B5EF4-FFF2-40B4-BE49-F238E27FC236}">
                  <a16:creationId xmlns:a16="http://schemas.microsoft.com/office/drawing/2014/main" id="{E9AB26ED-4FB7-41CC-8DEF-976640108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1184" y="2216421"/>
              <a:ext cx="301240" cy="4705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7" y="38"/>
                </a:cxn>
                <a:cxn ang="0">
                  <a:pos x="97" y="40"/>
                </a:cxn>
                <a:cxn ang="0">
                  <a:pos x="108" y="41"/>
                </a:cxn>
                <a:cxn ang="0">
                  <a:pos x="128" y="42"/>
                </a:cxn>
                <a:cxn ang="0">
                  <a:pos x="148" y="41"/>
                </a:cxn>
                <a:cxn ang="0">
                  <a:pos x="169" y="41"/>
                </a:cxn>
                <a:cxn ang="0">
                  <a:pos x="249" y="43"/>
                </a:cxn>
              </a:cxnLst>
              <a:rect l="0" t="0" r="r" b="b"/>
              <a:pathLst>
                <a:path w="249" h="43">
                  <a:moveTo>
                    <a:pt x="0" y="0"/>
                  </a:moveTo>
                  <a:lnTo>
                    <a:pt x="87" y="38"/>
                  </a:lnTo>
                  <a:lnTo>
                    <a:pt x="97" y="40"/>
                  </a:lnTo>
                  <a:lnTo>
                    <a:pt x="108" y="41"/>
                  </a:lnTo>
                  <a:lnTo>
                    <a:pt x="128" y="42"/>
                  </a:lnTo>
                  <a:lnTo>
                    <a:pt x="148" y="41"/>
                  </a:lnTo>
                  <a:lnTo>
                    <a:pt x="169" y="41"/>
                  </a:lnTo>
                  <a:lnTo>
                    <a:pt x="249" y="43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52" name="Line 273">
              <a:extLst>
                <a:ext uri="{FF2B5EF4-FFF2-40B4-BE49-F238E27FC236}">
                  <a16:creationId xmlns:a16="http://schemas.microsoft.com/office/drawing/2014/main" id="{C65635C2-D73C-4A5E-B3CE-7994B698AA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58883" y="2405630"/>
              <a:ext cx="81749" cy="2745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3" name="Freeform 274">
              <a:extLst>
                <a:ext uri="{FF2B5EF4-FFF2-40B4-BE49-F238E27FC236}">
                  <a16:creationId xmlns:a16="http://schemas.microsoft.com/office/drawing/2014/main" id="{7265F704-DFA0-481C-B15C-7E5CE261E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850" y="2352693"/>
              <a:ext cx="124304" cy="42155"/>
            </a:xfrm>
            <a:custGeom>
              <a:avLst/>
              <a:gdLst>
                <a:gd name="T0" fmla="*/ 0 w 104"/>
                <a:gd name="T1" fmla="*/ 2147483647 h 39"/>
                <a:gd name="T2" fmla="*/ 2147483647 w 104"/>
                <a:gd name="T3" fmla="*/ 0 h 39"/>
                <a:gd name="T4" fmla="*/ 2147483647 w 104"/>
                <a:gd name="T5" fmla="*/ 2147483647 h 39"/>
                <a:gd name="T6" fmla="*/ 0 60000 65536"/>
                <a:gd name="T7" fmla="*/ 0 60000 65536"/>
                <a:gd name="T8" fmla="*/ 0 60000 65536"/>
                <a:gd name="T9" fmla="*/ 0 w 104"/>
                <a:gd name="T10" fmla="*/ 0 h 39"/>
                <a:gd name="T11" fmla="*/ 104 w 104"/>
                <a:gd name="T12" fmla="*/ 39 h 3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4" h="39">
                  <a:moveTo>
                    <a:pt x="0" y="7"/>
                  </a:moveTo>
                  <a:lnTo>
                    <a:pt x="50" y="0"/>
                  </a:lnTo>
                  <a:lnTo>
                    <a:pt x="104" y="39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4" name="Oval 275">
              <a:extLst>
                <a:ext uri="{FF2B5EF4-FFF2-40B4-BE49-F238E27FC236}">
                  <a16:creationId xmlns:a16="http://schemas.microsoft.com/office/drawing/2014/main" id="{AF438015-DE73-44C0-9FF0-103C88DE34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8978" y="5779049"/>
              <a:ext cx="2687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5" name="Freeform 276">
              <a:extLst>
                <a:ext uri="{FF2B5EF4-FFF2-40B4-BE49-F238E27FC236}">
                  <a16:creationId xmlns:a16="http://schemas.microsoft.com/office/drawing/2014/main" id="{90CEB6A7-CD66-4159-A72C-1F1D3EDC4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3386" y="2140933"/>
              <a:ext cx="19037" cy="106860"/>
            </a:xfrm>
            <a:custGeom>
              <a:avLst/>
              <a:gdLst>
                <a:gd name="T0" fmla="*/ 2147483647 w 16"/>
                <a:gd name="T1" fmla="*/ 0 h 99"/>
                <a:gd name="T2" fmla="*/ 0 w 16"/>
                <a:gd name="T3" fmla="*/ 2147483647 h 99"/>
                <a:gd name="T4" fmla="*/ 2147483647 w 16"/>
                <a:gd name="T5" fmla="*/ 2147483647 h 99"/>
                <a:gd name="T6" fmla="*/ 0 60000 65536"/>
                <a:gd name="T7" fmla="*/ 0 60000 65536"/>
                <a:gd name="T8" fmla="*/ 0 60000 65536"/>
                <a:gd name="T9" fmla="*/ 0 w 16"/>
                <a:gd name="T10" fmla="*/ 0 h 99"/>
                <a:gd name="T11" fmla="*/ 16 w 16"/>
                <a:gd name="T12" fmla="*/ 99 h 9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" h="99">
                  <a:moveTo>
                    <a:pt x="10" y="0"/>
                  </a:moveTo>
                  <a:lnTo>
                    <a:pt x="0" y="44"/>
                  </a:lnTo>
                  <a:lnTo>
                    <a:pt x="16" y="99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6" name="Freeform 277">
              <a:extLst>
                <a:ext uri="{FF2B5EF4-FFF2-40B4-BE49-F238E27FC236}">
                  <a16:creationId xmlns:a16="http://schemas.microsoft.com/office/drawing/2014/main" id="{1FC13819-B8A8-45C9-AC7C-E59CBA731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4154" y="3025217"/>
              <a:ext cx="447941" cy="592138"/>
            </a:xfrm>
            <a:custGeom>
              <a:avLst/>
              <a:gdLst>
                <a:gd name="T0" fmla="*/ 2147483647 w 371"/>
                <a:gd name="T1" fmla="*/ 0 h 548"/>
                <a:gd name="T2" fmla="*/ 0 w 371"/>
                <a:gd name="T3" fmla="*/ 2147483647 h 548"/>
                <a:gd name="T4" fmla="*/ 2147483647 w 371"/>
                <a:gd name="T5" fmla="*/ 2147483647 h 548"/>
                <a:gd name="T6" fmla="*/ 2147483647 w 371"/>
                <a:gd name="T7" fmla="*/ 2147483647 h 548"/>
                <a:gd name="T8" fmla="*/ 2147483647 w 371"/>
                <a:gd name="T9" fmla="*/ 2147483647 h 548"/>
                <a:gd name="T10" fmla="*/ 2147483647 w 371"/>
                <a:gd name="T11" fmla="*/ 2147483647 h 548"/>
                <a:gd name="T12" fmla="*/ 2147483647 w 371"/>
                <a:gd name="T13" fmla="*/ 2147483647 h 548"/>
                <a:gd name="T14" fmla="*/ 2147483647 w 371"/>
                <a:gd name="T15" fmla="*/ 2147483647 h 548"/>
                <a:gd name="T16" fmla="*/ 2147483647 w 371"/>
                <a:gd name="T17" fmla="*/ 2147483647 h 548"/>
                <a:gd name="T18" fmla="*/ 2147483647 w 371"/>
                <a:gd name="T19" fmla="*/ 2147483647 h 548"/>
                <a:gd name="T20" fmla="*/ 2147483647 w 371"/>
                <a:gd name="T21" fmla="*/ 2147483647 h 548"/>
                <a:gd name="T22" fmla="*/ 2147483647 w 371"/>
                <a:gd name="T23" fmla="*/ 2147483647 h 548"/>
                <a:gd name="T24" fmla="*/ 2147483647 w 371"/>
                <a:gd name="T25" fmla="*/ 2147483647 h 548"/>
                <a:gd name="T26" fmla="*/ 2147483647 w 371"/>
                <a:gd name="T27" fmla="*/ 2147483647 h 548"/>
                <a:gd name="T28" fmla="*/ 2147483647 w 371"/>
                <a:gd name="T29" fmla="*/ 2147483647 h 548"/>
                <a:gd name="T30" fmla="*/ 2147483647 w 371"/>
                <a:gd name="T31" fmla="*/ 2147483647 h 548"/>
                <a:gd name="T32" fmla="*/ 2147483647 w 371"/>
                <a:gd name="T33" fmla="*/ 2147483647 h 54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71"/>
                <a:gd name="T52" fmla="*/ 0 h 548"/>
                <a:gd name="T53" fmla="*/ 371 w 371"/>
                <a:gd name="T54" fmla="*/ 548 h 54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71" h="548">
                  <a:moveTo>
                    <a:pt x="2" y="0"/>
                  </a:moveTo>
                  <a:lnTo>
                    <a:pt x="0" y="66"/>
                  </a:lnTo>
                  <a:lnTo>
                    <a:pt x="30" y="111"/>
                  </a:lnTo>
                  <a:lnTo>
                    <a:pt x="125" y="117"/>
                  </a:lnTo>
                  <a:lnTo>
                    <a:pt x="153" y="155"/>
                  </a:lnTo>
                  <a:lnTo>
                    <a:pt x="169" y="205"/>
                  </a:lnTo>
                  <a:lnTo>
                    <a:pt x="175" y="233"/>
                  </a:lnTo>
                  <a:lnTo>
                    <a:pt x="137" y="281"/>
                  </a:lnTo>
                  <a:lnTo>
                    <a:pt x="145" y="321"/>
                  </a:lnTo>
                  <a:lnTo>
                    <a:pt x="193" y="352"/>
                  </a:lnTo>
                  <a:lnTo>
                    <a:pt x="292" y="348"/>
                  </a:lnTo>
                  <a:lnTo>
                    <a:pt x="330" y="378"/>
                  </a:lnTo>
                  <a:lnTo>
                    <a:pt x="346" y="430"/>
                  </a:lnTo>
                  <a:lnTo>
                    <a:pt x="292" y="470"/>
                  </a:lnTo>
                  <a:lnTo>
                    <a:pt x="288" y="502"/>
                  </a:lnTo>
                  <a:lnTo>
                    <a:pt x="336" y="518"/>
                  </a:lnTo>
                  <a:lnTo>
                    <a:pt x="371" y="548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7" name="Line 278">
              <a:extLst>
                <a:ext uri="{FF2B5EF4-FFF2-40B4-BE49-F238E27FC236}">
                  <a16:creationId xmlns:a16="http://schemas.microsoft.com/office/drawing/2014/main" id="{4A7754DB-0D78-475D-B59D-FCDF8AE0C1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26834" y="2375239"/>
              <a:ext cx="119824" cy="43136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8" name="Oval 279">
              <a:extLst>
                <a:ext uri="{FF2B5EF4-FFF2-40B4-BE49-F238E27FC236}">
                  <a16:creationId xmlns:a16="http://schemas.microsoft.com/office/drawing/2014/main" id="{9BEC5A51-D4B6-46D6-8564-11645719C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7723" y="2222304"/>
              <a:ext cx="2015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9" name="Line 280">
              <a:extLst>
                <a:ext uri="{FF2B5EF4-FFF2-40B4-BE49-F238E27FC236}">
                  <a16:creationId xmlns:a16="http://schemas.microsoft.com/office/drawing/2014/main" id="{07FF36C2-29D7-4FE3-A7D4-50EA799A73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26835" y="2430139"/>
              <a:ext cx="54872" cy="3431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0" name="Line 281">
              <a:extLst>
                <a:ext uri="{FF2B5EF4-FFF2-40B4-BE49-F238E27FC236}">
                  <a16:creationId xmlns:a16="http://schemas.microsoft.com/office/drawing/2014/main" id="{B0CF4525-F78E-41C7-A259-740393498A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88428" y="2467394"/>
              <a:ext cx="169097" cy="44116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1" name="Line 282">
              <a:extLst>
                <a:ext uri="{FF2B5EF4-FFF2-40B4-BE49-F238E27FC236}">
                  <a16:creationId xmlns:a16="http://schemas.microsoft.com/office/drawing/2014/main" id="{0BD910DC-40C3-4991-A745-610AA6BEFE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57524" y="2501706"/>
              <a:ext cx="142220" cy="980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2" name="Line 283">
              <a:extLst>
                <a:ext uri="{FF2B5EF4-FFF2-40B4-BE49-F238E27FC236}">
                  <a16:creationId xmlns:a16="http://schemas.microsoft.com/office/drawing/2014/main" id="{91FA6CD3-19CE-4519-B887-37D9D6B8D2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62004" y="2295829"/>
              <a:ext cx="86228" cy="294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3" name="Line 284">
              <a:extLst>
                <a:ext uri="{FF2B5EF4-FFF2-40B4-BE49-F238E27FC236}">
                  <a16:creationId xmlns:a16="http://schemas.microsoft.com/office/drawing/2014/main" id="{2346FF4D-256A-4001-A330-FEB2CC21D9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56072" y="2267400"/>
              <a:ext cx="39193" cy="3137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4" name="Line 285">
              <a:extLst>
                <a:ext uri="{FF2B5EF4-FFF2-40B4-BE49-F238E27FC236}">
                  <a16:creationId xmlns:a16="http://schemas.microsoft.com/office/drawing/2014/main" id="{A74EF737-4431-48BC-8839-B84CAEF222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59431" y="2159561"/>
              <a:ext cx="34716" cy="56861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5" name="Line 286">
              <a:extLst>
                <a:ext uri="{FF2B5EF4-FFF2-40B4-BE49-F238E27FC236}">
                  <a16:creationId xmlns:a16="http://schemas.microsoft.com/office/drawing/2014/main" id="{FAA6847D-3EBF-40C0-B9F5-AA0100BEF3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9744" y="2231126"/>
              <a:ext cx="5600" cy="22549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6" name="Line 287">
              <a:extLst>
                <a:ext uri="{FF2B5EF4-FFF2-40B4-BE49-F238E27FC236}">
                  <a16:creationId xmlns:a16="http://schemas.microsoft.com/office/drawing/2014/main" id="{D0D4F38C-1B16-480C-A4E8-7DF54431A3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01985" y="2187011"/>
              <a:ext cx="12319" cy="3333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7" name="Oval 288">
              <a:extLst>
                <a:ext uri="{FF2B5EF4-FFF2-40B4-BE49-F238E27FC236}">
                  <a16:creationId xmlns:a16="http://schemas.microsoft.com/office/drawing/2014/main" id="{3663D5D7-A74F-4B85-BA5F-0D3241891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4225" y="2174266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8" name="Oval 289">
              <a:extLst>
                <a:ext uri="{FF2B5EF4-FFF2-40B4-BE49-F238E27FC236}">
                  <a16:creationId xmlns:a16="http://schemas.microsoft.com/office/drawing/2014/main" id="{CF931260-8E11-4BE8-8E50-D103716A7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6306" y="2214460"/>
              <a:ext cx="23519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9" name="Oval 290">
              <a:extLst>
                <a:ext uri="{FF2B5EF4-FFF2-40B4-BE49-F238E27FC236}">
                  <a16:creationId xmlns:a16="http://schemas.microsoft.com/office/drawing/2014/main" id="{B7957757-75C4-42E3-A4F3-528B0DB77A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7663" y="2046820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0" name="Freeform 291">
              <a:extLst>
                <a:ext uri="{FF2B5EF4-FFF2-40B4-BE49-F238E27FC236}">
                  <a16:creationId xmlns:a16="http://schemas.microsoft.com/office/drawing/2014/main" id="{AEBBC277-9743-41AF-8528-B4E53B087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2203" y="2081132"/>
              <a:ext cx="54873" cy="83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39"/>
                </a:cxn>
                <a:cxn ang="0">
                  <a:pos x="45" y="77"/>
                </a:cxn>
              </a:cxnLst>
              <a:rect l="0" t="0" r="r" b="b"/>
              <a:pathLst>
                <a:path w="45" h="77">
                  <a:moveTo>
                    <a:pt x="0" y="0"/>
                  </a:moveTo>
                  <a:lnTo>
                    <a:pt x="12" y="39"/>
                  </a:lnTo>
                  <a:lnTo>
                    <a:pt x="45" y="77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1" name="Oval 292">
              <a:extLst>
                <a:ext uri="{FF2B5EF4-FFF2-40B4-BE49-F238E27FC236}">
                  <a16:creationId xmlns:a16="http://schemas.microsoft.com/office/drawing/2014/main" id="{BA3DF18E-FA20-43F5-9630-CD47B0B63D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8115" y="2157600"/>
              <a:ext cx="2127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2" name="Oval 293">
              <a:extLst>
                <a:ext uri="{FF2B5EF4-FFF2-40B4-BE49-F238E27FC236}">
                  <a16:creationId xmlns:a16="http://schemas.microsoft.com/office/drawing/2014/main" id="{7F71C71A-875E-4B4D-ABDE-7D4B9B91BB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364" y="2076230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3" name="Line 294">
              <a:extLst>
                <a:ext uri="{FF2B5EF4-FFF2-40B4-BE49-F238E27FC236}">
                  <a16:creationId xmlns:a16="http://schemas.microsoft.com/office/drawing/2014/main" id="{4F3DB340-9CBA-4140-A500-80D7AA81A4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60672" y="2203676"/>
              <a:ext cx="10079" cy="3627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4" name="Line 295">
              <a:extLst>
                <a:ext uri="{FF2B5EF4-FFF2-40B4-BE49-F238E27FC236}">
                  <a16:creationId xmlns:a16="http://schemas.microsoft.com/office/drawing/2014/main" id="{638F6959-F4C4-4A14-8F1C-977EC331A5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5344" y="2268379"/>
              <a:ext cx="48153" cy="5588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5" name="Oval 296">
              <a:extLst>
                <a:ext uri="{FF2B5EF4-FFF2-40B4-BE49-F238E27FC236}">
                  <a16:creationId xmlns:a16="http://schemas.microsoft.com/office/drawing/2014/main" id="{0E66DEB4-385C-42BD-83D9-A43DFBF4DE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148" y="2252695"/>
              <a:ext cx="23516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6" name="Line 297">
              <a:extLst>
                <a:ext uri="{FF2B5EF4-FFF2-40B4-BE49-F238E27FC236}">
                  <a16:creationId xmlns:a16="http://schemas.microsoft.com/office/drawing/2014/main" id="{04B8264C-9BC4-4FBF-9556-52F322EE7D5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31101" y="2333084"/>
              <a:ext cx="21277" cy="101957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7" name="Line 298">
              <a:extLst>
                <a:ext uri="{FF2B5EF4-FFF2-40B4-BE49-F238E27FC236}">
                  <a16:creationId xmlns:a16="http://schemas.microsoft.com/office/drawing/2014/main" id="{8F8B9B5A-EDB9-4142-BF34-F8D59D3DC3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14303" y="2444845"/>
              <a:ext cx="13439" cy="47057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8" name="Oval 299">
              <a:extLst>
                <a:ext uri="{FF2B5EF4-FFF2-40B4-BE49-F238E27FC236}">
                  <a16:creationId xmlns:a16="http://schemas.microsoft.com/office/drawing/2014/main" id="{09ED8605-CB9B-419B-B19C-A8F0AC4BB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0392" y="2286027"/>
              <a:ext cx="2239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9" name="Oval 300">
              <a:extLst>
                <a:ext uri="{FF2B5EF4-FFF2-40B4-BE49-F238E27FC236}">
                  <a16:creationId xmlns:a16="http://schemas.microsoft.com/office/drawing/2014/main" id="{05B1DAE2-D1FB-4E6F-A813-BA57FFF309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5205" y="2501706"/>
              <a:ext cx="2239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0" name="Oval 301">
              <a:extLst>
                <a:ext uri="{FF2B5EF4-FFF2-40B4-BE49-F238E27FC236}">
                  <a16:creationId xmlns:a16="http://schemas.microsoft.com/office/drawing/2014/main" id="{52B59634-F9F9-424E-B829-3C36260C0B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1179" y="2320339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1" name="Oval 303">
              <a:extLst>
                <a:ext uri="{FF2B5EF4-FFF2-40B4-BE49-F238E27FC236}">
                  <a16:creationId xmlns:a16="http://schemas.microsoft.com/office/drawing/2014/main" id="{83CB55E5-BAD5-49B2-A2A8-253E02640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4127" y="2629153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2" name="Line 304">
              <a:extLst>
                <a:ext uri="{FF2B5EF4-FFF2-40B4-BE49-F238E27FC236}">
                  <a16:creationId xmlns:a16="http://schemas.microsoft.com/office/drawing/2014/main" id="{2EF5298F-12F9-490E-89E2-FF549D5740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70749" y="2231126"/>
              <a:ext cx="133263" cy="1274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83" name="Freeform 305">
              <a:extLst>
                <a:ext uri="{FF2B5EF4-FFF2-40B4-BE49-F238E27FC236}">
                  <a16:creationId xmlns:a16="http://schemas.microsoft.com/office/drawing/2014/main" id="{17EE3760-040C-4AD9-B9D8-D55DAC96D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568" y="2211520"/>
              <a:ext cx="174696" cy="1764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26" y="0"/>
                </a:cxn>
                <a:cxn ang="0">
                  <a:pos x="146" y="0"/>
                </a:cxn>
              </a:cxnLst>
              <a:rect l="0" t="0" r="r" b="b"/>
              <a:pathLst>
                <a:path w="146" h="17">
                  <a:moveTo>
                    <a:pt x="0" y="17"/>
                  </a:moveTo>
                  <a:lnTo>
                    <a:pt x="126" y="0"/>
                  </a:lnTo>
                  <a:lnTo>
                    <a:pt x="146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84" name="Line 306">
              <a:extLst>
                <a:ext uri="{FF2B5EF4-FFF2-40B4-BE49-F238E27FC236}">
                  <a16:creationId xmlns:a16="http://schemas.microsoft.com/office/drawing/2014/main" id="{6675BCE2-1862-48D6-B6CE-1CC1F24F84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06372" y="2385043"/>
              <a:ext cx="126543" cy="22548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5" name="Oval 308">
              <a:extLst>
                <a:ext uri="{FF2B5EF4-FFF2-40B4-BE49-F238E27FC236}">
                  <a16:creationId xmlns:a16="http://schemas.microsoft.com/office/drawing/2014/main" id="{FA55FCF3-5F1A-49A8-8771-3365041CF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8434" y="2374259"/>
              <a:ext cx="2239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6" name="Oval 309">
              <a:extLst>
                <a:ext uri="{FF2B5EF4-FFF2-40B4-BE49-F238E27FC236}">
                  <a16:creationId xmlns:a16="http://schemas.microsoft.com/office/drawing/2014/main" id="{AB250DE4-B993-4837-B30F-096CC222E1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0498" y="2366416"/>
              <a:ext cx="2239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7" name="Oval 311">
              <a:extLst>
                <a:ext uri="{FF2B5EF4-FFF2-40B4-BE49-F238E27FC236}">
                  <a16:creationId xmlns:a16="http://schemas.microsoft.com/office/drawing/2014/main" id="{5EC0B601-CDDB-4430-A96C-4105E48B2B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0554" y="2390925"/>
              <a:ext cx="2575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8" name="Freeform 314">
              <a:extLst>
                <a:ext uri="{FF2B5EF4-FFF2-40B4-BE49-F238E27FC236}">
                  <a16:creationId xmlns:a16="http://schemas.microsoft.com/office/drawing/2014/main" id="{746D899F-F447-419F-91F0-19907970A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311" y="2151717"/>
              <a:ext cx="129903" cy="46076"/>
            </a:xfrm>
            <a:custGeom>
              <a:avLst/>
              <a:gdLst>
                <a:gd name="T0" fmla="*/ 0 w 106"/>
                <a:gd name="T1" fmla="*/ 2147483647 h 43"/>
                <a:gd name="T2" fmla="*/ 2147483647 w 106"/>
                <a:gd name="T3" fmla="*/ 2147483647 h 43"/>
                <a:gd name="T4" fmla="*/ 2147483647 w 106"/>
                <a:gd name="T5" fmla="*/ 2147483647 h 43"/>
                <a:gd name="T6" fmla="*/ 2147483647 w 106"/>
                <a:gd name="T7" fmla="*/ 2147483647 h 43"/>
                <a:gd name="T8" fmla="*/ 2147483647 w 106"/>
                <a:gd name="T9" fmla="*/ 2147483647 h 43"/>
                <a:gd name="T10" fmla="*/ 2147483647 w 106"/>
                <a:gd name="T11" fmla="*/ 2147483647 h 43"/>
                <a:gd name="T12" fmla="*/ 2147483647 w 106"/>
                <a:gd name="T13" fmla="*/ 0 h 4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6"/>
                <a:gd name="T22" fmla="*/ 0 h 43"/>
                <a:gd name="T23" fmla="*/ 106 w 106"/>
                <a:gd name="T24" fmla="*/ 43 h 4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6" h="43">
                  <a:moveTo>
                    <a:pt x="0" y="43"/>
                  </a:moveTo>
                  <a:lnTo>
                    <a:pt x="78" y="7"/>
                  </a:lnTo>
                  <a:lnTo>
                    <a:pt x="84" y="5"/>
                  </a:lnTo>
                  <a:lnTo>
                    <a:pt x="89" y="3"/>
                  </a:lnTo>
                  <a:lnTo>
                    <a:pt x="97" y="1"/>
                  </a:lnTo>
                  <a:lnTo>
                    <a:pt x="102" y="1"/>
                  </a:lnTo>
                  <a:lnTo>
                    <a:pt x="106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9" name="Oval 315">
              <a:extLst>
                <a:ext uri="{FF2B5EF4-FFF2-40B4-BE49-F238E27FC236}">
                  <a16:creationId xmlns:a16="http://schemas.microsoft.com/office/drawing/2014/main" id="{9A500886-C742-45B2-8107-EFCFA40B93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3034" y="2193873"/>
              <a:ext cx="2463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0" name="Freeform 316">
              <a:extLst>
                <a:ext uri="{FF2B5EF4-FFF2-40B4-BE49-F238E27FC236}">
                  <a16:creationId xmlns:a16="http://schemas.microsoft.com/office/drawing/2014/main" id="{5FB4252F-C24C-4399-A544-33CEAC367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5413" y="2142893"/>
              <a:ext cx="118704" cy="6863"/>
            </a:xfrm>
            <a:custGeom>
              <a:avLst/>
              <a:gdLst>
                <a:gd name="T0" fmla="*/ 0 w 99"/>
                <a:gd name="T1" fmla="*/ 2147483647 h 6"/>
                <a:gd name="T2" fmla="*/ 2147483647 w 99"/>
                <a:gd name="T3" fmla="*/ 2147483647 h 6"/>
                <a:gd name="T4" fmla="*/ 2147483647 w 99"/>
                <a:gd name="T5" fmla="*/ 0 h 6"/>
                <a:gd name="T6" fmla="*/ 0 60000 65536"/>
                <a:gd name="T7" fmla="*/ 0 60000 65536"/>
                <a:gd name="T8" fmla="*/ 0 60000 65536"/>
                <a:gd name="T9" fmla="*/ 0 w 99"/>
                <a:gd name="T10" fmla="*/ 0 h 6"/>
                <a:gd name="T11" fmla="*/ 99 w 99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9" h="6">
                  <a:moveTo>
                    <a:pt x="0" y="5"/>
                  </a:moveTo>
                  <a:lnTo>
                    <a:pt x="47" y="6"/>
                  </a:lnTo>
                  <a:lnTo>
                    <a:pt x="99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1" name="Freeform 317">
              <a:extLst>
                <a:ext uri="{FF2B5EF4-FFF2-40B4-BE49-F238E27FC236}">
                  <a16:creationId xmlns:a16="http://schemas.microsoft.com/office/drawing/2014/main" id="{D6E2C06C-B0F7-4E68-BB9F-C37A82045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8106" y="2126228"/>
              <a:ext cx="171337" cy="81370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104" y="26"/>
                </a:cxn>
                <a:cxn ang="0">
                  <a:pos x="142" y="0"/>
                </a:cxn>
              </a:cxnLst>
              <a:rect l="0" t="0" r="r" b="b"/>
              <a:pathLst>
                <a:path w="142" h="75">
                  <a:moveTo>
                    <a:pt x="0" y="75"/>
                  </a:moveTo>
                  <a:lnTo>
                    <a:pt x="104" y="26"/>
                  </a:lnTo>
                  <a:lnTo>
                    <a:pt x="142" y="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92" name="Oval 318">
              <a:extLst>
                <a:ext uri="{FF2B5EF4-FFF2-40B4-BE49-F238E27FC236}">
                  <a16:creationId xmlns:a16="http://schemas.microsoft.com/office/drawing/2014/main" id="{FF956ABE-14E5-421A-885E-9DFC85C78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6082" y="2113483"/>
              <a:ext cx="1903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3" name="Line 319">
              <a:extLst>
                <a:ext uri="{FF2B5EF4-FFF2-40B4-BE49-F238E27FC236}">
                  <a16:creationId xmlns:a16="http://schemas.microsoft.com/office/drawing/2014/main" id="{8DB38334-F075-4184-9B26-506EF6A59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07971" y="2060543"/>
              <a:ext cx="118704" cy="95095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4" name="Oval 320">
              <a:extLst>
                <a:ext uri="{FF2B5EF4-FFF2-40B4-BE49-F238E27FC236}">
                  <a16:creationId xmlns:a16="http://schemas.microsoft.com/office/drawing/2014/main" id="{D1A6B531-A6FD-40CF-8F07-2E810B718B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7716" y="2142894"/>
              <a:ext cx="2463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5" name="Freeform 321">
              <a:extLst>
                <a:ext uri="{FF2B5EF4-FFF2-40B4-BE49-F238E27FC236}">
                  <a16:creationId xmlns:a16="http://schemas.microsoft.com/office/drawing/2014/main" id="{B33D7613-E312-483D-9B2B-97351733C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345" y="1974273"/>
              <a:ext cx="73911" cy="167642"/>
            </a:xfrm>
            <a:custGeom>
              <a:avLst/>
              <a:gdLst>
                <a:gd name="T0" fmla="*/ 0 w 62"/>
                <a:gd name="T1" fmla="*/ 2147483647 h 155"/>
                <a:gd name="T2" fmla="*/ 2147483647 w 62"/>
                <a:gd name="T3" fmla="*/ 2147483647 h 155"/>
                <a:gd name="T4" fmla="*/ 2147483647 w 62"/>
                <a:gd name="T5" fmla="*/ 0 h 155"/>
                <a:gd name="T6" fmla="*/ 0 60000 65536"/>
                <a:gd name="T7" fmla="*/ 0 60000 65536"/>
                <a:gd name="T8" fmla="*/ 0 60000 65536"/>
                <a:gd name="T9" fmla="*/ 0 w 62"/>
                <a:gd name="T10" fmla="*/ 0 h 155"/>
                <a:gd name="T11" fmla="*/ 62 w 62"/>
                <a:gd name="T12" fmla="*/ 155 h 15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2" h="155">
                  <a:moveTo>
                    <a:pt x="0" y="155"/>
                  </a:moveTo>
                  <a:lnTo>
                    <a:pt x="59" y="30"/>
                  </a:lnTo>
                  <a:lnTo>
                    <a:pt x="62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6" name="Freeform 322">
              <a:extLst>
                <a:ext uri="{FF2B5EF4-FFF2-40B4-BE49-F238E27FC236}">
                  <a16:creationId xmlns:a16="http://schemas.microsoft.com/office/drawing/2014/main" id="{6054A794-AE74-48EC-A9AF-8D60B7512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5135" y="1788985"/>
              <a:ext cx="72789" cy="168621"/>
            </a:xfrm>
            <a:custGeom>
              <a:avLst/>
              <a:gdLst>
                <a:gd name="T0" fmla="*/ 0 w 60"/>
                <a:gd name="T1" fmla="*/ 2147483647 h 156"/>
                <a:gd name="T2" fmla="*/ 2147483647 w 60"/>
                <a:gd name="T3" fmla="*/ 2147483647 h 156"/>
                <a:gd name="T4" fmla="*/ 2147483647 w 60"/>
                <a:gd name="T5" fmla="*/ 0 h 156"/>
                <a:gd name="T6" fmla="*/ 0 60000 65536"/>
                <a:gd name="T7" fmla="*/ 0 60000 65536"/>
                <a:gd name="T8" fmla="*/ 0 60000 65536"/>
                <a:gd name="T9" fmla="*/ 0 w 60"/>
                <a:gd name="T10" fmla="*/ 0 h 156"/>
                <a:gd name="T11" fmla="*/ 60 w 60"/>
                <a:gd name="T12" fmla="*/ 156 h 15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0" h="156">
                  <a:moveTo>
                    <a:pt x="0" y="156"/>
                  </a:moveTo>
                  <a:lnTo>
                    <a:pt x="25" y="57"/>
                  </a:lnTo>
                  <a:lnTo>
                    <a:pt x="60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7" name="Line 323">
              <a:extLst>
                <a:ext uri="{FF2B5EF4-FFF2-40B4-BE49-F238E27FC236}">
                  <a16:creationId xmlns:a16="http://schemas.microsoft.com/office/drawing/2014/main" id="{977B7036-C6AC-4571-B08D-214262C85D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222955" y="1575267"/>
              <a:ext cx="25756" cy="6078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8" name="Freeform 324">
              <a:extLst>
                <a:ext uri="{FF2B5EF4-FFF2-40B4-BE49-F238E27FC236}">
                  <a16:creationId xmlns:a16="http://schemas.microsoft.com/office/drawing/2014/main" id="{5345940B-4FB9-4703-9B5C-6DE0D308A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1363" y="1641930"/>
              <a:ext cx="88469" cy="128427"/>
            </a:xfrm>
            <a:custGeom>
              <a:avLst/>
              <a:gdLst>
                <a:gd name="T0" fmla="*/ 0 w 72"/>
                <a:gd name="T1" fmla="*/ 2147483647 h 119"/>
                <a:gd name="T2" fmla="*/ 2147483647 w 72"/>
                <a:gd name="T3" fmla="*/ 2147483647 h 119"/>
                <a:gd name="T4" fmla="*/ 2147483647 w 72"/>
                <a:gd name="T5" fmla="*/ 0 h 119"/>
                <a:gd name="T6" fmla="*/ 0 60000 65536"/>
                <a:gd name="T7" fmla="*/ 0 60000 65536"/>
                <a:gd name="T8" fmla="*/ 0 60000 65536"/>
                <a:gd name="T9" fmla="*/ 0 w 72"/>
                <a:gd name="T10" fmla="*/ 0 h 119"/>
                <a:gd name="T11" fmla="*/ 72 w 72"/>
                <a:gd name="T12" fmla="*/ 119 h 1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" h="119">
                  <a:moveTo>
                    <a:pt x="0" y="119"/>
                  </a:moveTo>
                  <a:lnTo>
                    <a:pt x="50" y="53"/>
                  </a:lnTo>
                  <a:lnTo>
                    <a:pt x="72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9" name="Oval 325">
              <a:extLst>
                <a:ext uri="{FF2B5EF4-FFF2-40B4-BE49-F238E27FC236}">
                  <a16:creationId xmlns:a16="http://schemas.microsoft.com/office/drawing/2014/main" id="{6C701978-59C6-41AA-B117-08361ACAE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8634" y="1631147"/>
              <a:ext cx="2015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0" name="Oval 326">
              <a:extLst>
                <a:ext uri="{FF2B5EF4-FFF2-40B4-BE49-F238E27FC236}">
                  <a16:creationId xmlns:a16="http://schemas.microsoft.com/office/drawing/2014/main" id="{3615373D-7935-45D8-930C-B4F808D92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4566" y="1768397"/>
              <a:ext cx="2463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1" name="Oval 327">
              <a:extLst>
                <a:ext uri="{FF2B5EF4-FFF2-40B4-BE49-F238E27FC236}">
                  <a16:creationId xmlns:a16="http://schemas.microsoft.com/office/drawing/2014/main" id="{F27475FC-C572-4D21-B723-CFD713D607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5056" y="1954664"/>
              <a:ext cx="2463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2" name="Line 328">
              <a:extLst>
                <a:ext uri="{FF2B5EF4-FFF2-40B4-BE49-F238E27FC236}">
                  <a16:creationId xmlns:a16="http://schemas.microsoft.com/office/drawing/2014/main" id="{C0C47BFB-3C08-4AF5-9BA5-192A3DBAAE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45925" y="1960546"/>
              <a:ext cx="138861" cy="5588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3" name="Oval 329">
              <a:extLst>
                <a:ext uri="{FF2B5EF4-FFF2-40B4-BE49-F238E27FC236}">
                  <a16:creationId xmlns:a16="http://schemas.microsoft.com/office/drawing/2014/main" id="{3449B065-6D21-49A2-B07F-6C8A69A15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1367" y="2010546"/>
              <a:ext cx="2127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4" name="Line 330">
              <a:extLst>
                <a:ext uri="{FF2B5EF4-FFF2-40B4-BE49-F238E27FC236}">
                  <a16:creationId xmlns:a16="http://schemas.microsoft.com/office/drawing/2014/main" id="{7E0C63A9-556D-4EFB-AADD-E502139461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21809" y="2460531"/>
              <a:ext cx="60472" cy="3137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05" name="Oval 331">
              <a:extLst>
                <a:ext uri="{FF2B5EF4-FFF2-40B4-BE49-F238E27FC236}">
                  <a16:creationId xmlns:a16="http://schemas.microsoft.com/office/drawing/2014/main" id="{3CE6DB49-A622-4D5D-A2C9-167BCE2695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5010" y="2486021"/>
              <a:ext cx="23519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6" name="Line 332">
              <a:extLst>
                <a:ext uri="{FF2B5EF4-FFF2-40B4-BE49-F238E27FC236}">
                  <a16:creationId xmlns:a16="http://schemas.microsoft.com/office/drawing/2014/main" id="{855DB0D3-F125-4DF3-9A75-AE705B33CC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86759" y="2379161"/>
              <a:ext cx="31357" cy="71566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07" name="Oval 333">
              <a:extLst>
                <a:ext uri="{FF2B5EF4-FFF2-40B4-BE49-F238E27FC236}">
                  <a16:creationId xmlns:a16="http://schemas.microsoft.com/office/drawing/2014/main" id="{522AD679-7220-4BFD-BE41-C034EC208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8037" y="2359555"/>
              <a:ext cx="2687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8" name="Oval 334">
              <a:extLst>
                <a:ext uri="{FF2B5EF4-FFF2-40B4-BE49-F238E27FC236}">
                  <a16:creationId xmlns:a16="http://schemas.microsoft.com/office/drawing/2014/main" id="{46A113AF-4ED3-426F-937E-F8214398DE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1082" y="2448767"/>
              <a:ext cx="2687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9" name="Line 335">
              <a:extLst>
                <a:ext uri="{FF2B5EF4-FFF2-40B4-BE49-F238E27FC236}">
                  <a16:creationId xmlns:a16="http://schemas.microsoft.com/office/drawing/2014/main" id="{845AFF39-8188-44BE-B44A-FB1CF2F8F8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68509" y="2252694"/>
              <a:ext cx="134381" cy="11078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10" name="Line 336">
              <a:extLst>
                <a:ext uri="{FF2B5EF4-FFF2-40B4-BE49-F238E27FC236}">
                  <a16:creationId xmlns:a16="http://schemas.microsoft.com/office/drawing/2014/main" id="{CB06F758-C75C-48BB-B728-B4A372E243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02890" y="2365435"/>
              <a:ext cx="43675" cy="6666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11" name="Oval 337">
              <a:extLst>
                <a:ext uri="{FF2B5EF4-FFF2-40B4-BE49-F238E27FC236}">
                  <a16:creationId xmlns:a16="http://schemas.microsoft.com/office/drawing/2014/main" id="{CD9DD6B0-AAD6-4E58-96D7-BACBCFB3E4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693" y="2355633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2" name="Freeform 338">
              <a:extLst>
                <a:ext uri="{FF2B5EF4-FFF2-40B4-BE49-F238E27FC236}">
                  <a16:creationId xmlns:a16="http://schemas.microsoft.com/office/drawing/2014/main" id="{B5E7F430-625F-4D75-9663-3E445086B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8884" y="2444845"/>
              <a:ext cx="218371" cy="9999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7" y="71"/>
                </a:cxn>
                <a:cxn ang="0">
                  <a:pos x="179" y="93"/>
                </a:cxn>
              </a:cxnLst>
              <a:rect l="0" t="0" r="r" b="b"/>
              <a:pathLst>
                <a:path w="179" h="93">
                  <a:moveTo>
                    <a:pt x="0" y="0"/>
                  </a:moveTo>
                  <a:lnTo>
                    <a:pt x="117" y="71"/>
                  </a:lnTo>
                  <a:lnTo>
                    <a:pt x="179" y="93"/>
                  </a:lnTo>
                </a:path>
              </a:pathLst>
            </a:custGeom>
            <a:solidFill>
              <a:srgbClr val="FF6B72"/>
            </a:solidFill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14" name="Oval 339">
              <a:extLst>
                <a:ext uri="{FF2B5EF4-FFF2-40B4-BE49-F238E27FC236}">
                  <a16:creationId xmlns:a16="http://schemas.microsoft.com/office/drawing/2014/main" id="{AE02B1F6-B019-4759-AF3F-6A0871782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8726" y="2428179"/>
              <a:ext cx="26877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5" name="Line 340">
              <a:extLst>
                <a:ext uri="{FF2B5EF4-FFF2-40B4-BE49-F238E27FC236}">
                  <a16:creationId xmlns:a16="http://schemas.microsoft.com/office/drawing/2014/main" id="{322562D2-39FB-4235-A7F5-758B4CBDF2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335" y="2548763"/>
              <a:ext cx="221730" cy="6470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16" name="Oval 341">
              <a:extLst>
                <a:ext uri="{FF2B5EF4-FFF2-40B4-BE49-F238E27FC236}">
                  <a16:creationId xmlns:a16="http://schemas.microsoft.com/office/drawing/2014/main" id="{4A94466E-788C-47C7-8E0C-449D4E69C9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9416" y="2536999"/>
              <a:ext cx="24637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7" name="Line 342">
              <a:extLst>
                <a:ext uri="{FF2B5EF4-FFF2-40B4-BE49-F238E27FC236}">
                  <a16:creationId xmlns:a16="http://schemas.microsoft.com/office/drawing/2014/main" id="{56DDF185-F192-4A23-AD25-30B34D383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77734" y="3050706"/>
              <a:ext cx="57112" cy="19607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8" name="Oval 343">
              <a:extLst>
                <a:ext uri="{FF2B5EF4-FFF2-40B4-BE49-F238E27FC236}">
                  <a16:creationId xmlns:a16="http://schemas.microsoft.com/office/drawing/2014/main" id="{147DCF4B-53C1-4FD5-AF65-7ADF3E458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2608" y="3066393"/>
              <a:ext cx="25757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9" name="Oval 344">
              <a:extLst>
                <a:ext uri="{FF2B5EF4-FFF2-40B4-BE49-F238E27FC236}">
                  <a16:creationId xmlns:a16="http://schemas.microsoft.com/office/drawing/2014/main" id="{C82B0610-19B9-41CD-9CE1-6AB5E76F3A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7657" y="3039923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0" name="Freeform 345">
              <a:extLst>
                <a:ext uri="{FF2B5EF4-FFF2-40B4-BE49-F238E27FC236}">
                  <a16:creationId xmlns:a16="http://schemas.microsoft.com/office/drawing/2014/main" id="{B1C2072C-9EDB-4176-98D4-16ACE93B2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363" y="3118353"/>
              <a:ext cx="185895" cy="216660"/>
            </a:xfrm>
            <a:custGeom>
              <a:avLst/>
              <a:gdLst>
                <a:gd name="T0" fmla="*/ 0 w 156"/>
                <a:gd name="T1" fmla="*/ 2147483647 h 201"/>
                <a:gd name="T2" fmla="*/ 2147483647 w 156"/>
                <a:gd name="T3" fmla="*/ 2147483647 h 201"/>
                <a:gd name="T4" fmla="*/ 2147483647 w 156"/>
                <a:gd name="T5" fmla="*/ 2147483647 h 201"/>
                <a:gd name="T6" fmla="*/ 2147483647 w 156"/>
                <a:gd name="T7" fmla="*/ 2147483647 h 201"/>
                <a:gd name="T8" fmla="*/ 2147483647 w 156"/>
                <a:gd name="T9" fmla="*/ 2147483647 h 201"/>
                <a:gd name="T10" fmla="*/ 2147483647 w 156"/>
                <a:gd name="T11" fmla="*/ 2147483647 h 201"/>
                <a:gd name="T12" fmla="*/ 2147483647 w 156"/>
                <a:gd name="T13" fmla="*/ 2147483647 h 201"/>
                <a:gd name="T14" fmla="*/ 2147483647 w 156"/>
                <a:gd name="T15" fmla="*/ 2147483647 h 201"/>
                <a:gd name="T16" fmla="*/ 2147483647 w 156"/>
                <a:gd name="T17" fmla="*/ 2147483647 h 201"/>
                <a:gd name="T18" fmla="*/ 2147483647 w 156"/>
                <a:gd name="T19" fmla="*/ 2147483647 h 201"/>
                <a:gd name="T20" fmla="*/ 2147483647 w 156"/>
                <a:gd name="T21" fmla="*/ 2147483647 h 201"/>
                <a:gd name="T22" fmla="*/ 2147483647 w 156"/>
                <a:gd name="T23" fmla="*/ 2147483647 h 201"/>
                <a:gd name="T24" fmla="*/ 2147483647 w 156"/>
                <a:gd name="T25" fmla="*/ 2147483647 h 201"/>
                <a:gd name="T26" fmla="*/ 2147483647 w 156"/>
                <a:gd name="T27" fmla="*/ 0 h 20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6"/>
                <a:gd name="T43" fmla="*/ 0 h 201"/>
                <a:gd name="T44" fmla="*/ 156 w 156"/>
                <a:gd name="T45" fmla="*/ 201 h 20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6" h="201">
                  <a:moveTo>
                    <a:pt x="0" y="201"/>
                  </a:moveTo>
                  <a:lnTo>
                    <a:pt x="2" y="197"/>
                  </a:lnTo>
                  <a:lnTo>
                    <a:pt x="4" y="193"/>
                  </a:lnTo>
                  <a:lnTo>
                    <a:pt x="10" y="182"/>
                  </a:lnTo>
                  <a:lnTo>
                    <a:pt x="15" y="168"/>
                  </a:lnTo>
                  <a:lnTo>
                    <a:pt x="16" y="161"/>
                  </a:lnTo>
                  <a:lnTo>
                    <a:pt x="17" y="153"/>
                  </a:lnTo>
                  <a:lnTo>
                    <a:pt x="3" y="80"/>
                  </a:lnTo>
                  <a:lnTo>
                    <a:pt x="37" y="80"/>
                  </a:lnTo>
                  <a:lnTo>
                    <a:pt x="57" y="58"/>
                  </a:lnTo>
                  <a:lnTo>
                    <a:pt x="77" y="68"/>
                  </a:lnTo>
                  <a:lnTo>
                    <a:pt x="67" y="42"/>
                  </a:lnTo>
                  <a:lnTo>
                    <a:pt x="112" y="4"/>
                  </a:lnTo>
                  <a:lnTo>
                    <a:pt x="156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1" name="Oval 347">
              <a:extLst>
                <a:ext uri="{FF2B5EF4-FFF2-40B4-BE49-F238E27FC236}">
                  <a16:creationId xmlns:a16="http://schemas.microsoft.com/office/drawing/2014/main" id="{40333212-8AE1-4909-BDB0-9C9D359522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9881" y="3757548"/>
              <a:ext cx="2239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2" name="Oval 348">
              <a:extLst>
                <a:ext uri="{FF2B5EF4-FFF2-40B4-BE49-F238E27FC236}">
                  <a16:creationId xmlns:a16="http://schemas.microsoft.com/office/drawing/2014/main" id="{5732ABEB-6595-488D-B275-AADDAE1709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248" y="4214395"/>
              <a:ext cx="2015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3" name="Freeform 349">
              <a:extLst>
                <a:ext uri="{FF2B5EF4-FFF2-40B4-BE49-F238E27FC236}">
                  <a16:creationId xmlns:a16="http://schemas.microsoft.com/office/drawing/2014/main" id="{A2F7A105-4BF9-4A05-99F6-C40795F45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524" y="4286942"/>
              <a:ext cx="179176" cy="15489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3" y="69"/>
                </a:cxn>
                <a:cxn ang="0">
                  <a:pos x="147" y="145"/>
                </a:cxn>
              </a:cxnLst>
              <a:rect l="0" t="0" r="r" b="b"/>
              <a:pathLst>
                <a:path w="147" h="145">
                  <a:moveTo>
                    <a:pt x="0" y="0"/>
                  </a:moveTo>
                  <a:lnTo>
                    <a:pt x="93" y="69"/>
                  </a:lnTo>
                  <a:lnTo>
                    <a:pt x="147" y="145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4" name="Oval 350">
              <a:extLst>
                <a:ext uri="{FF2B5EF4-FFF2-40B4-BE49-F238E27FC236}">
                  <a16:creationId xmlns:a16="http://schemas.microsoft.com/office/drawing/2014/main" id="{BB1E4170-BF3F-4E2E-A5B7-1CCD016B7D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17623" y="4435957"/>
              <a:ext cx="1903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5" name="Oval 351">
              <a:extLst>
                <a:ext uri="{FF2B5EF4-FFF2-40B4-BE49-F238E27FC236}">
                  <a16:creationId xmlns:a16="http://schemas.microsoft.com/office/drawing/2014/main" id="{EE23FB49-B7B8-4DC6-BAAD-D7AB447E66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4462" y="5476117"/>
              <a:ext cx="2687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6" name="Freeform 352">
              <a:extLst>
                <a:ext uri="{FF2B5EF4-FFF2-40B4-BE49-F238E27FC236}">
                  <a16:creationId xmlns:a16="http://schemas.microsoft.com/office/drawing/2014/main" id="{31471FFC-FC38-4E2F-927E-50E9884F5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4975" y="4327137"/>
              <a:ext cx="188135" cy="124506"/>
            </a:xfrm>
            <a:custGeom>
              <a:avLst/>
              <a:gdLst>
                <a:gd name="T0" fmla="*/ 0 w 156"/>
                <a:gd name="T1" fmla="*/ 2147483647 h 115"/>
                <a:gd name="T2" fmla="*/ 2147483647 w 156"/>
                <a:gd name="T3" fmla="*/ 2147483647 h 115"/>
                <a:gd name="T4" fmla="*/ 2147483647 w 156"/>
                <a:gd name="T5" fmla="*/ 2147483647 h 115"/>
                <a:gd name="T6" fmla="*/ 2147483647 w 156"/>
                <a:gd name="T7" fmla="*/ 0 h 1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6"/>
                <a:gd name="T13" fmla="*/ 0 h 115"/>
                <a:gd name="T14" fmla="*/ 156 w 156"/>
                <a:gd name="T15" fmla="*/ 115 h 1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6" h="115">
                  <a:moveTo>
                    <a:pt x="0" y="115"/>
                  </a:moveTo>
                  <a:lnTo>
                    <a:pt x="40" y="43"/>
                  </a:lnTo>
                  <a:lnTo>
                    <a:pt x="75" y="12"/>
                  </a:lnTo>
                  <a:lnTo>
                    <a:pt x="156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7" name="Freeform 353">
              <a:extLst>
                <a:ext uri="{FF2B5EF4-FFF2-40B4-BE49-F238E27FC236}">
                  <a16:creationId xmlns:a16="http://schemas.microsoft.com/office/drawing/2014/main" id="{4A5FE346-F092-468D-910A-A5076D36D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2106" y="4461446"/>
              <a:ext cx="76149" cy="243128"/>
            </a:xfrm>
            <a:custGeom>
              <a:avLst/>
              <a:gdLst/>
              <a:ahLst/>
              <a:cxnLst>
                <a:cxn ang="0">
                  <a:pos x="0" y="226"/>
                </a:cxn>
                <a:cxn ang="0">
                  <a:pos x="1" y="136"/>
                </a:cxn>
                <a:cxn ang="0">
                  <a:pos x="63" y="0"/>
                </a:cxn>
              </a:cxnLst>
              <a:rect l="0" t="0" r="r" b="b"/>
              <a:pathLst>
                <a:path w="63" h="226">
                  <a:moveTo>
                    <a:pt x="0" y="226"/>
                  </a:moveTo>
                  <a:lnTo>
                    <a:pt x="1" y="136"/>
                  </a:lnTo>
                  <a:lnTo>
                    <a:pt x="63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28" name="Line 354">
              <a:extLst>
                <a:ext uri="{FF2B5EF4-FFF2-40B4-BE49-F238E27FC236}">
                  <a16:creationId xmlns:a16="http://schemas.microsoft.com/office/drawing/2014/main" id="{DE3068C4-DDDE-4562-951C-8CED517779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7283480" y="4909470"/>
              <a:ext cx="76149" cy="154897"/>
            </a:xfrm>
            <a:prstGeom prst="line">
              <a:avLst/>
            </a:pr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29" name="Oval 355">
              <a:extLst>
                <a:ext uri="{FF2B5EF4-FFF2-40B4-BE49-F238E27FC236}">
                  <a16:creationId xmlns:a16="http://schemas.microsoft.com/office/drawing/2014/main" id="{C5EB733C-1AD2-4623-B496-FA1A891834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7311" y="5058486"/>
              <a:ext cx="1903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0" name="Line 356">
              <a:extLst>
                <a:ext uri="{FF2B5EF4-FFF2-40B4-BE49-F238E27FC236}">
                  <a16:creationId xmlns:a16="http://schemas.microsoft.com/office/drawing/2014/main" id="{4FDDCCF4-311F-48E5-B813-C76BD304DD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19196" y="5463373"/>
              <a:ext cx="31357" cy="3921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31" name="Oval 357">
              <a:extLst>
                <a:ext uri="{FF2B5EF4-FFF2-40B4-BE49-F238E27FC236}">
                  <a16:creationId xmlns:a16="http://schemas.microsoft.com/office/drawing/2014/main" id="{B82A2E6E-4630-4AF4-B9A8-0A571819CD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1594" y="5448668"/>
              <a:ext cx="2463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2" name="Line 358">
              <a:extLst>
                <a:ext uri="{FF2B5EF4-FFF2-40B4-BE49-F238E27FC236}">
                  <a16:creationId xmlns:a16="http://schemas.microsoft.com/office/drawing/2014/main" id="{15D53227-C46A-423F-BFE4-CF619555AE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205011" y="2104660"/>
              <a:ext cx="3360" cy="6764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33" name="Oval 359">
              <a:extLst>
                <a:ext uri="{FF2B5EF4-FFF2-40B4-BE49-F238E27FC236}">
                  <a16:creationId xmlns:a16="http://schemas.microsoft.com/office/drawing/2014/main" id="{E33E4F90-5987-4313-9678-0D4111E34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2693" y="2088974"/>
              <a:ext cx="25756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Oval 361">
              <a:extLst>
                <a:ext uri="{FF2B5EF4-FFF2-40B4-BE49-F238E27FC236}">
                  <a16:creationId xmlns:a16="http://schemas.microsoft.com/office/drawing/2014/main" id="{C729E4B4-EBBD-4A53-9236-BE121F0AC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2424" y="3029140"/>
              <a:ext cx="2463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362">
              <a:extLst>
                <a:ext uri="{FF2B5EF4-FFF2-40B4-BE49-F238E27FC236}">
                  <a16:creationId xmlns:a16="http://schemas.microsoft.com/office/drawing/2014/main" id="{50D46FDB-811C-4FBD-9214-820039A9C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5409" y="3106588"/>
              <a:ext cx="125423" cy="220582"/>
            </a:xfrm>
            <a:custGeom>
              <a:avLst/>
              <a:gdLst>
                <a:gd name="T0" fmla="*/ 0 w 104"/>
                <a:gd name="T1" fmla="*/ 0 h 204"/>
                <a:gd name="T2" fmla="*/ 2147483647 w 104"/>
                <a:gd name="T3" fmla="*/ 2147483647 h 204"/>
                <a:gd name="T4" fmla="*/ 2147483647 w 104"/>
                <a:gd name="T5" fmla="*/ 2147483647 h 204"/>
                <a:gd name="T6" fmla="*/ 2147483647 w 104"/>
                <a:gd name="T7" fmla="*/ 2147483647 h 204"/>
                <a:gd name="T8" fmla="*/ 2147483647 w 104"/>
                <a:gd name="T9" fmla="*/ 2147483647 h 204"/>
                <a:gd name="T10" fmla="*/ 2147483647 w 104"/>
                <a:gd name="T11" fmla="*/ 2147483647 h 204"/>
                <a:gd name="T12" fmla="*/ 2147483647 w 104"/>
                <a:gd name="T13" fmla="*/ 2147483647 h 20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204"/>
                <a:gd name="T23" fmla="*/ 104 w 104"/>
                <a:gd name="T24" fmla="*/ 204 h 20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204">
                  <a:moveTo>
                    <a:pt x="0" y="0"/>
                  </a:moveTo>
                  <a:lnTo>
                    <a:pt x="32" y="47"/>
                  </a:lnTo>
                  <a:lnTo>
                    <a:pt x="62" y="90"/>
                  </a:lnTo>
                  <a:lnTo>
                    <a:pt x="89" y="144"/>
                  </a:lnTo>
                  <a:lnTo>
                    <a:pt x="95" y="179"/>
                  </a:lnTo>
                  <a:lnTo>
                    <a:pt x="104" y="203"/>
                  </a:lnTo>
                  <a:lnTo>
                    <a:pt x="101" y="204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39" name="Freeform 363">
              <a:extLst>
                <a:ext uri="{FF2B5EF4-FFF2-40B4-BE49-F238E27FC236}">
                  <a16:creationId xmlns:a16="http://schemas.microsoft.com/office/drawing/2014/main" id="{396D6337-D826-46BC-9E3D-297D5F565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8671" y="3341874"/>
              <a:ext cx="176936" cy="137250"/>
            </a:xfrm>
            <a:custGeom>
              <a:avLst/>
              <a:gdLst>
                <a:gd name="T0" fmla="*/ 0 w 146"/>
                <a:gd name="T1" fmla="*/ 0 h 127"/>
                <a:gd name="T2" fmla="*/ 2147483647 w 146"/>
                <a:gd name="T3" fmla="*/ 2147483647 h 127"/>
                <a:gd name="T4" fmla="*/ 2147483647 w 146"/>
                <a:gd name="T5" fmla="*/ 2147483647 h 127"/>
                <a:gd name="T6" fmla="*/ 0 60000 65536"/>
                <a:gd name="T7" fmla="*/ 0 60000 65536"/>
                <a:gd name="T8" fmla="*/ 0 60000 65536"/>
                <a:gd name="T9" fmla="*/ 0 w 146"/>
                <a:gd name="T10" fmla="*/ 0 h 127"/>
                <a:gd name="T11" fmla="*/ 146 w 146"/>
                <a:gd name="T12" fmla="*/ 127 h 12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6" h="127">
                  <a:moveTo>
                    <a:pt x="0" y="0"/>
                  </a:moveTo>
                  <a:lnTo>
                    <a:pt x="103" y="62"/>
                  </a:lnTo>
                  <a:lnTo>
                    <a:pt x="146" y="127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40" name="Line 364">
              <a:extLst>
                <a:ext uri="{FF2B5EF4-FFF2-40B4-BE49-F238E27FC236}">
                  <a16:creationId xmlns:a16="http://schemas.microsoft.com/office/drawing/2014/main" id="{81E31A39-CEB5-42BF-B202-B309D26519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53526" y="3493831"/>
              <a:ext cx="72789" cy="5686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41" name="Freeform 365">
              <a:extLst>
                <a:ext uri="{FF2B5EF4-FFF2-40B4-BE49-F238E27FC236}">
                  <a16:creationId xmlns:a16="http://schemas.microsoft.com/office/drawing/2014/main" id="{72C9BB63-F932-4EFC-8904-439CF851A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1992" y="3563437"/>
              <a:ext cx="188135" cy="122544"/>
            </a:xfrm>
            <a:custGeom>
              <a:avLst/>
              <a:gdLst>
                <a:gd name="T0" fmla="*/ 0 w 153"/>
                <a:gd name="T1" fmla="*/ 0 h 113"/>
                <a:gd name="T2" fmla="*/ 2147483647 w 153"/>
                <a:gd name="T3" fmla="*/ 2147483647 h 113"/>
                <a:gd name="T4" fmla="*/ 2147483647 w 153"/>
                <a:gd name="T5" fmla="*/ 2147483647 h 113"/>
                <a:gd name="T6" fmla="*/ 0 60000 65536"/>
                <a:gd name="T7" fmla="*/ 0 60000 65536"/>
                <a:gd name="T8" fmla="*/ 0 60000 65536"/>
                <a:gd name="T9" fmla="*/ 0 w 153"/>
                <a:gd name="T10" fmla="*/ 0 h 113"/>
                <a:gd name="T11" fmla="*/ 153 w 153"/>
                <a:gd name="T12" fmla="*/ 113 h 1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3" h="113">
                  <a:moveTo>
                    <a:pt x="0" y="0"/>
                  </a:moveTo>
                  <a:lnTo>
                    <a:pt x="75" y="47"/>
                  </a:lnTo>
                  <a:lnTo>
                    <a:pt x="153" y="113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42" name="Oval 366">
              <a:extLst>
                <a:ext uri="{FF2B5EF4-FFF2-40B4-BE49-F238E27FC236}">
                  <a16:creationId xmlns:a16="http://schemas.microsoft.com/office/drawing/2014/main" id="{DE9FDBC8-2184-4C7E-85B3-ACCFF97793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3408" y="3680099"/>
              <a:ext cx="2687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Oval 367">
              <a:extLst>
                <a:ext uri="{FF2B5EF4-FFF2-40B4-BE49-F238E27FC236}">
                  <a16:creationId xmlns:a16="http://schemas.microsoft.com/office/drawing/2014/main" id="{FBEF0DA8-4CDC-449C-9313-0EB130D8EB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1872" y="3324227"/>
              <a:ext cx="24637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Oval 368">
              <a:extLst>
                <a:ext uri="{FF2B5EF4-FFF2-40B4-BE49-F238E27FC236}">
                  <a16:creationId xmlns:a16="http://schemas.microsoft.com/office/drawing/2014/main" id="{61DD1EE5-F0A4-40FD-9BC5-FC7B208F6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2247" y="3475204"/>
              <a:ext cx="24637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Oval 369">
              <a:extLst>
                <a:ext uri="{FF2B5EF4-FFF2-40B4-BE49-F238E27FC236}">
                  <a16:creationId xmlns:a16="http://schemas.microsoft.com/office/drawing/2014/main" id="{93002987-7F94-43A6-BAEC-96D63CDA09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9595" y="3545789"/>
              <a:ext cx="25757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371">
              <a:extLst>
                <a:ext uri="{FF2B5EF4-FFF2-40B4-BE49-F238E27FC236}">
                  <a16:creationId xmlns:a16="http://schemas.microsoft.com/office/drawing/2014/main" id="{EF0629F9-EEE7-437B-8493-86A9B4C89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0241" y="4269295"/>
              <a:ext cx="77271" cy="558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3" y="52"/>
                </a:cxn>
              </a:cxnLst>
              <a:rect l="0" t="0" r="r" b="b"/>
              <a:pathLst>
                <a:path w="63" h="52">
                  <a:moveTo>
                    <a:pt x="0" y="0"/>
                  </a:moveTo>
                  <a:lnTo>
                    <a:pt x="63" y="52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47" name="Oval 372">
              <a:extLst>
                <a:ext uri="{FF2B5EF4-FFF2-40B4-BE49-F238E27FC236}">
                  <a16:creationId xmlns:a16="http://schemas.microsoft.com/office/drawing/2014/main" id="{F4D356BC-B625-4D42-88BA-4AD5A6BF4F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1912" y="4320273"/>
              <a:ext cx="2575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8" name="Oval 373">
              <a:extLst>
                <a:ext uri="{FF2B5EF4-FFF2-40B4-BE49-F238E27FC236}">
                  <a16:creationId xmlns:a16="http://schemas.microsoft.com/office/drawing/2014/main" id="{E6C2BFC9-6E02-4705-B0D8-31008000D8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7573" y="2758560"/>
              <a:ext cx="1903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9" name="Freeform 374">
              <a:extLst>
                <a:ext uri="{FF2B5EF4-FFF2-40B4-BE49-F238E27FC236}">
                  <a16:creationId xmlns:a16="http://schemas.microsoft.com/office/drawing/2014/main" id="{EAD15962-B4A2-44DE-AD6A-15E912981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3746" y="1960548"/>
              <a:ext cx="106387" cy="94114"/>
            </a:xfrm>
            <a:custGeom>
              <a:avLst/>
              <a:gdLst>
                <a:gd name="T0" fmla="*/ 0 w 87"/>
                <a:gd name="T1" fmla="*/ 0 h 87"/>
                <a:gd name="T2" fmla="*/ 2147483647 w 87"/>
                <a:gd name="T3" fmla="*/ 2147483647 h 87"/>
                <a:gd name="T4" fmla="*/ 2147483647 w 87"/>
                <a:gd name="T5" fmla="*/ 2147483647 h 87"/>
                <a:gd name="T6" fmla="*/ 0 60000 65536"/>
                <a:gd name="T7" fmla="*/ 0 60000 65536"/>
                <a:gd name="T8" fmla="*/ 0 60000 65536"/>
                <a:gd name="T9" fmla="*/ 0 w 87"/>
                <a:gd name="T10" fmla="*/ 0 h 87"/>
                <a:gd name="T11" fmla="*/ 87 w 87"/>
                <a:gd name="T12" fmla="*/ 87 h 8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7" h="87">
                  <a:moveTo>
                    <a:pt x="0" y="0"/>
                  </a:moveTo>
                  <a:lnTo>
                    <a:pt x="68" y="28"/>
                  </a:lnTo>
                  <a:lnTo>
                    <a:pt x="87" y="87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0" name="Oval 375">
              <a:extLst>
                <a:ext uri="{FF2B5EF4-FFF2-40B4-BE49-F238E27FC236}">
                  <a16:creationId xmlns:a16="http://schemas.microsoft.com/office/drawing/2014/main" id="{72C8A5D3-B055-4C64-9379-CB56928E6F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7814" y="2047799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1" name="Line 376">
              <a:extLst>
                <a:ext uri="{FF2B5EF4-FFF2-40B4-BE49-F238E27FC236}">
                  <a16:creationId xmlns:a16="http://schemas.microsoft.com/office/drawing/2014/main" id="{1B7FDB52-888F-4DA6-8CFF-F6DB6807BE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65391" y="2263478"/>
              <a:ext cx="44793" cy="3431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2" name="Freeform 377">
              <a:extLst>
                <a:ext uri="{FF2B5EF4-FFF2-40B4-BE49-F238E27FC236}">
                  <a16:creationId xmlns:a16="http://schemas.microsoft.com/office/drawing/2014/main" id="{914D6DD9-3AA0-4508-A304-83BB12DBA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392" y="2470335"/>
              <a:ext cx="147820" cy="256854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6" y="59"/>
                </a:cxn>
                <a:cxn ang="0">
                  <a:pos x="0" y="128"/>
                </a:cxn>
                <a:cxn ang="0">
                  <a:pos x="51" y="225"/>
                </a:cxn>
                <a:cxn ang="0">
                  <a:pos x="123" y="237"/>
                </a:cxn>
              </a:cxnLst>
              <a:rect l="0" t="0" r="r" b="b"/>
              <a:pathLst>
                <a:path w="123" h="237">
                  <a:moveTo>
                    <a:pt x="36" y="0"/>
                  </a:moveTo>
                  <a:lnTo>
                    <a:pt x="6" y="59"/>
                  </a:lnTo>
                  <a:lnTo>
                    <a:pt x="0" y="128"/>
                  </a:lnTo>
                  <a:lnTo>
                    <a:pt x="51" y="225"/>
                  </a:lnTo>
                  <a:lnTo>
                    <a:pt x="123" y="237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3" name="Oval 378">
              <a:extLst>
                <a:ext uri="{FF2B5EF4-FFF2-40B4-BE49-F238E27FC236}">
                  <a16:creationId xmlns:a16="http://schemas.microsoft.com/office/drawing/2014/main" id="{1FFA684C-3006-4FFE-992E-D9F7614CC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6110" y="2458569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4" name="Freeform 379">
              <a:extLst>
                <a:ext uri="{FF2B5EF4-FFF2-40B4-BE49-F238E27FC236}">
                  <a16:creationId xmlns:a16="http://schemas.microsoft.com/office/drawing/2014/main" id="{FA94CD3C-7FB6-460C-B862-D841A977A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3201" y="2592879"/>
              <a:ext cx="82869" cy="137250"/>
            </a:xfrm>
            <a:custGeom>
              <a:avLst/>
              <a:gdLst>
                <a:gd name="T0" fmla="*/ 0 w 70"/>
                <a:gd name="T1" fmla="*/ 2147483647 h 127"/>
                <a:gd name="T2" fmla="*/ 2147483647 w 70"/>
                <a:gd name="T3" fmla="*/ 2147483647 h 127"/>
                <a:gd name="T4" fmla="*/ 2147483647 w 70"/>
                <a:gd name="T5" fmla="*/ 2147483647 h 127"/>
                <a:gd name="T6" fmla="*/ 2147483647 w 70"/>
                <a:gd name="T7" fmla="*/ 0 h 12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0"/>
                <a:gd name="T13" fmla="*/ 0 h 127"/>
                <a:gd name="T14" fmla="*/ 70 w 70"/>
                <a:gd name="T15" fmla="*/ 127 h 12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0" h="127">
                  <a:moveTo>
                    <a:pt x="0" y="127"/>
                  </a:moveTo>
                  <a:lnTo>
                    <a:pt x="18" y="51"/>
                  </a:lnTo>
                  <a:lnTo>
                    <a:pt x="39" y="12"/>
                  </a:lnTo>
                  <a:lnTo>
                    <a:pt x="7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5" name="Line 380">
              <a:extLst>
                <a:ext uri="{FF2B5EF4-FFF2-40B4-BE49-F238E27FC236}">
                  <a16:creationId xmlns:a16="http://schemas.microsoft.com/office/drawing/2014/main" id="{8BB77898-E7F3-47FB-A495-D9C3140EE9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71896" y="2152697"/>
              <a:ext cx="15677" cy="102938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6" name="Oval 382">
              <a:extLst>
                <a:ext uri="{FF2B5EF4-FFF2-40B4-BE49-F238E27FC236}">
                  <a16:creationId xmlns:a16="http://schemas.microsoft.com/office/drawing/2014/main" id="{44B58099-0964-4A02-AA54-3EB0804713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6375" y="2140933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7" name="Oval 383">
              <a:extLst>
                <a:ext uri="{FF2B5EF4-FFF2-40B4-BE49-F238E27FC236}">
                  <a16:creationId xmlns:a16="http://schemas.microsoft.com/office/drawing/2014/main" id="{04A04CD5-94D1-402C-AD9F-97A0FA58F3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2344" y="2248774"/>
              <a:ext cx="2575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8" name="Freeform 384">
              <a:extLst>
                <a:ext uri="{FF2B5EF4-FFF2-40B4-BE49-F238E27FC236}">
                  <a16:creationId xmlns:a16="http://schemas.microsoft.com/office/drawing/2014/main" id="{06F5F832-8A91-494D-96E0-EF64A208D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7554" y="2716404"/>
              <a:ext cx="155659" cy="171563"/>
            </a:xfrm>
            <a:custGeom>
              <a:avLst/>
              <a:gdLst>
                <a:gd name="T0" fmla="*/ 0 w 129"/>
                <a:gd name="T1" fmla="*/ 0 h 159"/>
                <a:gd name="T2" fmla="*/ 2147483647 w 129"/>
                <a:gd name="T3" fmla="*/ 2147483647 h 159"/>
                <a:gd name="T4" fmla="*/ 2147483647 w 129"/>
                <a:gd name="T5" fmla="*/ 2147483647 h 159"/>
                <a:gd name="T6" fmla="*/ 0 60000 65536"/>
                <a:gd name="T7" fmla="*/ 0 60000 65536"/>
                <a:gd name="T8" fmla="*/ 0 60000 65536"/>
                <a:gd name="T9" fmla="*/ 0 w 129"/>
                <a:gd name="T10" fmla="*/ 0 h 159"/>
                <a:gd name="T11" fmla="*/ 129 w 129"/>
                <a:gd name="T12" fmla="*/ 159 h 15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9" h="159">
                  <a:moveTo>
                    <a:pt x="0" y="0"/>
                  </a:moveTo>
                  <a:lnTo>
                    <a:pt x="48" y="61"/>
                  </a:lnTo>
                  <a:lnTo>
                    <a:pt x="129" y="159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9" name="Oval 385">
              <a:extLst>
                <a:ext uri="{FF2B5EF4-FFF2-40B4-BE49-F238E27FC236}">
                  <a16:creationId xmlns:a16="http://schemas.microsoft.com/office/drawing/2014/main" id="{36943C81-9D72-4643-91A2-06C1E6254F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4255" y="2886007"/>
              <a:ext cx="2575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0" name="Oval 386">
              <a:extLst>
                <a:ext uri="{FF2B5EF4-FFF2-40B4-BE49-F238E27FC236}">
                  <a16:creationId xmlns:a16="http://schemas.microsoft.com/office/drawing/2014/main" id="{91B76AE5-D14A-4024-AEC0-8ABBC5A2F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6277" y="2697778"/>
              <a:ext cx="25757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1" name="Line 387">
              <a:extLst>
                <a:ext uri="{FF2B5EF4-FFF2-40B4-BE49-F238E27FC236}">
                  <a16:creationId xmlns:a16="http://schemas.microsoft.com/office/drawing/2014/main" id="{167F6C9F-8942-483C-B4A2-832FD8CCAA4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76349" y="2158580"/>
              <a:ext cx="20157" cy="3921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62" name="Oval 388">
              <a:extLst>
                <a:ext uri="{FF2B5EF4-FFF2-40B4-BE49-F238E27FC236}">
                  <a16:creationId xmlns:a16="http://schemas.microsoft.com/office/drawing/2014/main" id="{689B9844-FBC5-4046-90FB-C3B473709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1790" y="2192893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0" name="Line 389">
              <a:extLst>
                <a:ext uri="{FF2B5EF4-FFF2-40B4-BE49-F238E27FC236}">
                  <a16:creationId xmlns:a16="http://schemas.microsoft.com/office/drawing/2014/main" id="{47919800-05BB-442F-98AE-F6B0004CDD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940" y="2106622"/>
              <a:ext cx="117584" cy="2941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1" name="Freeform 390">
              <a:extLst>
                <a:ext uri="{FF2B5EF4-FFF2-40B4-BE49-F238E27FC236}">
                  <a16:creationId xmlns:a16="http://schemas.microsoft.com/office/drawing/2014/main" id="{6EBB1EE9-375A-4E0C-878A-6EF085924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4202" y="2113483"/>
              <a:ext cx="176936" cy="251952"/>
            </a:xfrm>
            <a:custGeom>
              <a:avLst/>
              <a:gdLst>
                <a:gd name="T0" fmla="*/ 0 w 147"/>
                <a:gd name="T1" fmla="*/ 0 h 233"/>
                <a:gd name="T2" fmla="*/ 2147483647 w 147"/>
                <a:gd name="T3" fmla="*/ 2147483647 h 233"/>
                <a:gd name="T4" fmla="*/ 2147483647 w 147"/>
                <a:gd name="T5" fmla="*/ 2147483647 h 233"/>
                <a:gd name="T6" fmla="*/ 2147483647 w 147"/>
                <a:gd name="T7" fmla="*/ 2147483647 h 23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233"/>
                <a:gd name="T14" fmla="*/ 147 w 147"/>
                <a:gd name="T15" fmla="*/ 233 h 2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233">
                  <a:moveTo>
                    <a:pt x="0" y="0"/>
                  </a:moveTo>
                  <a:lnTo>
                    <a:pt x="51" y="27"/>
                  </a:lnTo>
                  <a:lnTo>
                    <a:pt x="102" y="120"/>
                  </a:lnTo>
                  <a:lnTo>
                    <a:pt x="147" y="233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4" name="Oval 391">
              <a:extLst>
                <a:ext uri="{FF2B5EF4-FFF2-40B4-BE49-F238E27FC236}">
                  <a16:creationId xmlns:a16="http://schemas.microsoft.com/office/drawing/2014/main" id="{A43C2AE9-ECB3-48A9-B546-548042982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7501" y="2095837"/>
              <a:ext cx="1791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5" name="Oval 392">
              <a:extLst>
                <a:ext uri="{FF2B5EF4-FFF2-40B4-BE49-F238E27FC236}">
                  <a16:creationId xmlns:a16="http://schemas.microsoft.com/office/drawing/2014/main" id="{D2B4CA62-387E-4CC8-B101-7C0615BA96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285" y="2099758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6" name="Line 393">
              <a:extLst>
                <a:ext uri="{FF2B5EF4-FFF2-40B4-BE49-F238E27FC236}">
                  <a16:creationId xmlns:a16="http://schemas.microsoft.com/office/drawing/2014/main" id="{AF58FDA9-6366-4AA3-8F1B-5ECD42E18EC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11491" y="2495823"/>
              <a:ext cx="52633" cy="1568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7" name="Oval 394">
              <a:extLst>
                <a:ext uri="{FF2B5EF4-FFF2-40B4-BE49-F238E27FC236}">
                  <a16:creationId xmlns:a16="http://schemas.microsoft.com/office/drawing/2014/main" id="{B9D89D83-07C8-4246-B031-C83F8DEBE0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4045" y="2484060"/>
              <a:ext cx="2015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8" name="Oval 395">
              <a:extLst>
                <a:ext uri="{FF2B5EF4-FFF2-40B4-BE49-F238E27FC236}">
                  <a16:creationId xmlns:a16="http://schemas.microsoft.com/office/drawing/2014/main" id="{DD71ECFC-2206-4636-ADDF-5A18415AA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5813" y="2503666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9" name="Freeform 396">
              <a:extLst>
                <a:ext uri="{FF2B5EF4-FFF2-40B4-BE49-F238E27FC236}">
                  <a16:creationId xmlns:a16="http://schemas.microsoft.com/office/drawing/2014/main" id="{6012E103-9A65-48BE-A622-1EDCFFC4CB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764" y="2732091"/>
              <a:ext cx="108625" cy="37254"/>
            </a:xfrm>
            <a:custGeom>
              <a:avLst/>
              <a:gdLst>
                <a:gd name="T0" fmla="*/ 0 w 90"/>
                <a:gd name="T1" fmla="*/ 0 h 34"/>
                <a:gd name="T2" fmla="*/ 2147483647 w 90"/>
                <a:gd name="T3" fmla="*/ 0 h 34"/>
                <a:gd name="T4" fmla="*/ 2147483647 w 90"/>
                <a:gd name="T5" fmla="*/ 2147483647 h 34"/>
                <a:gd name="T6" fmla="*/ 2147483647 w 90"/>
                <a:gd name="T7" fmla="*/ 2147483647 h 34"/>
                <a:gd name="T8" fmla="*/ 2147483647 w 90"/>
                <a:gd name="T9" fmla="*/ 2147483647 h 34"/>
                <a:gd name="T10" fmla="*/ 2147483647 w 90"/>
                <a:gd name="T11" fmla="*/ 2147483647 h 34"/>
                <a:gd name="T12" fmla="*/ 2147483647 w 90"/>
                <a:gd name="T13" fmla="*/ 2147483647 h 34"/>
                <a:gd name="T14" fmla="*/ 2147483647 w 90"/>
                <a:gd name="T15" fmla="*/ 2147483647 h 34"/>
                <a:gd name="T16" fmla="*/ 2147483647 w 90"/>
                <a:gd name="T17" fmla="*/ 2147483647 h 34"/>
                <a:gd name="T18" fmla="*/ 2147483647 w 90"/>
                <a:gd name="T19" fmla="*/ 2147483647 h 34"/>
                <a:gd name="T20" fmla="*/ 2147483647 w 90"/>
                <a:gd name="T21" fmla="*/ 2147483647 h 34"/>
                <a:gd name="T22" fmla="*/ 2147483647 w 90"/>
                <a:gd name="T23" fmla="*/ 2147483647 h 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0"/>
                <a:gd name="T37" fmla="*/ 0 h 34"/>
                <a:gd name="T38" fmla="*/ 90 w 90"/>
                <a:gd name="T39" fmla="*/ 34 h 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0" h="34">
                  <a:moveTo>
                    <a:pt x="0" y="0"/>
                  </a:moveTo>
                  <a:lnTo>
                    <a:pt x="2" y="0"/>
                  </a:lnTo>
                  <a:lnTo>
                    <a:pt x="14" y="1"/>
                  </a:lnTo>
                  <a:lnTo>
                    <a:pt x="23" y="1"/>
                  </a:lnTo>
                  <a:lnTo>
                    <a:pt x="32" y="1"/>
                  </a:lnTo>
                  <a:lnTo>
                    <a:pt x="42" y="4"/>
                  </a:lnTo>
                  <a:lnTo>
                    <a:pt x="48" y="7"/>
                  </a:lnTo>
                  <a:lnTo>
                    <a:pt x="54" y="10"/>
                  </a:lnTo>
                  <a:lnTo>
                    <a:pt x="68" y="19"/>
                  </a:lnTo>
                  <a:lnTo>
                    <a:pt x="80" y="28"/>
                  </a:lnTo>
                  <a:lnTo>
                    <a:pt x="86" y="31"/>
                  </a:lnTo>
                  <a:lnTo>
                    <a:pt x="90" y="3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0" name="Freeform 397">
              <a:extLst>
                <a:ext uri="{FF2B5EF4-FFF2-40B4-BE49-F238E27FC236}">
                  <a16:creationId xmlns:a16="http://schemas.microsoft.com/office/drawing/2014/main" id="{E583E34E-B26E-4B71-A4E0-8446D52D7D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644" y="2603663"/>
              <a:ext cx="78389" cy="112742"/>
            </a:xfrm>
            <a:custGeom>
              <a:avLst/>
              <a:gdLst>
                <a:gd name="T0" fmla="*/ 2147483647 w 65"/>
                <a:gd name="T1" fmla="*/ 0 h 104"/>
                <a:gd name="T2" fmla="*/ 2147483647 w 65"/>
                <a:gd name="T3" fmla="*/ 2147483647 h 104"/>
                <a:gd name="T4" fmla="*/ 0 w 65"/>
                <a:gd name="T5" fmla="*/ 2147483647 h 104"/>
                <a:gd name="T6" fmla="*/ 2147483647 w 65"/>
                <a:gd name="T7" fmla="*/ 2147483647 h 104"/>
                <a:gd name="T8" fmla="*/ 2147483647 w 65"/>
                <a:gd name="T9" fmla="*/ 2147483647 h 10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5"/>
                <a:gd name="T16" fmla="*/ 0 h 104"/>
                <a:gd name="T17" fmla="*/ 65 w 65"/>
                <a:gd name="T18" fmla="*/ 104 h 10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5" h="104">
                  <a:moveTo>
                    <a:pt x="65" y="0"/>
                  </a:moveTo>
                  <a:lnTo>
                    <a:pt x="17" y="9"/>
                  </a:lnTo>
                  <a:lnTo>
                    <a:pt x="0" y="32"/>
                  </a:lnTo>
                  <a:lnTo>
                    <a:pt x="11" y="78"/>
                  </a:lnTo>
                  <a:lnTo>
                    <a:pt x="17" y="10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1" name="Freeform 398">
              <a:extLst>
                <a:ext uri="{FF2B5EF4-FFF2-40B4-BE49-F238E27FC236}">
                  <a16:creationId xmlns:a16="http://schemas.microsoft.com/office/drawing/2014/main" id="{AD96DA9B-D126-4C75-BDFB-FA3B3388E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9722" y="2725228"/>
              <a:ext cx="17917" cy="99017"/>
            </a:xfrm>
            <a:custGeom>
              <a:avLst/>
              <a:gdLst>
                <a:gd name="T0" fmla="*/ 2147483647 w 14"/>
                <a:gd name="T1" fmla="*/ 0 h 91"/>
                <a:gd name="T2" fmla="*/ 0 w 14"/>
                <a:gd name="T3" fmla="*/ 2147483647 h 91"/>
                <a:gd name="T4" fmla="*/ 2147483647 w 14"/>
                <a:gd name="T5" fmla="*/ 2147483647 h 91"/>
                <a:gd name="T6" fmla="*/ 2147483647 w 14"/>
                <a:gd name="T7" fmla="*/ 2147483647 h 91"/>
                <a:gd name="T8" fmla="*/ 2147483647 w 14"/>
                <a:gd name="T9" fmla="*/ 2147483647 h 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91"/>
                <a:gd name="T17" fmla="*/ 14 w 14"/>
                <a:gd name="T18" fmla="*/ 91 h 9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91">
                  <a:moveTo>
                    <a:pt x="11" y="0"/>
                  </a:moveTo>
                  <a:lnTo>
                    <a:pt x="0" y="22"/>
                  </a:lnTo>
                  <a:lnTo>
                    <a:pt x="2" y="45"/>
                  </a:lnTo>
                  <a:lnTo>
                    <a:pt x="14" y="66"/>
                  </a:lnTo>
                  <a:lnTo>
                    <a:pt x="11" y="9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2" name="Freeform 399">
              <a:extLst>
                <a:ext uri="{FF2B5EF4-FFF2-40B4-BE49-F238E27FC236}">
                  <a16:creationId xmlns:a16="http://schemas.microsoft.com/office/drawing/2014/main" id="{D9BE1811-2684-4F29-90B8-140832EE2F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364" y="2830128"/>
              <a:ext cx="76149" cy="157837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35"/>
                </a:cxn>
                <a:cxn ang="0">
                  <a:pos x="6" y="60"/>
                </a:cxn>
                <a:cxn ang="0">
                  <a:pos x="25" y="93"/>
                </a:cxn>
                <a:cxn ang="0">
                  <a:pos x="48" y="117"/>
                </a:cxn>
                <a:cxn ang="0">
                  <a:pos x="63" y="146"/>
                </a:cxn>
              </a:cxnLst>
              <a:rect l="0" t="0" r="r" b="b"/>
              <a:pathLst>
                <a:path w="63" h="146">
                  <a:moveTo>
                    <a:pt x="10" y="0"/>
                  </a:moveTo>
                  <a:lnTo>
                    <a:pt x="0" y="35"/>
                  </a:lnTo>
                  <a:lnTo>
                    <a:pt x="6" y="60"/>
                  </a:lnTo>
                  <a:lnTo>
                    <a:pt x="25" y="93"/>
                  </a:lnTo>
                  <a:lnTo>
                    <a:pt x="48" y="117"/>
                  </a:lnTo>
                  <a:lnTo>
                    <a:pt x="63" y="146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3" name="Oval 400">
              <a:extLst>
                <a:ext uri="{FF2B5EF4-FFF2-40B4-BE49-F238E27FC236}">
                  <a16:creationId xmlns:a16="http://schemas.microsoft.com/office/drawing/2014/main" id="{626AEFCA-C870-4571-AC7D-87BA995C06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9722" y="2821304"/>
              <a:ext cx="2015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4" name="Oval 401">
              <a:extLst>
                <a:ext uri="{FF2B5EF4-FFF2-40B4-BE49-F238E27FC236}">
                  <a16:creationId xmlns:a16="http://schemas.microsoft.com/office/drawing/2014/main" id="{C6FE843C-0BFA-44F4-8FD4-C39E61A4D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1961" y="2706601"/>
              <a:ext cx="2575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5" name="Line 402">
              <a:extLst>
                <a:ext uri="{FF2B5EF4-FFF2-40B4-BE49-F238E27FC236}">
                  <a16:creationId xmlns:a16="http://schemas.microsoft.com/office/drawing/2014/main" id="{A6EC1C7B-04ED-4CA4-B65E-9ADF292275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85187" y="2505627"/>
              <a:ext cx="24637" cy="29410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86" name="Oval 403">
              <a:extLst>
                <a:ext uri="{FF2B5EF4-FFF2-40B4-BE49-F238E27FC236}">
                  <a16:creationId xmlns:a16="http://schemas.microsoft.com/office/drawing/2014/main" id="{A09410CA-1C36-473F-A6A7-CC879D024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8625" y="2488961"/>
              <a:ext cx="2463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7" name="Line 404">
              <a:extLst>
                <a:ext uri="{FF2B5EF4-FFF2-40B4-BE49-F238E27FC236}">
                  <a16:creationId xmlns:a16="http://schemas.microsoft.com/office/drawing/2014/main" id="{F6DEDDAF-81D1-4BA9-A80F-72CA41AD21A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4756" y="2245833"/>
              <a:ext cx="45915" cy="3039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88" name="Oval 405">
              <a:extLst>
                <a:ext uri="{FF2B5EF4-FFF2-40B4-BE49-F238E27FC236}">
                  <a16:creationId xmlns:a16="http://schemas.microsoft.com/office/drawing/2014/main" id="{1271A937-937E-4ECD-B1FB-BBD5042E85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8353" y="2235048"/>
              <a:ext cx="27996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9" name="Freeform 406">
              <a:extLst>
                <a:ext uri="{FF2B5EF4-FFF2-40B4-BE49-F238E27FC236}">
                  <a16:creationId xmlns:a16="http://schemas.microsoft.com/office/drawing/2014/main" id="{3D8E8F04-A3A9-4E17-A124-7C2907CAE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2183" y="2068387"/>
              <a:ext cx="16797" cy="499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4"/>
                </a:cxn>
                <a:cxn ang="0">
                  <a:pos x="4" y="46"/>
                </a:cxn>
              </a:cxnLst>
              <a:rect l="0" t="0" r="r" b="b"/>
              <a:pathLst>
                <a:path w="14" h="46">
                  <a:moveTo>
                    <a:pt x="0" y="0"/>
                  </a:moveTo>
                  <a:lnTo>
                    <a:pt x="14" y="24"/>
                  </a:lnTo>
                  <a:lnTo>
                    <a:pt x="4" y="46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90" name="Line 407">
              <a:extLst>
                <a:ext uri="{FF2B5EF4-FFF2-40B4-BE49-F238E27FC236}">
                  <a16:creationId xmlns:a16="http://schemas.microsoft.com/office/drawing/2014/main" id="{DDAD1E20-F4B0-4477-AE49-487C3D8479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36821" y="2094858"/>
              <a:ext cx="81748" cy="4117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1" name="Line 408">
              <a:extLst>
                <a:ext uri="{FF2B5EF4-FFF2-40B4-BE49-F238E27FC236}">
                  <a16:creationId xmlns:a16="http://schemas.microsoft.com/office/drawing/2014/main" id="{AB264CE8-4BFB-4C58-9EF9-F4FAA5C842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02890" y="2183090"/>
              <a:ext cx="5600" cy="4019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92" name="Oval 409">
              <a:extLst>
                <a:ext uri="{FF2B5EF4-FFF2-40B4-BE49-F238E27FC236}">
                  <a16:creationId xmlns:a16="http://schemas.microsoft.com/office/drawing/2014/main" id="{C80B9F14-DCB0-4B67-B661-AF25767133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2892" y="2221324"/>
              <a:ext cx="16799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3" name="Freeform 410">
              <a:extLst>
                <a:ext uri="{FF2B5EF4-FFF2-40B4-BE49-F238E27FC236}">
                  <a16:creationId xmlns:a16="http://schemas.microsoft.com/office/drawing/2014/main" id="{252C8384-4A3A-4B89-8DE5-B83BB807E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3048" y="2137993"/>
              <a:ext cx="176936" cy="686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" y="15"/>
                </a:cxn>
                <a:cxn ang="0">
                  <a:pos x="147" y="59"/>
                </a:cxn>
              </a:cxnLst>
              <a:rect l="0" t="0" r="r" b="b"/>
              <a:pathLst>
                <a:path w="147" h="59">
                  <a:moveTo>
                    <a:pt x="0" y="0"/>
                  </a:moveTo>
                  <a:lnTo>
                    <a:pt x="65" y="15"/>
                  </a:lnTo>
                  <a:lnTo>
                    <a:pt x="147" y="59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4" name="Oval 411">
              <a:extLst>
                <a:ext uri="{FF2B5EF4-FFF2-40B4-BE49-F238E27FC236}">
                  <a16:creationId xmlns:a16="http://schemas.microsoft.com/office/drawing/2014/main" id="{8884DB6F-2BE5-482A-A8C9-FB237C0CD8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2892" y="2126229"/>
              <a:ext cx="27996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5" name="Freeform 412">
              <a:extLst>
                <a:ext uri="{FF2B5EF4-FFF2-40B4-BE49-F238E27FC236}">
                  <a16:creationId xmlns:a16="http://schemas.microsoft.com/office/drawing/2014/main" id="{DB5A2D0A-2BD5-4459-8A3E-EC2AF860B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5780" y="1857610"/>
              <a:ext cx="11199" cy="70586"/>
            </a:xfrm>
            <a:custGeom>
              <a:avLst/>
              <a:gdLst>
                <a:gd name="T0" fmla="*/ 0 w 9"/>
                <a:gd name="T1" fmla="*/ 2147483647 h 65"/>
                <a:gd name="T2" fmla="*/ 2147483647 w 9"/>
                <a:gd name="T3" fmla="*/ 2147483647 h 65"/>
                <a:gd name="T4" fmla="*/ 2147483647 w 9"/>
                <a:gd name="T5" fmla="*/ 0 h 65"/>
                <a:gd name="T6" fmla="*/ 0 60000 65536"/>
                <a:gd name="T7" fmla="*/ 0 60000 65536"/>
                <a:gd name="T8" fmla="*/ 0 60000 65536"/>
                <a:gd name="T9" fmla="*/ 0 w 9"/>
                <a:gd name="T10" fmla="*/ 0 h 65"/>
                <a:gd name="T11" fmla="*/ 9 w 9"/>
                <a:gd name="T12" fmla="*/ 65 h 6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65">
                  <a:moveTo>
                    <a:pt x="0" y="65"/>
                  </a:moveTo>
                  <a:lnTo>
                    <a:pt x="9" y="35"/>
                  </a:lnTo>
                  <a:lnTo>
                    <a:pt x="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6" name="Oval 413">
              <a:extLst>
                <a:ext uri="{FF2B5EF4-FFF2-40B4-BE49-F238E27FC236}">
                  <a16:creationId xmlns:a16="http://schemas.microsoft.com/office/drawing/2014/main" id="{00CE7E97-DA55-4259-AB8A-6062C4C1AD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9059" y="1846825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7" name="Oval 414">
              <a:extLst>
                <a:ext uri="{FF2B5EF4-FFF2-40B4-BE49-F238E27FC236}">
                  <a16:creationId xmlns:a16="http://schemas.microsoft.com/office/drawing/2014/main" id="{21F74F13-8A4B-450B-9FC4-7BAC4F7B9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461" y="1923294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8" name="Oval 415">
              <a:extLst>
                <a:ext uri="{FF2B5EF4-FFF2-40B4-BE49-F238E27FC236}">
                  <a16:creationId xmlns:a16="http://schemas.microsoft.com/office/drawing/2014/main" id="{83460DE4-E821-4631-B6B9-1C3F8802B7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5427" y="2197794"/>
              <a:ext cx="2687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9" name="Freeform 416">
              <a:extLst>
                <a:ext uri="{FF2B5EF4-FFF2-40B4-BE49-F238E27FC236}">
                  <a16:creationId xmlns:a16="http://schemas.microsoft.com/office/drawing/2014/main" id="{BD06D861-2EBE-493C-979F-F89F2C19F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765" y="2165442"/>
              <a:ext cx="64951" cy="129407"/>
            </a:xfrm>
            <a:custGeom>
              <a:avLst/>
              <a:gdLst>
                <a:gd name="T0" fmla="*/ 0 w 55"/>
                <a:gd name="T1" fmla="*/ 2147483647 h 119"/>
                <a:gd name="T2" fmla="*/ 2147483647 w 55"/>
                <a:gd name="T3" fmla="*/ 2147483647 h 119"/>
                <a:gd name="T4" fmla="*/ 2147483647 w 55"/>
                <a:gd name="T5" fmla="*/ 0 h 119"/>
                <a:gd name="T6" fmla="*/ 0 60000 65536"/>
                <a:gd name="T7" fmla="*/ 0 60000 65536"/>
                <a:gd name="T8" fmla="*/ 0 60000 65536"/>
                <a:gd name="T9" fmla="*/ 0 w 55"/>
                <a:gd name="T10" fmla="*/ 0 h 119"/>
                <a:gd name="T11" fmla="*/ 55 w 55"/>
                <a:gd name="T12" fmla="*/ 119 h 1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" h="119">
                  <a:moveTo>
                    <a:pt x="0" y="119"/>
                  </a:moveTo>
                  <a:lnTo>
                    <a:pt x="31" y="38"/>
                  </a:lnTo>
                  <a:lnTo>
                    <a:pt x="55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0" name="Line 417">
              <a:extLst>
                <a:ext uri="{FF2B5EF4-FFF2-40B4-BE49-F238E27FC236}">
                  <a16:creationId xmlns:a16="http://schemas.microsoft.com/office/drawing/2014/main" id="{C0064986-DC9A-47ED-988A-28971A6D054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31436" y="2152697"/>
              <a:ext cx="23516" cy="1176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1" name="Freeform 418">
              <a:extLst>
                <a:ext uri="{FF2B5EF4-FFF2-40B4-BE49-F238E27FC236}">
                  <a16:creationId xmlns:a16="http://schemas.microsoft.com/office/drawing/2014/main" id="{B6AEE8B9-A736-46B5-9911-856E75A4F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2495" y="2353673"/>
              <a:ext cx="249727" cy="83330"/>
            </a:xfrm>
            <a:custGeom>
              <a:avLst/>
              <a:gdLst>
                <a:gd name="T0" fmla="*/ 0 w 207"/>
                <a:gd name="T1" fmla="*/ 0 h 77"/>
                <a:gd name="T2" fmla="*/ 2147483647 w 207"/>
                <a:gd name="T3" fmla="*/ 2147483647 h 77"/>
                <a:gd name="T4" fmla="*/ 2147483647 w 207"/>
                <a:gd name="T5" fmla="*/ 2147483647 h 77"/>
                <a:gd name="T6" fmla="*/ 2147483647 w 207"/>
                <a:gd name="T7" fmla="*/ 2147483647 h 77"/>
                <a:gd name="T8" fmla="*/ 2147483647 w 207"/>
                <a:gd name="T9" fmla="*/ 2147483647 h 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7"/>
                <a:gd name="T16" fmla="*/ 0 h 77"/>
                <a:gd name="T17" fmla="*/ 207 w 207"/>
                <a:gd name="T18" fmla="*/ 77 h 7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7" h="77">
                  <a:moveTo>
                    <a:pt x="0" y="0"/>
                  </a:moveTo>
                  <a:lnTo>
                    <a:pt x="80" y="12"/>
                  </a:lnTo>
                  <a:lnTo>
                    <a:pt x="127" y="21"/>
                  </a:lnTo>
                  <a:lnTo>
                    <a:pt x="178" y="68"/>
                  </a:lnTo>
                  <a:lnTo>
                    <a:pt x="207" y="77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2" name="Oval 419">
              <a:extLst>
                <a:ext uri="{FF2B5EF4-FFF2-40B4-BE49-F238E27FC236}">
                  <a16:creationId xmlns:a16="http://schemas.microsoft.com/office/drawing/2014/main" id="{AB822504-6806-4056-8CC7-B0F334870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902" y="2429160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3" name="Freeform 420">
              <a:extLst>
                <a:ext uri="{FF2B5EF4-FFF2-40B4-BE49-F238E27FC236}">
                  <a16:creationId xmlns:a16="http://schemas.microsoft.com/office/drawing/2014/main" id="{76F21AA5-848D-4EEE-B020-A3625BF2B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977" y="2301712"/>
              <a:ext cx="87348" cy="67646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55" y="15"/>
                </a:cxn>
                <a:cxn ang="0">
                  <a:pos x="72" y="0"/>
                </a:cxn>
              </a:cxnLst>
              <a:rect l="0" t="0" r="r" b="b"/>
              <a:pathLst>
                <a:path w="72" h="62">
                  <a:moveTo>
                    <a:pt x="0" y="62"/>
                  </a:moveTo>
                  <a:lnTo>
                    <a:pt x="55" y="15"/>
                  </a:lnTo>
                  <a:lnTo>
                    <a:pt x="72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04" name="Oval 421">
              <a:extLst>
                <a:ext uri="{FF2B5EF4-FFF2-40B4-BE49-F238E27FC236}">
                  <a16:creationId xmlns:a16="http://schemas.microsoft.com/office/drawing/2014/main" id="{F0B0E871-CBF3-48C8-A142-2D5822AEFC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9940" y="2362495"/>
              <a:ext cx="2575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5" name="Oval 422">
              <a:extLst>
                <a:ext uri="{FF2B5EF4-FFF2-40B4-BE49-F238E27FC236}">
                  <a16:creationId xmlns:a16="http://schemas.microsoft.com/office/drawing/2014/main" id="{EFE2E5BF-3202-47B0-B97C-9D7B208E0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087" y="2287007"/>
              <a:ext cx="25756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6" name="Line 423">
              <a:extLst>
                <a:ext uri="{FF2B5EF4-FFF2-40B4-BE49-F238E27FC236}">
                  <a16:creationId xmlns:a16="http://schemas.microsoft.com/office/drawing/2014/main" id="{D7BDD60F-F8DF-4FE7-8A64-622D4DB2C5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45806" y="2091915"/>
              <a:ext cx="70551" cy="48038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7" name="Oval 424">
              <a:extLst>
                <a:ext uri="{FF2B5EF4-FFF2-40B4-BE49-F238E27FC236}">
                  <a16:creationId xmlns:a16="http://schemas.microsoft.com/office/drawing/2014/main" id="{78EC403A-FF66-463C-B417-A86D911C6E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6277" y="2132110"/>
              <a:ext cx="2575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8" name="Oval 425">
              <a:extLst>
                <a:ext uri="{FF2B5EF4-FFF2-40B4-BE49-F238E27FC236}">
                  <a16:creationId xmlns:a16="http://schemas.microsoft.com/office/drawing/2014/main" id="{C6A69A22-AA47-4C10-A6E0-A4D6825166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2289" y="2075250"/>
              <a:ext cx="24637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9" name="Freeform 426">
              <a:extLst>
                <a:ext uri="{FF2B5EF4-FFF2-40B4-BE49-F238E27FC236}">
                  <a16:creationId xmlns:a16="http://schemas.microsoft.com/office/drawing/2014/main" id="{07CE90BA-CB85-472D-B2DD-6DEA2E416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878" y="1774279"/>
              <a:ext cx="25756" cy="110781"/>
            </a:xfrm>
            <a:custGeom>
              <a:avLst/>
              <a:gdLst>
                <a:gd name="T0" fmla="*/ 0 w 22"/>
                <a:gd name="T1" fmla="*/ 2147483647 h 102"/>
                <a:gd name="T2" fmla="*/ 2147483647 w 22"/>
                <a:gd name="T3" fmla="*/ 2147483647 h 102"/>
                <a:gd name="T4" fmla="*/ 2147483647 w 22"/>
                <a:gd name="T5" fmla="*/ 0 h 102"/>
                <a:gd name="T6" fmla="*/ 0 60000 65536"/>
                <a:gd name="T7" fmla="*/ 0 60000 65536"/>
                <a:gd name="T8" fmla="*/ 0 60000 65536"/>
                <a:gd name="T9" fmla="*/ 0 w 22"/>
                <a:gd name="T10" fmla="*/ 0 h 102"/>
                <a:gd name="T11" fmla="*/ 22 w 22"/>
                <a:gd name="T12" fmla="*/ 102 h 10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" h="102">
                  <a:moveTo>
                    <a:pt x="0" y="102"/>
                  </a:moveTo>
                  <a:lnTo>
                    <a:pt x="12" y="46"/>
                  </a:lnTo>
                  <a:lnTo>
                    <a:pt x="22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0" name="Oval 427">
              <a:extLst>
                <a:ext uri="{FF2B5EF4-FFF2-40B4-BE49-F238E27FC236}">
                  <a16:creationId xmlns:a16="http://schemas.microsoft.com/office/drawing/2014/main" id="{95598EFE-050F-4699-AB00-BD04E0526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8673" y="1757613"/>
              <a:ext cx="1903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1" name="Oval 428">
              <a:extLst>
                <a:ext uri="{FF2B5EF4-FFF2-40B4-BE49-F238E27FC236}">
                  <a16:creationId xmlns:a16="http://schemas.microsoft.com/office/drawing/2014/main" id="{65C0395E-60DA-493E-998E-8B5FE35C6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8439" y="1879177"/>
              <a:ext cx="25756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2" name="Freeform 429">
              <a:extLst>
                <a:ext uri="{FF2B5EF4-FFF2-40B4-BE49-F238E27FC236}">
                  <a16:creationId xmlns:a16="http://schemas.microsoft.com/office/drawing/2014/main" id="{16A246D9-D686-4B05-B8D1-47E774B88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3914" y="2755619"/>
              <a:ext cx="123184" cy="21568"/>
            </a:xfrm>
            <a:custGeom>
              <a:avLst/>
              <a:gdLst>
                <a:gd name="T0" fmla="*/ 0 w 102"/>
                <a:gd name="T1" fmla="*/ 0 h 20"/>
                <a:gd name="T2" fmla="*/ 2147483647 w 102"/>
                <a:gd name="T3" fmla="*/ 0 h 20"/>
                <a:gd name="T4" fmla="*/ 2147483647 w 102"/>
                <a:gd name="T5" fmla="*/ 2147483647 h 20"/>
                <a:gd name="T6" fmla="*/ 0 60000 65536"/>
                <a:gd name="T7" fmla="*/ 0 60000 65536"/>
                <a:gd name="T8" fmla="*/ 0 60000 65536"/>
                <a:gd name="T9" fmla="*/ 0 w 102"/>
                <a:gd name="T10" fmla="*/ 0 h 20"/>
                <a:gd name="T11" fmla="*/ 102 w 102"/>
                <a:gd name="T12" fmla="*/ 20 h 2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2" h="20">
                  <a:moveTo>
                    <a:pt x="0" y="0"/>
                  </a:moveTo>
                  <a:lnTo>
                    <a:pt x="50" y="0"/>
                  </a:lnTo>
                  <a:lnTo>
                    <a:pt x="102" y="2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3" name="Oval 430">
              <a:extLst>
                <a:ext uri="{FF2B5EF4-FFF2-40B4-BE49-F238E27FC236}">
                  <a16:creationId xmlns:a16="http://schemas.microsoft.com/office/drawing/2014/main" id="{AB74F882-3E16-4E75-AB32-2767A630B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8138" y="2772286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4" name="Line 431">
              <a:extLst>
                <a:ext uri="{FF2B5EF4-FFF2-40B4-BE49-F238E27FC236}">
                  <a16:creationId xmlns:a16="http://schemas.microsoft.com/office/drawing/2014/main" id="{B07444CB-E532-4201-8616-15145C1FF4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0396" y="2723268"/>
              <a:ext cx="17917" cy="3333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5" name="Freeform 433">
              <a:extLst>
                <a:ext uri="{FF2B5EF4-FFF2-40B4-BE49-F238E27FC236}">
                  <a16:creationId xmlns:a16="http://schemas.microsoft.com/office/drawing/2014/main" id="{A0D71BF0-5228-4CEE-B7C9-BB0BCE4B9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382" y="2935025"/>
              <a:ext cx="76149" cy="392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" y="10"/>
                </a:cxn>
                <a:cxn ang="0">
                  <a:pos x="64" y="36"/>
                </a:cxn>
              </a:cxnLst>
              <a:rect l="0" t="0" r="r" b="b"/>
              <a:pathLst>
                <a:path w="64" h="36">
                  <a:moveTo>
                    <a:pt x="0" y="0"/>
                  </a:moveTo>
                  <a:lnTo>
                    <a:pt x="32" y="10"/>
                  </a:lnTo>
                  <a:lnTo>
                    <a:pt x="64" y="36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16" name="Freeform 434">
              <a:extLst>
                <a:ext uri="{FF2B5EF4-FFF2-40B4-BE49-F238E27FC236}">
                  <a16:creationId xmlns:a16="http://schemas.microsoft.com/office/drawing/2014/main" id="{DC9F963F-EFD4-4996-A048-4818C4B1B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1303" y="2787971"/>
              <a:ext cx="29117" cy="136271"/>
            </a:xfrm>
            <a:custGeom>
              <a:avLst/>
              <a:gdLst>
                <a:gd name="T0" fmla="*/ 0 w 24"/>
                <a:gd name="T1" fmla="*/ 2147483647 h 126"/>
                <a:gd name="T2" fmla="*/ 0 w 24"/>
                <a:gd name="T3" fmla="*/ 2147483647 h 126"/>
                <a:gd name="T4" fmla="*/ 2147483647 w 24"/>
                <a:gd name="T5" fmla="*/ 0 h 126"/>
                <a:gd name="T6" fmla="*/ 0 60000 65536"/>
                <a:gd name="T7" fmla="*/ 0 60000 65536"/>
                <a:gd name="T8" fmla="*/ 0 60000 65536"/>
                <a:gd name="T9" fmla="*/ 0 w 24"/>
                <a:gd name="T10" fmla="*/ 0 h 126"/>
                <a:gd name="T11" fmla="*/ 24 w 24"/>
                <a:gd name="T12" fmla="*/ 126 h 1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" h="126">
                  <a:moveTo>
                    <a:pt x="0" y="126"/>
                  </a:moveTo>
                  <a:lnTo>
                    <a:pt x="0" y="48"/>
                  </a:lnTo>
                  <a:lnTo>
                    <a:pt x="2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7" name="Freeform 435">
              <a:extLst>
                <a:ext uri="{FF2B5EF4-FFF2-40B4-BE49-F238E27FC236}">
                  <a16:creationId xmlns:a16="http://schemas.microsoft.com/office/drawing/2014/main" id="{29B77BED-978A-432F-9166-D6AEFDB7B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742" y="2622290"/>
              <a:ext cx="166857" cy="54900"/>
            </a:xfrm>
            <a:custGeom>
              <a:avLst/>
              <a:gdLst>
                <a:gd name="T0" fmla="*/ 0 w 145"/>
                <a:gd name="T1" fmla="*/ 0 h 53"/>
                <a:gd name="T2" fmla="*/ 2147483647 w 145"/>
                <a:gd name="T3" fmla="*/ 2147483647 h 53"/>
                <a:gd name="T4" fmla="*/ 2147483647 w 145"/>
                <a:gd name="T5" fmla="*/ 2147483647 h 53"/>
                <a:gd name="T6" fmla="*/ 0 60000 65536"/>
                <a:gd name="T7" fmla="*/ 0 60000 65536"/>
                <a:gd name="T8" fmla="*/ 0 60000 65536"/>
                <a:gd name="T9" fmla="*/ 0 w 145"/>
                <a:gd name="T10" fmla="*/ 0 h 53"/>
                <a:gd name="T11" fmla="*/ 145 w 145"/>
                <a:gd name="T12" fmla="*/ 53 h 5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5" h="53">
                  <a:moveTo>
                    <a:pt x="0" y="0"/>
                  </a:moveTo>
                  <a:lnTo>
                    <a:pt x="145" y="53"/>
                  </a:lnTo>
                  <a:lnTo>
                    <a:pt x="145" y="52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18" name="Oval 436">
              <a:extLst>
                <a:ext uri="{FF2B5EF4-FFF2-40B4-BE49-F238E27FC236}">
                  <a16:creationId xmlns:a16="http://schemas.microsoft.com/office/drawing/2014/main" id="{E86B8005-CB86-4EBD-9AA9-01536F9A5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2344" y="2605625"/>
              <a:ext cx="25757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9" name="Oval 437">
              <a:extLst>
                <a:ext uri="{FF2B5EF4-FFF2-40B4-BE49-F238E27FC236}">
                  <a16:creationId xmlns:a16="http://schemas.microsoft.com/office/drawing/2014/main" id="{622BB317-D99A-4F41-8CFC-28675BD4C6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340" y="2779148"/>
              <a:ext cx="2239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0" name="Line 438">
              <a:extLst>
                <a:ext uri="{FF2B5EF4-FFF2-40B4-BE49-F238E27FC236}">
                  <a16:creationId xmlns:a16="http://schemas.microsoft.com/office/drawing/2014/main" id="{8E2585DA-9201-4BA9-B6A1-B5F0948228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5057" y="3074236"/>
              <a:ext cx="48153" cy="59802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1" name="Freeform 441">
              <a:extLst>
                <a:ext uri="{FF2B5EF4-FFF2-40B4-BE49-F238E27FC236}">
                  <a16:creationId xmlns:a16="http://schemas.microsoft.com/office/drawing/2014/main" id="{4C0F0B9C-CC82-462F-930C-B430608C5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970" y="3134037"/>
              <a:ext cx="87348" cy="66664"/>
            </a:xfrm>
            <a:custGeom>
              <a:avLst/>
              <a:gdLst>
                <a:gd name="T0" fmla="*/ 0 w 50"/>
                <a:gd name="T1" fmla="*/ 0 h 40"/>
                <a:gd name="T2" fmla="*/ 2147483647 w 50"/>
                <a:gd name="T3" fmla="*/ 2147483647 h 40"/>
                <a:gd name="T4" fmla="*/ 2147483647 w 50"/>
                <a:gd name="T5" fmla="*/ 2147483647 h 40"/>
                <a:gd name="T6" fmla="*/ 0 60000 65536"/>
                <a:gd name="T7" fmla="*/ 0 60000 65536"/>
                <a:gd name="T8" fmla="*/ 0 60000 65536"/>
                <a:gd name="T9" fmla="*/ 0 w 50"/>
                <a:gd name="T10" fmla="*/ 0 h 40"/>
                <a:gd name="T11" fmla="*/ 50 w 50"/>
                <a:gd name="T12" fmla="*/ 40 h 4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" h="40">
                  <a:moveTo>
                    <a:pt x="0" y="0"/>
                  </a:moveTo>
                  <a:lnTo>
                    <a:pt x="34" y="30"/>
                  </a:lnTo>
                  <a:lnTo>
                    <a:pt x="50" y="4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2" name="Freeform 442">
              <a:extLst>
                <a:ext uri="{FF2B5EF4-FFF2-40B4-BE49-F238E27FC236}">
                  <a16:creationId xmlns:a16="http://schemas.microsoft.com/office/drawing/2014/main" id="{0B4BCA52-EE35-4501-98BA-E1707B38C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3525" y="3209526"/>
              <a:ext cx="60472" cy="272539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38" y="78"/>
                </a:cxn>
                <a:cxn ang="0">
                  <a:pos x="50" y="130"/>
                </a:cxn>
                <a:cxn ang="0">
                  <a:pos x="38" y="222"/>
                </a:cxn>
                <a:cxn ang="0">
                  <a:pos x="0" y="252"/>
                </a:cxn>
              </a:cxnLst>
              <a:rect l="0" t="0" r="r" b="b"/>
              <a:pathLst>
                <a:path w="50" h="252">
                  <a:moveTo>
                    <a:pt x="46" y="0"/>
                  </a:moveTo>
                  <a:lnTo>
                    <a:pt x="38" y="78"/>
                  </a:lnTo>
                  <a:lnTo>
                    <a:pt x="50" y="130"/>
                  </a:lnTo>
                  <a:lnTo>
                    <a:pt x="38" y="222"/>
                  </a:lnTo>
                  <a:lnTo>
                    <a:pt x="0" y="252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23" name="Freeform 444">
              <a:extLst>
                <a:ext uri="{FF2B5EF4-FFF2-40B4-BE49-F238E27FC236}">
                  <a16:creationId xmlns:a16="http://schemas.microsoft.com/office/drawing/2014/main" id="{F769F007-08A3-4331-A23E-E8C101760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0173" y="3982049"/>
              <a:ext cx="55992" cy="25489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34" y="2"/>
                </a:cxn>
                <a:cxn ang="0">
                  <a:pos x="0" y="24"/>
                </a:cxn>
              </a:cxnLst>
              <a:rect l="0" t="0" r="r" b="b"/>
              <a:pathLst>
                <a:path w="46" h="24">
                  <a:moveTo>
                    <a:pt x="46" y="0"/>
                  </a:moveTo>
                  <a:cubicBezTo>
                    <a:pt x="42" y="1"/>
                    <a:pt x="34" y="2"/>
                    <a:pt x="34" y="2"/>
                  </a:cubicBezTo>
                  <a:lnTo>
                    <a:pt x="0" y="2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4" name="Freeform 445">
              <a:extLst>
                <a:ext uri="{FF2B5EF4-FFF2-40B4-BE49-F238E27FC236}">
                  <a16:creationId xmlns:a16="http://schemas.microsoft.com/office/drawing/2014/main" id="{CC810A14-2C84-4224-B505-995D35DBD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0567" y="3942835"/>
              <a:ext cx="108625" cy="42155"/>
            </a:xfrm>
            <a:custGeom>
              <a:avLst/>
              <a:gdLst>
                <a:gd name="T0" fmla="*/ 0 w 88"/>
                <a:gd name="T1" fmla="*/ 2147483647 h 38"/>
                <a:gd name="T2" fmla="*/ 2147483647 w 88"/>
                <a:gd name="T3" fmla="*/ 2147483647 h 38"/>
                <a:gd name="T4" fmla="*/ 2147483647 w 88"/>
                <a:gd name="T5" fmla="*/ 2147483647 h 38"/>
                <a:gd name="T6" fmla="*/ 2147483647 w 88"/>
                <a:gd name="T7" fmla="*/ 2147483647 h 38"/>
                <a:gd name="T8" fmla="*/ 2147483647 w 88"/>
                <a:gd name="T9" fmla="*/ 0 h 38"/>
                <a:gd name="T10" fmla="*/ 2147483647 w 88"/>
                <a:gd name="T11" fmla="*/ 2147483647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"/>
                <a:gd name="T19" fmla="*/ 0 h 38"/>
                <a:gd name="T20" fmla="*/ 88 w 88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" h="38">
                  <a:moveTo>
                    <a:pt x="0" y="38"/>
                  </a:moveTo>
                  <a:lnTo>
                    <a:pt x="18" y="20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58" y="0"/>
                  </a:lnTo>
                  <a:lnTo>
                    <a:pt x="88" y="4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5" name="Oval 446">
              <a:extLst>
                <a:ext uri="{FF2B5EF4-FFF2-40B4-BE49-F238E27FC236}">
                  <a16:creationId xmlns:a16="http://schemas.microsoft.com/office/drawing/2014/main" id="{FB87E1F1-3E19-452A-AE63-C1F7144764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2728" y="3973226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6" name="Oval 447">
              <a:extLst>
                <a:ext uri="{FF2B5EF4-FFF2-40B4-BE49-F238E27FC236}">
                  <a16:creationId xmlns:a16="http://schemas.microsoft.com/office/drawing/2014/main" id="{17F74870-B94E-496D-B587-DC2E50106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7188" y="4140868"/>
              <a:ext cx="25756" cy="2156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7" name="Line 448">
              <a:extLst>
                <a:ext uri="{FF2B5EF4-FFF2-40B4-BE49-F238E27FC236}">
                  <a16:creationId xmlns:a16="http://schemas.microsoft.com/office/drawing/2014/main" id="{22A42D09-BEF1-4AB0-8CF6-DB42EE16ED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8499" y="3796762"/>
              <a:ext cx="19037" cy="36272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8" name="Freeform 449">
              <a:extLst>
                <a:ext uri="{FF2B5EF4-FFF2-40B4-BE49-F238E27FC236}">
                  <a16:creationId xmlns:a16="http://schemas.microsoft.com/office/drawing/2014/main" id="{4CDADAC4-13B8-4724-B7B3-01910D6FF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664" y="3830094"/>
              <a:ext cx="60472" cy="26469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12" y="24"/>
                </a:cxn>
                <a:cxn ang="0">
                  <a:pos x="16" y="23"/>
                </a:cxn>
                <a:cxn ang="0">
                  <a:pos x="20" y="20"/>
                </a:cxn>
                <a:cxn ang="0">
                  <a:pos x="31" y="13"/>
                </a:cxn>
                <a:cxn ang="0">
                  <a:pos x="42" y="6"/>
                </a:cxn>
                <a:cxn ang="0">
                  <a:pos x="46" y="2"/>
                </a:cxn>
                <a:cxn ang="0">
                  <a:pos x="50" y="0"/>
                </a:cxn>
              </a:cxnLst>
              <a:rect l="0" t="0" r="r" b="b"/>
              <a:pathLst>
                <a:path w="50" h="24">
                  <a:moveTo>
                    <a:pt x="0" y="14"/>
                  </a:moveTo>
                  <a:lnTo>
                    <a:pt x="12" y="24"/>
                  </a:lnTo>
                  <a:lnTo>
                    <a:pt x="16" y="23"/>
                  </a:lnTo>
                  <a:lnTo>
                    <a:pt x="20" y="20"/>
                  </a:lnTo>
                  <a:lnTo>
                    <a:pt x="31" y="13"/>
                  </a:lnTo>
                  <a:lnTo>
                    <a:pt x="42" y="6"/>
                  </a:lnTo>
                  <a:lnTo>
                    <a:pt x="46" y="2"/>
                  </a:lnTo>
                  <a:lnTo>
                    <a:pt x="50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9" name="Oval 450">
              <a:extLst>
                <a:ext uri="{FF2B5EF4-FFF2-40B4-BE49-F238E27FC236}">
                  <a16:creationId xmlns:a16="http://schemas.microsoft.com/office/drawing/2014/main" id="{9C6A9521-85DF-4D44-82A2-1CAFBD6CEC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3706" y="3835976"/>
              <a:ext cx="1903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0" name="Freeform 452">
              <a:extLst>
                <a:ext uri="{FF2B5EF4-FFF2-40B4-BE49-F238E27FC236}">
                  <a16:creationId xmlns:a16="http://schemas.microsoft.com/office/drawing/2014/main" id="{33CC538B-183D-4166-A0A7-1BEE83B02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881" y="4182042"/>
              <a:ext cx="83988" cy="90194"/>
            </a:xfrm>
            <a:custGeom>
              <a:avLst/>
              <a:gdLst>
                <a:gd name="T0" fmla="*/ 0 w 70"/>
                <a:gd name="T1" fmla="*/ 0 h 84"/>
                <a:gd name="T2" fmla="*/ 2147483647 w 70"/>
                <a:gd name="T3" fmla="*/ 2147483647 h 84"/>
                <a:gd name="T4" fmla="*/ 2147483647 w 70"/>
                <a:gd name="T5" fmla="*/ 2147483647 h 84"/>
                <a:gd name="T6" fmla="*/ 2147483647 w 70"/>
                <a:gd name="T7" fmla="*/ 2147483647 h 8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0"/>
                <a:gd name="T13" fmla="*/ 0 h 84"/>
                <a:gd name="T14" fmla="*/ 70 w 70"/>
                <a:gd name="T15" fmla="*/ 84 h 8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0" h="84">
                  <a:moveTo>
                    <a:pt x="0" y="0"/>
                  </a:moveTo>
                  <a:lnTo>
                    <a:pt x="3" y="59"/>
                  </a:lnTo>
                  <a:lnTo>
                    <a:pt x="28" y="82"/>
                  </a:lnTo>
                  <a:lnTo>
                    <a:pt x="70" y="84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1" name="Oval 454">
              <a:extLst>
                <a:ext uri="{FF2B5EF4-FFF2-40B4-BE49-F238E27FC236}">
                  <a16:creationId xmlns:a16="http://schemas.microsoft.com/office/drawing/2014/main" id="{45C08FC4-1FF6-45E7-AA2A-04E7B11E5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9270" y="4255570"/>
              <a:ext cx="25756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2" name="Oval 455">
              <a:extLst>
                <a:ext uri="{FF2B5EF4-FFF2-40B4-BE49-F238E27FC236}">
                  <a16:creationId xmlns:a16="http://schemas.microsoft.com/office/drawing/2014/main" id="{1741A2AF-184F-4D11-990C-DD78F91195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7582" y="4163416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3" name="Line 456">
              <a:extLst>
                <a:ext uri="{FF2B5EF4-FFF2-40B4-BE49-F238E27FC236}">
                  <a16:creationId xmlns:a16="http://schemas.microsoft.com/office/drawing/2014/main" id="{AC87F899-1AAD-4A08-91D5-EBB3F2AC9B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6112" y="4850649"/>
              <a:ext cx="19037" cy="4215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4" name="Line 457">
              <a:extLst>
                <a:ext uri="{FF2B5EF4-FFF2-40B4-BE49-F238E27FC236}">
                  <a16:creationId xmlns:a16="http://schemas.microsoft.com/office/drawing/2014/main" id="{1611660A-02C5-4D1F-90A2-685B09DD5C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23795" y="4891823"/>
              <a:ext cx="32476" cy="7843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5" name="Oval 458">
              <a:extLst>
                <a:ext uri="{FF2B5EF4-FFF2-40B4-BE49-F238E27FC236}">
                  <a16:creationId xmlns:a16="http://schemas.microsoft.com/office/drawing/2014/main" id="{304BBA57-C737-44DD-9CFF-2F1FACECFF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1163" y="4895745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6" name="Oval 459">
              <a:extLst>
                <a:ext uri="{FF2B5EF4-FFF2-40B4-BE49-F238E27FC236}">
                  <a16:creationId xmlns:a16="http://schemas.microsoft.com/office/drawing/2014/main" id="{5C6D232E-61E3-4A8D-8F85-6AD92D71B6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47312" y="4892804"/>
              <a:ext cx="2463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7" name="Freeform 460">
              <a:extLst>
                <a:ext uri="{FF2B5EF4-FFF2-40B4-BE49-F238E27FC236}">
                  <a16:creationId xmlns:a16="http://schemas.microsoft.com/office/drawing/2014/main" id="{F6AF4406-F283-4D4B-80E5-51554FB57C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795" y="4714379"/>
              <a:ext cx="62712" cy="136271"/>
            </a:xfrm>
            <a:custGeom>
              <a:avLst/>
              <a:gdLst/>
              <a:ahLst/>
              <a:cxnLst>
                <a:cxn ang="0">
                  <a:pos x="7" y="126"/>
                </a:cxn>
                <a:cxn ang="0">
                  <a:pos x="0" y="75"/>
                </a:cxn>
                <a:cxn ang="0">
                  <a:pos x="0" y="42"/>
                </a:cxn>
                <a:cxn ang="0">
                  <a:pos x="34" y="11"/>
                </a:cxn>
                <a:cxn ang="0">
                  <a:pos x="52" y="0"/>
                </a:cxn>
              </a:cxnLst>
              <a:rect l="0" t="0" r="r" b="b"/>
              <a:pathLst>
                <a:path w="52" h="126">
                  <a:moveTo>
                    <a:pt x="7" y="126"/>
                  </a:moveTo>
                  <a:lnTo>
                    <a:pt x="0" y="75"/>
                  </a:lnTo>
                  <a:lnTo>
                    <a:pt x="0" y="42"/>
                  </a:lnTo>
                  <a:lnTo>
                    <a:pt x="34" y="11"/>
                  </a:lnTo>
                  <a:lnTo>
                    <a:pt x="52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38" name="Line 461">
              <a:extLst>
                <a:ext uri="{FF2B5EF4-FFF2-40B4-BE49-F238E27FC236}">
                  <a16:creationId xmlns:a16="http://schemas.microsoft.com/office/drawing/2014/main" id="{E90CB48E-EDB0-43D9-88EF-8E8024E018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323795" y="4850649"/>
              <a:ext cx="8959" cy="4117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9" name="Line 462">
              <a:extLst>
                <a:ext uri="{FF2B5EF4-FFF2-40B4-BE49-F238E27FC236}">
                  <a16:creationId xmlns:a16="http://schemas.microsoft.com/office/drawing/2014/main" id="{04AD3295-2632-4644-A608-134C50FC7F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286841" y="4891823"/>
              <a:ext cx="36956" cy="9803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0" name="Oval 463">
              <a:extLst>
                <a:ext uri="{FF2B5EF4-FFF2-40B4-BE49-F238E27FC236}">
                  <a16:creationId xmlns:a16="http://schemas.microsoft.com/office/drawing/2014/main" id="{36BF0743-48BB-4864-A341-28C36AC45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2028" y="4702614"/>
              <a:ext cx="1903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1" name="Freeform 464">
              <a:extLst>
                <a:ext uri="{FF2B5EF4-FFF2-40B4-BE49-F238E27FC236}">
                  <a16:creationId xmlns:a16="http://schemas.microsoft.com/office/drawing/2014/main" id="{535D46EC-7C46-461C-AAD5-8FDF4D481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496" y="5611407"/>
              <a:ext cx="50393" cy="66664"/>
            </a:xfrm>
            <a:custGeom>
              <a:avLst/>
              <a:gdLst>
                <a:gd name="T0" fmla="*/ 2147483647 w 42"/>
                <a:gd name="T1" fmla="*/ 0 h 61"/>
                <a:gd name="T2" fmla="*/ 2147483647 w 42"/>
                <a:gd name="T3" fmla="*/ 2147483647 h 61"/>
                <a:gd name="T4" fmla="*/ 2147483647 w 42"/>
                <a:gd name="T5" fmla="*/ 2147483647 h 61"/>
                <a:gd name="T6" fmla="*/ 0 w 42"/>
                <a:gd name="T7" fmla="*/ 2147483647 h 6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2"/>
                <a:gd name="T13" fmla="*/ 0 h 61"/>
                <a:gd name="T14" fmla="*/ 42 w 42"/>
                <a:gd name="T15" fmla="*/ 61 h 6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2" h="61">
                  <a:moveTo>
                    <a:pt x="42" y="0"/>
                  </a:moveTo>
                  <a:lnTo>
                    <a:pt x="32" y="18"/>
                  </a:lnTo>
                  <a:lnTo>
                    <a:pt x="5" y="40"/>
                  </a:lnTo>
                  <a:lnTo>
                    <a:pt x="0" y="6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2" name="Freeform 465">
              <a:extLst>
                <a:ext uri="{FF2B5EF4-FFF2-40B4-BE49-F238E27FC236}">
                  <a16:creationId xmlns:a16="http://schemas.microsoft.com/office/drawing/2014/main" id="{FC556B89-FBF7-4082-A79C-B918DFE72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417" y="5682974"/>
              <a:ext cx="33595" cy="185288"/>
            </a:xfrm>
            <a:custGeom>
              <a:avLst/>
              <a:gdLst>
                <a:gd name="T0" fmla="*/ 2147483647 w 28"/>
                <a:gd name="T1" fmla="*/ 0 h 171"/>
                <a:gd name="T2" fmla="*/ 2147483647 w 28"/>
                <a:gd name="T3" fmla="*/ 2147483647 h 171"/>
                <a:gd name="T4" fmla="*/ 2147483647 w 28"/>
                <a:gd name="T5" fmla="*/ 2147483647 h 171"/>
                <a:gd name="T6" fmla="*/ 2147483647 w 28"/>
                <a:gd name="T7" fmla="*/ 2147483647 h 171"/>
                <a:gd name="T8" fmla="*/ 0 w 28"/>
                <a:gd name="T9" fmla="*/ 2147483647 h 17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8"/>
                <a:gd name="T16" fmla="*/ 0 h 171"/>
                <a:gd name="T17" fmla="*/ 28 w 28"/>
                <a:gd name="T18" fmla="*/ 171 h 17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8" h="171">
                  <a:moveTo>
                    <a:pt x="7" y="0"/>
                  </a:moveTo>
                  <a:lnTo>
                    <a:pt x="4" y="19"/>
                  </a:lnTo>
                  <a:lnTo>
                    <a:pt x="22" y="75"/>
                  </a:lnTo>
                  <a:lnTo>
                    <a:pt x="28" y="106"/>
                  </a:lnTo>
                  <a:lnTo>
                    <a:pt x="0" y="17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3" name="Oval 467">
              <a:extLst>
                <a:ext uri="{FF2B5EF4-FFF2-40B4-BE49-F238E27FC236}">
                  <a16:creationId xmlns:a16="http://schemas.microsoft.com/office/drawing/2014/main" id="{A9D2D150-E28A-4E05-BF06-CF297D0A8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3297" y="5670229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4" name="Oval 468">
              <a:extLst>
                <a:ext uri="{FF2B5EF4-FFF2-40B4-BE49-F238E27FC236}">
                  <a16:creationId xmlns:a16="http://schemas.microsoft.com/office/drawing/2014/main" id="{69D7F6E2-763D-4A8B-AAFD-6B73D6431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4338" y="5859438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5" name="Line 469">
              <a:extLst>
                <a:ext uri="{FF2B5EF4-FFF2-40B4-BE49-F238E27FC236}">
                  <a16:creationId xmlns:a16="http://schemas.microsoft.com/office/drawing/2014/main" id="{A2B3F376-80F3-474F-AC00-71889277CF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851220" y="5804539"/>
              <a:ext cx="10079" cy="3823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46" name="Oval 471">
              <a:extLst>
                <a:ext uri="{FF2B5EF4-FFF2-40B4-BE49-F238E27FC236}">
                  <a16:creationId xmlns:a16="http://schemas.microsoft.com/office/drawing/2014/main" id="{B0EAC1A6-8491-4C70-A090-1B83BD1FD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7779" y="5832968"/>
              <a:ext cx="22397" cy="1960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7" name="Oval 472">
              <a:extLst>
                <a:ext uri="{FF2B5EF4-FFF2-40B4-BE49-F238E27FC236}">
                  <a16:creationId xmlns:a16="http://schemas.microsoft.com/office/drawing/2014/main" id="{F636C0DC-4529-4636-BE72-8E2C439ED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5162" y="5479059"/>
              <a:ext cx="2015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8" name="Line 473">
              <a:extLst>
                <a:ext uri="{FF2B5EF4-FFF2-40B4-BE49-F238E27FC236}">
                  <a16:creationId xmlns:a16="http://schemas.microsoft.com/office/drawing/2014/main" id="{4EA3B72C-A648-4322-84A2-A04A0C2B70A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095318" y="5515333"/>
              <a:ext cx="38075" cy="2941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49" name="Freeform 474">
              <a:extLst>
                <a:ext uri="{FF2B5EF4-FFF2-40B4-BE49-F238E27FC236}">
                  <a16:creationId xmlns:a16="http://schemas.microsoft.com/office/drawing/2014/main" id="{6A82D5D4-E79E-4168-BF94-D1C417709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9659" y="5518273"/>
              <a:ext cx="155659" cy="100977"/>
            </a:xfrm>
            <a:custGeom>
              <a:avLst/>
              <a:gdLst>
                <a:gd name="T0" fmla="*/ 2147483647 w 129"/>
                <a:gd name="T1" fmla="*/ 0 h 93"/>
                <a:gd name="T2" fmla="*/ 2147483647 w 129"/>
                <a:gd name="T3" fmla="*/ 2147483647 h 93"/>
                <a:gd name="T4" fmla="*/ 2147483647 w 129"/>
                <a:gd name="T5" fmla="*/ 2147483647 h 93"/>
                <a:gd name="T6" fmla="*/ 2147483647 w 129"/>
                <a:gd name="T7" fmla="*/ 2147483647 h 93"/>
                <a:gd name="T8" fmla="*/ 2147483647 w 129"/>
                <a:gd name="T9" fmla="*/ 2147483647 h 93"/>
                <a:gd name="T10" fmla="*/ 2147483647 w 129"/>
                <a:gd name="T11" fmla="*/ 2147483647 h 93"/>
                <a:gd name="T12" fmla="*/ 0 w 129"/>
                <a:gd name="T13" fmla="*/ 2147483647 h 9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9"/>
                <a:gd name="T22" fmla="*/ 0 h 93"/>
                <a:gd name="T23" fmla="*/ 129 w 129"/>
                <a:gd name="T24" fmla="*/ 93 h 9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9" h="93">
                  <a:moveTo>
                    <a:pt x="129" y="0"/>
                  </a:moveTo>
                  <a:lnTo>
                    <a:pt x="109" y="14"/>
                  </a:lnTo>
                  <a:lnTo>
                    <a:pt x="85" y="12"/>
                  </a:lnTo>
                  <a:lnTo>
                    <a:pt x="70" y="30"/>
                  </a:lnTo>
                  <a:lnTo>
                    <a:pt x="61" y="59"/>
                  </a:lnTo>
                  <a:lnTo>
                    <a:pt x="9" y="74"/>
                  </a:lnTo>
                  <a:lnTo>
                    <a:pt x="0" y="93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0" name="Freeform 475">
              <a:extLst>
                <a:ext uri="{FF2B5EF4-FFF2-40B4-BE49-F238E27FC236}">
                  <a16:creationId xmlns:a16="http://schemas.microsoft.com/office/drawing/2014/main" id="{4709FE84-6A88-4494-987C-44BA25198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2075" y="5601605"/>
              <a:ext cx="117584" cy="17646"/>
            </a:xfrm>
            <a:custGeom>
              <a:avLst/>
              <a:gdLst>
                <a:gd name="T0" fmla="*/ 2147483647 w 99"/>
                <a:gd name="T1" fmla="*/ 2147483647 h 16"/>
                <a:gd name="T2" fmla="*/ 2147483647 w 99"/>
                <a:gd name="T3" fmla="*/ 2147483647 h 16"/>
                <a:gd name="T4" fmla="*/ 0 w 99"/>
                <a:gd name="T5" fmla="*/ 0 h 16"/>
                <a:gd name="T6" fmla="*/ 0 60000 65536"/>
                <a:gd name="T7" fmla="*/ 0 60000 65536"/>
                <a:gd name="T8" fmla="*/ 0 60000 65536"/>
                <a:gd name="T9" fmla="*/ 0 w 99"/>
                <a:gd name="T10" fmla="*/ 0 h 16"/>
                <a:gd name="T11" fmla="*/ 99 w 99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9" h="16">
                  <a:moveTo>
                    <a:pt x="99" y="16"/>
                  </a:moveTo>
                  <a:lnTo>
                    <a:pt x="52" y="4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1" name="Freeform 476">
              <a:extLst>
                <a:ext uri="{FF2B5EF4-FFF2-40B4-BE49-F238E27FC236}">
                  <a16:creationId xmlns:a16="http://schemas.microsoft.com/office/drawing/2014/main" id="{08331936-AA31-41A8-9CA3-B4FC907B0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5201" y="5609447"/>
              <a:ext cx="161258" cy="123525"/>
            </a:xfrm>
            <a:custGeom>
              <a:avLst/>
              <a:gdLst>
                <a:gd name="T0" fmla="*/ 2147483647 w 134"/>
                <a:gd name="T1" fmla="*/ 0 h 115"/>
                <a:gd name="T2" fmla="*/ 2147483647 w 134"/>
                <a:gd name="T3" fmla="*/ 2147483647 h 115"/>
                <a:gd name="T4" fmla="*/ 0 w 134"/>
                <a:gd name="T5" fmla="*/ 2147483647 h 115"/>
                <a:gd name="T6" fmla="*/ 2147483647 w 134"/>
                <a:gd name="T7" fmla="*/ 2147483647 h 115"/>
                <a:gd name="T8" fmla="*/ 2147483647 w 134"/>
                <a:gd name="T9" fmla="*/ 2147483647 h 115"/>
                <a:gd name="T10" fmla="*/ 2147483647 w 134"/>
                <a:gd name="T11" fmla="*/ 2147483647 h 115"/>
                <a:gd name="T12" fmla="*/ 2147483647 w 134"/>
                <a:gd name="T13" fmla="*/ 2147483647 h 115"/>
                <a:gd name="T14" fmla="*/ 2147483647 w 134"/>
                <a:gd name="T15" fmla="*/ 2147483647 h 1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4"/>
                <a:gd name="T25" fmla="*/ 0 h 115"/>
                <a:gd name="T26" fmla="*/ 134 w 134"/>
                <a:gd name="T27" fmla="*/ 115 h 1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4" h="115">
                  <a:moveTo>
                    <a:pt x="12" y="0"/>
                  </a:moveTo>
                  <a:lnTo>
                    <a:pt x="2" y="28"/>
                  </a:lnTo>
                  <a:lnTo>
                    <a:pt x="0" y="75"/>
                  </a:lnTo>
                  <a:lnTo>
                    <a:pt x="62" y="115"/>
                  </a:lnTo>
                  <a:lnTo>
                    <a:pt x="101" y="106"/>
                  </a:lnTo>
                  <a:lnTo>
                    <a:pt x="125" y="57"/>
                  </a:lnTo>
                  <a:lnTo>
                    <a:pt x="134" y="34"/>
                  </a:lnTo>
                  <a:lnTo>
                    <a:pt x="122" y="1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2" name="Line 477">
              <a:extLst>
                <a:ext uri="{FF2B5EF4-FFF2-40B4-BE49-F238E27FC236}">
                  <a16:creationId xmlns:a16="http://schemas.microsoft.com/office/drawing/2014/main" id="{423B9239-6FB5-4EF1-B9C3-4AD22A5433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090839" y="5495724"/>
              <a:ext cx="5600" cy="19607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3" name="Oval 479">
              <a:extLst>
                <a:ext uri="{FF2B5EF4-FFF2-40B4-BE49-F238E27FC236}">
                  <a16:creationId xmlns:a16="http://schemas.microsoft.com/office/drawing/2014/main" id="{BE23A139-3D95-43ED-8F80-078328385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2851" y="4430074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4" name="Oval 480">
              <a:extLst>
                <a:ext uri="{FF2B5EF4-FFF2-40B4-BE49-F238E27FC236}">
                  <a16:creationId xmlns:a16="http://schemas.microsoft.com/office/drawing/2014/main" id="{A4A175FC-79E5-4FFF-8F6C-030C40091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4127" y="5016329"/>
              <a:ext cx="21277" cy="1960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5" name="Line 481">
              <a:extLst>
                <a:ext uri="{FF2B5EF4-FFF2-40B4-BE49-F238E27FC236}">
                  <a16:creationId xmlns:a16="http://schemas.microsoft.com/office/drawing/2014/main" id="{56CDFF52-5305-4602-A025-78900790C9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044" y="5030054"/>
              <a:ext cx="61592" cy="37254"/>
            </a:xfrm>
            <a:prstGeom prst="line">
              <a:avLst/>
            </a:pr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56" name="Oval 482">
              <a:extLst>
                <a:ext uri="{FF2B5EF4-FFF2-40B4-BE49-F238E27FC236}">
                  <a16:creationId xmlns:a16="http://schemas.microsoft.com/office/drawing/2014/main" id="{AEF7D5C8-C230-4ED1-87F2-87E8FC137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2438" y="5062406"/>
              <a:ext cx="26877" cy="22549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7" name="Freeform 484">
              <a:extLst>
                <a:ext uri="{FF2B5EF4-FFF2-40B4-BE49-F238E27FC236}">
                  <a16:creationId xmlns:a16="http://schemas.microsoft.com/office/drawing/2014/main" id="{E42A2460-D910-4D50-9D30-BCD8D6F38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6232" y="2842871"/>
              <a:ext cx="166857" cy="123525"/>
            </a:xfrm>
            <a:custGeom>
              <a:avLst/>
              <a:gdLst>
                <a:gd name="T0" fmla="*/ 0 w 138"/>
                <a:gd name="T1" fmla="*/ 0 h 115"/>
                <a:gd name="T2" fmla="*/ 2147483647 w 138"/>
                <a:gd name="T3" fmla="*/ 2147483647 h 115"/>
                <a:gd name="T4" fmla="*/ 2147483647 w 138"/>
                <a:gd name="T5" fmla="*/ 2147483647 h 115"/>
                <a:gd name="T6" fmla="*/ 0 60000 65536"/>
                <a:gd name="T7" fmla="*/ 0 60000 65536"/>
                <a:gd name="T8" fmla="*/ 0 60000 65536"/>
                <a:gd name="T9" fmla="*/ 0 w 138"/>
                <a:gd name="T10" fmla="*/ 0 h 115"/>
                <a:gd name="T11" fmla="*/ 138 w 138"/>
                <a:gd name="T12" fmla="*/ 115 h 11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8" h="115">
                  <a:moveTo>
                    <a:pt x="0" y="0"/>
                  </a:moveTo>
                  <a:lnTo>
                    <a:pt x="102" y="63"/>
                  </a:lnTo>
                  <a:lnTo>
                    <a:pt x="138" y="115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58" name="Line 485">
              <a:extLst>
                <a:ext uri="{FF2B5EF4-FFF2-40B4-BE49-F238E27FC236}">
                  <a16:creationId xmlns:a16="http://schemas.microsoft.com/office/drawing/2014/main" id="{6D40F947-1002-4A77-AD9B-11EF4A990A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7569" y="2983062"/>
              <a:ext cx="2240" cy="50979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59" name="Line 486">
              <a:extLst>
                <a:ext uri="{FF2B5EF4-FFF2-40B4-BE49-F238E27FC236}">
                  <a16:creationId xmlns:a16="http://schemas.microsoft.com/office/drawing/2014/main" id="{A435AA85-11DA-4BF0-9508-1EC9E78203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8690" y="3053648"/>
              <a:ext cx="6719" cy="42155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60" name="Oval 487">
              <a:extLst>
                <a:ext uri="{FF2B5EF4-FFF2-40B4-BE49-F238E27FC236}">
                  <a16:creationId xmlns:a16="http://schemas.microsoft.com/office/drawing/2014/main" id="{A18827D6-4D39-4C32-ACDF-DB4E4E1BB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9730" y="3088942"/>
              <a:ext cx="25757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1" name="Oval 488">
              <a:extLst>
                <a:ext uri="{FF2B5EF4-FFF2-40B4-BE49-F238E27FC236}">
                  <a16:creationId xmlns:a16="http://schemas.microsoft.com/office/drawing/2014/main" id="{8136D27D-0B4D-4E39-B263-10D2CDCF97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6074" y="2827185"/>
              <a:ext cx="24637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2" name="Freeform 489">
              <a:extLst>
                <a:ext uri="{FF2B5EF4-FFF2-40B4-BE49-F238E27FC236}">
                  <a16:creationId xmlns:a16="http://schemas.microsoft.com/office/drawing/2014/main" id="{FB9CEBEA-2E4F-4EC2-9231-C1A2CF69AB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9540" y="3735000"/>
              <a:ext cx="67191" cy="568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" y="14"/>
                </a:cxn>
                <a:cxn ang="0">
                  <a:pos x="56" y="52"/>
                </a:cxn>
              </a:cxnLst>
              <a:rect l="0" t="0" r="r" b="b"/>
              <a:pathLst>
                <a:path w="56" h="52">
                  <a:moveTo>
                    <a:pt x="0" y="0"/>
                  </a:moveTo>
                  <a:lnTo>
                    <a:pt x="30" y="14"/>
                  </a:lnTo>
                  <a:lnTo>
                    <a:pt x="56" y="52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3" name="Line 490">
              <a:extLst>
                <a:ext uri="{FF2B5EF4-FFF2-40B4-BE49-F238E27FC236}">
                  <a16:creationId xmlns:a16="http://schemas.microsoft.com/office/drawing/2014/main" id="{28F6AB80-CAC8-4DA2-A664-F63F1E2EFB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153551" y="5551607"/>
              <a:ext cx="39195" cy="882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64" name="Oval 491">
              <a:extLst>
                <a:ext uri="{FF2B5EF4-FFF2-40B4-BE49-F238E27FC236}">
                  <a16:creationId xmlns:a16="http://schemas.microsoft.com/office/drawing/2014/main" id="{7D20BFDE-5787-465C-9FF7-2A67529F1E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3394" y="5537880"/>
              <a:ext cx="2463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5" name="Oval 492">
              <a:extLst>
                <a:ext uri="{FF2B5EF4-FFF2-40B4-BE49-F238E27FC236}">
                  <a16:creationId xmlns:a16="http://schemas.microsoft.com/office/drawing/2014/main" id="{B45978A9-E934-4627-8426-7E207FEEBB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4906" y="5551605"/>
              <a:ext cx="1903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7" name="Freeform 493">
              <a:extLst>
                <a:ext uri="{FF2B5EF4-FFF2-40B4-BE49-F238E27FC236}">
                  <a16:creationId xmlns:a16="http://schemas.microsoft.com/office/drawing/2014/main" id="{4DCE7D52-1466-4D98-AB54-1B5430F4C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6211" y="4038909"/>
              <a:ext cx="273243" cy="55881"/>
            </a:xfrm>
            <a:custGeom>
              <a:avLst/>
              <a:gdLst>
                <a:gd name="T0" fmla="*/ 0 w 227"/>
                <a:gd name="T1" fmla="*/ 0 h 52"/>
                <a:gd name="T2" fmla="*/ 2147483647 w 227"/>
                <a:gd name="T3" fmla="*/ 2147483647 h 52"/>
                <a:gd name="T4" fmla="*/ 2147483647 w 227"/>
                <a:gd name="T5" fmla="*/ 2147483647 h 52"/>
                <a:gd name="T6" fmla="*/ 0 60000 65536"/>
                <a:gd name="T7" fmla="*/ 0 60000 65536"/>
                <a:gd name="T8" fmla="*/ 0 60000 65536"/>
                <a:gd name="T9" fmla="*/ 0 w 227"/>
                <a:gd name="T10" fmla="*/ 0 h 52"/>
                <a:gd name="T11" fmla="*/ 227 w 227"/>
                <a:gd name="T12" fmla="*/ 52 h 5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7" h="52">
                  <a:moveTo>
                    <a:pt x="0" y="0"/>
                  </a:moveTo>
                  <a:lnTo>
                    <a:pt x="87" y="7"/>
                  </a:lnTo>
                  <a:lnTo>
                    <a:pt x="227" y="52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8" name="Oval 494">
              <a:extLst>
                <a:ext uri="{FF2B5EF4-FFF2-40B4-BE49-F238E27FC236}">
                  <a16:creationId xmlns:a16="http://schemas.microsoft.com/office/drawing/2014/main" id="{4251C2B3-170A-4928-BC2A-419DFF5AFD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9414" y="4030087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9" name="Oval 495">
              <a:extLst>
                <a:ext uri="{FF2B5EF4-FFF2-40B4-BE49-F238E27FC236}">
                  <a16:creationId xmlns:a16="http://schemas.microsoft.com/office/drawing/2014/main" id="{6DFE6F6C-B557-4572-AD8B-46F24E40FA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6094" y="4088909"/>
              <a:ext cx="25756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0" name="Freeform 496">
              <a:extLst>
                <a:ext uri="{FF2B5EF4-FFF2-40B4-BE49-F238E27FC236}">
                  <a16:creationId xmlns:a16="http://schemas.microsoft.com/office/drawing/2014/main" id="{66FC1549-19BD-4EE7-AFF7-0668B65A5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4319" y="4176162"/>
              <a:ext cx="54872" cy="186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7" y="9"/>
                </a:cxn>
                <a:cxn ang="0">
                  <a:pos x="45" y="17"/>
                </a:cxn>
              </a:cxnLst>
              <a:rect l="0" t="0" r="r" b="b"/>
              <a:pathLst>
                <a:path w="45" h="17">
                  <a:moveTo>
                    <a:pt x="0" y="0"/>
                  </a:moveTo>
                  <a:lnTo>
                    <a:pt x="27" y="9"/>
                  </a:lnTo>
                  <a:lnTo>
                    <a:pt x="45" y="17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1" name="Oval 497">
              <a:extLst>
                <a:ext uri="{FF2B5EF4-FFF2-40B4-BE49-F238E27FC236}">
                  <a16:creationId xmlns:a16="http://schemas.microsoft.com/office/drawing/2014/main" id="{1E5E92E7-9731-4478-9329-7CDCF0B32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4711" y="4188906"/>
              <a:ext cx="2239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2" name="Oval 498">
              <a:extLst>
                <a:ext uri="{FF2B5EF4-FFF2-40B4-BE49-F238E27FC236}">
                  <a16:creationId xmlns:a16="http://schemas.microsoft.com/office/drawing/2014/main" id="{36666599-7E5C-4598-B256-B7086040EC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5282" y="4165377"/>
              <a:ext cx="2127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3" name="Oval 499">
              <a:extLst>
                <a:ext uri="{FF2B5EF4-FFF2-40B4-BE49-F238E27FC236}">
                  <a16:creationId xmlns:a16="http://schemas.microsoft.com/office/drawing/2014/main" id="{0D9776F2-7FDB-458D-8C51-C6E711E2A1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8323" y="3938914"/>
              <a:ext cx="2239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5" name="Line 501">
              <a:extLst>
                <a:ext uri="{FF2B5EF4-FFF2-40B4-BE49-F238E27FC236}">
                  <a16:creationId xmlns:a16="http://schemas.microsoft.com/office/drawing/2014/main" id="{54538762-50F8-4FAE-8A44-4BE73A73B8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5767" y="3808526"/>
              <a:ext cx="17917" cy="54900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6" name="Line 502">
              <a:extLst>
                <a:ext uri="{FF2B5EF4-FFF2-40B4-BE49-F238E27FC236}">
                  <a16:creationId xmlns:a16="http://schemas.microsoft.com/office/drawing/2014/main" id="{F22A7E88-C4AF-4310-A9D2-35E0E2229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0327" y="3809506"/>
              <a:ext cx="19037" cy="53920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7" name="Line 503">
              <a:extLst>
                <a:ext uri="{FF2B5EF4-FFF2-40B4-BE49-F238E27FC236}">
                  <a16:creationId xmlns:a16="http://schemas.microsoft.com/office/drawing/2014/main" id="{969FD08F-595B-4D3C-B02D-310247A3D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54884" y="3857544"/>
              <a:ext cx="42555" cy="1078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8" name="Freeform 504">
              <a:extLst>
                <a:ext uri="{FF2B5EF4-FFF2-40B4-BE49-F238E27FC236}">
                  <a16:creationId xmlns:a16="http://schemas.microsoft.com/office/drawing/2014/main" id="{7B6645CD-CAA4-483D-AB82-11A93E6A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327" y="3784016"/>
              <a:ext cx="85108" cy="19607"/>
            </a:xfrm>
            <a:custGeom>
              <a:avLst/>
              <a:gdLst>
                <a:gd name="T0" fmla="*/ 0 w 70"/>
                <a:gd name="T1" fmla="*/ 2147483647 h 18"/>
                <a:gd name="T2" fmla="*/ 2147483647 w 70"/>
                <a:gd name="T3" fmla="*/ 2147483647 h 18"/>
                <a:gd name="T4" fmla="*/ 2147483647 w 70"/>
                <a:gd name="T5" fmla="*/ 2147483647 h 18"/>
                <a:gd name="T6" fmla="*/ 2147483647 w 70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0"/>
                <a:gd name="T13" fmla="*/ 0 h 18"/>
                <a:gd name="T14" fmla="*/ 70 w 70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0" h="18">
                  <a:moveTo>
                    <a:pt x="0" y="18"/>
                  </a:moveTo>
                  <a:lnTo>
                    <a:pt x="27" y="18"/>
                  </a:lnTo>
                  <a:lnTo>
                    <a:pt x="45" y="2"/>
                  </a:lnTo>
                  <a:lnTo>
                    <a:pt x="7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9" name="Freeform 505">
              <a:extLst>
                <a:ext uri="{FF2B5EF4-FFF2-40B4-BE49-F238E27FC236}">
                  <a16:creationId xmlns:a16="http://schemas.microsoft.com/office/drawing/2014/main" id="{59E946BC-44EE-452E-BD56-0571E573E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753" y="3729117"/>
              <a:ext cx="389709" cy="49999"/>
            </a:xfrm>
            <a:custGeom>
              <a:avLst/>
              <a:gdLst/>
              <a:ahLst/>
              <a:cxnLst>
                <a:cxn ang="0">
                  <a:pos x="0" y="47"/>
                </a:cxn>
                <a:cxn ang="0">
                  <a:pos x="43" y="24"/>
                </a:cxn>
                <a:cxn ang="0">
                  <a:pos x="75" y="0"/>
                </a:cxn>
                <a:cxn ang="0">
                  <a:pos x="135" y="12"/>
                </a:cxn>
                <a:cxn ang="0">
                  <a:pos x="183" y="21"/>
                </a:cxn>
                <a:cxn ang="0">
                  <a:pos x="232" y="9"/>
                </a:cxn>
                <a:cxn ang="0">
                  <a:pos x="276" y="29"/>
                </a:cxn>
                <a:cxn ang="0">
                  <a:pos x="322" y="8"/>
                </a:cxn>
              </a:cxnLst>
              <a:rect l="0" t="0" r="r" b="b"/>
              <a:pathLst>
                <a:path w="322" h="47">
                  <a:moveTo>
                    <a:pt x="0" y="47"/>
                  </a:moveTo>
                  <a:lnTo>
                    <a:pt x="43" y="24"/>
                  </a:lnTo>
                  <a:lnTo>
                    <a:pt x="75" y="0"/>
                  </a:lnTo>
                  <a:lnTo>
                    <a:pt x="135" y="12"/>
                  </a:lnTo>
                  <a:lnTo>
                    <a:pt x="183" y="21"/>
                  </a:lnTo>
                  <a:lnTo>
                    <a:pt x="232" y="9"/>
                  </a:lnTo>
                  <a:lnTo>
                    <a:pt x="276" y="29"/>
                  </a:lnTo>
                  <a:lnTo>
                    <a:pt x="322" y="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0" name="Oval 507">
              <a:extLst>
                <a:ext uri="{FF2B5EF4-FFF2-40B4-BE49-F238E27FC236}">
                  <a16:creationId xmlns:a16="http://schemas.microsoft.com/office/drawing/2014/main" id="{75BAAB11-66E6-4772-BFB2-E3243345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8716" y="3774213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1" name="Oval 508">
              <a:extLst>
                <a:ext uri="{FF2B5EF4-FFF2-40B4-BE49-F238E27FC236}">
                  <a16:creationId xmlns:a16="http://schemas.microsoft.com/office/drawing/2014/main" id="{C5E09949-F656-4DD1-945F-8B31DF7B56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4983" y="3723235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2" name="Freeform 509">
              <a:extLst>
                <a:ext uri="{FF2B5EF4-FFF2-40B4-BE49-F238E27FC236}">
                  <a16:creationId xmlns:a16="http://schemas.microsoft.com/office/drawing/2014/main" id="{281C6599-534D-457E-BA8D-91E7ADE1B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9933" y="3627160"/>
              <a:ext cx="51513" cy="1637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" y="27"/>
                </a:cxn>
                <a:cxn ang="0">
                  <a:pos x="44" y="52"/>
                </a:cxn>
                <a:cxn ang="0">
                  <a:pos x="42" y="78"/>
                </a:cxn>
                <a:cxn ang="0">
                  <a:pos x="30" y="100"/>
                </a:cxn>
                <a:cxn ang="0">
                  <a:pos x="36" y="151"/>
                </a:cxn>
              </a:cxnLst>
              <a:rect l="0" t="0" r="r" b="b"/>
              <a:pathLst>
                <a:path w="44" h="151">
                  <a:moveTo>
                    <a:pt x="0" y="0"/>
                  </a:moveTo>
                  <a:lnTo>
                    <a:pt x="30" y="27"/>
                  </a:lnTo>
                  <a:lnTo>
                    <a:pt x="44" y="52"/>
                  </a:lnTo>
                  <a:lnTo>
                    <a:pt x="42" y="78"/>
                  </a:lnTo>
                  <a:lnTo>
                    <a:pt x="30" y="100"/>
                  </a:lnTo>
                  <a:lnTo>
                    <a:pt x="36" y="151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3" name="Oval 510">
              <a:extLst>
                <a:ext uri="{FF2B5EF4-FFF2-40B4-BE49-F238E27FC236}">
                  <a16:creationId xmlns:a16="http://schemas.microsoft.com/office/drawing/2014/main" id="{928B46CE-C8A7-456F-9965-3740BADD4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4256" y="3613435"/>
              <a:ext cx="2015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4" name="Line 511">
              <a:extLst>
                <a:ext uri="{FF2B5EF4-FFF2-40B4-BE49-F238E27FC236}">
                  <a16:creationId xmlns:a16="http://schemas.microsoft.com/office/drawing/2014/main" id="{0A2FF124-7D43-4C10-9ECD-753CCCE4A0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4650" y="3741862"/>
              <a:ext cx="11199" cy="45097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5" name="Freeform 512">
              <a:extLst>
                <a:ext uri="{FF2B5EF4-FFF2-40B4-BE49-F238E27FC236}">
                  <a16:creationId xmlns:a16="http://schemas.microsoft.com/office/drawing/2014/main" id="{E3F5D869-53CC-47F0-AB0B-C4F1666F2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8082" y="2991886"/>
              <a:ext cx="81749" cy="32352"/>
            </a:xfrm>
            <a:custGeom>
              <a:avLst/>
              <a:gdLst/>
              <a:ahLst/>
              <a:cxnLst>
                <a:cxn ang="0">
                  <a:pos x="68" y="30"/>
                </a:cxn>
                <a:cxn ang="0">
                  <a:pos x="53" y="12"/>
                </a:cxn>
                <a:cxn ang="0">
                  <a:pos x="30" y="0"/>
                </a:cxn>
                <a:cxn ang="0">
                  <a:pos x="0" y="16"/>
                </a:cxn>
              </a:cxnLst>
              <a:rect l="0" t="0" r="r" b="b"/>
              <a:pathLst>
                <a:path w="68" h="30">
                  <a:moveTo>
                    <a:pt x="68" y="30"/>
                  </a:moveTo>
                  <a:lnTo>
                    <a:pt x="53" y="12"/>
                  </a:lnTo>
                  <a:lnTo>
                    <a:pt x="30" y="0"/>
                  </a:lnTo>
                  <a:lnTo>
                    <a:pt x="0" y="16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86" name="Oval 513">
              <a:extLst>
                <a:ext uri="{FF2B5EF4-FFF2-40B4-BE49-F238E27FC236}">
                  <a16:creationId xmlns:a16="http://schemas.microsoft.com/office/drawing/2014/main" id="{E0BF62D8-DD98-4CCA-9DD7-3D3D559B7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0874" y="3015414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7" name="Line 514">
              <a:extLst>
                <a:ext uri="{FF2B5EF4-FFF2-40B4-BE49-F238E27FC236}">
                  <a16:creationId xmlns:a16="http://schemas.microsoft.com/office/drawing/2014/main" id="{E9F74F34-184A-4EAD-8D40-CBF041BA37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96411" y="2975220"/>
              <a:ext cx="38075" cy="19607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88" name="Freeform 515">
              <a:extLst>
                <a:ext uri="{FF2B5EF4-FFF2-40B4-BE49-F238E27FC236}">
                  <a16:creationId xmlns:a16="http://schemas.microsoft.com/office/drawing/2014/main" id="{85D70DA0-389E-45BF-AFC4-5E49C2F11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3524" y="3007572"/>
              <a:ext cx="568884" cy="733309"/>
            </a:xfrm>
            <a:custGeom>
              <a:avLst/>
              <a:gdLst>
                <a:gd name="T0" fmla="*/ 0 w 471"/>
                <a:gd name="T1" fmla="*/ 0 h 678"/>
                <a:gd name="T2" fmla="*/ 2147483647 w 471"/>
                <a:gd name="T3" fmla="*/ 2147483647 h 678"/>
                <a:gd name="T4" fmla="*/ 2147483647 w 471"/>
                <a:gd name="T5" fmla="*/ 2147483647 h 678"/>
                <a:gd name="T6" fmla="*/ 2147483647 w 471"/>
                <a:gd name="T7" fmla="*/ 2147483647 h 678"/>
                <a:gd name="T8" fmla="*/ 2147483647 w 471"/>
                <a:gd name="T9" fmla="*/ 2147483647 h 678"/>
                <a:gd name="T10" fmla="*/ 2147483647 w 471"/>
                <a:gd name="T11" fmla="*/ 2147483647 h 6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71"/>
                <a:gd name="T19" fmla="*/ 0 h 678"/>
                <a:gd name="T20" fmla="*/ 471 w 471"/>
                <a:gd name="T21" fmla="*/ 678 h 67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71" h="678">
                  <a:moveTo>
                    <a:pt x="0" y="0"/>
                  </a:moveTo>
                  <a:lnTo>
                    <a:pt x="137" y="90"/>
                  </a:lnTo>
                  <a:lnTo>
                    <a:pt x="246" y="289"/>
                  </a:lnTo>
                  <a:lnTo>
                    <a:pt x="394" y="436"/>
                  </a:lnTo>
                  <a:lnTo>
                    <a:pt x="409" y="588"/>
                  </a:lnTo>
                  <a:lnTo>
                    <a:pt x="471" y="678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89" name="Oval 516">
              <a:extLst>
                <a:ext uri="{FF2B5EF4-FFF2-40B4-BE49-F238E27FC236}">
                  <a16:creationId xmlns:a16="http://schemas.microsoft.com/office/drawing/2014/main" id="{B8D22902-635A-437D-8389-57E95414A9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2247" y="2986004"/>
              <a:ext cx="2463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0" name="Oval 517">
              <a:extLst>
                <a:ext uri="{FF2B5EF4-FFF2-40B4-BE49-F238E27FC236}">
                  <a16:creationId xmlns:a16="http://schemas.microsoft.com/office/drawing/2014/main" id="{4464984B-D914-466F-ABA9-F4B1D338A9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0169" y="3728137"/>
              <a:ext cx="2015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1" name="Line 518">
              <a:extLst>
                <a:ext uri="{FF2B5EF4-FFF2-40B4-BE49-F238E27FC236}">
                  <a16:creationId xmlns:a16="http://schemas.microsoft.com/office/drawing/2014/main" id="{1503A2CD-F9DE-4170-95FA-F12B3BC7D0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24409" y="2618369"/>
              <a:ext cx="71671" cy="52940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92" name="Oval 519">
              <a:extLst>
                <a:ext uri="{FF2B5EF4-FFF2-40B4-BE49-F238E27FC236}">
                  <a16:creationId xmlns:a16="http://schemas.microsoft.com/office/drawing/2014/main" id="{6D8CB336-201F-40C3-AD3A-D1A29F0FB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7611" y="2603663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3" name="Line 520">
              <a:extLst>
                <a:ext uri="{FF2B5EF4-FFF2-40B4-BE49-F238E27FC236}">
                  <a16:creationId xmlns:a16="http://schemas.microsoft.com/office/drawing/2014/main" id="{BA01F82D-08FC-496F-81D6-2FBBC6D7A8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6078" y="2613467"/>
              <a:ext cx="3359" cy="56861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94" name="Oval 521">
              <a:extLst>
                <a:ext uri="{FF2B5EF4-FFF2-40B4-BE49-F238E27FC236}">
                  <a16:creationId xmlns:a16="http://schemas.microsoft.com/office/drawing/2014/main" id="{445AF7FF-9440-44E6-A734-0A6F4A4174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4880" y="2598761"/>
              <a:ext cx="2239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5" name="Line 522">
              <a:extLst>
                <a:ext uri="{FF2B5EF4-FFF2-40B4-BE49-F238E27FC236}">
                  <a16:creationId xmlns:a16="http://schemas.microsoft.com/office/drawing/2014/main" id="{B086689F-0898-40BC-B6D4-0A569EB783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07277" y="2683073"/>
              <a:ext cx="89588" cy="42155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96" name="Freeform 524">
              <a:extLst>
                <a:ext uri="{FF2B5EF4-FFF2-40B4-BE49-F238E27FC236}">
                  <a16:creationId xmlns:a16="http://schemas.microsoft.com/office/drawing/2014/main" id="{1594799D-DED6-4B7D-A038-79FA46C34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5292" y="2804638"/>
              <a:ext cx="29117" cy="158818"/>
            </a:xfrm>
            <a:custGeom>
              <a:avLst/>
              <a:gdLst>
                <a:gd name="T0" fmla="*/ 0 w 24"/>
                <a:gd name="T1" fmla="*/ 2147483647 h 147"/>
                <a:gd name="T2" fmla="*/ 2147483647 w 24"/>
                <a:gd name="T3" fmla="*/ 2147483647 h 147"/>
                <a:gd name="T4" fmla="*/ 2147483647 w 24"/>
                <a:gd name="T5" fmla="*/ 0 h 147"/>
                <a:gd name="T6" fmla="*/ 0 60000 65536"/>
                <a:gd name="T7" fmla="*/ 0 60000 65536"/>
                <a:gd name="T8" fmla="*/ 0 60000 65536"/>
                <a:gd name="T9" fmla="*/ 0 w 24"/>
                <a:gd name="T10" fmla="*/ 0 h 147"/>
                <a:gd name="T11" fmla="*/ 24 w 24"/>
                <a:gd name="T12" fmla="*/ 147 h 14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" h="147">
                  <a:moveTo>
                    <a:pt x="0" y="147"/>
                  </a:moveTo>
                  <a:lnTo>
                    <a:pt x="12" y="48"/>
                  </a:lnTo>
                  <a:lnTo>
                    <a:pt x="24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97" name="Freeform 525">
              <a:extLst>
                <a:ext uri="{FF2B5EF4-FFF2-40B4-BE49-F238E27FC236}">
                  <a16:creationId xmlns:a16="http://schemas.microsoft.com/office/drawing/2014/main" id="{788CA99D-544C-43F7-B67C-F1B7113D0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769" y="2686993"/>
              <a:ext cx="68311" cy="103918"/>
            </a:xfrm>
            <a:custGeom>
              <a:avLst/>
              <a:gdLst>
                <a:gd name="T0" fmla="*/ 0 w 57"/>
                <a:gd name="T1" fmla="*/ 2147483647 h 96"/>
                <a:gd name="T2" fmla="*/ 2147483647 w 57"/>
                <a:gd name="T3" fmla="*/ 2147483647 h 96"/>
                <a:gd name="T4" fmla="*/ 2147483647 w 57"/>
                <a:gd name="T5" fmla="*/ 0 h 96"/>
                <a:gd name="T6" fmla="*/ 0 60000 65536"/>
                <a:gd name="T7" fmla="*/ 0 60000 65536"/>
                <a:gd name="T8" fmla="*/ 0 60000 65536"/>
                <a:gd name="T9" fmla="*/ 0 w 57"/>
                <a:gd name="T10" fmla="*/ 0 h 96"/>
                <a:gd name="T11" fmla="*/ 57 w 57"/>
                <a:gd name="T12" fmla="*/ 96 h 9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7" h="96">
                  <a:moveTo>
                    <a:pt x="0" y="96"/>
                  </a:moveTo>
                  <a:lnTo>
                    <a:pt x="48" y="39"/>
                  </a:lnTo>
                  <a:lnTo>
                    <a:pt x="57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98" name="Oval 526">
              <a:extLst>
                <a:ext uri="{FF2B5EF4-FFF2-40B4-BE49-F238E27FC236}">
                  <a16:creationId xmlns:a16="http://schemas.microsoft.com/office/drawing/2014/main" id="{29CDB1E8-EA9D-43FF-A71E-53414FB05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4880" y="2666406"/>
              <a:ext cx="25756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9" name="Oval 527">
              <a:extLst>
                <a:ext uri="{FF2B5EF4-FFF2-40B4-BE49-F238E27FC236}">
                  <a16:creationId xmlns:a16="http://schemas.microsoft.com/office/drawing/2014/main" id="{825F303C-DF77-4848-8C6F-BB92F420C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2091" y="2789932"/>
              <a:ext cx="2127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0" name="Oval 528">
              <a:extLst>
                <a:ext uri="{FF2B5EF4-FFF2-40B4-BE49-F238E27FC236}">
                  <a16:creationId xmlns:a16="http://schemas.microsoft.com/office/drawing/2014/main" id="{BF0031C4-94EA-437B-8ECE-C612971F18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1855" y="2960514"/>
              <a:ext cx="2015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1" name="Line 529">
              <a:extLst>
                <a:ext uri="{FF2B5EF4-FFF2-40B4-BE49-F238E27FC236}">
                  <a16:creationId xmlns:a16="http://schemas.microsoft.com/office/drawing/2014/main" id="{0982B216-026D-4C3B-9749-3069C24AF0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5086" y="2415435"/>
              <a:ext cx="64951" cy="5882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2" name="Oval 530">
              <a:extLst>
                <a:ext uri="{FF2B5EF4-FFF2-40B4-BE49-F238E27FC236}">
                  <a16:creationId xmlns:a16="http://schemas.microsoft.com/office/drawing/2014/main" id="{A79C813E-24AF-4168-9B51-39BA125EB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7168" y="2403670"/>
              <a:ext cx="1903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3" name="Oval 531">
              <a:extLst>
                <a:ext uri="{FF2B5EF4-FFF2-40B4-BE49-F238E27FC236}">
                  <a16:creationId xmlns:a16="http://schemas.microsoft.com/office/drawing/2014/main" id="{95847F82-0882-494B-A491-AA1FC305DC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0037" y="2411513"/>
              <a:ext cx="2463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4" name="Oval 532">
              <a:extLst>
                <a:ext uri="{FF2B5EF4-FFF2-40B4-BE49-F238E27FC236}">
                  <a16:creationId xmlns:a16="http://schemas.microsoft.com/office/drawing/2014/main" id="{83C9B169-9F42-4CD7-B78B-3DFCF80E49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0295" y="2690914"/>
              <a:ext cx="2239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5" name="Oval 533">
              <a:extLst>
                <a:ext uri="{FF2B5EF4-FFF2-40B4-BE49-F238E27FC236}">
                  <a16:creationId xmlns:a16="http://schemas.microsoft.com/office/drawing/2014/main" id="{5DF13472-92AD-4D2B-BC07-4F00EC2840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591" y="2766402"/>
              <a:ext cx="2687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6" name="Line 534">
              <a:extLst>
                <a:ext uri="{FF2B5EF4-FFF2-40B4-BE49-F238E27FC236}">
                  <a16:creationId xmlns:a16="http://schemas.microsoft.com/office/drawing/2014/main" id="{27603B31-06D3-4902-89BE-598E0EF3A3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233008" y="2709542"/>
              <a:ext cx="81748" cy="1274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7" name="Oval 535">
              <a:extLst>
                <a:ext uri="{FF2B5EF4-FFF2-40B4-BE49-F238E27FC236}">
                  <a16:creationId xmlns:a16="http://schemas.microsoft.com/office/drawing/2014/main" id="{1D7D66C1-096D-43E7-A9AD-D483CDAC43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0278" y="2716406"/>
              <a:ext cx="2127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8" name="Line 536">
              <a:extLst>
                <a:ext uri="{FF2B5EF4-FFF2-40B4-BE49-F238E27FC236}">
                  <a16:creationId xmlns:a16="http://schemas.microsoft.com/office/drawing/2014/main" id="{FD68D52F-C8FB-4FDA-86B5-E1B6073B43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53311" y="2208579"/>
              <a:ext cx="44793" cy="20587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09" name="Line 537">
              <a:extLst>
                <a:ext uri="{FF2B5EF4-FFF2-40B4-BE49-F238E27FC236}">
                  <a16:creationId xmlns:a16="http://schemas.microsoft.com/office/drawing/2014/main" id="{0E84269E-BEED-4086-BFCC-340F889494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78282" y="2211519"/>
              <a:ext cx="59352" cy="15685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0" name="Oval 538">
              <a:extLst>
                <a:ext uri="{FF2B5EF4-FFF2-40B4-BE49-F238E27FC236}">
                  <a16:creationId xmlns:a16="http://schemas.microsoft.com/office/drawing/2014/main" id="{24AA24F7-9A8C-4C25-B371-D8524DC38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2033" y="2221323"/>
              <a:ext cx="2687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1" name="Oval 539">
              <a:extLst>
                <a:ext uri="{FF2B5EF4-FFF2-40B4-BE49-F238E27FC236}">
                  <a16:creationId xmlns:a16="http://schemas.microsoft.com/office/drawing/2014/main" id="{2A8DFE79-33BC-4F01-832A-9F6A3C4591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963" y="2197795"/>
              <a:ext cx="1903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2" name="Oval 540">
              <a:extLst>
                <a:ext uri="{FF2B5EF4-FFF2-40B4-BE49-F238E27FC236}">
                  <a16:creationId xmlns:a16="http://schemas.microsoft.com/office/drawing/2014/main" id="{C6480F5C-631E-4CF0-AFF9-397AE51B90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4230" y="4153612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3" name="Oval 541">
              <a:extLst>
                <a:ext uri="{FF2B5EF4-FFF2-40B4-BE49-F238E27FC236}">
                  <a16:creationId xmlns:a16="http://schemas.microsoft.com/office/drawing/2014/main" id="{26174221-2262-4612-9EF1-147E1A6B7A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1319" y="2265439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4" name="Oval 542">
              <a:extLst>
                <a:ext uri="{FF2B5EF4-FFF2-40B4-BE49-F238E27FC236}">
                  <a16:creationId xmlns:a16="http://schemas.microsoft.com/office/drawing/2014/main" id="{C1FB133F-46BF-43B3-93EC-C1D76E7B3A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8667" y="2142895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5" name="Freeform 543">
              <a:extLst>
                <a:ext uri="{FF2B5EF4-FFF2-40B4-BE49-F238E27FC236}">
                  <a16:creationId xmlns:a16="http://schemas.microsoft.com/office/drawing/2014/main" id="{6704C907-EBB1-4071-A81D-EE9F25E80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347" y="1957606"/>
              <a:ext cx="45915" cy="111761"/>
            </a:xfrm>
            <a:custGeom>
              <a:avLst/>
              <a:gdLst>
                <a:gd name="T0" fmla="*/ 0 w 35"/>
                <a:gd name="T1" fmla="*/ 2147483647 h 104"/>
                <a:gd name="T2" fmla="*/ 2147483647 w 35"/>
                <a:gd name="T3" fmla="*/ 2147483647 h 104"/>
                <a:gd name="T4" fmla="*/ 2147483647 w 35"/>
                <a:gd name="T5" fmla="*/ 2147483647 h 104"/>
                <a:gd name="T6" fmla="*/ 2147483647 w 35"/>
                <a:gd name="T7" fmla="*/ 2147483647 h 104"/>
                <a:gd name="T8" fmla="*/ 2147483647 w 35"/>
                <a:gd name="T9" fmla="*/ 2147483647 h 104"/>
                <a:gd name="T10" fmla="*/ 2147483647 w 35"/>
                <a:gd name="T11" fmla="*/ 2147483647 h 104"/>
                <a:gd name="T12" fmla="*/ 2147483647 w 35"/>
                <a:gd name="T13" fmla="*/ 2147483647 h 104"/>
                <a:gd name="T14" fmla="*/ 2147483647 w 35"/>
                <a:gd name="T15" fmla="*/ 2147483647 h 104"/>
                <a:gd name="T16" fmla="*/ 2147483647 w 35"/>
                <a:gd name="T17" fmla="*/ 0 h 1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"/>
                <a:gd name="T28" fmla="*/ 0 h 104"/>
                <a:gd name="T29" fmla="*/ 35 w 35"/>
                <a:gd name="T30" fmla="*/ 104 h 10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" h="104">
                  <a:moveTo>
                    <a:pt x="0" y="104"/>
                  </a:moveTo>
                  <a:lnTo>
                    <a:pt x="3" y="101"/>
                  </a:lnTo>
                  <a:lnTo>
                    <a:pt x="8" y="97"/>
                  </a:lnTo>
                  <a:lnTo>
                    <a:pt x="19" y="86"/>
                  </a:lnTo>
                  <a:lnTo>
                    <a:pt x="24" y="80"/>
                  </a:lnTo>
                  <a:lnTo>
                    <a:pt x="29" y="73"/>
                  </a:lnTo>
                  <a:lnTo>
                    <a:pt x="33" y="67"/>
                  </a:lnTo>
                  <a:lnTo>
                    <a:pt x="35" y="60"/>
                  </a:lnTo>
                  <a:lnTo>
                    <a:pt x="19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6" name="Oval 544">
              <a:extLst>
                <a:ext uri="{FF2B5EF4-FFF2-40B4-BE49-F238E27FC236}">
                  <a16:creationId xmlns:a16="http://schemas.microsoft.com/office/drawing/2014/main" id="{9EC2BDB6-B2ED-4C56-B854-44066EB2A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6948" y="1943881"/>
              <a:ext cx="2463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7" name="Line 545">
              <a:extLst>
                <a:ext uri="{FF2B5EF4-FFF2-40B4-BE49-F238E27FC236}">
                  <a16:creationId xmlns:a16="http://schemas.microsoft.com/office/drawing/2014/main" id="{0569FE31-1DF0-480F-BC78-C3EBB555BD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23168" y="2991886"/>
              <a:ext cx="42555" cy="46077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8" name="Freeform 546">
              <a:extLst>
                <a:ext uri="{FF2B5EF4-FFF2-40B4-BE49-F238E27FC236}">
                  <a16:creationId xmlns:a16="http://schemas.microsoft.com/office/drawing/2014/main" id="{0199D451-6B8D-4CA0-8931-5D61A08CA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2520" y="2933065"/>
              <a:ext cx="119824" cy="48038"/>
            </a:xfrm>
            <a:custGeom>
              <a:avLst/>
              <a:gdLst>
                <a:gd name="T0" fmla="*/ 0 w 114"/>
                <a:gd name="T1" fmla="*/ 2147483647 h 49"/>
                <a:gd name="T2" fmla="*/ 2147483647 w 114"/>
                <a:gd name="T3" fmla="*/ 2147483647 h 49"/>
                <a:gd name="T4" fmla="*/ 2147483647 w 114"/>
                <a:gd name="T5" fmla="*/ 0 h 49"/>
                <a:gd name="T6" fmla="*/ 0 60000 65536"/>
                <a:gd name="T7" fmla="*/ 0 60000 65536"/>
                <a:gd name="T8" fmla="*/ 0 60000 65536"/>
                <a:gd name="T9" fmla="*/ 0 w 114"/>
                <a:gd name="T10" fmla="*/ 0 h 49"/>
                <a:gd name="T11" fmla="*/ 114 w 114"/>
                <a:gd name="T12" fmla="*/ 49 h 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4" h="49">
                  <a:moveTo>
                    <a:pt x="0" y="49"/>
                  </a:moveTo>
                  <a:lnTo>
                    <a:pt x="51" y="25"/>
                  </a:lnTo>
                  <a:lnTo>
                    <a:pt x="114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9" name="Oval 547">
              <a:extLst>
                <a:ext uri="{FF2B5EF4-FFF2-40B4-BE49-F238E27FC236}">
                  <a16:creationId xmlns:a16="http://schemas.microsoft.com/office/drawing/2014/main" id="{72DF65B9-B8FF-4E05-815A-1C0FF7CD6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6371" y="3032081"/>
              <a:ext cx="25756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0" name="Oval 548">
              <a:extLst>
                <a:ext uri="{FF2B5EF4-FFF2-40B4-BE49-F238E27FC236}">
                  <a16:creationId xmlns:a16="http://schemas.microsoft.com/office/drawing/2014/main" id="{1B635E2B-AC99-4D28-A3E9-8B72D9384A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3011" y="2962475"/>
              <a:ext cx="25757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1" name="Oval 549">
              <a:extLst>
                <a:ext uri="{FF2B5EF4-FFF2-40B4-BE49-F238E27FC236}">
                  <a16:creationId xmlns:a16="http://schemas.microsoft.com/office/drawing/2014/main" id="{F6500AB4-296D-4868-A32C-4C9474A8B1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7885" y="2973259"/>
              <a:ext cx="27996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2" name="Oval 550">
              <a:extLst>
                <a:ext uri="{FF2B5EF4-FFF2-40B4-BE49-F238E27FC236}">
                  <a16:creationId xmlns:a16="http://schemas.microsoft.com/office/drawing/2014/main" id="{7ABF1E85-ECD1-479B-B74C-7757F4836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7866" y="2920319"/>
              <a:ext cx="24637" cy="2352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3" name="Line 551">
              <a:extLst>
                <a:ext uri="{FF2B5EF4-FFF2-40B4-BE49-F238E27FC236}">
                  <a16:creationId xmlns:a16="http://schemas.microsoft.com/office/drawing/2014/main" id="{B07C0CC8-B6B7-4010-874E-A2C9525F94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2979" y="3786959"/>
              <a:ext cx="72789" cy="8823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4" name="Oval 552">
              <a:extLst>
                <a:ext uri="{FF2B5EF4-FFF2-40B4-BE49-F238E27FC236}">
                  <a16:creationId xmlns:a16="http://schemas.microsoft.com/office/drawing/2014/main" id="{DFF922DB-41F5-4AA7-AA05-D0C0489668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2820" y="3776174"/>
              <a:ext cx="25756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5" name="Oval 553">
              <a:extLst>
                <a:ext uri="{FF2B5EF4-FFF2-40B4-BE49-F238E27FC236}">
                  <a16:creationId xmlns:a16="http://schemas.microsoft.com/office/drawing/2014/main" id="{90449859-D25F-4F55-A4B7-86EACA1FF7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7930" y="3787938"/>
              <a:ext cx="27996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6" name="Freeform 554">
              <a:extLst>
                <a:ext uri="{FF2B5EF4-FFF2-40B4-BE49-F238E27FC236}">
                  <a16:creationId xmlns:a16="http://schemas.microsoft.com/office/drawing/2014/main" id="{014F000C-5C28-4C52-BDF7-958553A01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1349" y="2063485"/>
              <a:ext cx="61592" cy="7843"/>
            </a:xfrm>
            <a:custGeom>
              <a:avLst/>
              <a:gdLst>
                <a:gd name="T0" fmla="*/ 0 w 60"/>
                <a:gd name="T1" fmla="*/ 0 h 9"/>
                <a:gd name="T2" fmla="*/ 2147483647 w 60"/>
                <a:gd name="T3" fmla="*/ 2147483647 h 9"/>
                <a:gd name="T4" fmla="*/ 2147483647 w 60"/>
                <a:gd name="T5" fmla="*/ 2147483647 h 9"/>
                <a:gd name="T6" fmla="*/ 2147483647 w 60"/>
                <a:gd name="T7" fmla="*/ 2147483647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0"/>
                <a:gd name="T13" fmla="*/ 0 h 9"/>
                <a:gd name="T14" fmla="*/ 60 w 60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0" h="9">
                  <a:moveTo>
                    <a:pt x="0" y="0"/>
                  </a:moveTo>
                  <a:lnTo>
                    <a:pt x="3" y="4"/>
                  </a:lnTo>
                  <a:lnTo>
                    <a:pt x="60" y="9"/>
                  </a:lnTo>
                  <a:lnTo>
                    <a:pt x="57" y="9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7" name="Oval 556">
              <a:extLst>
                <a:ext uri="{FF2B5EF4-FFF2-40B4-BE49-F238E27FC236}">
                  <a16:creationId xmlns:a16="http://schemas.microsoft.com/office/drawing/2014/main" id="{A815FA40-4EFE-4200-AB8F-88B5F9F3B5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4245" y="3971266"/>
              <a:ext cx="26877" cy="2352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8" name="Freeform 557">
              <a:extLst>
                <a:ext uri="{FF2B5EF4-FFF2-40B4-BE49-F238E27FC236}">
                  <a16:creationId xmlns:a16="http://schemas.microsoft.com/office/drawing/2014/main" id="{2D63AFC9-ECDC-48A2-98FD-0B771FA3B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9428" y="4226158"/>
              <a:ext cx="32476" cy="35293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" y="26"/>
                </a:cxn>
                <a:cxn ang="0">
                  <a:pos x="5" y="22"/>
                </a:cxn>
                <a:cxn ang="0">
                  <a:pos x="11" y="14"/>
                </a:cxn>
                <a:cxn ang="0">
                  <a:pos x="18" y="6"/>
                </a:cxn>
                <a:cxn ang="0">
                  <a:pos x="21" y="3"/>
                </a:cxn>
                <a:cxn ang="0">
                  <a:pos x="23" y="0"/>
                </a:cxn>
              </a:cxnLst>
              <a:rect l="0" t="0" r="r" b="b"/>
              <a:pathLst>
                <a:path w="23" h="28">
                  <a:moveTo>
                    <a:pt x="0" y="28"/>
                  </a:moveTo>
                  <a:lnTo>
                    <a:pt x="2" y="26"/>
                  </a:lnTo>
                  <a:lnTo>
                    <a:pt x="5" y="22"/>
                  </a:lnTo>
                  <a:lnTo>
                    <a:pt x="11" y="14"/>
                  </a:lnTo>
                  <a:lnTo>
                    <a:pt x="18" y="6"/>
                  </a:lnTo>
                  <a:lnTo>
                    <a:pt x="21" y="3"/>
                  </a:lnTo>
                  <a:lnTo>
                    <a:pt x="23" y="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29" name="Freeform 558">
              <a:extLst>
                <a:ext uri="{FF2B5EF4-FFF2-40B4-BE49-F238E27FC236}">
                  <a16:creationId xmlns:a16="http://schemas.microsoft.com/office/drawing/2014/main" id="{D5AA93AD-A296-4315-A05B-2EDA8B1BAA74}"/>
                </a:ext>
              </a:extLst>
            </p:cNvPr>
            <p:cNvSpPr>
              <a:spLocks/>
            </p:cNvSpPr>
            <p:nvPr/>
          </p:nvSpPr>
          <p:spPr bwMode="auto">
            <a:xfrm rot="20229980" flipV="1">
              <a:off x="6486148" y="4257531"/>
              <a:ext cx="39193" cy="25489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" y="26"/>
                </a:cxn>
                <a:cxn ang="0">
                  <a:pos x="5" y="22"/>
                </a:cxn>
                <a:cxn ang="0">
                  <a:pos x="11" y="14"/>
                </a:cxn>
                <a:cxn ang="0">
                  <a:pos x="18" y="6"/>
                </a:cxn>
                <a:cxn ang="0">
                  <a:pos x="21" y="3"/>
                </a:cxn>
                <a:cxn ang="0">
                  <a:pos x="23" y="0"/>
                </a:cxn>
              </a:cxnLst>
              <a:rect l="0" t="0" r="r" b="b"/>
              <a:pathLst>
                <a:path w="23" h="28">
                  <a:moveTo>
                    <a:pt x="0" y="28"/>
                  </a:moveTo>
                  <a:lnTo>
                    <a:pt x="2" y="26"/>
                  </a:lnTo>
                  <a:lnTo>
                    <a:pt x="5" y="22"/>
                  </a:lnTo>
                  <a:lnTo>
                    <a:pt x="11" y="14"/>
                  </a:lnTo>
                  <a:lnTo>
                    <a:pt x="18" y="6"/>
                  </a:lnTo>
                  <a:lnTo>
                    <a:pt x="21" y="3"/>
                  </a:lnTo>
                  <a:lnTo>
                    <a:pt x="23" y="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30" name="Line 559">
              <a:extLst>
                <a:ext uri="{FF2B5EF4-FFF2-40B4-BE49-F238E27FC236}">
                  <a16:creationId xmlns:a16="http://schemas.microsoft.com/office/drawing/2014/main" id="{FA0E43D8-F3D6-4756-A9FB-97D8143746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61550" y="2969337"/>
              <a:ext cx="83989" cy="23528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31" name="Freeform 560">
              <a:extLst>
                <a:ext uri="{FF2B5EF4-FFF2-40B4-BE49-F238E27FC236}">
                  <a16:creationId xmlns:a16="http://schemas.microsoft.com/office/drawing/2014/main" id="{EF9CC00D-9880-4307-A070-BAB9CE235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095" y="5841792"/>
              <a:ext cx="83988" cy="18627"/>
            </a:xfrm>
            <a:custGeom>
              <a:avLst/>
              <a:gdLst>
                <a:gd name="T0" fmla="*/ 0 w 63"/>
                <a:gd name="T1" fmla="*/ 0 h 17"/>
                <a:gd name="T2" fmla="*/ 2147483647 w 63"/>
                <a:gd name="T3" fmla="*/ 2147483647 h 17"/>
                <a:gd name="T4" fmla="*/ 2147483647 w 63"/>
                <a:gd name="T5" fmla="*/ 2147483647 h 17"/>
                <a:gd name="T6" fmla="*/ 2147483647 w 63"/>
                <a:gd name="T7" fmla="*/ 2147483647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3"/>
                <a:gd name="T13" fmla="*/ 0 h 17"/>
                <a:gd name="T14" fmla="*/ 63 w 63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3" h="17">
                  <a:moveTo>
                    <a:pt x="0" y="0"/>
                  </a:moveTo>
                  <a:cubicBezTo>
                    <a:pt x="8" y="2"/>
                    <a:pt x="15" y="1"/>
                    <a:pt x="23" y="3"/>
                  </a:cubicBezTo>
                  <a:cubicBezTo>
                    <a:pt x="29" y="4"/>
                    <a:pt x="32" y="15"/>
                    <a:pt x="39" y="16"/>
                  </a:cubicBezTo>
                  <a:cubicBezTo>
                    <a:pt x="47" y="17"/>
                    <a:pt x="55" y="16"/>
                    <a:pt x="63" y="16"/>
                  </a:cubicBez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2" name="Freeform 561">
              <a:extLst>
                <a:ext uri="{FF2B5EF4-FFF2-40B4-BE49-F238E27FC236}">
                  <a16:creationId xmlns:a16="http://schemas.microsoft.com/office/drawing/2014/main" id="{7E91DD1F-50D5-464D-81DA-621380DD0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360" y="3865387"/>
              <a:ext cx="66071" cy="29410"/>
            </a:xfrm>
            <a:custGeom>
              <a:avLst/>
              <a:gdLst/>
              <a:ahLst/>
              <a:cxnLst>
                <a:cxn ang="0">
                  <a:pos x="54" y="28"/>
                </a:cxn>
                <a:cxn ang="0">
                  <a:pos x="34" y="16"/>
                </a:cxn>
                <a:cxn ang="0">
                  <a:pos x="0" y="0"/>
                </a:cxn>
              </a:cxnLst>
              <a:rect l="0" t="0" r="r" b="b"/>
              <a:pathLst>
                <a:path w="54" h="28">
                  <a:moveTo>
                    <a:pt x="54" y="28"/>
                  </a:moveTo>
                  <a:lnTo>
                    <a:pt x="34" y="16"/>
                  </a:lnTo>
                  <a:lnTo>
                    <a:pt x="0" y="0"/>
                  </a:lnTo>
                </a:path>
              </a:pathLst>
            </a:custGeom>
            <a:noFill/>
            <a:ln w="1587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33" name="Oval 562">
              <a:extLst>
                <a:ext uri="{FF2B5EF4-FFF2-40B4-BE49-F238E27FC236}">
                  <a16:creationId xmlns:a16="http://schemas.microsoft.com/office/drawing/2014/main" id="{08262A5E-634A-44F8-8B7A-D099B4FAB7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43353" y="3883032"/>
              <a:ext cx="1903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4" name="Freeform 563">
              <a:extLst>
                <a:ext uri="{FF2B5EF4-FFF2-40B4-BE49-F238E27FC236}">
                  <a16:creationId xmlns:a16="http://schemas.microsoft.com/office/drawing/2014/main" id="{F524BF26-F6BF-4E04-B316-E096E654F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2299" y="3984010"/>
              <a:ext cx="122063" cy="114703"/>
            </a:xfrm>
            <a:custGeom>
              <a:avLst/>
              <a:gdLst>
                <a:gd name="T0" fmla="*/ 0 w 103"/>
                <a:gd name="T1" fmla="*/ 0 h 106"/>
                <a:gd name="T2" fmla="*/ 2147483647 w 103"/>
                <a:gd name="T3" fmla="*/ 2147483647 h 106"/>
                <a:gd name="T4" fmla="*/ 2147483647 w 103"/>
                <a:gd name="T5" fmla="*/ 2147483647 h 106"/>
                <a:gd name="T6" fmla="*/ 2147483647 w 103"/>
                <a:gd name="T7" fmla="*/ 2147483647 h 106"/>
                <a:gd name="T8" fmla="*/ 2147483647 w 103"/>
                <a:gd name="T9" fmla="*/ 2147483647 h 1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3"/>
                <a:gd name="T16" fmla="*/ 0 h 106"/>
                <a:gd name="T17" fmla="*/ 103 w 103"/>
                <a:gd name="T18" fmla="*/ 106 h 1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3" h="106">
                  <a:moveTo>
                    <a:pt x="0" y="0"/>
                  </a:moveTo>
                  <a:lnTo>
                    <a:pt x="36" y="8"/>
                  </a:lnTo>
                  <a:lnTo>
                    <a:pt x="53" y="40"/>
                  </a:lnTo>
                  <a:lnTo>
                    <a:pt x="85" y="58"/>
                  </a:lnTo>
                  <a:lnTo>
                    <a:pt x="103" y="106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5" name="Freeform 565">
              <a:extLst>
                <a:ext uri="{FF2B5EF4-FFF2-40B4-BE49-F238E27FC236}">
                  <a16:creationId xmlns:a16="http://schemas.microsoft.com/office/drawing/2014/main" id="{F7F29BFF-2626-4424-85CE-45948E25D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0883" y="1941920"/>
              <a:ext cx="94068" cy="202934"/>
            </a:xfrm>
            <a:custGeom>
              <a:avLst/>
              <a:gdLst>
                <a:gd name="T0" fmla="*/ 2147483647 w 78"/>
                <a:gd name="T1" fmla="*/ 2147483647 h 188"/>
                <a:gd name="T2" fmla="*/ 2147483647 w 78"/>
                <a:gd name="T3" fmla="*/ 2147483647 h 188"/>
                <a:gd name="T4" fmla="*/ 2147483647 w 78"/>
                <a:gd name="T5" fmla="*/ 2147483647 h 188"/>
                <a:gd name="T6" fmla="*/ 2147483647 w 78"/>
                <a:gd name="T7" fmla="*/ 2147483647 h 188"/>
                <a:gd name="T8" fmla="*/ 2147483647 w 78"/>
                <a:gd name="T9" fmla="*/ 2147483647 h 188"/>
                <a:gd name="T10" fmla="*/ 2147483647 w 78"/>
                <a:gd name="T11" fmla="*/ 2147483647 h 188"/>
                <a:gd name="T12" fmla="*/ 2147483647 w 78"/>
                <a:gd name="T13" fmla="*/ 2147483647 h 188"/>
                <a:gd name="T14" fmla="*/ 2147483647 w 78"/>
                <a:gd name="T15" fmla="*/ 2147483647 h 188"/>
                <a:gd name="T16" fmla="*/ 2147483647 w 78"/>
                <a:gd name="T17" fmla="*/ 2147483647 h 188"/>
                <a:gd name="T18" fmla="*/ 2147483647 w 78"/>
                <a:gd name="T19" fmla="*/ 2147483647 h 188"/>
                <a:gd name="T20" fmla="*/ 2147483647 w 78"/>
                <a:gd name="T21" fmla="*/ 2147483647 h 188"/>
                <a:gd name="T22" fmla="*/ 2147483647 w 78"/>
                <a:gd name="T23" fmla="*/ 2147483647 h 188"/>
                <a:gd name="T24" fmla="*/ 2147483647 w 78"/>
                <a:gd name="T25" fmla="*/ 2147483647 h 188"/>
                <a:gd name="T26" fmla="*/ 2147483647 w 78"/>
                <a:gd name="T27" fmla="*/ 2147483647 h 188"/>
                <a:gd name="T28" fmla="*/ 0 w 78"/>
                <a:gd name="T29" fmla="*/ 2147483647 h 188"/>
                <a:gd name="T30" fmla="*/ 2147483647 w 78"/>
                <a:gd name="T31" fmla="*/ 0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8"/>
                <a:gd name="T49" fmla="*/ 0 h 188"/>
                <a:gd name="T50" fmla="*/ 78 w 78"/>
                <a:gd name="T51" fmla="*/ 188 h 18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8" h="188">
                  <a:moveTo>
                    <a:pt x="78" y="188"/>
                  </a:moveTo>
                  <a:lnTo>
                    <a:pt x="77" y="183"/>
                  </a:lnTo>
                  <a:lnTo>
                    <a:pt x="75" y="177"/>
                  </a:lnTo>
                  <a:lnTo>
                    <a:pt x="73" y="169"/>
                  </a:lnTo>
                  <a:lnTo>
                    <a:pt x="71" y="161"/>
                  </a:lnTo>
                  <a:lnTo>
                    <a:pt x="66" y="141"/>
                  </a:lnTo>
                  <a:lnTo>
                    <a:pt x="61" y="121"/>
                  </a:lnTo>
                  <a:lnTo>
                    <a:pt x="55" y="100"/>
                  </a:lnTo>
                  <a:lnTo>
                    <a:pt x="49" y="80"/>
                  </a:lnTo>
                  <a:lnTo>
                    <a:pt x="47" y="72"/>
                  </a:lnTo>
                  <a:lnTo>
                    <a:pt x="44" y="64"/>
                  </a:lnTo>
                  <a:lnTo>
                    <a:pt x="42" y="58"/>
                  </a:lnTo>
                  <a:lnTo>
                    <a:pt x="40" y="53"/>
                  </a:lnTo>
                  <a:lnTo>
                    <a:pt x="15" y="54"/>
                  </a:lnTo>
                  <a:lnTo>
                    <a:pt x="0" y="40"/>
                  </a:lnTo>
                  <a:lnTo>
                    <a:pt x="8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6" name="Oval 566">
              <a:extLst>
                <a:ext uri="{FF2B5EF4-FFF2-40B4-BE49-F238E27FC236}">
                  <a16:creationId xmlns:a16="http://schemas.microsoft.com/office/drawing/2014/main" id="{2DF4F9F5-C6AF-494B-B679-23E1A63C56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1198" y="1986037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7" name="Oval 567">
              <a:extLst>
                <a:ext uri="{FF2B5EF4-FFF2-40B4-BE49-F238E27FC236}">
                  <a16:creationId xmlns:a16="http://schemas.microsoft.com/office/drawing/2014/main" id="{FCB0A6BE-5FE8-4687-803E-0BB3C4A7C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9763" y="1931136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8" name="Oval 568">
              <a:extLst>
                <a:ext uri="{FF2B5EF4-FFF2-40B4-BE49-F238E27FC236}">
                  <a16:creationId xmlns:a16="http://schemas.microsoft.com/office/drawing/2014/main" id="{E0DBA49A-5FDC-427C-A46B-72F6105F52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7113" y="2141914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9" name="Line 569">
              <a:extLst>
                <a:ext uri="{FF2B5EF4-FFF2-40B4-BE49-F238E27FC236}">
                  <a16:creationId xmlns:a16="http://schemas.microsoft.com/office/drawing/2014/main" id="{AFE56490-A633-49B0-B9F3-82844C1EF8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6180" y="3581083"/>
              <a:ext cx="58232" cy="49018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0" name="Oval 570">
              <a:extLst>
                <a:ext uri="{FF2B5EF4-FFF2-40B4-BE49-F238E27FC236}">
                  <a16:creationId xmlns:a16="http://schemas.microsoft.com/office/drawing/2014/main" id="{86537AD2-2FD3-4DC8-8F09-0B2D5F8D7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8341" y="3576181"/>
              <a:ext cx="2687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1" name="Freeform 572">
              <a:extLst>
                <a:ext uri="{FF2B5EF4-FFF2-40B4-BE49-F238E27FC236}">
                  <a16:creationId xmlns:a16="http://schemas.microsoft.com/office/drawing/2014/main" id="{C746AAA5-FCAF-43BC-8F81-129881234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7999" y="5457492"/>
              <a:ext cx="45913" cy="60783"/>
            </a:xfrm>
            <a:custGeom>
              <a:avLst/>
              <a:gdLst>
                <a:gd name="T0" fmla="*/ 2147483647 w 35"/>
                <a:gd name="T1" fmla="*/ 2147483647 h 57"/>
                <a:gd name="T2" fmla="*/ 2147483647 w 35"/>
                <a:gd name="T3" fmla="*/ 2147483647 h 57"/>
                <a:gd name="T4" fmla="*/ 2147483647 w 35"/>
                <a:gd name="T5" fmla="*/ 2147483647 h 57"/>
                <a:gd name="T6" fmla="*/ 0 w 35"/>
                <a:gd name="T7" fmla="*/ 2147483647 h 5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5"/>
                <a:gd name="T13" fmla="*/ 0 h 57"/>
                <a:gd name="T14" fmla="*/ 35 w 35"/>
                <a:gd name="T15" fmla="*/ 57 h 5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5" h="57">
                  <a:moveTo>
                    <a:pt x="30" y="6"/>
                  </a:moveTo>
                  <a:cubicBezTo>
                    <a:pt x="8" y="20"/>
                    <a:pt x="35" y="0"/>
                    <a:pt x="15" y="30"/>
                  </a:cubicBezTo>
                  <a:cubicBezTo>
                    <a:pt x="11" y="36"/>
                    <a:pt x="7" y="42"/>
                    <a:pt x="3" y="48"/>
                  </a:cubicBezTo>
                  <a:cubicBezTo>
                    <a:pt x="1" y="51"/>
                    <a:pt x="0" y="57"/>
                    <a:pt x="0" y="57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2" name="Oval 575">
              <a:extLst>
                <a:ext uri="{FF2B5EF4-FFF2-40B4-BE49-F238E27FC236}">
                  <a16:creationId xmlns:a16="http://schemas.microsoft.com/office/drawing/2014/main" id="{F7B47D2F-E519-40E1-9912-C21663F511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71681" y="3855584"/>
              <a:ext cx="2127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3" name="Freeform 580">
              <a:extLst>
                <a:ext uri="{FF2B5EF4-FFF2-40B4-BE49-F238E27FC236}">
                  <a16:creationId xmlns:a16="http://schemas.microsoft.com/office/drawing/2014/main" id="{1926EEF3-F145-47A5-8223-B137DA943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2551" y="3950678"/>
              <a:ext cx="151179" cy="45097"/>
            </a:xfrm>
            <a:custGeom>
              <a:avLst/>
              <a:gdLst>
                <a:gd name="T0" fmla="*/ 0 w 115"/>
                <a:gd name="T1" fmla="*/ 0 h 42"/>
                <a:gd name="T2" fmla="*/ 2147483647 w 115"/>
                <a:gd name="T3" fmla="*/ 2147483647 h 42"/>
                <a:gd name="T4" fmla="*/ 2147483647 w 115"/>
                <a:gd name="T5" fmla="*/ 2147483647 h 42"/>
                <a:gd name="T6" fmla="*/ 2147483647 w 115"/>
                <a:gd name="T7" fmla="*/ 2147483647 h 42"/>
                <a:gd name="T8" fmla="*/ 2147483647 w 115"/>
                <a:gd name="T9" fmla="*/ 2147483647 h 42"/>
                <a:gd name="T10" fmla="*/ 2147483647 w 115"/>
                <a:gd name="T11" fmla="*/ 2147483647 h 4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"/>
                <a:gd name="T19" fmla="*/ 0 h 42"/>
                <a:gd name="T20" fmla="*/ 115 w 115"/>
                <a:gd name="T21" fmla="*/ 42 h 4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" h="42">
                  <a:moveTo>
                    <a:pt x="0" y="0"/>
                  </a:moveTo>
                  <a:cubicBezTo>
                    <a:pt x="4" y="5"/>
                    <a:pt x="6" y="6"/>
                    <a:pt x="12" y="7"/>
                  </a:cubicBezTo>
                  <a:cubicBezTo>
                    <a:pt x="20" y="13"/>
                    <a:pt x="28" y="13"/>
                    <a:pt x="37" y="15"/>
                  </a:cubicBezTo>
                  <a:cubicBezTo>
                    <a:pt x="50" y="26"/>
                    <a:pt x="44" y="28"/>
                    <a:pt x="66" y="31"/>
                  </a:cubicBezTo>
                  <a:cubicBezTo>
                    <a:pt x="71" y="35"/>
                    <a:pt x="73" y="39"/>
                    <a:pt x="79" y="34"/>
                  </a:cubicBezTo>
                  <a:cubicBezTo>
                    <a:pt x="89" y="37"/>
                    <a:pt x="115" y="35"/>
                    <a:pt x="115" y="42"/>
                  </a:cubicBez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4" name="Freeform 581">
              <a:extLst>
                <a:ext uri="{FF2B5EF4-FFF2-40B4-BE49-F238E27FC236}">
                  <a16:creationId xmlns:a16="http://schemas.microsoft.com/office/drawing/2014/main" id="{9C44A3AD-FC75-49FE-A235-186A321E1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9942" y="4419291"/>
              <a:ext cx="366192" cy="45097"/>
            </a:xfrm>
            <a:custGeom>
              <a:avLst/>
              <a:gdLst>
                <a:gd name="T0" fmla="*/ 0 w 279"/>
                <a:gd name="T1" fmla="*/ 2147483647 h 42"/>
                <a:gd name="T2" fmla="*/ 2147483647 w 279"/>
                <a:gd name="T3" fmla="*/ 2147483647 h 42"/>
                <a:gd name="T4" fmla="*/ 2147483647 w 279"/>
                <a:gd name="T5" fmla="*/ 2147483647 h 42"/>
                <a:gd name="T6" fmla="*/ 2147483647 w 279"/>
                <a:gd name="T7" fmla="*/ 2147483647 h 42"/>
                <a:gd name="T8" fmla="*/ 2147483647 w 279"/>
                <a:gd name="T9" fmla="*/ 2147483647 h 42"/>
                <a:gd name="T10" fmla="*/ 2147483647 w 279"/>
                <a:gd name="T11" fmla="*/ 0 h 42"/>
                <a:gd name="T12" fmla="*/ 2147483647 w 279"/>
                <a:gd name="T13" fmla="*/ 0 h 42"/>
                <a:gd name="T14" fmla="*/ 2147483647 w 279"/>
                <a:gd name="T15" fmla="*/ 2147483647 h 42"/>
                <a:gd name="T16" fmla="*/ 2147483647 w 279"/>
                <a:gd name="T17" fmla="*/ 2147483647 h 42"/>
                <a:gd name="T18" fmla="*/ 2147483647 w 279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9"/>
                <a:gd name="T31" fmla="*/ 0 h 42"/>
                <a:gd name="T32" fmla="*/ 279 w 279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9" h="42">
                  <a:moveTo>
                    <a:pt x="0" y="23"/>
                  </a:moveTo>
                  <a:lnTo>
                    <a:pt x="90" y="30"/>
                  </a:lnTo>
                  <a:lnTo>
                    <a:pt x="122" y="26"/>
                  </a:lnTo>
                  <a:lnTo>
                    <a:pt x="164" y="33"/>
                  </a:lnTo>
                  <a:lnTo>
                    <a:pt x="185" y="18"/>
                  </a:lnTo>
                  <a:lnTo>
                    <a:pt x="186" y="0"/>
                  </a:lnTo>
                  <a:lnTo>
                    <a:pt x="198" y="0"/>
                  </a:lnTo>
                  <a:lnTo>
                    <a:pt x="231" y="23"/>
                  </a:lnTo>
                  <a:lnTo>
                    <a:pt x="254" y="42"/>
                  </a:lnTo>
                  <a:lnTo>
                    <a:pt x="279" y="12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5" name="Line 582">
              <a:extLst>
                <a:ext uri="{FF2B5EF4-FFF2-40B4-BE49-F238E27FC236}">
                  <a16:creationId xmlns:a16="http://schemas.microsoft.com/office/drawing/2014/main" id="{F212DA16-8ED7-463F-9393-0330374A06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70015" y="5833949"/>
              <a:ext cx="10079" cy="26469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46" name="Oval 585">
              <a:extLst>
                <a:ext uri="{FF2B5EF4-FFF2-40B4-BE49-F238E27FC236}">
                  <a16:creationId xmlns:a16="http://schemas.microsoft.com/office/drawing/2014/main" id="{BBCC4C12-E35C-430E-BA35-B1A5AD93E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4408" y="2978160"/>
              <a:ext cx="42555" cy="37254"/>
            </a:xfrm>
            <a:prstGeom prst="ellipse">
              <a:avLst/>
            </a:prstGeom>
            <a:solidFill>
              <a:srgbClr val="FF6B72"/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7" name="Oval 590">
              <a:extLst>
                <a:ext uri="{FF2B5EF4-FFF2-40B4-BE49-F238E27FC236}">
                  <a16:creationId xmlns:a16="http://schemas.microsoft.com/office/drawing/2014/main" id="{76A6D162-6867-4973-B0AE-73FB338367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5633" y="5529057"/>
              <a:ext cx="42555" cy="36274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8" name="Oval 594">
              <a:extLst>
                <a:ext uri="{FF2B5EF4-FFF2-40B4-BE49-F238E27FC236}">
                  <a16:creationId xmlns:a16="http://schemas.microsoft.com/office/drawing/2014/main" id="{9E4EC78B-10B2-4C29-9332-68961B27A6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5610" y="3792841"/>
              <a:ext cx="41435" cy="36272"/>
            </a:xfrm>
            <a:prstGeom prst="ellipse">
              <a:avLst/>
            </a:prstGeom>
            <a:solidFill>
              <a:srgbClr val="FF6B72"/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9" name="Freeform 601">
              <a:extLst>
                <a:ext uri="{FF2B5EF4-FFF2-40B4-BE49-F238E27FC236}">
                  <a16:creationId xmlns:a16="http://schemas.microsoft.com/office/drawing/2014/main" id="{A158CABC-EE7E-4D04-9F77-4BDF7E9E3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1445" y="3537947"/>
              <a:ext cx="492734" cy="195091"/>
            </a:xfrm>
            <a:custGeom>
              <a:avLst/>
              <a:gdLst>
                <a:gd name="T0" fmla="*/ 0 w 408"/>
                <a:gd name="T1" fmla="*/ 0 h 181"/>
                <a:gd name="T2" fmla="*/ 2147483647 w 408"/>
                <a:gd name="T3" fmla="*/ 2147483647 h 181"/>
                <a:gd name="T4" fmla="*/ 2147483647 w 408"/>
                <a:gd name="T5" fmla="*/ 2147483647 h 181"/>
                <a:gd name="T6" fmla="*/ 2147483647 w 408"/>
                <a:gd name="T7" fmla="*/ 2147483647 h 181"/>
                <a:gd name="T8" fmla="*/ 2147483647 w 408"/>
                <a:gd name="T9" fmla="*/ 2147483647 h 181"/>
                <a:gd name="T10" fmla="*/ 2147483647 w 408"/>
                <a:gd name="T11" fmla="*/ 2147483647 h 181"/>
                <a:gd name="T12" fmla="*/ 2147483647 w 408"/>
                <a:gd name="T13" fmla="*/ 2147483647 h 181"/>
                <a:gd name="T14" fmla="*/ 2147483647 w 408"/>
                <a:gd name="T15" fmla="*/ 2147483647 h 181"/>
                <a:gd name="T16" fmla="*/ 2147483647 w 408"/>
                <a:gd name="T17" fmla="*/ 2147483647 h 181"/>
                <a:gd name="T18" fmla="*/ 2147483647 w 408"/>
                <a:gd name="T19" fmla="*/ 2147483647 h 181"/>
                <a:gd name="T20" fmla="*/ 2147483647 w 408"/>
                <a:gd name="T21" fmla="*/ 2147483647 h 181"/>
                <a:gd name="T22" fmla="*/ 2147483647 w 408"/>
                <a:gd name="T23" fmla="*/ 2147483647 h 181"/>
                <a:gd name="T24" fmla="*/ 2147483647 w 408"/>
                <a:gd name="T25" fmla="*/ 2147483647 h 181"/>
                <a:gd name="T26" fmla="*/ 2147483647 w 408"/>
                <a:gd name="T27" fmla="*/ 2147483647 h 181"/>
                <a:gd name="T28" fmla="*/ 2147483647 w 408"/>
                <a:gd name="T29" fmla="*/ 2147483647 h 181"/>
                <a:gd name="T30" fmla="*/ 2147483647 w 408"/>
                <a:gd name="T31" fmla="*/ 2147483647 h 18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08"/>
                <a:gd name="T49" fmla="*/ 0 h 181"/>
                <a:gd name="T50" fmla="*/ 408 w 408"/>
                <a:gd name="T51" fmla="*/ 181 h 18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08" h="181">
                  <a:moveTo>
                    <a:pt x="0" y="0"/>
                  </a:moveTo>
                  <a:lnTo>
                    <a:pt x="30" y="8"/>
                  </a:lnTo>
                  <a:lnTo>
                    <a:pt x="58" y="50"/>
                  </a:lnTo>
                  <a:lnTo>
                    <a:pt x="98" y="62"/>
                  </a:lnTo>
                  <a:lnTo>
                    <a:pt x="108" y="62"/>
                  </a:lnTo>
                  <a:lnTo>
                    <a:pt x="119" y="62"/>
                  </a:lnTo>
                  <a:lnTo>
                    <a:pt x="131" y="61"/>
                  </a:lnTo>
                  <a:lnTo>
                    <a:pt x="144" y="60"/>
                  </a:lnTo>
                  <a:lnTo>
                    <a:pt x="169" y="59"/>
                  </a:lnTo>
                  <a:lnTo>
                    <a:pt x="181" y="59"/>
                  </a:lnTo>
                  <a:lnTo>
                    <a:pt x="191" y="60"/>
                  </a:lnTo>
                  <a:lnTo>
                    <a:pt x="247" y="95"/>
                  </a:lnTo>
                  <a:lnTo>
                    <a:pt x="303" y="90"/>
                  </a:lnTo>
                  <a:lnTo>
                    <a:pt x="334" y="143"/>
                  </a:lnTo>
                  <a:lnTo>
                    <a:pt x="380" y="175"/>
                  </a:lnTo>
                  <a:lnTo>
                    <a:pt x="408" y="181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0" name="Freeform 604">
              <a:extLst>
                <a:ext uri="{FF2B5EF4-FFF2-40B4-BE49-F238E27FC236}">
                  <a16:creationId xmlns:a16="http://schemas.microsoft.com/office/drawing/2014/main" id="{7EFA8A56-EFD6-4E78-BBDA-9B737DEE0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4514" y="3436970"/>
              <a:ext cx="96307" cy="35293"/>
            </a:xfrm>
            <a:custGeom>
              <a:avLst/>
              <a:gdLst>
                <a:gd name="T0" fmla="*/ 2147483647 w 78"/>
                <a:gd name="T1" fmla="*/ 0 h 33"/>
                <a:gd name="T2" fmla="*/ 2147483647 w 78"/>
                <a:gd name="T3" fmla="*/ 2147483647 h 33"/>
                <a:gd name="T4" fmla="*/ 2147483647 w 78"/>
                <a:gd name="T5" fmla="*/ 2147483647 h 33"/>
                <a:gd name="T6" fmla="*/ 2147483647 w 78"/>
                <a:gd name="T7" fmla="*/ 2147483647 h 33"/>
                <a:gd name="T8" fmla="*/ 2147483647 w 78"/>
                <a:gd name="T9" fmla="*/ 2147483647 h 33"/>
                <a:gd name="T10" fmla="*/ 2147483647 w 78"/>
                <a:gd name="T11" fmla="*/ 2147483647 h 33"/>
                <a:gd name="T12" fmla="*/ 2147483647 w 78"/>
                <a:gd name="T13" fmla="*/ 2147483647 h 33"/>
                <a:gd name="T14" fmla="*/ 2147483647 w 78"/>
                <a:gd name="T15" fmla="*/ 2147483647 h 33"/>
                <a:gd name="T16" fmla="*/ 2147483647 w 78"/>
                <a:gd name="T17" fmla="*/ 2147483647 h 33"/>
                <a:gd name="T18" fmla="*/ 2147483647 w 78"/>
                <a:gd name="T19" fmla="*/ 2147483647 h 33"/>
                <a:gd name="T20" fmla="*/ 2147483647 w 78"/>
                <a:gd name="T21" fmla="*/ 2147483647 h 33"/>
                <a:gd name="T22" fmla="*/ 2147483647 w 78"/>
                <a:gd name="T23" fmla="*/ 2147483647 h 33"/>
                <a:gd name="T24" fmla="*/ 2147483647 w 78"/>
                <a:gd name="T25" fmla="*/ 2147483647 h 33"/>
                <a:gd name="T26" fmla="*/ 0 w 78"/>
                <a:gd name="T27" fmla="*/ 2147483647 h 3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8"/>
                <a:gd name="T43" fmla="*/ 0 h 33"/>
                <a:gd name="T44" fmla="*/ 78 w 78"/>
                <a:gd name="T45" fmla="*/ 33 h 3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8" h="33">
                  <a:moveTo>
                    <a:pt x="78" y="0"/>
                  </a:moveTo>
                  <a:lnTo>
                    <a:pt x="69" y="3"/>
                  </a:lnTo>
                  <a:lnTo>
                    <a:pt x="63" y="6"/>
                  </a:lnTo>
                  <a:lnTo>
                    <a:pt x="59" y="9"/>
                  </a:lnTo>
                  <a:lnTo>
                    <a:pt x="55" y="11"/>
                  </a:lnTo>
                  <a:lnTo>
                    <a:pt x="51" y="14"/>
                  </a:lnTo>
                  <a:lnTo>
                    <a:pt x="46" y="16"/>
                  </a:lnTo>
                  <a:lnTo>
                    <a:pt x="38" y="17"/>
                  </a:lnTo>
                  <a:lnTo>
                    <a:pt x="28" y="19"/>
                  </a:lnTo>
                  <a:lnTo>
                    <a:pt x="21" y="22"/>
                  </a:lnTo>
                  <a:lnTo>
                    <a:pt x="14" y="27"/>
                  </a:lnTo>
                  <a:lnTo>
                    <a:pt x="8" y="31"/>
                  </a:lnTo>
                  <a:lnTo>
                    <a:pt x="4" y="33"/>
                  </a:lnTo>
                  <a:lnTo>
                    <a:pt x="0" y="33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1" name="Freeform 605">
              <a:extLst>
                <a:ext uri="{FF2B5EF4-FFF2-40B4-BE49-F238E27FC236}">
                  <a16:creationId xmlns:a16="http://schemas.microsoft.com/office/drawing/2014/main" id="{48B13C70-28DF-4B61-AF06-3102E3841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1405" y="3245799"/>
              <a:ext cx="307958" cy="102938"/>
            </a:xfrm>
            <a:custGeom>
              <a:avLst/>
              <a:gdLst>
                <a:gd name="T0" fmla="*/ 0 w 254"/>
                <a:gd name="T1" fmla="*/ 2147483647 h 95"/>
                <a:gd name="T2" fmla="*/ 2147483647 w 254"/>
                <a:gd name="T3" fmla="*/ 2147483647 h 95"/>
                <a:gd name="T4" fmla="*/ 2147483647 w 254"/>
                <a:gd name="T5" fmla="*/ 0 h 95"/>
                <a:gd name="T6" fmla="*/ 2147483647 w 254"/>
                <a:gd name="T7" fmla="*/ 0 h 95"/>
                <a:gd name="T8" fmla="*/ 2147483647 w 254"/>
                <a:gd name="T9" fmla="*/ 2147483647 h 95"/>
                <a:gd name="T10" fmla="*/ 2147483647 w 254"/>
                <a:gd name="T11" fmla="*/ 2147483647 h 95"/>
                <a:gd name="T12" fmla="*/ 2147483647 w 254"/>
                <a:gd name="T13" fmla="*/ 2147483647 h 95"/>
                <a:gd name="T14" fmla="*/ 2147483647 w 254"/>
                <a:gd name="T15" fmla="*/ 2147483647 h 95"/>
                <a:gd name="T16" fmla="*/ 2147483647 w 254"/>
                <a:gd name="T17" fmla="*/ 2147483647 h 95"/>
                <a:gd name="T18" fmla="*/ 2147483647 w 254"/>
                <a:gd name="T19" fmla="*/ 2147483647 h 95"/>
                <a:gd name="T20" fmla="*/ 2147483647 w 254"/>
                <a:gd name="T21" fmla="*/ 2147483647 h 95"/>
                <a:gd name="T22" fmla="*/ 2147483647 w 254"/>
                <a:gd name="T23" fmla="*/ 2147483647 h 95"/>
                <a:gd name="T24" fmla="*/ 2147483647 w 254"/>
                <a:gd name="T25" fmla="*/ 2147483647 h 95"/>
                <a:gd name="T26" fmla="*/ 2147483647 w 254"/>
                <a:gd name="T27" fmla="*/ 2147483647 h 95"/>
                <a:gd name="T28" fmla="*/ 2147483647 w 254"/>
                <a:gd name="T29" fmla="*/ 2147483647 h 95"/>
                <a:gd name="T30" fmla="*/ 2147483647 w 254"/>
                <a:gd name="T31" fmla="*/ 2147483647 h 95"/>
                <a:gd name="T32" fmla="*/ 2147483647 w 254"/>
                <a:gd name="T33" fmla="*/ 2147483647 h 95"/>
                <a:gd name="T34" fmla="*/ 2147483647 w 254"/>
                <a:gd name="T35" fmla="*/ 2147483647 h 95"/>
                <a:gd name="T36" fmla="*/ 2147483647 w 254"/>
                <a:gd name="T37" fmla="*/ 2147483647 h 95"/>
                <a:gd name="T38" fmla="*/ 2147483647 w 254"/>
                <a:gd name="T39" fmla="*/ 2147483647 h 95"/>
                <a:gd name="T40" fmla="*/ 2147483647 w 254"/>
                <a:gd name="T41" fmla="*/ 2147483647 h 95"/>
                <a:gd name="T42" fmla="*/ 2147483647 w 254"/>
                <a:gd name="T43" fmla="*/ 2147483647 h 95"/>
                <a:gd name="T44" fmla="*/ 2147483647 w 254"/>
                <a:gd name="T45" fmla="*/ 2147483647 h 95"/>
                <a:gd name="T46" fmla="*/ 2147483647 w 254"/>
                <a:gd name="T47" fmla="*/ 2147483647 h 95"/>
                <a:gd name="T48" fmla="*/ 2147483647 w 254"/>
                <a:gd name="T49" fmla="*/ 2147483647 h 95"/>
                <a:gd name="T50" fmla="*/ 2147483647 w 254"/>
                <a:gd name="T51" fmla="*/ 2147483647 h 95"/>
                <a:gd name="T52" fmla="*/ 2147483647 w 254"/>
                <a:gd name="T53" fmla="*/ 2147483647 h 95"/>
                <a:gd name="T54" fmla="*/ 2147483647 w 254"/>
                <a:gd name="T55" fmla="*/ 2147483647 h 95"/>
                <a:gd name="T56" fmla="*/ 2147483647 w 254"/>
                <a:gd name="T57" fmla="*/ 2147483647 h 95"/>
                <a:gd name="T58" fmla="*/ 2147483647 w 254"/>
                <a:gd name="T59" fmla="*/ 2147483647 h 95"/>
                <a:gd name="T60" fmla="*/ 2147483647 w 254"/>
                <a:gd name="T61" fmla="*/ 2147483647 h 95"/>
                <a:gd name="T62" fmla="*/ 2147483647 w 254"/>
                <a:gd name="T63" fmla="*/ 2147483647 h 95"/>
                <a:gd name="T64" fmla="*/ 2147483647 w 254"/>
                <a:gd name="T65" fmla="*/ 2147483647 h 95"/>
                <a:gd name="T66" fmla="*/ 2147483647 w 254"/>
                <a:gd name="T67" fmla="*/ 2147483647 h 95"/>
                <a:gd name="T68" fmla="*/ 2147483647 w 254"/>
                <a:gd name="T69" fmla="*/ 2147483647 h 95"/>
                <a:gd name="T70" fmla="*/ 2147483647 w 254"/>
                <a:gd name="T71" fmla="*/ 2147483647 h 95"/>
                <a:gd name="T72" fmla="*/ 2147483647 w 254"/>
                <a:gd name="T73" fmla="*/ 2147483647 h 95"/>
                <a:gd name="T74" fmla="*/ 2147483647 w 254"/>
                <a:gd name="T75" fmla="*/ 2147483647 h 95"/>
                <a:gd name="T76" fmla="*/ 2147483647 w 254"/>
                <a:gd name="T77" fmla="*/ 2147483647 h 95"/>
                <a:gd name="T78" fmla="*/ 2147483647 w 254"/>
                <a:gd name="T79" fmla="*/ 2147483647 h 95"/>
                <a:gd name="T80" fmla="*/ 2147483647 w 254"/>
                <a:gd name="T81" fmla="*/ 2147483647 h 95"/>
                <a:gd name="T82" fmla="*/ 2147483647 w 254"/>
                <a:gd name="T83" fmla="*/ 2147483647 h 95"/>
                <a:gd name="T84" fmla="*/ 2147483647 w 254"/>
                <a:gd name="T85" fmla="*/ 2147483647 h 95"/>
                <a:gd name="T86" fmla="*/ 2147483647 w 254"/>
                <a:gd name="T87" fmla="*/ 2147483647 h 95"/>
                <a:gd name="T88" fmla="*/ 2147483647 w 254"/>
                <a:gd name="T89" fmla="*/ 2147483647 h 95"/>
                <a:gd name="T90" fmla="*/ 2147483647 w 254"/>
                <a:gd name="T91" fmla="*/ 2147483647 h 95"/>
                <a:gd name="T92" fmla="*/ 2147483647 w 254"/>
                <a:gd name="T93" fmla="*/ 2147483647 h 95"/>
                <a:gd name="T94" fmla="*/ 2147483647 w 254"/>
                <a:gd name="T95" fmla="*/ 2147483647 h 95"/>
                <a:gd name="T96" fmla="*/ 2147483647 w 254"/>
                <a:gd name="T97" fmla="*/ 2147483647 h 9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4"/>
                <a:gd name="T148" fmla="*/ 0 h 95"/>
                <a:gd name="T149" fmla="*/ 254 w 254"/>
                <a:gd name="T150" fmla="*/ 95 h 9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4" h="95">
                  <a:moveTo>
                    <a:pt x="0" y="3"/>
                  </a:moveTo>
                  <a:lnTo>
                    <a:pt x="5" y="1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4" y="1"/>
                  </a:lnTo>
                  <a:lnTo>
                    <a:pt x="37" y="4"/>
                  </a:lnTo>
                  <a:lnTo>
                    <a:pt x="48" y="7"/>
                  </a:lnTo>
                  <a:lnTo>
                    <a:pt x="54" y="9"/>
                  </a:lnTo>
                  <a:lnTo>
                    <a:pt x="61" y="11"/>
                  </a:lnTo>
                  <a:lnTo>
                    <a:pt x="67" y="12"/>
                  </a:lnTo>
                  <a:lnTo>
                    <a:pt x="68" y="13"/>
                  </a:lnTo>
                  <a:lnTo>
                    <a:pt x="69" y="13"/>
                  </a:lnTo>
                  <a:lnTo>
                    <a:pt x="70" y="17"/>
                  </a:lnTo>
                  <a:lnTo>
                    <a:pt x="71" y="21"/>
                  </a:lnTo>
                  <a:lnTo>
                    <a:pt x="72" y="23"/>
                  </a:lnTo>
                  <a:lnTo>
                    <a:pt x="72" y="24"/>
                  </a:lnTo>
                  <a:lnTo>
                    <a:pt x="74" y="26"/>
                  </a:lnTo>
                  <a:lnTo>
                    <a:pt x="76" y="27"/>
                  </a:lnTo>
                  <a:lnTo>
                    <a:pt x="79" y="29"/>
                  </a:lnTo>
                  <a:lnTo>
                    <a:pt x="83" y="33"/>
                  </a:lnTo>
                  <a:lnTo>
                    <a:pt x="86" y="37"/>
                  </a:lnTo>
                  <a:lnTo>
                    <a:pt x="90" y="39"/>
                  </a:lnTo>
                  <a:lnTo>
                    <a:pt x="95" y="41"/>
                  </a:lnTo>
                  <a:lnTo>
                    <a:pt x="108" y="40"/>
                  </a:lnTo>
                  <a:lnTo>
                    <a:pt x="121" y="39"/>
                  </a:lnTo>
                  <a:lnTo>
                    <a:pt x="123" y="39"/>
                  </a:lnTo>
                  <a:lnTo>
                    <a:pt x="124" y="38"/>
                  </a:lnTo>
                  <a:lnTo>
                    <a:pt x="126" y="37"/>
                  </a:lnTo>
                  <a:lnTo>
                    <a:pt x="127" y="37"/>
                  </a:lnTo>
                  <a:lnTo>
                    <a:pt x="130" y="40"/>
                  </a:lnTo>
                  <a:lnTo>
                    <a:pt x="133" y="45"/>
                  </a:lnTo>
                  <a:lnTo>
                    <a:pt x="136" y="50"/>
                  </a:lnTo>
                  <a:lnTo>
                    <a:pt x="139" y="53"/>
                  </a:lnTo>
                  <a:lnTo>
                    <a:pt x="144" y="50"/>
                  </a:lnTo>
                  <a:lnTo>
                    <a:pt x="150" y="48"/>
                  </a:lnTo>
                  <a:lnTo>
                    <a:pt x="155" y="46"/>
                  </a:lnTo>
                  <a:lnTo>
                    <a:pt x="156" y="45"/>
                  </a:lnTo>
                  <a:lnTo>
                    <a:pt x="157" y="45"/>
                  </a:lnTo>
                  <a:lnTo>
                    <a:pt x="170" y="46"/>
                  </a:lnTo>
                  <a:lnTo>
                    <a:pt x="182" y="48"/>
                  </a:lnTo>
                  <a:lnTo>
                    <a:pt x="194" y="51"/>
                  </a:lnTo>
                  <a:lnTo>
                    <a:pt x="206" y="57"/>
                  </a:lnTo>
                  <a:lnTo>
                    <a:pt x="210" y="62"/>
                  </a:lnTo>
                  <a:lnTo>
                    <a:pt x="215" y="68"/>
                  </a:lnTo>
                  <a:lnTo>
                    <a:pt x="226" y="81"/>
                  </a:lnTo>
                  <a:lnTo>
                    <a:pt x="233" y="86"/>
                  </a:lnTo>
                  <a:lnTo>
                    <a:pt x="240" y="91"/>
                  </a:lnTo>
                  <a:lnTo>
                    <a:pt x="247" y="94"/>
                  </a:lnTo>
                  <a:lnTo>
                    <a:pt x="254" y="95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2" name="Freeform 606">
              <a:extLst>
                <a:ext uri="{FF2B5EF4-FFF2-40B4-BE49-F238E27FC236}">
                  <a16:creationId xmlns:a16="http://schemas.microsoft.com/office/drawing/2014/main" id="{DEEB14C1-3EE1-4948-BD5B-59AE495CC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1446" y="3438931"/>
              <a:ext cx="42555" cy="96075"/>
            </a:xfrm>
            <a:custGeom>
              <a:avLst/>
              <a:gdLst>
                <a:gd name="T0" fmla="*/ 0 w 36"/>
                <a:gd name="T1" fmla="*/ 2147483647 h 89"/>
                <a:gd name="T2" fmla="*/ 2147483647 w 36"/>
                <a:gd name="T3" fmla="*/ 2147483647 h 89"/>
                <a:gd name="T4" fmla="*/ 2147483647 w 36"/>
                <a:gd name="T5" fmla="*/ 0 h 89"/>
                <a:gd name="T6" fmla="*/ 0 60000 65536"/>
                <a:gd name="T7" fmla="*/ 0 60000 65536"/>
                <a:gd name="T8" fmla="*/ 0 60000 65536"/>
                <a:gd name="T9" fmla="*/ 0 w 36"/>
                <a:gd name="T10" fmla="*/ 0 h 89"/>
                <a:gd name="T11" fmla="*/ 36 w 36"/>
                <a:gd name="T12" fmla="*/ 89 h 8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6" h="89">
                  <a:moveTo>
                    <a:pt x="0" y="89"/>
                  </a:moveTo>
                  <a:lnTo>
                    <a:pt x="30" y="42"/>
                  </a:lnTo>
                  <a:lnTo>
                    <a:pt x="36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3" name="Freeform 607">
              <a:extLst>
                <a:ext uri="{FF2B5EF4-FFF2-40B4-BE49-F238E27FC236}">
                  <a16:creationId xmlns:a16="http://schemas.microsoft.com/office/drawing/2014/main" id="{4918A17D-E296-42F0-8AB8-80E73E607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3866" y="3565395"/>
              <a:ext cx="141101" cy="156858"/>
            </a:xfrm>
            <a:custGeom>
              <a:avLst/>
              <a:gdLst>
                <a:gd name="T0" fmla="*/ 2147483647 w 97"/>
                <a:gd name="T1" fmla="*/ 2147483647 h 139"/>
                <a:gd name="T2" fmla="*/ 0 w 97"/>
                <a:gd name="T3" fmla="*/ 2147483647 h 139"/>
                <a:gd name="T4" fmla="*/ 2147483647 w 97"/>
                <a:gd name="T5" fmla="*/ 2147483647 h 139"/>
                <a:gd name="T6" fmla="*/ 2147483647 w 97"/>
                <a:gd name="T7" fmla="*/ 2147483647 h 139"/>
                <a:gd name="T8" fmla="*/ 2147483647 w 97"/>
                <a:gd name="T9" fmla="*/ 0 h 1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7"/>
                <a:gd name="T16" fmla="*/ 0 h 139"/>
                <a:gd name="T17" fmla="*/ 97 w 97"/>
                <a:gd name="T18" fmla="*/ 139 h 13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7" h="139">
                  <a:moveTo>
                    <a:pt x="10" y="139"/>
                  </a:moveTo>
                  <a:lnTo>
                    <a:pt x="0" y="103"/>
                  </a:lnTo>
                  <a:lnTo>
                    <a:pt x="18" y="78"/>
                  </a:lnTo>
                  <a:lnTo>
                    <a:pt x="79" y="36"/>
                  </a:lnTo>
                  <a:lnTo>
                    <a:pt x="97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4" name="Freeform 612">
              <a:extLst>
                <a:ext uri="{FF2B5EF4-FFF2-40B4-BE49-F238E27FC236}">
                  <a16:creationId xmlns:a16="http://schemas.microsoft.com/office/drawing/2014/main" id="{1D7FBAE7-18D8-45CA-ACD8-61740532C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2205" y="5130051"/>
              <a:ext cx="230689" cy="391163"/>
            </a:xfrm>
            <a:custGeom>
              <a:avLst/>
              <a:gdLst>
                <a:gd name="T0" fmla="*/ 0 w 176"/>
                <a:gd name="T1" fmla="*/ 2147483647 h 362"/>
                <a:gd name="T2" fmla="*/ 2147483647 w 176"/>
                <a:gd name="T3" fmla="*/ 2147483647 h 362"/>
                <a:gd name="T4" fmla="*/ 2147483647 w 176"/>
                <a:gd name="T5" fmla="*/ 2147483647 h 362"/>
                <a:gd name="T6" fmla="*/ 2147483647 w 176"/>
                <a:gd name="T7" fmla="*/ 2147483647 h 362"/>
                <a:gd name="T8" fmla="*/ 2147483647 w 176"/>
                <a:gd name="T9" fmla="*/ 2147483647 h 362"/>
                <a:gd name="T10" fmla="*/ 2147483647 w 176"/>
                <a:gd name="T11" fmla="*/ 2147483647 h 362"/>
                <a:gd name="T12" fmla="*/ 2147483647 w 176"/>
                <a:gd name="T13" fmla="*/ 2147483647 h 362"/>
                <a:gd name="T14" fmla="*/ 2147483647 w 176"/>
                <a:gd name="T15" fmla="*/ 2147483647 h 362"/>
                <a:gd name="T16" fmla="*/ 2147483647 w 176"/>
                <a:gd name="T17" fmla="*/ 2147483647 h 362"/>
                <a:gd name="T18" fmla="*/ 2147483647 w 176"/>
                <a:gd name="T19" fmla="*/ 2147483647 h 362"/>
                <a:gd name="T20" fmla="*/ 2147483647 w 176"/>
                <a:gd name="T21" fmla="*/ 2147483647 h 362"/>
                <a:gd name="T22" fmla="*/ 2147483647 w 176"/>
                <a:gd name="T23" fmla="*/ 2147483647 h 362"/>
                <a:gd name="T24" fmla="*/ 2147483647 w 176"/>
                <a:gd name="T25" fmla="*/ 2147483647 h 362"/>
                <a:gd name="T26" fmla="*/ 2147483647 w 176"/>
                <a:gd name="T27" fmla="*/ 2147483647 h 362"/>
                <a:gd name="T28" fmla="*/ 2147483647 w 176"/>
                <a:gd name="T29" fmla="*/ 2147483647 h 362"/>
                <a:gd name="T30" fmla="*/ 2147483647 w 176"/>
                <a:gd name="T31" fmla="*/ 0 h 36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6"/>
                <a:gd name="T49" fmla="*/ 0 h 362"/>
                <a:gd name="T50" fmla="*/ 176 w 176"/>
                <a:gd name="T51" fmla="*/ 362 h 36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6" h="362">
                  <a:moveTo>
                    <a:pt x="0" y="362"/>
                  </a:moveTo>
                  <a:cubicBezTo>
                    <a:pt x="9" y="360"/>
                    <a:pt x="17" y="359"/>
                    <a:pt x="26" y="356"/>
                  </a:cubicBezTo>
                  <a:cubicBezTo>
                    <a:pt x="30" y="344"/>
                    <a:pt x="35" y="343"/>
                    <a:pt x="40" y="332"/>
                  </a:cubicBezTo>
                  <a:cubicBezTo>
                    <a:pt x="43" y="326"/>
                    <a:pt x="43" y="318"/>
                    <a:pt x="46" y="312"/>
                  </a:cubicBezTo>
                  <a:cubicBezTo>
                    <a:pt x="56" y="294"/>
                    <a:pt x="65" y="282"/>
                    <a:pt x="70" y="262"/>
                  </a:cubicBezTo>
                  <a:cubicBezTo>
                    <a:pt x="72" y="236"/>
                    <a:pt x="80" y="224"/>
                    <a:pt x="94" y="202"/>
                  </a:cubicBezTo>
                  <a:cubicBezTo>
                    <a:pt x="98" y="196"/>
                    <a:pt x="113" y="195"/>
                    <a:pt x="120" y="190"/>
                  </a:cubicBezTo>
                  <a:cubicBezTo>
                    <a:pt x="126" y="182"/>
                    <a:pt x="131" y="183"/>
                    <a:pt x="140" y="178"/>
                  </a:cubicBezTo>
                  <a:cubicBezTo>
                    <a:pt x="146" y="174"/>
                    <a:pt x="158" y="166"/>
                    <a:pt x="158" y="166"/>
                  </a:cubicBezTo>
                  <a:cubicBezTo>
                    <a:pt x="159" y="164"/>
                    <a:pt x="159" y="162"/>
                    <a:pt x="160" y="160"/>
                  </a:cubicBezTo>
                  <a:cubicBezTo>
                    <a:pt x="162" y="158"/>
                    <a:pt x="165" y="158"/>
                    <a:pt x="166" y="156"/>
                  </a:cubicBezTo>
                  <a:cubicBezTo>
                    <a:pt x="168" y="152"/>
                    <a:pt x="170" y="144"/>
                    <a:pt x="170" y="144"/>
                  </a:cubicBezTo>
                  <a:cubicBezTo>
                    <a:pt x="171" y="137"/>
                    <a:pt x="171" y="131"/>
                    <a:pt x="172" y="124"/>
                  </a:cubicBezTo>
                  <a:cubicBezTo>
                    <a:pt x="173" y="120"/>
                    <a:pt x="176" y="112"/>
                    <a:pt x="176" y="112"/>
                  </a:cubicBezTo>
                  <a:cubicBezTo>
                    <a:pt x="173" y="90"/>
                    <a:pt x="168" y="98"/>
                    <a:pt x="162" y="80"/>
                  </a:cubicBezTo>
                  <a:cubicBezTo>
                    <a:pt x="164" y="3"/>
                    <a:pt x="153" y="27"/>
                    <a:pt x="166" y="0"/>
                  </a:cubicBez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5" name="Freeform 616">
              <a:extLst>
                <a:ext uri="{FF2B5EF4-FFF2-40B4-BE49-F238E27FC236}">
                  <a16:creationId xmlns:a16="http://schemas.microsoft.com/office/drawing/2014/main" id="{6296F62C-310E-4786-BA53-6C09FE22B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2106" y="4461446"/>
              <a:ext cx="76149" cy="243128"/>
            </a:xfrm>
            <a:custGeom>
              <a:avLst/>
              <a:gdLst>
                <a:gd name="T0" fmla="*/ 0 w 63"/>
                <a:gd name="T1" fmla="*/ 2147483647 h 226"/>
                <a:gd name="T2" fmla="*/ 2147483647 w 63"/>
                <a:gd name="T3" fmla="*/ 2147483647 h 226"/>
                <a:gd name="T4" fmla="*/ 2147483647 w 63"/>
                <a:gd name="T5" fmla="*/ 0 h 226"/>
                <a:gd name="T6" fmla="*/ 0 60000 65536"/>
                <a:gd name="T7" fmla="*/ 0 60000 65536"/>
                <a:gd name="T8" fmla="*/ 0 60000 65536"/>
                <a:gd name="T9" fmla="*/ 0 w 63"/>
                <a:gd name="T10" fmla="*/ 0 h 226"/>
                <a:gd name="T11" fmla="*/ 63 w 63"/>
                <a:gd name="T12" fmla="*/ 226 h 2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3" h="226">
                  <a:moveTo>
                    <a:pt x="0" y="226"/>
                  </a:moveTo>
                  <a:lnTo>
                    <a:pt x="1" y="136"/>
                  </a:lnTo>
                  <a:lnTo>
                    <a:pt x="63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6" name="Freeform 617">
              <a:extLst>
                <a:ext uri="{FF2B5EF4-FFF2-40B4-BE49-F238E27FC236}">
                  <a16:creationId xmlns:a16="http://schemas.microsoft.com/office/drawing/2014/main" id="{BF70C949-D5FF-462F-A16C-B661DC9C3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3795" y="4714379"/>
              <a:ext cx="62712" cy="136271"/>
            </a:xfrm>
            <a:custGeom>
              <a:avLst/>
              <a:gdLst>
                <a:gd name="T0" fmla="*/ 2147483647 w 52"/>
                <a:gd name="T1" fmla="*/ 2147483647 h 126"/>
                <a:gd name="T2" fmla="*/ 0 w 52"/>
                <a:gd name="T3" fmla="*/ 2147483647 h 126"/>
                <a:gd name="T4" fmla="*/ 0 w 52"/>
                <a:gd name="T5" fmla="*/ 2147483647 h 126"/>
                <a:gd name="T6" fmla="*/ 2147483647 w 52"/>
                <a:gd name="T7" fmla="*/ 2147483647 h 126"/>
                <a:gd name="T8" fmla="*/ 2147483647 w 52"/>
                <a:gd name="T9" fmla="*/ 0 h 1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126"/>
                <a:gd name="T17" fmla="*/ 52 w 52"/>
                <a:gd name="T18" fmla="*/ 126 h 1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126">
                  <a:moveTo>
                    <a:pt x="7" y="126"/>
                  </a:moveTo>
                  <a:lnTo>
                    <a:pt x="0" y="75"/>
                  </a:lnTo>
                  <a:lnTo>
                    <a:pt x="0" y="42"/>
                  </a:lnTo>
                  <a:lnTo>
                    <a:pt x="34" y="11"/>
                  </a:lnTo>
                  <a:lnTo>
                    <a:pt x="52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7" name="Freeform 620">
              <a:extLst>
                <a:ext uri="{FF2B5EF4-FFF2-40B4-BE49-F238E27FC236}">
                  <a16:creationId xmlns:a16="http://schemas.microsoft.com/office/drawing/2014/main" id="{8D0AD6ED-AE89-4AAF-8A31-CE006B371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1811" y="5178088"/>
              <a:ext cx="159018" cy="121564"/>
            </a:xfrm>
            <a:custGeom>
              <a:avLst/>
              <a:gdLst>
                <a:gd name="T0" fmla="*/ 2147483647 w 133"/>
                <a:gd name="T1" fmla="*/ 2147483647 h 112"/>
                <a:gd name="T2" fmla="*/ 2147483647 w 133"/>
                <a:gd name="T3" fmla="*/ 2147483647 h 112"/>
                <a:gd name="T4" fmla="*/ 2147483647 w 133"/>
                <a:gd name="T5" fmla="*/ 2147483647 h 112"/>
                <a:gd name="T6" fmla="*/ 0 w 133"/>
                <a:gd name="T7" fmla="*/ 2147483647 h 112"/>
                <a:gd name="T8" fmla="*/ 2147483647 w 133"/>
                <a:gd name="T9" fmla="*/ 2147483647 h 112"/>
                <a:gd name="T10" fmla="*/ 2147483647 w 133"/>
                <a:gd name="T11" fmla="*/ 2147483647 h 112"/>
                <a:gd name="T12" fmla="*/ 2147483647 w 133"/>
                <a:gd name="T13" fmla="*/ 2147483647 h 112"/>
                <a:gd name="T14" fmla="*/ 2147483647 w 133"/>
                <a:gd name="T15" fmla="*/ 2147483647 h 112"/>
                <a:gd name="T16" fmla="*/ 2147483647 w 133"/>
                <a:gd name="T17" fmla="*/ 2147483647 h 112"/>
                <a:gd name="T18" fmla="*/ 2147483647 w 133"/>
                <a:gd name="T19" fmla="*/ 2147483647 h 112"/>
                <a:gd name="T20" fmla="*/ 2147483647 w 133"/>
                <a:gd name="T21" fmla="*/ 2147483647 h 112"/>
                <a:gd name="T22" fmla="*/ 2147483647 w 133"/>
                <a:gd name="T23" fmla="*/ 2147483647 h 112"/>
                <a:gd name="T24" fmla="*/ 2147483647 w 133"/>
                <a:gd name="T25" fmla="*/ 0 h 1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33"/>
                <a:gd name="T40" fmla="*/ 0 h 112"/>
                <a:gd name="T41" fmla="*/ 133 w 133"/>
                <a:gd name="T42" fmla="*/ 112 h 1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33" h="112">
                  <a:moveTo>
                    <a:pt x="49" y="112"/>
                  </a:moveTo>
                  <a:lnTo>
                    <a:pt x="30" y="96"/>
                  </a:lnTo>
                  <a:lnTo>
                    <a:pt x="21" y="72"/>
                  </a:lnTo>
                  <a:lnTo>
                    <a:pt x="0" y="47"/>
                  </a:lnTo>
                  <a:lnTo>
                    <a:pt x="2" y="45"/>
                  </a:lnTo>
                  <a:lnTo>
                    <a:pt x="5" y="43"/>
                  </a:lnTo>
                  <a:lnTo>
                    <a:pt x="9" y="40"/>
                  </a:lnTo>
                  <a:lnTo>
                    <a:pt x="13" y="38"/>
                  </a:lnTo>
                  <a:lnTo>
                    <a:pt x="24" y="35"/>
                  </a:lnTo>
                  <a:lnTo>
                    <a:pt x="34" y="32"/>
                  </a:lnTo>
                  <a:lnTo>
                    <a:pt x="73" y="30"/>
                  </a:lnTo>
                  <a:lnTo>
                    <a:pt x="89" y="20"/>
                  </a:lnTo>
                  <a:lnTo>
                    <a:pt x="133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8" name="Freeform 621">
              <a:extLst>
                <a:ext uri="{FF2B5EF4-FFF2-40B4-BE49-F238E27FC236}">
                  <a16:creationId xmlns:a16="http://schemas.microsoft.com/office/drawing/2014/main" id="{7AA883C0-4F7F-4EB6-9F30-D917F3A57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3403" y="5075151"/>
              <a:ext cx="105265" cy="218619"/>
            </a:xfrm>
            <a:custGeom>
              <a:avLst/>
              <a:gdLst>
                <a:gd name="T0" fmla="*/ 2147483647 w 80"/>
                <a:gd name="T1" fmla="*/ 0 h 202"/>
                <a:gd name="T2" fmla="*/ 2147483647 w 80"/>
                <a:gd name="T3" fmla="*/ 2147483647 h 202"/>
                <a:gd name="T4" fmla="*/ 2147483647 w 80"/>
                <a:gd name="T5" fmla="*/ 2147483647 h 202"/>
                <a:gd name="T6" fmla="*/ 2147483647 w 80"/>
                <a:gd name="T7" fmla="*/ 2147483647 h 202"/>
                <a:gd name="T8" fmla="*/ 2147483647 w 80"/>
                <a:gd name="T9" fmla="*/ 2147483647 h 202"/>
                <a:gd name="T10" fmla="*/ 2147483647 w 80"/>
                <a:gd name="T11" fmla="*/ 2147483647 h 202"/>
                <a:gd name="T12" fmla="*/ 2147483647 w 80"/>
                <a:gd name="T13" fmla="*/ 2147483647 h 202"/>
                <a:gd name="T14" fmla="*/ 2147483647 w 80"/>
                <a:gd name="T15" fmla="*/ 2147483647 h 202"/>
                <a:gd name="T16" fmla="*/ 2147483647 w 80"/>
                <a:gd name="T17" fmla="*/ 2147483647 h 202"/>
                <a:gd name="T18" fmla="*/ 0 w 80"/>
                <a:gd name="T19" fmla="*/ 2147483647 h 2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0"/>
                <a:gd name="T31" fmla="*/ 0 h 202"/>
                <a:gd name="T32" fmla="*/ 80 w 80"/>
                <a:gd name="T33" fmla="*/ 202 h 2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0" h="202">
                  <a:moveTo>
                    <a:pt x="68" y="0"/>
                  </a:moveTo>
                  <a:cubicBezTo>
                    <a:pt x="70" y="9"/>
                    <a:pt x="72" y="17"/>
                    <a:pt x="74" y="26"/>
                  </a:cubicBezTo>
                  <a:cubicBezTo>
                    <a:pt x="76" y="32"/>
                    <a:pt x="80" y="44"/>
                    <a:pt x="80" y="44"/>
                  </a:cubicBezTo>
                  <a:cubicBezTo>
                    <a:pt x="79" y="58"/>
                    <a:pt x="80" y="72"/>
                    <a:pt x="78" y="86"/>
                  </a:cubicBezTo>
                  <a:cubicBezTo>
                    <a:pt x="78" y="89"/>
                    <a:pt x="70" y="102"/>
                    <a:pt x="68" y="104"/>
                  </a:cubicBezTo>
                  <a:cubicBezTo>
                    <a:pt x="64" y="107"/>
                    <a:pt x="56" y="112"/>
                    <a:pt x="56" y="112"/>
                  </a:cubicBezTo>
                  <a:cubicBezTo>
                    <a:pt x="53" y="121"/>
                    <a:pt x="51" y="124"/>
                    <a:pt x="42" y="128"/>
                  </a:cubicBezTo>
                  <a:cubicBezTo>
                    <a:pt x="36" y="136"/>
                    <a:pt x="33" y="149"/>
                    <a:pt x="26" y="156"/>
                  </a:cubicBezTo>
                  <a:cubicBezTo>
                    <a:pt x="17" y="164"/>
                    <a:pt x="11" y="165"/>
                    <a:pt x="4" y="176"/>
                  </a:cubicBezTo>
                  <a:cubicBezTo>
                    <a:pt x="2" y="186"/>
                    <a:pt x="0" y="191"/>
                    <a:pt x="0" y="202"/>
                  </a:cubicBez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59" name="Freeform 628">
              <a:extLst>
                <a:ext uri="{FF2B5EF4-FFF2-40B4-BE49-F238E27FC236}">
                  <a16:creationId xmlns:a16="http://schemas.microsoft.com/office/drawing/2014/main" id="{C59465B2-EB6F-4BC1-A735-7854C189F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078" y="3206585"/>
              <a:ext cx="258685" cy="72547"/>
            </a:xfrm>
            <a:custGeom>
              <a:avLst/>
              <a:gdLst>
                <a:gd name="T0" fmla="*/ 0 w 214"/>
                <a:gd name="T1" fmla="*/ 2147483647 h 67"/>
                <a:gd name="T2" fmla="*/ 2147483647 w 214"/>
                <a:gd name="T3" fmla="*/ 0 h 67"/>
                <a:gd name="T4" fmla="*/ 2147483647 w 214"/>
                <a:gd name="T5" fmla="*/ 0 h 67"/>
                <a:gd name="T6" fmla="*/ 2147483647 w 214"/>
                <a:gd name="T7" fmla="*/ 2147483647 h 67"/>
                <a:gd name="T8" fmla="*/ 2147483647 w 214"/>
                <a:gd name="T9" fmla="*/ 2147483647 h 67"/>
                <a:gd name="T10" fmla="*/ 2147483647 w 214"/>
                <a:gd name="T11" fmla="*/ 2147483647 h 67"/>
                <a:gd name="T12" fmla="*/ 2147483647 w 214"/>
                <a:gd name="T13" fmla="*/ 2147483647 h 67"/>
                <a:gd name="T14" fmla="*/ 2147483647 w 214"/>
                <a:gd name="T15" fmla="*/ 2147483647 h 67"/>
                <a:gd name="T16" fmla="*/ 2147483647 w 214"/>
                <a:gd name="T17" fmla="*/ 2147483647 h 67"/>
                <a:gd name="T18" fmla="*/ 2147483647 w 214"/>
                <a:gd name="T19" fmla="*/ 2147483647 h 67"/>
                <a:gd name="T20" fmla="*/ 2147483647 w 214"/>
                <a:gd name="T21" fmla="*/ 2147483647 h 67"/>
                <a:gd name="T22" fmla="*/ 2147483647 w 214"/>
                <a:gd name="T23" fmla="*/ 2147483647 h 67"/>
                <a:gd name="T24" fmla="*/ 2147483647 w 214"/>
                <a:gd name="T25" fmla="*/ 2147483647 h 67"/>
                <a:gd name="T26" fmla="*/ 2147483647 w 214"/>
                <a:gd name="T27" fmla="*/ 2147483647 h 67"/>
                <a:gd name="T28" fmla="*/ 2147483647 w 214"/>
                <a:gd name="T29" fmla="*/ 2147483647 h 67"/>
                <a:gd name="T30" fmla="*/ 2147483647 w 214"/>
                <a:gd name="T31" fmla="*/ 2147483647 h 67"/>
                <a:gd name="T32" fmla="*/ 2147483647 w 214"/>
                <a:gd name="T33" fmla="*/ 2147483647 h 67"/>
                <a:gd name="T34" fmla="*/ 2147483647 w 214"/>
                <a:gd name="T35" fmla="*/ 2147483647 h 67"/>
                <a:gd name="T36" fmla="*/ 2147483647 w 214"/>
                <a:gd name="T37" fmla="*/ 2147483647 h 67"/>
                <a:gd name="T38" fmla="*/ 2147483647 w 214"/>
                <a:gd name="T39" fmla="*/ 2147483647 h 67"/>
                <a:gd name="T40" fmla="*/ 2147483647 w 214"/>
                <a:gd name="T41" fmla="*/ 2147483647 h 67"/>
                <a:gd name="T42" fmla="*/ 2147483647 w 214"/>
                <a:gd name="T43" fmla="*/ 2147483647 h 67"/>
                <a:gd name="T44" fmla="*/ 2147483647 w 214"/>
                <a:gd name="T45" fmla="*/ 2147483647 h 67"/>
                <a:gd name="T46" fmla="*/ 2147483647 w 214"/>
                <a:gd name="T47" fmla="*/ 2147483647 h 67"/>
                <a:gd name="T48" fmla="*/ 2147483647 w 214"/>
                <a:gd name="T49" fmla="*/ 2147483647 h 67"/>
                <a:gd name="T50" fmla="*/ 2147483647 w 214"/>
                <a:gd name="T51" fmla="*/ 2147483647 h 67"/>
                <a:gd name="T52" fmla="*/ 2147483647 w 214"/>
                <a:gd name="T53" fmla="*/ 2147483647 h 67"/>
                <a:gd name="T54" fmla="*/ 2147483647 w 214"/>
                <a:gd name="T55" fmla="*/ 2147483647 h 67"/>
                <a:gd name="T56" fmla="*/ 2147483647 w 214"/>
                <a:gd name="T57" fmla="*/ 2147483647 h 67"/>
                <a:gd name="T58" fmla="*/ 2147483647 w 214"/>
                <a:gd name="T59" fmla="*/ 2147483647 h 67"/>
                <a:gd name="T60" fmla="*/ 2147483647 w 214"/>
                <a:gd name="T61" fmla="*/ 2147483647 h 67"/>
                <a:gd name="T62" fmla="*/ 2147483647 w 214"/>
                <a:gd name="T63" fmla="*/ 2147483647 h 67"/>
                <a:gd name="T64" fmla="*/ 2147483647 w 214"/>
                <a:gd name="T65" fmla="*/ 2147483647 h 67"/>
                <a:gd name="T66" fmla="*/ 2147483647 w 214"/>
                <a:gd name="T67" fmla="*/ 2147483647 h 67"/>
                <a:gd name="T68" fmla="*/ 2147483647 w 214"/>
                <a:gd name="T69" fmla="*/ 2147483647 h 67"/>
                <a:gd name="T70" fmla="*/ 2147483647 w 214"/>
                <a:gd name="T71" fmla="*/ 2147483647 h 67"/>
                <a:gd name="T72" fmla="*/ 2147483647 w 214"/>
                <a:gd name="T73" fmla="*/ 2147483647 h 67"/>
                <a:gd name="T74" fmla="*/ 2147483647 w 214"/>
                <a:gd name="T75" fmla="*/ 2147483647 h 67"/>
                <a:gd name="T76" fmla="*/ 2147483647 w 214"/>
                <a:gd name="T77" fmla="*/ 2147483647 h 67"/>
                <a:gd name="T78" fmla="*/ 2147483647 w 214"/>
                <a:gd name="T79" fmla="*/ 2147483647 h 67"/>
                <a:gd name="T80" fmla="*/ 2147483647 w 214"/>
                <a:gd name="T81" fmla="*/ 2147483647 h 67"/>
                <a:gd name="T82" fmla="*/ 2147483647 w 214"/>
                <a:gd name="T83" fmla="*/ 2147483647 h 67"/>
                <a:gd name="T84" fmla="*/ 2147483647 w 214"/>
                <a:gd name="T85" fmla="*/ 2147483647 h 6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4"/>
                <a:gd name="T130" fmla="*/ 0 h 67"/>
                <a:gd name="T131" fmla="*/ 214 w 214"/>
                <a:gd name="T132" fmla="*/ 67 h 6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4" h="67">
                  <a:moveTo>
                    <a:pt x="0" y="3"/>
                  </a:moveTo>
                  <a:lnTo>
                    <a:pt x="20" y="0"/>
                  </a:lnTo>
                  <a:lnTo>
                    <a:pt x="30" y="0"/>
                  </a:lnTo>
                  <a:lnTo>
                    <a:pt x="40" y="1"/>
                  </a:lnTo>
                  <a:lnTo>
                    <a:pt x="46" y="3"/>
                  </a:lnTo>
                  <a:lnTo>
                    <a:pt x="52" y="7"/>
                  </a:lnTo>
                  <a:lnTo>
                    <a:pt x="57" y="10"/>
                  </a:lnTo>
                  <a:lnTo>
                    <a:pt x="59" y="11"/>
                  </a:lnTo>
                  <a:lnTo>
                    <a:pt x="60" y="15"/>
                  </a:lnTo>
                  <a:lnTo>
                    <a:pt x="61" y="19"/>
                  </a:lnTo>
                  <a:lnTo>
                    <a:pt x="62" y="23"/>
                  </a:lnTo>
                  <a:lnTo>
                    <a:pt x="64" y="24"/>
                  </a:lnTo>
                  <a:lnTo>
                    <a:pt x="66" y="24"/>
                  </a:lnTo>
                  <a:lnTo>
                    <a:pt x="70" y="24"/>
                  </a:lnTo>
                  <a:lnTo>
                    <a:pt x="75" y="23"/>
                  </a:lnTo>
                  <a:lnTo>
                    <a:pt x="76" y="16"/>
                  </a:lnTo>
                  <a:lnTo>
                    <a:pt x="77" y="11"/>
                  </a:lnTo>
                  <a:lnTo>
                    <a:pt x="78" y="10"/>
                  </a:lnTo>
                  <a:lnTo>
                    <a:pt x="80" y="9"/>
                  </a:lnTo>
                  <a:lnTo>
                    <a:pt x="83" y="8"/>
                  </a:lnTo>
                  <a:lnTo>
                    <a:pt x="87" y="9"/>
                  </a:lnTo>
                  <a:lnTo>
                    <a:pt x="89" y="14"/>
                  </a:lnTo>
                  <a:lnTo>
                    <a:pt x="91" y="18"/>
                  </a:lnTo>
                  <a:lnTo>
                    <a:pt x="94" y="21"/>
                  </a:lnTo>
                  <a:lnTo>
                    <a:pt x="99" y="23"/>
                  </a:lnTo>
                  <a:lnTo>
                    <a:pt x="103" y="22"/>
                  </a:lnTo>
                  <a:lnTo>
                    <a:pt x="106" y="22"/>
                  </a:lnTo>
                  <a:lnTo>
                    <a:pt x="111" y="23"/>
                  </a:lnTo>
                  <a:lnTo>
                    <a:pt x="115" y="28"/>
                  </a:lnTo>
                  <a:lnTo>
                    <a:pt x="119" y="35"/>
                  </a:lnTo>
                  <a:lnTo>
                    <a:pt x="121" y="37"/>
                  </a:lnTo>
                  <a:lnTo>
                    <a:pt x="125" y="39"/>
                  </a:lnTo>
                  <a:lnTo>
                    <a:pt x="129" y="41"/>
                  </a:lnTo>
                  <a:lnTo>
                    <a:pt x="135" y="44"/>
                  </a:lnTo>
                  <a:lnTo>
                    <a:pt x="149" y="48"/>
                  </a:lnTo>
                  <a:lnTo>
                    <a:pt x="165" y="53"/>
                  </a:lnTo>
                  <a:lnTo>
                    <a:pt x="181" y="57"/>
                  </a:lnTo>
                  <a:lnTo>
                    <a:pt x="196" y="61"/>
                  </a:lnTo>
                  <a:lnTo>
                    <a:pt x="202" y="63"/>
                  </a:lnTo>
                  <a:lnTo>
                    <a:pt x="207" y="65"/>
                  </a:lnTo>
                  <a:lnTo>
                    <a:pt x="211" y="66"/>
                  </a:lnTo>
                  <a:lnTo>
                    <a:pt x="214" y="67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0" name="Line 629">
              <a:extLst>
                <a:ext uri="{FF2B5EF4-FFF2-40B4-BE49-F238E27FC236}">
                  <a16:creationId xmlns:a16="http://schemas.microsoft.com/office/drawing/2014/main" id="{6D40CC2F-7D20-49C6-BA01-982C44F5AE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29221" y="3045806"/>
              <a:ext cx="36956" cy="2941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1" name="Freeform 630">
              <a:extLst>
                <a:ext uri="{FF2B5EF4-FFF2-40B4-BE49-F238E27FC236}">
                  <a16:creationId xmlns:a16="http://schemas.microsoft.com/office/drawing/2014/main" id="{211301F1-600C-4A63-BEE3-938B09F14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3525" y="3209526"/>
              <a:ext cx="60472" cy="272539"/>
            </a:xfrm>
            <a:custGeom>
              <a:avLst/>
              <a:gdLst>
                <a:gd name="T0" fmla="*/ 2147483647 w 50"/>
                <a:gd name="T1" fmla="*/ 0 h 252"/>
                <a:gd name="T2" fmla="*/ 2147483647 w 50"/>
                <a:gd name="T3" fmla="*/ 2147483647 h 252"/>
                <a:gd name="T4" fmla="*/ 2147483647 w 50"/>
                <a:gd name="T5" fmla="*/ 2147483647 h 252"/>
                <a:gd name="T6" fmla="*/ 2147483647 w 50"/>
                <a:gd name="T7" fmla="*/ 2147483647 h 252"/>
                <a:gd name="T8" fmla="*/ 0 w 50"/>
                <a:gd name="T9" fmla="*/ 2147483647 h 2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0"/>
                <a:gd name="T16" fmla="*/ 0 h 252"/>
                <a:gd name="T17" fmla="*/ 50 w 50"/>
                <a:gd name="T18" fmla="*/ 252 h 25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0" h="252">
                  <a:moveTo>
                    <a:pt x="46" y="0"/>
                  </a:moveTo>
                  <a:lnTo>
                    <a:pt x="38" y="78"/>
                  </a:lnTo>
                  <a:lnTo>
                    <a:pt x="50" y="130"/>
                  </a:lnTo>
                  <a:lnTo>
                    <a:pt x="38" y="222"/>
                  </a:lnTo>
                  <a:lnTo>
                    <a:pt x="0" y="252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2" name="Line 636">
              <a:extLst>
                <a:ext uri="{FF2B5EF4-FFF2-40B4-BE49-F238E27FC236}">
                  <a16:creationId xmlns:a16="http://schemas.microsoft.com/office/drawing/2014/main" id="{FB30E34D-6213-47F1-91C1-28501680C0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82495" y="2725228"/>
              <a:ext cx="72791" cy="2941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3" name="Freeform 638">
              <a:extLst>
                <a:ext uri="{FF2B5EF4-FFF2-40B4-BE49-F238E27FC236}">
                  <a16:creationId xmlns:a16="http://schemas.microsoft.com/office/drawing/2014/main" id="{2CE23D73-B9F8-4BB3-9E13-8BD7453F2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9985" y="2217403"/>
              <a:ext cx="108625" cy="332342"/>
            </a:xfrm>
            <a:custGeom>
              <a:avLst/>
              <a:gdLst>
                <a:gd name="T0" fmla="*/ 2147483647 w 90"/>
                <a:gd name="T1" fmla="*/ 2147483647 h 307"/>
                <a:gd name="T2" fmla="*/ 2147483647 w 90"/>
                <a:gd name="T3" fmla="*/ 2147483647 h 307"/>
                <a:gd name="T4" fmla="*/ 2147483647 w 90"/>
                <a:gd name="T5" fmla="*/ 2147483647 h 307"/>
                <a:gd name="T6" fmla="*/ 2147483647 w 90"/>
                <a:gd name="T7" fmla="*/ 2147483647 h 307"/>
                <a:gd name="T8" fmla="*/ 2147483647 w 90"/>
                <a:gd name="T9" fmla="*/ 2147483647 h 307"/>
                <a:gd name="T10" fmla="*/ 2147483647 w 90"/>
                <a:gd name="T11" fmla="*/ 2147483647 h 307"/>
                <a:gd name="T12" fmla="*/ 2147483647 w 90"/>
                <a:gd name="T13" fmla="*/ 2147483647 h 307"/>
                <a:gd name="T14" fmla="*/ 2147483647 w 90"/>
                <a:gd name="T15" fmla="*/ 2147483647 h 307"/>
                <a:gd name="T16" fmla="*/ 2147483647 w 90"/>
                <a:gd name="T17" fmla="*/ 2147483647 h 307"/>
                <a:gd name="T18" fmla="*/ 2147483647 w 90"/>
                <a:gd name="T19" fmla="*/ 2147483647 h 307"/>
                <a:gd name="T20" fmla="*/ 2147483647 w 90"/>
                <a:gd name="T21" fmla="*/ 2147483647 h 307"/>
                <a:gd name="T22" fmla="*/ 2147483647 w 90"/>
                <a:gd name="T23" fmla="*/ 2147483647 h 307"/>
                <a:gd name="T24" fmla="*/ 2147483647 w 90"/>
                <a:gd name="T25" fmla="*/ 2147483647 h 307"/>
                <a:gd name="T26" fmla="*/ 0 w 90"/>
                <a:gd name="T27" fmla="*/ 2147483647 h 307"/>
                <a:gd name="T28" fmla="*/ 0 w 90"/>
                <a:gd name="T29" fmla="*/ 0 h 3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0"/>
                <a:gd name="T46" fmla="*/ 0 h 307"/>
                <a:gd name="T47" fmla="*/ 90 w 90"/>
                <a:gd name="T48" fmla="*/ 307 h 30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0" h="307">
                  <a:moveTo>
                    <a:pt x="74" y="307"/>
                  </a:moveTo>
                  <a:lnTo>
                    <a:pt x="76" y="261"/>
                  </a:lnTo>
                  <a:lnTo>
                    <a:pt x="86" y="223"/>
                  </a:lnTo>
                  <a:lnTo>
                    <a:pt x="90" y="193"/>
                  </a:lnTo>
                  <a:lnTo>
                    <a:pt x="72" y="167"/>
                  </a:lnTo>
                  <a:lnTo>
                    <a:pt x="72" y="160"/>
                  </a:lnTo>
                  <a:lnTo>
                    <a:pt x="73" y="153"/>
                  </a:lnTo>
                  <a:lnTo>
                    <a:pt x="77" y="136"/>
                  </a:lnTo>
                  <a:lnTo>
                    <a:pt x="81" y="118"/>
                  </a:lnTo>
                  <a:lnTo>
                    <a:pt x="82" y="110"/>
                  </a:lnTo>
                  <a:lnTo>
                    <a:pt x="82" y="102"/>
                  </a:lnTo>
                  <a:lnTo>
                    <a:pt x="58" y="54"/>
                  </a:lnTo>
                  <a:lnTo>
                    <a:pt x="18" y="24"/>
                  </a:lnTo>
                  <a:lnTo>
                    <a:pt x="0" y="16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4" name="Freeform 639">
              <a:extLst>
                <a:ext uri="{FF2B5EF4-FFF2-40B4-BE49-F238E27FC236}">
                  <a16:creationId xmlns:a16="http://schemas.microsoft.com/office/drawing/2014/main" id="{B84B3AF5-60BD-4CEF-8918-96113FD24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4093" y="1958586"/>
              <a:ext cx="236288" cy="139212"/>
            </a:xfrm>
            <a:custGeom>
              <a:avLst/>
              <a:gdLst>
                <a:gd name="T0" fmla="*/ 0 w 196"/>
                <a:gd name="T1" fmla="*/ 2147483647 h 129"/>
                <a:gd name="T2" fmla="*/ 2147483647 w 196"/>
                <a:gd name="T3" fmla="*/ 0 h 129"/>
                <a:gd name="T4" fmla="*/ 2147483647 w 196"/>
                <a:gd name="T5" fmla="*/ 2147483647 h 129"/>
                <a:gd name="T6" fmla="*/ 2147483647 w 196"/>
                <a:gd name="T7" fmla="*/ 2147483647 h 129"/>
                <a:gd name="T8" fmla="*/ 2147483647 w 196"/>
                <a:gd name="T9" fmla="*/ 2147483647 h 129"/>
                <a:gd name="T10" fmla="*/ 2147483647 w 196"/>
                <a:gd name="T11" fmla="*/ 2147483647 h 129"/>
                <a:gd name="T12" fmla="*/ 2147483647 w 196"/>
                <a:gd name="T13" fmla="*/ 2147483647 h 129"/>
                <a:gd name="T14" fmla="*/ 2147483647 w 196"/>
                <a:gd name="T15" fmla="*/ 2147483647 h 129"/>
                <a:gd name="T16" fmla="*/ 2147483647 w 196"/>
                <a:gd name="T17" fmla="*/ 2147483647 h 129"/>
                <a:gd name="T18" fmla="*/ 2147483647 w 196"/>
                <a:gd name="T19" fmla="*/ 2147483647 h 129"/>
                <a:gd name="T20" fmla="*/ 2147483647 w 196"/>
                <a:gd name="T21" fmla="*/ 2147483647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6"/>
                <a:gd name="T34" fmla="*/ 0 h 129"/>
                <a:gd name="T35" fmla="*/ 196 w 196"/>
                <a:gd name="T36" fmla="*/ 129 h 1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6" h="129">
                  <a:moveTo>
                    <a:pt x="0" y="9"/>
                  </a:moveTo>
                  <a:lnTo>
                    <a:pt x="66" y="0"/>
                  </a:lnTo>
                  <a:lnTo>
                    <a:pt x="127" y="9"/>
                  </a:lnTo>
                  <a:lnTo>
                    <a:pt x="169" y="27"/>
                  </a:lnTo>
                  <a:lnTo>
                    <a:pt x="171" y="33"/>
                  </a:lnTo>
                  <a:lnTo>
                    <a:pt x="173" y="40"/>
                  </a:lnTo>
                  <a:lnTo>
                    <a:pt x="174" y="57"/>
                  </a:lnTo>
                  <a:lnTo>
                    <a:pt x="174" y="75"/>
                  </a:lnTo>
                  <a:lnTo>
                    <a:pt x="174" y="83"/>
                  </a:lnTo>
                  <a:lnTo>
                    <a:pt x="175" y="90"/>
                  </a:lnTo>
                  <a:lnTo>
                    <a:pt x="196" y="129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5" name="Freeform 640">
              <a:extLst>
                <a:ext uri="{FF2B5EF4-FFF2-40B4-BE49-F238E27FC236}">
                  <a16:creationId xmlns:a16="http://schemas.microsoft.com/office/drawing/2014/main" id="{3DBE6A46-2FF5-4F95-BDAA-09D4065B3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6963" y="2120345"/>
              <a:ext cx="81748" cy="85291"/>
            </a:xfrm>
            <a:custGeom>
              <a:avLst/>
              <a:gdLst>
                <a:gd name="T0" fmla="*/ 2147483647 w 67"/>
                <a:gd name="T1" fmla="*/ 2147483647 h 79"/>
                <a:gd name="T2" fmla="*/ 2147483647 w 67"/>
                <a:gd name="T3" fmla="*/ 2147483647 h 79"/>
                <a:gd name="T4" fmla="*/ 2147483647 w 67"/>
                <a:gd name="T5" fmla="*/ 0 h 79"/>
                <a:gd name="T6" fmla="*/ 0 w 67"/>
                <a:gd name="T7" fmla="*/ 0 h 7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7"/>
                <a:gd name="T13" fmla="*/ 0 h 79"/>
                <a:gd name="T14" fmla="*/ 67 w 67"/>
                <a:gd name="T15" fmla="*/ 79 h 7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7" h="79">
                  <a:moveTo>
                    <a:pt x="64" y="79"/>
                  </a:moveTo>
                  <a:lnTo>
                    <a:pt x="67" y="30"/>
                  </a:lnTo>
                  <a:lnTo>
                    <a:pt x="30" y="0"/>
                  </a:lnTo>
                  <a:lnTo>
                    <a:pt x="0" y="0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6" name="Freeform 642">
              <a:extLst>
                <a:ext uri="{FF2B5EF4-FFF2-40B4-BE49-F238E27FC236}">
                  <a16:creationId xmlns:a16="http://schemas.microsoft.com/office/drawing/2014/main" id="{68713BD4-8C48-471F-9197-962CE936F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3992" y="2396809"/>
              <a:ext cx="52633" cy="122544"/>
            </a:xfrm>
            <a:custGeom>
              <a:avLst/>
              <a:gdLst>
                <a:gd name="T0" fmla="*/ 0 w 43"/>
                <a:gd name="T1" fmla="*/ 0 h 113"/>
                <a:gd name="T2" fmla="*/ 2147483647 w 43"/>
                <a:gd name="T3" fmla="*/ 2147483647 h 113"/>
                <a:gd name="T4" fmla="*/ 2147483647 w 43"/>
                <a:gd name="T5" fmla="*/ 2147483647 h 113"/>
                <a:gd name="T6" fmla="*/ 2147483647 w 43"/>
                <a:gd name="T7" fmla="*/ 2147483647 h 113"/>
                <a:gd name="T8" fmla="*/ 2147483647 w 43"/>
                <a:gd name="T9" fmla="*/ 2147483647 h 113"/>
                <a:gd name="T10" fmla="*/ 2147483647 w 43"/>
                <a:gd name="T11" fmla="*/ 2147483647 h 113"/>
                <a:gd name="T12" fmla="*/ 2147483647 w 43"/>
                <a:gd name="T13" fmla="*/ 2147483647 h 113"/>
                <a:gd name="T14" fmla="*/ 2147483647 w 43"/>
                <a:gd name="T15" fmla="*/ 2147483647 h 113"/>
                <a:gd name="T16" fmla="*/ 2147483647 w 43"/>
                <a:gd name="T17" fmla="*/ 2147483647 h 113"/>
                <a:gd name="T18" fmla="*/ 2147483647 w 43"/>
                <a:gd name="T19" fmla="*/ 2147483647 h 1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113"/>
                <a:gd name="T32" fmla="*/ 43 w 43"/>
                <a:gd name="T33" fmla="*/ 113 h 1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113">
                  <a:moveTo>
                    <a:pt x="0" y="0"/>
                  </a:moveTo>
                  <a:lnTo>
                    <a:pt x="1" y="5"/>
                  </a:lnTo>
                  <a:lnTo>
                    <a:pt x="3" y="12"/>
                  </a:lnTo>
                  <a:lnTo>
                    <a:pt x="5" y="20"/>
                  </a:lnTo>
                  <a:lnTo>
                    <a:pt x="8" y="29"/>
                  </a:lnTo>
                  <a:lnTo>
                    <a:pt x="13" y="47"/>
                  </a:lnTo>
                  <a:lnTo>
                    <a:pt x="16" y="55"/>
                  </a:lnTo>
                  <a:lnTo>
                    <a:pt x="18" y="61"/>
                  </a:lnTo>
                  <a:lnTo>
                    <a:pt x="39" y="85"/>
                  </a:lnTo>
                  <a:lnTo>
                    <a:pt x="43" y="113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7" name="Freeform 652">
              <a:extLst>
                <a:ext uri="{FF2B5EF4-FFF2-40B4-BE49-F238E27FC236}">
                  <a16:creationId xmlns:a16="http://schemas.microsoft.com/office/drawing/2014/main" id="{4EA08436-2349-4FB0-A4A3-8EA4F118DB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253" y="4427133"/>
              <a:ext cx="271004" cy="39214"/>
            </a:xfrm>
            <a:custGeom>
              <a:avLst/>
              <a:gdLst>
                <a:gd name="T0" fmla="*/ 0 w 224"/>
                <a:gd name="T1" fmla="*/ 2147483647 h 36"/>
                <a:gd name="T2" fmla="*/ 2147483647 w 224"/>
                <a:gd name="T3" fmla="*/ 0 h 36"/>
                <a:gd name="T4" fmla="*/ 2147483647 w 224"/>
                <a:gd name="T5" fmla="*/ 2147483647 h 36"/>
                <a:gd name="T6" fmla="*/ 2147483647 w 224"/>
                <a:gd name="T7" fmla="*/ 2147483647 h 36"/>
                <a:gd name="T8" fmla="*/ 2147483647 w 224"/>
                <a:gd name="T9" fmla="*/ 2147483647 h 36"/>
                <a:gd name="T10" fmla="*/ 2147483647 w 224"/>
                <a:gd name="T11" fmla="*/ 2147483647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4"/>
                <a:gd name="T19" fmla="*/ 0 h 36"/>
                <a:gd name="T20" fmla="*/ 224 w 224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4" h="36">
                  <a:moveTo>
                    <a:pt x="0" y="6"/>
                  </a:moveTo>
                  <a:lnTo>
                    <a:pt x="42" y="0"/>
                  </a:lnTo>
                  <a:lnTo>
                    <a:pt x="74" y="22"/>
                  </a:lnTo>
                  <a:lnTo>
                    <a:pt x="110" y="36"/>
                  </a:lnTo>
                  <a:lnTo>
                    <a:pt x="158" y="12"/>
                  </a:lnTo>
                  <a:lnTo>
                    <a:pt x="224" y="28"/>
                  </a:ln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8" name="Oval 670">
              <a:extLst>
                <a:ext uri="{FF2B5EF4-FFF2-40B4-BE49-F238E27FC236}">
                  <a16:creationId xmlns:a16="http://schemas.microsoft.com/office/drawing/2014/main" id="{99E101D7-DDB9-4D56-B1AA-3664D930F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9376" y="4088909"/>
              <a:ext cx="35835" cy="29410"/>
            </a:xfrm>
            <a:prstGeom prst="ellipse">
              <a:avLst/>
            </a:prstGeom>
            <a:solidFill>
              <a:srgbClr val="FF6B72"/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9" name="Freeform 673">
              <a:extLst>
                <a:ext uri="{FF2B5EF4-FFF2-40B4-BE49-F238E27FC236}">
                  <a16:creationId xmlns:a16="http://schemas.microsoft.com/office/drawing/2014/main" id="{C32FBC12-ED1E-43C4-8E17-1D2CD57B1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539" y="4177141"/>
              <a:ext cx="22397" cy="138231"/>
            </a:xfrm>
            <a:custGeom>
              <a:avLst/>
              <a:gdLst>
                <a:gd name="T0" fmla="*/ 2147483647 w 18"/>
                <a:gd name="T1" fmla="*/ 2147483647 h 127"/>
                <a:gd name="T2" fmla="*/ 2147483647 w 18"/>
                <a:gd name="T3" fmla="*/ 2147483647 h 127"/>
                <a:gd name="T4" fmla="*/ 2147483647 w 18"/>
                <a:gd name="T5" fmla="*/ 2147483647 h 127"/>
                <a:gd name="T6" fmla="*/ 2147483647 w 18"/>
                <a:gd name="T7" fmla="*/ 2147483647 h 127"/>
                <a:gd name="T8" fmla="*/ 0 w 18"/>
                <a:gd name="T9" fmla="*/ 0 h 1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27"/>
                <a:gd name="T17" fmla="*/ 18 w 18"/>
                <a:gd name="T18" fmla="*/ 127 h 1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27">
                  <a:moveTo>
                    <a:pt x="4" y="127"/>
                  </a:moveTo>
                  <a:lnTo>
                    <a:pt x="4" y="114"/>
                  </a:lnTo>
                  <a:lnTo>
                    <a:pt x="11" y="82"/>
                  </a:lnTo>
                  <a:lnTo>
                    <a:pt x="18" y="35"/>
                  </a:lnTo>
                  <a:lnTo>
                    <a:pt x="0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0" name="Line 674">
              <a:extLst>
                <a:ext uri="{FF2B5EF4-FFF2-40B4-BE49-F238E27FC236}">
                  <a16:creationId xmlns:a16="http://schemas.microsoft.com/office/drawing/2014/main" id="{0FA8AC48-2594-4496-B7CD-11290AE43E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31728" y="4236942"/>
              <a:ext cx="70551" cy="36274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1" name="Freeform 675">
              <a:extLst>
                <a:ext uri="{FF2B5EF4-FFF2-40B4-BE49-F238E27FC236}">
                  <a16:creationId xmlns:a16="http://schemas.microsoft.com/office/drawing/2014/main" id="{86F68355-9299-4C1B-88B4-7F5AF9861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620" y="4175179"/>
              <a:ext cx="122063" cy="10195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5" y="29"/>
                </a:cxn>
                <a:cxn ang="0">
                  <a:pos x="83" y="94"/>
                </a:cxn>
              </a:cxnLst>
              <a:rect l="0" t="0" r="r" b="b"/>
              <a:pathLst>
                <a:path w="83" h="94">
                  <a:moveTo>
                    <a:pt x="0" y="0"/>
                  </a:moveTo>
                  <a:lnTo>
                    <a:pt x="45" y="29"/>
                  </a:lnTo>
                  <a:lnTo>
                    <a:pt x="83" y="94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2" name="Oval 677">
              <a:extLst>
                <a:ext uri="{FF2B5EF4-FFF2-40B4-BE49-F238E27FC236}">
                  <a16:creationId xmlns:a16="http://schemas.microsoft.com/office/drawing/2014/main" id="{9B4A807D-49A7-45C0-956D-97182B3DF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2847" y="4230082"/>
              <a:ext cx="2015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3" name="Freeform 678">
              <a:extLst>
                <a:ext uri="{FF2B5EF4-FFF2-40B4-BE49-F238E27FC236}">
                  <a16:creationId xmlns:a16="http://schemas.microsoft.com/office/drawing/2014/main" id="{907F796C-D843-4624-A3F9-94356D599426}"/>
                </a:ext>
              </a:extLst>
            </p:cNvPr>
            <p:cNvSpPr>
              <a:spLocks/>
            </p:cNvSpPr>
            <p:nvPr/>
          </p:nvSpPr>
          <p:spPr bwMode="auto">
            <a:xfrm rot="10312194" flipV="1">
              <a:off x="6487266" y="4235963"/>
              <a:ext cx="80629" cy="29410"/>
            </a:xfrm>
            <a:custGeom>
              <a:avLst/>
              <a:gdLst>
                <a:gd name="T0" fmla="*/ 0 w 111"/>
                <a:gd name="T1" fmla="*/ 2147483647 h 24"/>
                <a:gd name="T2" fmla="*/ 2147483647 w 111"/>
                <a:gd name="T3" fmla="*/ 2147483647 h 24"/>
                <a:gd name="T4" fmla="*/ 2147483647 w 111"/>
                <a:gd name="T5" fmla="*/ 2147483647 h 24"/>
                <a:gd name="T6" fmla="*/ 0 60000 65536"/>
                <a:gd name="T7" fmla="*/ 0 60000 65536"/>
                <a:gd name="T8" fmla="*/ 0 60000 65536"/>
                <a:gd name="T9" fmla="*/ 0 w 111"/>
                <a:gd name="T10" fmla="*/ 0 h 24"/>
                <a:gd name="T11" fmla="*/ 111 w 111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1" h="24">
                  <a:moveTo>
                    <a:pt x="0" y="7"/>
                  </a:moveTo>
                  <a:cubicBezTo>
                    <a:pt x="25" y="3"/>
                    <a:pt x="51" y="0"/>
                    <a:pt x="69" y="3"/>
                  </a:cubicBezTo>
                  <a:cubicBezTo>
                    <a:pt x="87" y="6"/>
                    <a:pt x="103" y="18"/>
                    <a:pt x="111" y="24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4" name="Oval 680">
              <a:extLst>
                <a:ext uri="{FF2B5EF4-FFF2-40B4-BE49-F238E27FC236}">
                  <a16:creationId xmlns:a16="http://schemas.microsoft.com/office/drawing/2014/main" id="{FAFF4183-9D23-49F7-B1F1-DF263D0C0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8603" y="4278119"/>
              <a:ext cx="22397" cy="17646"/>
            </a:xfrm>
            <a:prstGeom prst="ellips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5" name="Freeform 681">
              <a:extLst>
                <a:ext uri="{FF2B5EF4-FFF2-40B4-BE49-F238E27FC236}">
                  <a16:creationId xmlns:a16="http://schemas.microsoft.com/office/drawing/2014/main" id="{546B2EE6-FE5D-44B5-A3AA-7C7F4CD81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2788" y="4267334"/>
              <a:ext cx="166857" cy="1568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0" y="16"/>
                </a:cxn>
                <a:cxn ang="0">
                  <a:pos x="160" y="15"/>
                </a:cxn>
              </a:cxnLst>
              <a:rect l="0" t="0" r="r" b="b"/>
              <a:pathLst>
                <a:path w="160" h="16">
                  <a:moveTo>
                    <a:pt x="0" y="0"/>
                  </a:moveTo>
                  <a:lnTo>
                    <a:pt x="100" y="16"/>
                  </a:lnTo>
                  <a:lnTo>
                    <a:pt x="160" y="15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6" name="Freeform 682">
              <a:extLst>
                <a:ext uri="{FF2B5EF4-FFF2-40B4-BE49-F238E27FC236}">
                  <a16:creationId xmlns:a16="http://schemas.microsoft.com/office/drawing/2014/main" id="{665FE6FE-5ED8-42FF-ADD1-E5254A3F3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699" y="4235962"/>
              <a:ext cx="127663" cy="52940"/>
            </a:xfrm>
            <a:custGeom>
              <a:avLst/>
              <a:gdLst>
                <a:gd name="T0" fmla="*/ 0 w 58"/>
                <a:gd name="T1" fmla="*/ 0 h 23"/>
                <a:gd name="T2" fmla="*/ 2147483647 w 58"/>
                <a:gd name="T3" fmla="*/ 2147483647 h 23"/>
                <a:gd name="T4" fmla="*/ 0 60000 65536"/>
                <a:gd name="T5" fmla="*/ 0 60000 65536"/>
                <a:gd name="T6" fmla="*/ 0 w 58"/>
                <a:gd name="T7" fmla="*/ 0 h 23"/>
                <a:gd name="T8" fmla="*/ 58 w 58"/>
                <a:gd name="T9" fmla="*/ 23 h 23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58" h="23">
                  <a:moveTo>
                    <a:pt x="0" y="0"/>
                  </a:moveTo>
                  <a:cubicBezTo>
                    <a:pt x="25" y="11"/>
                    <a:pt x="50" y="22"/>
                    <a:pt x="58" y="23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7" name="Oval 683">
              <a:extLst>
                <a:ext uri="{FF2B5EF4-FFF2-40B4-BE49-F238E27FC236}">
                  <a16:creationId xmlns:a16="http://schemas.microsoft.com/office/drawing/2014/main" id="{C5C2FF6C-8936-4414-BFA1-11259B328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1650" y="4268315"/>
              <a:ext cx="27996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8" name="Oval 684">
              <a:extLst>
                <a:ext uri="{FF2B5EF4-FFF2-40B4-BE49-F238E27FC236}">
                  <a16:creationId xmlns:a16="http://schemas.microsoft.com/office/drawing/2014/main" id="{EDD9AAF2-27E9-49DF-920B-3F69F3ABEC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7483" y="4272236"/>
              <a:ext cx="2239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9" name="Oval 690">
              <a:extLst>
                <a:ext uri="{FF2B5EF4-FFF2-40B4-BE49-F238E27FC236}">
                  <a16:creationId xmlns:a16="http://schemas.microsoft.com/office/drawing/2014/main" id="{1931FC46-3128-4BD9-AF3E-2639E7DAAC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4791" y="4237923"/>
              <a:ext cx="41433" cy="3529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0" name="Freeform 691">
              <a:extLst>
                <a:ext uri="{FF2B5EF4-FFF2-40B4-BE49-F238E27FC236}">
                  <a16:creationId xmlns:a16="http://schemas.microsoft.com/office/drawing/2014/main" id="{B741AE1D-B7B3-4BC5-AEB9-022D4E5D7BE4}"/>
                </a:ext>
              </a:extLst>
            </p:cNvPr>
            <p:cNvSpPr>
              <a:spLocks/>
            </p:cNvSpPr>
            <p:nvPr/>
          </p:nvSpPr>
          <p:spPr bwMode="auto">
            <a:xfrm rot="21196025">
              <a:off x="5795199" y="3862446"/>
              <a:ext cx="60472" cy="343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2" y="34"/>
                </a:cxn>
              </a:cxnLst>
              <a:rect l="0" t="0" r="r" b="b"/>
              <a:pathLst>
                <a:path w="72" h="34">
                  <a:moveTo>
                    <a:pt x="0" y="0"/>
                  </a:moveTo>
                  <a:cubicBezTo>
                    <a:pt x="32" y="15"/>
                    <a:pt x="64" y="30"/>
                    <a:pt x="72" y="34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1" name="Line 692">
              <a:extLst>
                <a:ext uri="{FF2B5EF4-FFF2-40B4-BE49-F238E27FC236}">
                  <a16:creationId xmlns:a16="http://schemas.microsoft.com/office/drawing/2014/main" id="{51E10A3F-AA24-4D53-99BE-48873E9DBF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66149" y="2130150"/>
              <a:ext cx="13439" cy="18627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2" name="Line 693">
              <a:extLst>
                <a:ext uri="{FF2B5EF4-FFF2-40B4-BE49-F238E27FC236}">
                  <a16:creationId xmlns:a16="http://schemas.microsoft.com/office/drawing/2014/main" id="{50F4AE05-98A9-4D37-A1B6-BC6D7CEACB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02281" y="2245832"/>
              <a:ext cx="103970" cy="1568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83" name="Oval 695">
              <a:extLst>
                <a:ext uri="{FF2B5EF4-FFF2-40B4-BE49-F238E27FC236}">
                  <a16:creationId xmlns:a16="http://schemas.microsoft.com/office/drawing/2014/main" id="{F4DAFE69-C666-4283-89F9-8E9C80B37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7412" y="3024239"/>
              <a:ext cx="42555" cy="3627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4" name="Freeform 697">
              <a:extLst>
                <a:ext uri="{FF2B5EF4-FFF2-40B4-BE49-F238E27FC236}">
                  <a16:creationId xmlns:a16="http://schemas.microsoft.com/office/drawing/2014/main" id="{8EFAD444-77D5-429E-B0D9-ED0C1373F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690" y="2692877"/>
              <a:ext cx="89588" cy="285285"/>
            </a:xfrm>
            <a:custGeom>
              <a:avLst/>
              <a:gdLst>
                <a:gd name="T0" fmla="*/ 2147483647 w 65"/>
                <a:gd name="T1" fmla="*/ 0 h 242"/>
                <a:gd name="T2" fmla="*/ 2147483647 w 65"/>
                <a:gd name="T3" fmla="*/ 2147483647 h 242"/>
                <a:gd name="T4" fmla="*/ 2147483647 w 65"/>
                <a:gd name="T5" fmla="*/ 2147483647 h 242"/>
                <a:gd name="T6" fmla="*/ 0 w 65"/>
                <a:gd name="T7" fmla="*/ 2147483647 h 24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5"/>
                <a:gd name="T13" fmla="*/ 0 h 242"/>
                <a:gd name="T14" fmla="*/ 65 w 65"/>
                <a:gd name="T15" fmla="*/ 242 h 24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5" h="242">
                  <a:moveTo>
                    <a:pt x="65" y="0"/>
                  </a:moveTo>
                  <a:cubicBezTo>
                    <a:pt x="57" y="20"/>
                    <a:pt x="50" y="40"/>
                    <a:pt x="47" y="60"/>
                  </a:cubicBezTo>
                  <a:cubicBezTo>
                    <a:pt x="44" y="80"/>
                    <a:pt x="52" y="93"/>
                    <a:pt x="44" y="123"/>
                  </a:cubicBezTo>
                  <a:cubicBezTo>
                    <a:pt x="36" y="153"/>
                    <a:pt x="11" y="223"/>
                    <a:pt x="0" y="242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85" name="Oval 699">
              <a:extLst>
                <a:ext uri="{FF2B5EF4-FFF2-40B4-BE49-F238E27FC236}">
                  <a16:creationId xmlns:a16="http://schemas.microsoft.com/office/drawing/2014/main" id="{1EDD4A29-09D1-417E-8189-5F9496709C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3684" y="2656602"/>
              <a:ext cx="41433" cy="36274"/>
            </a:xfrm>
            <a:prstGeom prst="ellipse">
              <a:avLst/>
            </a:prstGeom>
            <a:solidFill>
              <a:srgbClr val="FF6B72"/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6" name="Freeform 700">
              <a:extLst>
                <a:ext uri="{FF2B5EF4-FFF2-40B4-BE49-F238E27FC236}">
                  <a16:creationId xmlns:a16="http://schemas.microsoft.com/office/drawing/2014/main" id="{E51877DC-E360-405C-9389-009155998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019" y="2355944"/>
              <a:ext cx="635824" cy="309080"/>
            </a:xfrm>
            <a:custGeom>
              <a:avLst/>
              <a:gdLst>
                <a:gd name="T0" fmla="*/ 0 w 501"/>
                <a:gd name="T1" fmla="*/ 0 h 276"/>
                <a:gd name="T2" fmla="*/ 2147483647 w 501"/>
                <a:gd name="T3" fmla="*/ 2147483647 h 276"/>
                <a:gd name="T4" fmla="*/ 2147483647 w 501"/>
                <a:gd name="T5" fmla="*/ 2147483647 h 276"/>
                <a:gd name="T6" fmla="*/ 2147483647 w 501"/>
                <a:gd name="T7" fmla="*/ 2147483647 h 276"/>
                <a:gd name="T8" fmla="*/ 2147483647 w 501"/>
                <a:gd name="T9" fmla="*/ 2147483647 h 276"/>
                <a:gd name="T10" fmla="*/ 2147483647 w 501"/>
                <a:gd name="T11" fmla="*/ 2147483647 h 276"/>
                <a:gd name="T12" fmla="*/ 2147483647 w 501"/>
                <a:gd name="T13" fmla="*/ 2147483647 h 276"/>
                <a:gd name="T14" fmla="*/ 2147483647 w 501"/>
                <a:gd name="T15" fmla="*/ 2147483647 h 276"/>
                <a:gd name="T16" fmla="*/ 2147483647 w 501"/>
                <a:gd name="T17" fmla="*/ 2147483647 h 276"/>
                <a:gd name="T18" fmla="*/ 2147483647 w 501"/>
                <a:gd name="T19" fmla="*/ 2147483647 h 276"/>
                <a:gd name="T20" fmla="*/ 2147483647 w 501"/>
                <a:gd name="T21" fmla="*/ 2147483647 h 2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01"/>
                <a:gd name="T34" fmla="*/ 0 h 276"/>
                <a:gd name="T35" fmla="*/ 501 w 501"/>
                <a:gd name="T36" fmla="*/ 276 h 276"/>
                <a:gd name="connsiteX0" fmla="*/ 0 w 10157"/>
                <a:gd name="connsiteY0" fmla="*/ 0 h 10203"/>
                <a:gd name="connsiteX1" fmla="*/ 659 w 10157"/>
                <a:gd name="connsiteY1" fmla="*/ 1449 h 10203"/>
                <a:gd name="connsiteX2" fmla="*/ 1457 w 10157"/>
                <a:gd name="connsiteY2" fmla="*/ 2862 h 10203"/>
                <a:gd name="connsiteX3" fmla="*/ 2655 w 10157"/>
                <a:gd name="connsiteY3" fmla="*/ 4022 h 10203"/>
                <a:gd name="connsiteX4" fmla="*/ 3313 w 10157"/>
                <a:gd name="connsiteY4" fmla="*/ 4819 h 10203"/>
                <a:gd name="connsiteX5" fmla="*/ 4551 w 10157"/>
                <a:gd name="connsiteY5" fmla="*/ 5580 h 10203"/>
                <a:gd name="connsiteX6" fmla="*/ 5649 w 10157"/>
                <a:gd name="connsiteY6" fmla="*/ 5870 h 10203"/>
                <a:gd name="connsiteX7" fmla="*/ 6587 w 10157"/>
                <a:gd name="connsiteY7" fmla="*/ 6304 h 10203"/>
                <a:gd name="connsiteX8" fmla="*/ 7485 w 10157"/>
                <a:gd name="connsiteY8" fmla="*/ 7174 h 10203"/>
                <a:gd name="connsiteX9" fmla="*/ 8523 w 10157"/>
                <a:gd name="connsiteY9" fmla="*/ 7065 h 10203"/>
                <a:gd name="connsiteX10" fmla="*/ 10157 w 10157"/>
                <a:gd name="connsiteY10" fmla="*/ 10203 h 10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57" h="10203">
                  <a:moveTo>
                    <a:pt x="0" y="0"/>
                  </a:moveTo>
                  <a:cubicBezTo>
                    <a:pt x="200" y="471"/>
                    <a:pt x="419" y="978"/>
                    <a:pt x="659" y="1449"/>
                  </a:cubicBezTo>
                  <a:cubicBezTo>
                    <a:pt x="898" y="1920"/>
                    <a:pt x="1118" y="2428"/>
                    <a:pt x="1457" y="2862"/>
                  </a:cubicBezTo>
                  <a:cubicBezTo>
                    <a:pt x="1796" y="3297"/>
                    <a:pt x="2355" y="3696"/>
                    <a:pt x="2655" y="4022"/>
                  </a:cubicBezTo>
                  <a:cubicBezTo>
                    <a:pt x="2954" y="4348"/>
                    <a:pt x="2994" y="4565"/>
                    <a:pt x="3313" y="4819"/>
                  </a:cubicBezTo>
                  <a:cubicBezTo>
                    <a:pt x="3633" y="5072"/>
                    <a:pt x="4172" y="5399"/>
                    <a:pt x="4551" y="5580"/>
                  </a:cubicBezTo>
                  <a:cubicBezTo>
                    <a:pt x="4930" y="5761"/>
                    <a:pt x="5309" y="5761"/>
                    <a:pt x="5649" y="5870"/>
                  </a:cubicBezTo>
                  <a:cubicBezTo>
                    <a:pt x="5988" y="5978"/>
                    <a:pt x="6287" y="6087"/>
                    <a:pt x="6587" y="6304"/>
                  </a:cubicBezTo>
                  <a:cubicBezTo>
                    <a:pt x="6886" y="6522"/>
                    <a:pt x="7166" y="7065"/>
                    <a:pt x="7485" y="7174"/>
                  </a:cubicBezTo>
                  <a:cubicBezTo>
                    <a:pt x="7804" y="7283"/>
                    <a:pt x="8104" y="6594"/>
                    <a:pt x="8523" y="7065"/>
                  </a:cubicBezTo>
                  <a:cubicBezTo>
                    <a:pt x="8942" y="7536"/>
                    <a:pt x="9878" y="9623"/>
                    <a:pt x="10157" y="10203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87" name="Freeform 701">
              <a:extLst>
                <a:ext uri="{FF2B5EF4-FFF2-40B4-BE49-F238E27FC236}">
                  <a16:creationId xmlns:a16="http://schemas.microsoft.com/office/drawing/2014/main" id="{25281A93-540B-436F-AA71-58CA32619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928" y="2256614"/>
              <a:ext cx="143638" cy="9901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7" y="71"/>
                </a:cxn>
                <a:cxn ang="0">
                  <a:pos x="179" y="93"/>
                </a:cxn>
              </a:cxnLst>
              <a:rect l="0" t="0" r="r" b="b"/>
              <a:pathLst>
                <a:path w="179" h="93">
                  <a:moveTo>
                    <a:pt x="0" y="0"/>
                  </a:moveTo>
                  <a:lnTo>
                    <a:pt x="117" y="71"/>
                  </a:lnTo>
                  <a:lnTo>
                    <a:pt x="179" y="93"/>
                  </a:lnTo>
                </a:path>
              </a:pathLst>
            </a:custGeom>
            <a:solidFill>
              <a:srgbClr val="004687"/>
            </a:solidFill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88" name="Freeform 702">
              <a:extLst>
                <a:ext uri="{FF2B5EF4-FFF2-40B4-BE49-F238E27FC236}">
                  <a16:creationId xmlns:a16="http://schemas.microsoft.com/office/drawing/2014/main" id="{6D5EC0D2-993E-430D-91CD-2E7C43F4F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0903" y="2243871"/>
              <a:ext cx="288921" cy="129407"/>
            </a:xfrm>
            <a:custGeom>
              <a:avLst/>
              <a:gdLst>
                <a:gd name="T0" fmla="*/ 0 w 206"/>
                <a:gd name="T1" fmla="*/ 2147483647 h 116"/>
                <a:gd name="T2" fmla="*/ 2147483647 w 206"/>
                <a:gd name="T3" fmla="*/ 2147483647 h 116"/>
                <a:gd name="T4" fmla="*/ 2147483647 w 206"/>
                <a:gd name="T5" fmla="*/ 2147483647 h 116"/>
                <a:gd name="T6" fmla="*/ 2147483647 w 206"/>
                <a:gd name="T7" fmla="*/ 0 h 1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6"/>
                <a:gd name="T13" fmla="*/ 0 h 116"/>
                <a:gd name="T14" fmla="*/ 206 w 206"/>
                <a:gd name="T15" fmla="*/ 116 h 1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6" h="116">
                  <a:moveTo>
                    <a:pt x="0" y="116"/>
                  </a:moveTo>
                  <a:lnTo>
                    <a:pt x="68" y="52"/>
                  </a:lnTo>
                  <a:lnTo>
                    <a:pt x="108" y="2"/>
                  </a:lnTo>
                  <a:lnTo>
                    <a:pt x="206" y="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89" name="Freeform 703">
              <a:extLst>
                <a:ext uri="{FF2B5EF4-FFF2-40B4-BE49-F238E27FC236}">
                  <a16:creationId xmlns:a16="http://schemas.microsoft.com/office/drawing/2014/main" id="{257AAA50-80F5-4746-9658-66E38DAE4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1984" y="2242502"/>
              <a:ext cx="238706" cy="15447"/>
            </a:xfrm>
            <a:custGeom>
              <a:avLst/>
              <a:gdLst>
                <a:gd name="T0" fmla="*/ 0 w 176"/>
                <a:gd name="T1" fmla="*/ 2147483647 h 17"/>
                <a:gd name="T2" fmla="*/ 2147483647 w 176"/>
                <a:gd name="T3" fmla="*/ 2147483647 h 17"/>
                <a:gd name="T4" fmla="*/ 2147483647 w 176"/>
                <a:gd name="T5" fmla="*/ 0 h 17"/>
                <a:gd name="T6" fmla="*/ 0 60000 65536"/>
                <a:gd name="T7" fmla="*/ 0 60000 65536"/>
                <a:gd name="T8" fmla="*/ 0 60000 65536"/>
                <a:gd name="T9" fmla="*/ 0 w 176"/>
                <a:gd name="T10" fmla="*/ 0 h 17"/>
                <a:gd name="T11" fmla="*/ 176 w 176"/>
                <a:gd name="T12" fmla="*/ 17 h 17"/>
                <a:gd name="connsiteX0" fmla="*/ 0 w 11102"/>
                <a:gd name="connsiteY0" fmla="*/ 142 h 4924"/>
                <a:gd name="connsiteX1" fmla="*/ 8409 w 11102"/>
                <a:gd name="connsiteY1" fmla="*/ 4848 h 4924"/>
                <a:gd name="connsiteX2" fmla="*/ 11102 w 11102"/>
                <a:gd name="connsiteY2" fmla="*/ 0 h 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02" h="4924">
                  <a:moveTo>
                    <a:pt x="0" y="142"/>
                  </a:moveTo>
                  <a:cubicBezTo>
                    <a:pt x="3409" y="2495"/>
                    <a:pt x="6818" y="5436"/>
                    <a:pt x="8409" y="4848"/>
                  </a:cubicBezTo>
                  <a:cubicBezTo>
                    <a:pt x="10000" y="4260"/>
                    <a:pt x="10875" y="588"/>
                    <a:pt x="11102" y="0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90" name="Line 704">
              <a:extLst>
                <a:ext uri="{FF2B5EF4-FFF2-40B4-BE49-F238E27FC236}">
                  <a16:creationId xmlns:a16="http://schemas.microsoft.com/office/drawing/2014/main" id="{12356621-AE3E-4BF7-9873-FAD2A00BDA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79735" y="2231126"/>
              <a:ext cx="150060" cy="17646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91" name="Line 705">
              <a:extLst>
                <a:ext uri="{FF2B5EF4-FFF2-40B4-BE49-F238E27FC236}">
                  <a16:creationId xmlns:a16="http://schemas.microsoft.com/office/drawing/2014/main" id="{0250FAE3-3706-42BA-ACFC-148474BE60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76375" y="2245833"/>
              <a:ext cx="187015" cy="25489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92" name="Oval 721">
              <a:extLst>
                <a:ext uri="{FF2B5EF4-FFF2-40B4-BE49-F238E27FC236}">
                  <a16:creationId xmlns:a16="http://schemas.microsoft.com/office/drawing/2014/main" id="{9615661A-5144-44A4-B69F-3E0DFBB525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6623" y="5472196"/>
              <a:ext cx="35835" cy="2941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3" name="Oval 732">
              <a:extLst>
                <a:ext uri="{FF2B5EF4-FFF2-40B4-BE49-F238E27FC236}">
                  <a16:creationId xmlns:a16="http://schemas.microsoft.com/office/drawing/2014/main" id="{7C6E2008-385E-4389-8C2A-10D024166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2033" y="2206617"/>
              <a:ext cx="42555" cy="37254"/>
            </a:xfrm>
            <a:prstGeom prst="ellipse">
              <a:avLst/>
            </a:prstGeom>
            <a:solidFill>
              <a:srgbClr val="FF6B72"/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4" name="Oval 737">
              <a:extLst>
                <a:ext uri="{FF2B5EF4-FFF2-40B4-BE49-F238E27FC236}">
                  <a16:creationId xmlns:a16="http://schemas.microsoft.com/office/drawing/2014/main" id="{7B2D6A5A-AABB-444B-B1A4-5A2298F852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3387" y="2239950"/>
              <a:ext cx="39195" cy="37254"/>
            </a:xfrm>
            <a:prstGeom prst="ellipse">
              <a:avLst/>
            </a:prstGeom>
            <a:solidFill>
              <a:srgbClr val="FF6B72"/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5" name="Oval 747">
              <a:extLst>
                <a:ext uri="{FF2B5EF4-FFF2-40B4-BE49-F238E27FC236}">
                  <a16:creationId xmlns:a16="http://schemas.microsoft.com/office/drawing/2014/main" id="{6A25ACBF-34CF-4715-915D-4E332B2510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1713" y="2218382"/>
              <a:ext cx="41433" cy="37254"/>
            </a:xfrm>
            <a:prstGeom prst="ellipse">
              <a:avLst/>
            </a:prstGeom>
            <a:solidFill>
              <a:srgbClr val="FF6B72"/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6" name="Oval 750">
              <a:extLst>
                <a:ext uri="{FF2B5EF4-FFF2-40B4-BE49-F238E27FC236}">
                  <a16:creationId xmlns:a16="http://schemas.microsoft.com/office/drawing/2014/main" id="{9961B50B-E649-4562-960E-0CAF28CE34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6677" y="2400730"/>
              <a:ext cx="42555" cy="36272"/>
            </a:xfrm>
            <a:prstGeom prst="ellipse">
              <a:avLst/>
            </a:prstGeom>
            <a:solidFill>
              <a:srgbClr val="FF6B72"/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7" name="Line 781">
              <a:extLst>
                <a:ext uri="{FF2B5EF4-FFF2-40B4-BE49-F238E27FC236}">
                  <a16:creationId xmlns:a16="http://schemas.microsoft.com/office/drawing/2014/main" id="{8B20BAE3-982C-49E6-8C4A-9BC8A0C3C1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8315" y="2752678"/>
              <a:ext cx="21277" cy="3333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8" name="Oval 782">
              <a:extLst>
                <a:ext uri="{FF2B5EF4-FFF2-40B4-BE49-F238E27FC236}">
                  <a16:creationId xmlns:a16="http://schemas.microsoft.com/office/drawing/2014/main" id="{01D6D0D1-E714-40E7-8F1E-AAC776BFCC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0477" y="2748758"/>
              <a:ext cx="23516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9" name="Line 790">
              <a:extLst>
                <a:ext uri="{FF2B5EF4-FFF2-40B4-BE49-F238E27FC236}">
                  <a16:creationId xmlns:a16="http://schemas.microsoft.com/office/drawing/2014/main" id="{280CDB8B-8DA6-4BA6-8939-6C3A26D7CD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209491" y="4940842"/>
              <a:ext cx="32476" cy="74508"/>
            </a:xfrm>
            <a:prstGeom prst="line">
              <a:avLst/>
            </a:pr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00" name="Oval 791">
              <a:extLst>
                <a:ext uri="{FF2B5EF4-FFF2-40B4-BE49-F238E27FC236}">
                  <a16:creationId xmlns:a16="http://schemas.microsoft.com/office/drawing/2014/main" id="{FA8B2F11-C8EF-4F93-9D31-32F2DE446E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8292" y="4927116"/>
              <a:ext cx="20157" cy="1960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1" name="Oval 812">
              <a:extLst>
                <a:ext uri="{FF2B5EF4-FFF2-40B4-BE49-F238E27FC236}">
                  <a16:creationId xmlns:a16="http://schemas.microsoft.com/office/drawing/2014/main" id="{FBF16670-E18D-4666-BA95-B9D94CF0B7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3812" y="2689935"/>
              <a:ext cx="42555" cy="37254"/>
            </a:xfrm>
            <a:prstGeom prst="ellipse">
              <a:avLst/>
            </a:prstGeom>
            <a:solidFill>
              <a:srgbClr val="FF6B72"/>
            </a:solidFill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wrap="none" lIns="94548" tIns="47275" rIns="94548" bIns="47275" anchor="ctr"/>
            <a:lstStyle/>
            <a:p>
              <a:pPr marL="0" marR="0" lvl="0" indent="0" algn="ctr" defTabSz="9439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2" name="Oval 234">
              <a:extLst>
                <a:ext uri="{FF2B5EF4-FFF2-40B4-BE49-F238E27FC236}">
                  <a16:creationId xmlns:a16="http://schemas.microsoft.com/office/drawing/2014/main" id="{3AEE58E6-4011-490E-9CF6-F167B658B4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6676" y="3466381"/>
              <a:ext cx="2015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3" name="Oval 258">
              <a:extLst>
                <a:ext uri="{FF2B5EF4-FFF2-40B4-BE49-F238E27FC236}">
                  <a16:creationId xmlns:a16="http://schemas.microsoft.com/office/drawing/2014/main" id="{F3C50D07-1FCF-4D95-9F79-7E0C719DB2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2982" y="3724215"/>
              <a:ext cx="24637" cy="2254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4" name="Oval 307">
              <a:extLst>
                <a:ext uri="{FF2B5EF4-FFF2-40B4-BE49-F238E27FC236}">
                  <a16:creationId xmlns:a16="http://schemas.microsoft.com/office/drawing/2014/main" id="{FAF85578-EA91-4035-9AE4-7B33254DD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7332" y="2399749"/>
              <a:ext cx="2239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5" name="Line 522">
              <a:extLst>
                <a:ext uri="{FF2B5EF4-FFF2-40B4-BE49-F238E27FC236}">
                  <a16:creationId xmlns:a16="http://schemas.microsoft.com/office/drawing/2014/main" id="{8A0222E4-331D-4B28-A96A-DD83D30F79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304" y="2730129"/>
              <a:ext cx="44793" cy="15685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06" name="Oval 722">
              <a:extLst>
                <a:ext uri="{FF2B5EF4-FFF2-40B4-BE49-F238E27FC236}">
                  <a16:creationId xmlns:a16="http://schemas.microsoft.com/office/drawing/2014/main" id="{8700B8D3-B553-4BD7-9A4D-348704D22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1739" y="2739933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7" name="Oval 523">
              <a:extLst>
                <a:ext uri="{FF2B5EF4-FFF2-40B4-BE49-F238E27FC236}">
                  <a16:creationId xmlns:a16="http://schemas.microsoft.com/office/drawing/2014/main" id="{E5381AB8-B390-4598-A4BD-1014D54639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4625" y="2719346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8" name="Line 714">
              <a:extLst>
                <a:ext uri="{FF2B5EF4-FFF2-40B4-BE49-F238E27FC236}">
                  <a16:creationId xmlns:a16="http://schemas.microsoft.com/office/drawing/2014/main" id="{906376C5-CF35-4978-ACE0-591C8E514D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34914" y="2376218"/>
              <a:ext cx="25757" cy="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9" name="Line 715">
              <a:extLst>
                <a:ext uri="{FF2B5EF4-FFF2-40B4-BE49-F238E27FC236}">
                  <a16:creationId xmlns:a16="http://schemas.microsoft.com/office/drawing/2014/main" id="{93F86D1C-DF1A-42CB-85DE-E1818FBA71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95318" y="5514352"/>
              <a:ext cx="19037" cy="19607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0" name="Line 716">
              <a:extLst>
                <a:ext uri="{FF2B5EF4-FFF2-40B4-BE49-F238E27FC236}">
                  <a16:creationId xmlns:a16="http://schemas.microsoft.com/office/drawing/2014/main" id="{54D22A83-355E-4C66-89A9-82382B9685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330487" y="5593761"/>
              <a:ext cx="26877" cy="8823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1" name="Oval 466">
              <a:extLst>
                <a:ext uri="{FF2B5EF4-FFF2-40B4-BE49-F238E27FC236}">
                  <a16:creationId xmlns:a16="http://schemas.microsoft.com/office/drawing/2014/main" id="{CCC47CF3-C9B3-4B85-BD06-06D8A5793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2570" y="5595722"/>
              <a:ext cx="2127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2" name="Line 718">
              <a:extLst>
                <a:ext uri="{FF2B5EF4-FFF2-40B4-BE49-F238E27FC236}">
                  <a16:creationId xmlns:a16="http://schemas.microsoft.com/office/drawing/2014/main" id="{3EFFA99F-ED0A-4828-8397-9CC95B4C0F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981121" y="5515332"/>
              <a:ext cx="30236" cy="44116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3" name="Freeform 719">
              <a:extLst>
                <a:ext uri="{FF2B5EF4-FFF2-40B4-BE49-F238E27FC236}">
                  <a16:creationId xmlns:a16="http://schemas.microsoft.com/office/drawing/2014/main" id="{90BAF2CC-91DF-4613-AE42-4905DA24D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6424" y="5462393"/>
              <a:ext cx="96307" cy="27450"/>
            </a:xfrm>
            <a:custGeom>
              <a:avLst/>
              <a:gdLst>
                <a:gd name="T0" fmla="*/ 0 w 73"/>
                <a:gd name="T1" fmla="*/ 2147483647 h 25"/>
                <a:gd name="T2" fmla="*/ 2147483647 w 73"/>
                <a:gd name="T3" fmla="*/ 2147483647 h 25"/>
                <a:gd name="T4" fmla="*/ 2147483647 w 73"/>
                <a:gd name="T5" fmla="*/ 2147483647 h 25"/>
                <a:gd name="T6" fmla="*/ 0 60000 65536"/>
                <a:gd name="T7" fmla="*/ 0 60000 65536"/>
                <a:gd name="T8" fmla="*/ 0 60000 65536"/>
                <a:gd name="T9" fmla="*/ 0 w 73"/>
                <a:gd name="T10" fmla="*/ 0 h 25"/>
                <a:gd name="T11" fmla="*/ 73 w 73"/>
                <a:gd name="T12" fmla="*/ 25 h 2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25">
                  <a:moveTo>
                    <a:pt x="0" y="16"/>
                  </a:moveTo>
                  <a:cubicBezTo>
                    <a:pt x="12" y="8"/>
                    <a:pt x="25" y="0"/>
                    <a:pt x="37" y="1"/>
                  </a:cubicBezTo>
                  <a:cubicBezTo>
                    <a:pt x="49" y="2"/>
                    <a:pt x="66" y="21"/>
                    <a:pt x="73" y="25"/>
                  </a:cubicBez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4" name="Freeform 720">
              <a:extLst>
                <a:ext uri="{FF2B5EF4-FFF2-40B4-BE49-F238E27FC236}">
                  <a16:creationId xmlns:a16="http://schemas.microsoft.com/office/drawing/2014/main" id="{E3F33F93-D1FE-4081-BC64-7CACAF4DD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187" y="5450629"/>
              <a:ext cx="163497" cy="49018"/>
            </a:xfrm>
            <a:custGeom>
              <a:avLst/>
              <a:gdLst>
                <a:gd name="T0" fmla="*/ 0 w 125"/>
                <a:gd name="T1" fmla="*/ 2147483647 h 45"/>
                <a:gd name="T2" fmla="*/ 2147483647 w 125"/>
                <a:gd name="T3" fmla="*/ 2147483647 h 45"/>
                <a:gd name="T4" fmla="*/ 2147483647 w 125"/>
                <a:gd name="T5" fmla="*/ 2147483647 h 45"/>
                <a:gd name="T6" fmla="*/ 2147483647 w 125"/>
                <a:gd name="T7" fmla="*/ 2147483647 h 45"/>
                <a:gd name="T8" fmla="*/ 2147483647 w 125"/>
                <a:gd name="T9" fmla="*/ 0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5"/>
                <a:gd name="T16" fmla="*/ 0 h 45"/>
                <a:gd name="T17" fmla="*/ 125 w 125"/>
                <a:gd name="T18" fmla="*/ 45 h 4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5" h="45">
                  <a:moveTo>
                    <a:pt x="0" y="33"/>
                  </a:moveTo>
                  <a:cubicBezTo>
                    <a:pt x="6" y="32"/>
                    <a:pt x="13" y="31"/>
                    <a:pt x="23" y="32"/>
                  </a:cubicBezTo>
                  <a:cubicBezTo>
                    <a:pt x="33" y="33"/>
                    <a:pt x="50" y="38"/>
                    <a:pt x="60" y="39"/>
                  </a:cubicBezTo>
                  <a:cubicBezTo>
                    <a:pt x="70" y="40"/>
                    <a:pt x="70" y="45"/>
                    <a:pt x="81" y="39"/>
                  </a:cubicBezTo>
                  <a:cubicBezTo>
                    <a:pt x="92" y="33"/>
                    <a:pt x="108" y="16"/>
                    <a:pt x="125" y="0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5" name="Line 721">
              <a:extLst>
                <a:ext uri="{FF2B5EF4-FFF2-40B4-BE49-F238E27FC236}">
                  <a16:creationId xmlns:a16="http://schemas.microsoft.com/office/drawing/2014/main" id="{C2739490-17ED-47D1-842A-98B9811597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922888" y="5942769"/>
              <a:ext cx="25756" cy="13724"/>
            </a:xfrm>
            <a:prstGeom prst="line">
              <a:avLst/>
            </a:pr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6" name="Oval 471">
              <a:extLst>
                <a:ext uri="{FF2B5EF4-FFF2-40B4-BE49-F238E27FC236}">
                  <a16:creationId xmlns:a16="http://schemas.microsoft.com/office/drawing/2014/main" id="{CC9E1A6E-949E-4B0E-906D-FE1FD119B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3929" y="5931984"/>
              <a:ext cx="2239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7" name="Freeform 214">
              <a:extLst>
                <a:ext uri="{FF2B5EF4-FFF2-40B4-BE49-F238E27FC236}">
                  <a16:creationId xmlns:a16="http://schemas.microsoft.com/office/drawing/2014/main" id="{DA9F792D-47FA-4D06-8396-78C98318F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0648" y="5032995"/>
              <a:ext cx="5599" cy="68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4"/>
                </a:cxn>
                <a:cxn ang="0">
                  <a:pos x="1" y="5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2" y="4"/>
                </a:cxn>
                <a:cxn ang="0">
                  <a:pos x="4" y="0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lnTo>
                    <a:pt x="2" y="4"/>
                  </a:lnTo>
                  <a:lnTo>
                    <a:pt x="1" y="5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CC99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18" name="Line 729">
              <a:extLst>
                <a:ext uri="{FF2B5EF4-FFF2-40B4-BE49-F238E27FC236}">
                  <a16:creationId xmlns:a16="http://schemas.microsoft.com/office/drawing/2014/main" id="{BD753B4E-7DD6-4340-AA4E-11218F424ED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49593" y="2147795"/>
              <a:ext cx="5599" cy="30391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9" name="Freeform 652">
              <a:extLst>
                <a:ext uri="{FF2B5EF4-FFF2-40B4-BE49-F238E27FC236}">
                  <a16:creationId xmlns:a16="http://schemas.microsoft.com/office/drawing/2014/main" id="{CC262146-9E88-41A0-9080-C04172336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1303" y="2844832"/>
              <a:ext cx="1120" cy="74508"/>
            </a:xfrm>
            <a:custGeom>
              <a:avLst/>
              <a:gdLst>
                <a:gd name="T0" fmla="*/ 2147483647 w 1"/>
                <a:gd name="T1" fmla="*/ 2147483647 h 69"/>
                <a:gd name="T2" fmla="*/ 2147483647 w 1"/>
                <a:gd name="T3" fmla="*/ 0 h 69"/>
                <a:gd name="T4" fmla="*/ 0 60000 65536"/>
                <a:gd name="T5" fmla="*/ 0 60000 65536"/>
                <a:gd name="T6" fmla="*/ 0 w 1"/>
                <a:gd name="T7" fmla="*/ 0 h 69"/>
                <a:gd name="T8" fmla="*/ 1 w 1"/>
                <a:gd name="T9" fmla="*/ 69 h 69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69">
                  <a:moveTo>
                    <a:pt x="1" y="69"/>
                  </a:moveTo>
                  <a:cubicBezTo>
                    <a:pt x="0" y="39"/>
                    <a:pt x="0" y="10"/>
                    <a:pt x="1" y="0"/>
                  </a:cubicBez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0" name="Oval 329">
              <a:extLst>
                <a:ext uri="{FF2B5EF4-FFF2-40B4-BE49-F238E27FC236}">
                  <a16:creationId xmlns:a16="http://schemas.microsoft.com/office/drawing/2014/main" id="{52EFDC6E-3F8C-45A0-9970-12CF5BCE4C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569" y="2400729"/>
              <a:ext cx="2127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1" name="Line 657">
              <a:extLst>
                <a:ext uri="{FF2B5EF4-FFF2-40B4-BE49-F238E27FC236}">
                  <a16:creationId xmlns:a16="http://schemas.microsoft.com/office/drawing/2014/main" id="{9A2A6F1A-5DF7-4147-857E-454A60864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0085" y="2353673"/>
              <a:ext cx="60472" cy="588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2" name="Line 658">
              <a:extLst>
                <a:ext uri="{FF2B5EF4-FFF2-40B4-BE49-F238E27FC236}">
                  <a16:creationId xmlns:a16="http://schemas.microsoft.com/office/drawing/2014/main" id="{EAF96C10-59EF-40A3-8E12-C14AD32AA3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4566" y="2364456"/>
              <a:ext cx="47033" cy="5882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3" name="Line 659">
              <a:extLst>
                <a:ext uri="{FF2B5EF4-FFF2-40B4-BE49-F238E27FC236}">
                  <a16:creationId xmlns:a16="http://schemas.microsoft.com/office/drawing/2014/main" id="{07780496-293C-4D03-8146-B23C124933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806397" y="1838003"/>
              <a:ext cx="26877" cy="18627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4" name="Oval 483">
              <a:extLst>
                <a:ext uri="{FF2B5EF4-FFF2-40B4-BE49-F238E27FC236}">
                  <a16:creationId xmlns:a16="http://schemas.microsoft.com/office/drawing/2014/main" id="{55C26D87-43E9-482C-9B7B-D8AAF0AD4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1034" y="1828198"/>
              <a:ext cx="2239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5" name="Line 662">
              <a:extLst>
                <a:ext uri="{FF2B5EF4-FFF2-40B4-BE49-F238E27FC236}">
                  <a16:creationId xmlns:a16="http://schemas.microsoft.com/office/drawing/2014/main" id="{A61FD703-77BE-41BE-9A0B-156B104FBF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711237" y="4266353"/>
              <a:ext cx="17917" cy="2745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6" name="Oval 564">
              <a:extLst>
                <a:ext uri="{FF2B5EF4-FFF2-40B4-BE49-F238E27FC236}">
                  <a16:creationId xmlns:a16="http://schemas.microsoft.com/office/drawing/2014/main" id="{55016DD1-C6C3-486D-8C6D-6DD7B97A84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5401" y="4091850"/>
              <a:ext cx="2687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7" name="Line 664">
              <a:extLst>
                <a:ext uri="{FF2B5EF4-FFF2-40B4-BE49-F238E27FC236}">
                  <a16:creationId xmlns:a16="http://schemas.microsoft.com/office/drawing/2014/main" id="{1BF539FA-CE64-435F-8E39-B2BC06D6EC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22434" y="4228120"/>
              <a:ext cx="5600" cy="38233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8" name="Oval 556">
              <a:extLst>
                <a:ext uri="{FF2B5EF4-FFF2-40B4-BE49-F238E27FC236}">
                  <a16:creationId xmlns:a16="http://schemas.microsoft.com/office/drawing/2014/main" id="{98A69EB2-BF93-4C1B-A906-6876FCB0D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2356" y="4215375"/>
              <a:ext cx="25756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9" name="Oval 676">
              <a:extLst>
                <a:ext uri="{FF2B5EF4-FFF2-40B4-BE49-F238E27FC236}">
                  <a16:creationId xmlns:a16="http://schemas.microsoft.com/office/drawing/2014/main" id="{3CB424F0-AE84-4C15-B806-435A97B161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1081" y="4266354"/>
              <a:ext cx="2127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0" name="Line 668">
              <a:extLst>
                <a:ext uri="{FF2B5EF4-FFF2-40B4-BE49-F238E27FC236}">
                  <a16:creationId xmlns:a16="http://schemas.microsoft.com/office/drawing/2014/main" id="{1B7FF3A4-0613-473A-9A63-1C83330C3E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441353" y="5789833"/>
              <a:ext cx="17917" cy="14706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1" name="Oval 470">
              <a:extLst>
                <a:ext uri="{FF2B5EF4-FFF2-40B4-BE49-F238E27FC236}">
                  <a16:creationId xmlns:a16="http://schemas.microsoft.com/office/drawing/2014/main" id="{F1ADD492-539C-4722-BCF4-D18DAA0C74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3593" y="5771207"/>
              <a:ext cx="2127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2" name="Freeform 670">
              <a:extLst>
                <a:ext uri="{FF2B5EF4-FFF2-40B4-BE49-F238E27FC236}">
                  <a16:creationId xmlns:a16="http://schemas.microsoft.com/office/drawing/2014/main" id="{1A4BA16C-A6E5-48EB-879B-3FA7DEC532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7443" y="5855517"/>
              <a:ext cx="235168" cy="115683"/>
            </a:xfrm>
            <a:custGeom>
              <a:avLst/>
              <a:gdLst>
                <a:gd name="T0" fmla="*/ 0 w 179"/>
                <a:gd name="T1" fmla="*/ 0 h 107"/>
                <a:gd name="T2" fmla="*/ 2147483647 w 179"/>
                <a:gd name="T3" fmla="*/ 2147483647 h 107"/>
                <a:gd name="T4" fmla="*/ 2147483647 w 179"/>
                <a:gd name="T5" fmla="*/ 2147483647 h 107"/>
                <a:gd name="T6" fmla="*/ 2147483647 w 179"/>
                <a:gd name="T7" fmla="*/ 2147483647 h 107"/>
                <a:gd name="T8" fmla="*/ 2147483647 w 179"/>
                <a:gd name="T9" fmla="*/ 2147483647 h 107"/>
                <a:gd name="T10" fmla="*/ 2147483647 w 179"/>
                <a:gd name="T11" fmla="*/ 2147483647 h 107"/>
                <a:gd name="T12" fmla="*/ 2147483647 w 179"/>
                <a:gd name="T13" fmla="*/ 2147483647 h 107"/>
                <a:gd name="T14" fmla="*/ 2147483647 w 179"/>
                <a:gd name="T15" fmla="*/ 2147483647 h 107"/>
                <a:gd name="T16" fmla="*/ 2147483647 w 179"/>
                <a:gd name="T17" fmla="*/ 2147483647 h 107"/>
                <a:gd name="T18" fmla="*/ 2147483647 w 179"/>
                <a:gd name="T19" fmla="*/ 2147483647 h 107"/>
                <a:gd name="T20" fmla="*/ 2147483647 w 179"/>
                <a:gd name="T21" fmla="*/ 2147483647 h 107"/>
                <a:gd name="T22" fmla="*/ 2147483647 w 179"/>
                <a:gd name="T23" fmla="*/ 2147483647 h 107"/>
                <a:gd name="T24" fmla="*/ 2147483647 w 179"/>
                <a:gd name="T25" fmla="*/ 2147483647 h 107"/>
                <a:gd name="T26" fmla="*/ 2147483647 w 179"/>
                <a:gd name="T27" fmla="*/ 2147483647 h 107"/>
                <a:gd name="T28" fmla="*/ 2147483647 w 179"/>
                <a:gd name="T29" fmla="*/ 2147483647 h 1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9"/>
                <a:gd name="T46" fmla="*/ 0 h 107"/>
                <a:gd name="T47" fmla="*/ 179 w 179"/>
                <a:gd name="T48" fmla="*/ 107 h 10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9" h="107">
                  <a:moveTo>
                    <a:pt x="0" y="0"/>
                  </a:moveTo>
                  <a:cubicBezTo>
                    <a:pt x="4" y="5"/>
                    <a:pt x="8" y="10"/>
                    <a:pt x="12" y="15"/>
                  </a:cubicBezTo>
                  <a:cubicBezTo>
                    <a:pt x="16" y="20"/>
                    <a:pt x="23" y="24"/>
                    <a:pt x="26" y="29"/>
                  </a:cubicBezTo>
                  <a:cubicBezTo>
                    <a:pt x="29" y="34"/>
                    <a:pt x="28" y="39"/>
                    <a:pt x="29" y="44"/>
                  </a:cubicBezTo>
                  <a:cubicBezTo>
                    <a:pt x="30" y="49"/>
                    <a:pt x="30" y="56"/>
                    <a:pt x="30" y="60"/>
                  </a:cubicBezTo>
                  <a:cubicBezTo>
                    <a:pt x="30" y="64"/>
                    <a:pt x="25" y="69"/>
                    <a:pt x="27" y="71"/>
                  </a:cubicBezTo>
                  <a:cubicBezTo>
                    <a:pt x="29" y="73"/>
                    <a:pt x="40" y="73"/>
                    <a:pt x="44" y="74"/>
                  </a:cubicBezTo>
                  <a:cubicBezTo>
                    <a:pt x="48" y="75"/>
                    <a:pt x="48" y="77"/>
                    <a:pt x="54" y="75"/>
                  </a:cubicBezTo>
                  <a:cubicBezTo>
                    <a:pt x="60" y="73"/>
                    <a:pt x="72" y="65"/>
                    <a:pt x="80" y="63"/>
                  </a:cubicBezTo>
                  <a:cubicBezTo>
                    <a:pt x="88" y="61"/>
                    <a:pt x="95" y="64"/>
                    <a:pt x="102" y="65"/>
                  </a:cubicBezTo>
                  <a:cubicBezTo>
                    <a:pt x="109" y="66"/>
                    <a:pt x="116" y="68"/>
                    <a:pt x="122" y="71"/>
                  </a:cubicBezTo>
                  <a:cubicBezTo>
                    <a:pt x="128" y="74"/>
                    <a:pt x="131" y="82"/>
                    <a:pt x="138" y="84"/>
                  </a:cubicBezTo>
                  <a:cubicBezTo>
                    <a:pt x="145" y="86"/>
                    <a:pt x="159" y="83"/>
                    <a:pt x="165" y="84"/>
                  </a:cubicBezTo>
                  <a:cubicBezTo>
                    <a:pt x="171" y="85"/>
                    <a:pt x="171" y="89"/>
                    <a:pt x="173" y="93"/>
                  </a:cubicBezTo>
                  <a:cubicBezTo>
                    <a:pt x="175" y="97"/>
                    <a:pt x="178" y="105"/>
                    <a:pt x="179" y="107"/>
                  </a:cubicBezTo>
                </a:path>
              </a:pathLst>
            </a:cu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3" name="Oval 676">
              <a:extLst>
                <a:ext uri="{FF2B5EF4-FFF2-40B4-BE49-F238E27FC236}">
                  <a16:creationId xmlns:a16="http://schemas.microsoft.com/office/drawing/2014/main" id="{99D7328E-0929-436E-B86E-414C068310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7957" y="4261452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4" name="Line 672">
              <a:extLst>
                <a:ext uri="{FF2B5EF4-FFF2-40B4-BE49-F238E27FC236}">
                  <a16:creationId xmlns:a16="http://schemas.microsoft.com/office/drawing/2014/main" id="{31E18315-7965-421B-B09B-68A18D386B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7998" y="4132044"/>
              <a:ext cx="38075" cy="1961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5" name="Oval 494">
              <a:extLst>
                <a:ext uri="{FF2B5EF4-FFF2-40B4-BE49-F238E27FC236}">
                  <a16:creationId xmlns:a16="http://schemas.microsoft.com/office/drawing/2014/main" id="{8F90A5D6-216A-4728-80A0-E020D079DD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3754" y="4126162"/>
              <a:ext cx="20157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6" name="Oval 494">
              <a:extLst>
                <a:ext uri="{FF2B5EF4-FFF2-40B4-BE49-F238E27FC236}">
                  <a16:creationId xmlns:a16="http://schemas.microsoft.com/office/drawing/2014/main" id="{2C810FBF-CEF9-49F2-A83C-9F4C57929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9038" y="4129104"/>
              <a:ext cx="21277" cy="17646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7" name="Oval 446">
              <a:extLst>
                <a:ext uri="{FF2B5EF4-FFF2-40B4-BE49-F238E27FC236}">
                  <a16:creationId xmlns:a16="http://schemas.microsoft.com/office/drawing/2014/main" id="{0D5D8880-0A21-45A2-95D1-A350F4EF62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6952" y="3942836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8" name="Line 676">
              <a:extLst>
                <a:ext uri="{FF2B5EF4-FFF2-40B4-BE49-F238E27FC236}">
                  <a16:creationId xmlns:a16="http://schemas.microsoft.com/office/drawing/2014/main" id="{B47C5C26-B181-41E8-BA4C-5D4746392E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99439" y="3209525"/>
              <a:ext cx="11199" cy="82350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9" name="Oval 443">
              <a:extLst>
                <a:ext uri="{FF2B5EF4-FFF2-40B4-BE49-F238E27FC236}">
                  <a16:creationId xmlns:a16="http://schemas.microsoft.com/office/drawing/2014/main" id="{5CE24CB9-0898-4A93-B667-0D3A5D699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0479" y="3193841"/>
              <a:ext cx="2463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0" name="Line 697">
              <a:extLst>
                <a:ext uri="{FF2B5EF4-FFF2-40B4-BE49-F238E27FC236}">
                  <a16:creationId xmlns:a16="http://schemas.microsoft.com/office/drawing/2014/main" id="{845A57AF-F5C9-4716-B326-E39CBB1CECF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20568" y="2562487"/>
              <a:ext cx="32476" cy="16666"/>
            </a:xfrm>
            <a:prstGeom prst="line">
              <a:avLst/>
            </a:prstGeom>
            <a:noFill/>
            <a:ln w="15875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1" name="Freeform 214">
              <a:extLst>
                <a:ext uri="{FF2B5EF4-FFF2-40B4-BE49-F238E27FC236}">
                  <a16:creationId xmlns:a16="http://schemas.microsoft.com/office/drawing/2014/main" id="{F5A71724-8CA9-448F-9CAF-FF76C3111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7368" y="5207499"/>
              <a:ext cx="5599" cy="68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4"/>
                </a:cxn>
                <a:cxn ang="0">
                  <a:pos x="1" y="5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2" y="4"/>
                </a:cxn>
                <a:cxn ang="0">
                  <a:pos x="4" y="0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lnTo>
                    <a:pt x="2" y="4"/>
                  </a:lnTo>
                  <a:lnTo>
                    <a:pt x="1" y="5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CC99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42" name="Freeform 214">
              <a:extLst>
                <a:ext uri="{FF2B5EF4-FFF2-40B4-BE49-F238E27FC236}">
                  <a16:creationId xmlns:a16="http://schemas.microsoft.com/office/drawing/2014/main" id="{582DF82A-98CE-4971-ACDC-24A15E564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7368" y="5207499"/>
              <a:ext cx="5599" cy="68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4"/>
                </a:cxn>
                <a:cxn ang="0">
                  <a:pos x="1" y="5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2" y="4"/>
                </a:cxn>
                <a:cxn ang="0">
                  <a:pos x="4" y="0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lnTo>
                    <a:pt x="2" y="4"/>
                  </a:lnTo>
                  <a:lnTo>
                    <a:pt x="1" y="5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CC99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43" name="Oval 451">
              <a:extLst>
                <a:ext uri="{FF2B5EF4-FFF2-40B4-BE49-F238E27FC236}">
                  <a16:creationId xmlns:a16="http://schemas.microsoft.com/office/drawing/2014/main" id="{EFED295F-1ECB-4036-A866-1666BC3DC2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9822" y="4308509"/>
              <a:ext cx="20157" cy="17646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4" name="Freeform 137">
              <a:extLst>
                <a:ext uri="{FF2B5EF4-FFF2-40B4-BE49-F238E27FC236}">
                  <a16:creationId xmlns:a16="http://schemas.microsoft.com/office/drawing/2014/main" id="{387F3AA4-0AC5-4173-941B-92C404621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718" y="2127205"/>
              <a:ext cx="125565" cy="55002"/>
            </a:xfrm>
            <a:custGeom>
              <a:avLst/>
              <a:gdLst>
                <a:gd name="connsiteX0" fmla="*/ 443 w 6582"/>
                <a:gd name="connsiteY0" fmla="*/ 0 h 6706"/>
                <a:gd name="connsiteX1" fmla="*/ 506 w 6582"/>
                <a:gd name="connsiteY1" fmla="*/ 1353 h 6706"/>
                <a:gd name="connsiteX2" fmla="*/ 443 w 6582"/>
                <a:gd name="connsiteY2" fmla="*/ 1647 h 6706"/>
                <a:gd name="connsiteX3" fmla="*/ 379 w 6582"/>
                <a:gd name="connsiteY3" fmla="*/ 2000 h 6706"/>
                <a:gd name="connsiteX4" fmla="*/ 126 w 6582"/>
                <a:gd name="connsiteY4" fmla="*/ 2706 h 6706"/>
                <a:gd name="connsiteX5" fmla="*/ 63 w 6582"/>
                <a:gd name="connsiteY5" fmla="*/ 3059 h 6706"/>
                <a:gd name="connsiteX6" fmla="*/ 0 w 6582"/>
                <a:gd name="connsiteY6" fmla="*/ 3412 h 6706"/>
                <a:gd name="connsiteX7" fmla="*/ 63 w 6582"/>
                <a:gd name="connsiteY7" fmla="*/ 3706 h 6706"/>
                <a:gd name="connsiteX8" fmla="*/ 253 w 6582"/>
                <a:gd name="connsiteY8" fmla="*/ 3941 h 6706"/>
                <a:gd name="connsiteX9" fmla="*/ 4557 w 6582"/>
                <a:gd name="connsiteY9" fmla="*/ 5000 h 6706"/>
                <a:gd name="connsiteX10" fmla="*/ 6582 w 6582"/>
                <a:gd name="connsiteY10" fmla="*/ 6706 h 6706"/>
                <a:gd name="connsiteX0" fmla="*/ 769 w 10000"/>
                <a:gd name="connsiteY0" fmla="*/ 0 h 7982"/>
                <a:gd name="connsiteX1" fmla="*/ 673 w 10000"/>
                <a:gd name="connsiteY1" fmla="*/ 438 h 7982"/>
                <a:gd name="connsiteX2" fmla="*/ 576 w 10000"/>
                <a:gd name="connsiteY2" fmla="*/ 964 h 7982"/>
                <a:gd name="connsiteX3" fmla="*/ 191 w 10000"/>
                <a:gd name="connsiteY3" fmla="*/ 2017 h 7982"/>
                <a:gd name="connsiteX4" fmla="*/ 96 w 10000"/>
                <a:gd name="connsiteY4" fmla="*/ 2544 h 7982"/>
                <a:gd name="connsiteX5" fmla="*/ 0 w 10000"/>
                <a:gd name="connsiteY5" fmla="*/ 3070 h 7982"/>
                <a:gd name="connsiteX6" fmla="*/ 96 w 10000"/>
                <a:gd name="connsiteY6" fmla="*/ 3508 h 7982"/>
                <a:gd name="connsiteX7" fmla="*/ 384 w 10000"/>
                <a:gd name="connsiteY7" fmla="*/ 3859 h 7982"/>
                <a:gd name="connsiteX8" fmla="*/ 6923 w 10000"/>
                <a:gd name="connsiteY8" fmla="*/ 5438 h 7982"/>
                <a:gd name="connsiteX9" fmla="*/ 10000 w 10000"/>
                <a:gd name="connsiteY9" fmla="*/ 7982 h 7982"/>
                <a:gd name="connsiteX0" fmla="*/ 769 w 10000"/>
                <a:gd name="connsiteY0" fmla="*/ 0 h 10000"/>
                <a:gd name="connsiteX1" fmla="*/ 673 w 10000"/>
                <a:gd name="connsiteY1" fmla="*/ 549 h 10000"/>
                <a:gd name="connsiteX2" fmla="*/ 191 w 10000"/>
                <a:gd name="connsiteY2" fmla="*/ 2527 h 10000"/>
                <a:gd name="connsiteX3" fmla="*/ 96 w 10000"/>
                <a:gd name="connsiteY3" fmla="*/ 3187 h 10000"/>
                <a:gd name="connsiteX4" fmla="*/ 0 w 10000"/>
                <a:gd name="connsiteY4" fmla="*/ 3846 h 10000"/>
                <a:gd name="connsiteX5" fmla="*/ 96 w 10000"/>
                <a:gd name="connsiteY5" fmla="*/ 4395 h 10000"/>
                <a:gd name="connsiteX6" fmla="*/ 384 w 10000"/>
                <a:gd name="connsiteY6" fmla="*/ 4835 h 10000"/>
                <a:gd name="connsiteX7" fmla="*/ 6923 w 10000"/>
                <a:gd name="connsiteY7" fmla="*/ 6813 h 10000"/>
                <a:gd name="connsiteX8" fmla="*/ 10000 w 10000"/>
                <a:gd name="connsiteY8" fmla="*/ 10000 h 10000"/>
                <a:gd name="connsiteX0" fmla="*/ 769 w 10000"/>
                <a:gd name="connsiteY0" fmla="*/ 0 h 10000"/>
                <a:gd name="connsiteX1" fmla="*/ 673 w 10000"/>
                <a:gd name="connsiteY1" fmla="*/ 549 h 10000"/>
                <a:gd name="connsiteX2" fmla="*/ 96 w 10000"/>
                <a:gd name="connsiteY2" fmla="*/ 3187 h 10000"/>
                <a:gd name="connsiteX3" fmla="*/ 0 w 10000"/>
                <a:gd name="connsiteY3" fmla="*/ 3846 h 10000"/>
                <a:gd name="connsiteX4" fmla="*/ 96 w 10000"/>
                <a:gd name="connsiteY4" fmla="*/ 4395 h 10000"/>
                <a:gd name="connsiteX5" fmla="*/ 384 w 10000"/>
                <a:gd name="connsiteY5" fmla="*/ 4835 h 10000"/>
                <a:gd name="connsiteX6" fmla="*/ 6923 w 10000"/>
                <a:gd name="connsiteY6" fmla="*/ 6813 h 10000"/>
                <a:gd name="connsiteX7" fmla="*/ 10000 w 10000"/>
                <a:gd name="connsiteY7" fmla="*/ 10000 h 10000"/>
                <a:gd name="connsiteX0" fmla="*/ 729 w 9960"/>
                <a:gd name="connsiteY0" fmla="*/ 0 h 10000"/>
                <a:gd name="connsiteX1" fmla="*/ 633 w 9960"/>
                <a:gd name="connsiteY1" fmla="*/ 549 h 10000"/>
                <a:gd name="connsiteX2" fmla="*/ 56 w 9960"/>
                <a:gd name="connsiteY2" fmla="*/ 3187 h 10000"/>
                <a:gd name="connsiteX3" fmla="*/ 56 w 9960"/>
                <a:gd name="connsiteY3" fmla="*/ 4395 h 10000"/>
                <a:gd name="connsiteX4" fmla="*/ 344 w 9960"/>
                <a:gd name="connsiteY4" fmla="*/ 4835 h 10000"/>
                <a:gd name="connsiteX5" fmla="*/ 6883 w 9960"/>
                <a:gd name="connsiteY5" fmla="*/ 6813 h 10000"/>
                <a:gd name="connsiteX6" fmla="*/ 9960 w 9960"/>
                <a:gd name="connsiteY6" fmla="*/ 10000 h 10000"/>
                <a:gd name="connsiteX0" fmla="*/ 676 w 9944"/>
                <a:gd name="connsiteY0" fmla="*/ 0 h 10000"/>
                <a:gd name="connsiteX1" fmla="*/ 580 w 9944"/>
                <a:gd name="connsiteY1" fmla="*/ 549 h 10000"/>
                <a:gd name="connsiteX2" fmla="*/ 0 w 9944"/>
                <a:gd name="connsiteY2" fmla="*/ 4395 h 10000"/>
                <a:gd name="connsiteX3" fmla="*/ 289 w 9944"/>
                <a:gd name="connsiteY3" fmla="*/ 4835 h 10000"/>
                <a:gd name="connsiteX4" fmla="*/ 6855 w 9944"/>
                <a:gd name="connsiteY4" fmla="*/ 6813 h 10000"/>
                <a:gd name="connsiteX5" fmla="*/ 9944 w 9944"/>
                <a:gd name="connsiteY5" fmla="*/ 10000 h 10000"/>
                <a:gd name="connsiteX0" fmla="*/ 680 w 10000"/>
                <a:gd name="connsiteY0" fmla="*/ 0 h 10000"/>
                <a:gd name="connsiteX1" fmla="*/ 583 w 10000"/>
                <a:gd name="connsiteY1" fmla="*/ 549 h 10000"/>
                <a:gd name="connsiteX2" fmla="*/ 0 w 10000"/>
                <a:gd name="connsiteY2" fmla="*/ 4395 h 10000"/>
                <a:gd name="connsiteX3" fmla="*/ 6894 w 10000"/>
                <a:gd name="connsiteY3" fmla="*/ 6813 h 10000"/>
                <a:gd name="connsiteX4" fmla="*/ 10000 w 10000"/>
                <a:gd name="connsiteY4" fmla="*/ 10000 h 10000"/>
                <a:gd name="connsiteX0" fmla="*/ 1030 w 10350"/>
                <a:gd name="connsiteY0" fmla="*/ 0 h 10000"/>
                <a:gd name="connsiteX1" fmla="*/ 350 w 10350"/>
                <a:gd name="connsiteY1" fmla="*/ 4395 h 10000"/>
                <a:gd name="connsiteX2" fmla="*/ 7244 w 10350"/>
                <a:gd name="connsiteY2" fmla="*/ 6813 h 10000"/>
                <a:gd name="connsiteX3" fmla="*/ 10350 w 10350"/>
                <a:gd name="connsiteY3" fmla="*/ 10000 h 10000"/>
                <a:gd name="connsiteX0" fmla="*/ 0 w 10000"/>
                <a:gd name="connsiteY0" fmla="*/ 0 h 5605"/>
                <a:gd name="connsiteX1" fmla="*/ 6894 w 10000"/>
                <a:gd name="connsiteY1" fmla="*/ 2418 h 5605"/>
                <a:gd name="connsiteX2" fmla="*/ 10000 w 10000"/>
                <a:gd name="connsiteY2" fmla="*/ 5605 h 5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5605">
                  <a:moveTo>
                    <a:pt x="0" y="0"/>
                  </a:moveTo>
                  <a:lnTo>
                    <a:pt x="6894" y="2418"/>
                  </a:lnTo>
                  <a:lnTo>
                    <a:pt x="10000" y="5605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45" name="Oval 175">
              <a:extLst>
                <a:ext uri="{FF2B5EF4-FFF2-40B4-BE49-F238E27FC236}">
                  <a16:creationId xmlns:a16="http://schemas.microsoft.com/office/drawing/2014/main" id="{A68637E2-BC15-463D-9281-E72F78E76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8389" y="2108581"/>
              <a:ext cx="2575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6" name="Oval 360">
              <a:extLst>
                <a:ext uri="{FF2B5EF4-FFF2-40B4-BE49-F238E27FC236}">
                  <a16:creationId xmlns:a16="http://schemas.microsoft.com/office/drawing/2014/main" id="{7E10CA49-C9F8-49B8-953E-047380E13C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2693" y="2170344"/>
              <a:ext cx="25756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7" name="Oval 432">
              <a:extLst>
                <a:ext uri="{FF2B5EF4-FFF2-40B4-BE49-F238E27FC236}">
                  <a16:creationId xmlns:a16="http://schemas.microsoft.com/office/drawing/2014/main" id="{A60189F3-8B78-41A2-8943-9E92190B4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6153" y="2777188"/>
              <a:ext cx="26877" cy="2352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8" name="Oval 245">
              <a:extLst>
                <a:ext uri="{FF2B5EF4-FFF2-40B4-BE49-F238E27FC236}">
                  <a16:creationId xmlns:a16="http://schemas.microsoft.com/office/drawing/2014/main" id="{1CF80723-CD4D-4065-991C-1B366C3A8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6054" y="4417329"/>
              <a:ext cx="2687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9" name="Oval 370">
              <a:extLst>
                <a:ext uri="{FF2B5EF4-FFF2-40B4-BE49-F238E27FC236}">
                  <a16:creationId xmlns:a16="http://schemas.microsoft.com/office/drawing/2014/main" id="{0D52CE1F-6C9E-40A4-92F6-C2A4FFA10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7058" y="4449682"/>
              <a:ext cx="2127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0" name="Oval 157">
              <a:extLst>
                <a:ext uri="{FF2B5EF4-FFF2-40B4-BE49-F238E27FC236}">
                  <a16:creationId xmlns:a16="http://schemas.microsoft.com/office/drawing/2014/main" id="{6C850BD7-9C7F-47A6-BE89-F63865680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343" y="3176038"/>
              <a:ext cx="23519" cy="23528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1" name="Oval 213">
              <a:extLst>
                <a:ext uri="{FF2B5EF4-FFF2-40B4-BE49-F238E27FC236}">
                  <a16:creationId xmlns:a16="http://schemas.microsoft.com/office/drawing/2014/main" id="{D91E7704-BAF1-4323-8432-BD70F4A47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2408" y="3526182"/>
              <a:ext cx="26877" cy="2352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2" name="Oval 346">
              <a:extLst>
                <a:ext uri="{FF2B5EF4-FFF2-40B4-BE49-F238E27FC236}">
                  <a16:creationId xmlns:a16="http://schemas.microsoft.com/office/drawing/2014/main" id="{649BE37C-C85F-46BD-BEE1-684E8CD5E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1445" y="3331091"/>
              <a:ext cx="25757" cy="22549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3" name="Freeform 139">
              <a:extLst>
                <a:ext uri="{FF2B5EF4-FFF2-40B4-BE49-F238E27FC236}">
                  <a16:creationId xmlns:a16="http://schemas.microsoft.com/office/drawing/2014/main" id="{1C1311E2-13B8-4F68-B197-FED7E5EEF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6029" y="2254650"/>
              <a:ext cx="49941" cy="155812"/>
            </a:xfrm>
            <a:custGeom>
              <a:avLst/>
              <a:gdLst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2628 w 10000"/>
                <a:gd name="connsiteY4" fmla="*/ 8616 h 10000"/>
                <a:gd name="connsiteX5" fmla="*/ 3577 w 10000"/>
                <a:gd name="connsiteY5" fmla="*/ 8365 h 10000"/>
                <a:gd name="connsiteX6" fmla="*/ 4015 w 10000"/>
                <a:gd name="connsiteY6" fmla="*/ 8239 h 10000"/>
                <a:gd name="connsiteX7" fmla="*/ 4307 w 10000"/>
                <a:gd name="connsiteY7" fmla="*/ 8113 h 10000"/>
                <a:gd name="connsiteX8" fmla="*/ 5255 w 10000"/>
                <a:gd name="connsiteY8" fmla="*/ 7296 h 10000"/>
                <a:gd name="connsiteX9" fmla="*/ 6277 w 10000"/>
                <a:gd name="connsiteY9" fmla="*/ 6698 h 10000"/>
                <a:gd name="connsiteX10" fmla="*/ 8540 w 10000"/>
                <a:gd name="connsiteY10" fmla="*/ 4528 h 10000"/>
                <a:gd name="connsiteX11" fmla="*/ 7007 w 10000"/>
                <a:gd name="connsiteY11" fmla="*/ 3396 h 10000"/>
                <a:gd name="connsiteX12" fmla="*/ 10000 w 10000"/>
                <a:gd name="connsiteY12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2628 w 10000"/>
                <a:gd name="connsiteY4" fmla="*/ 8616 h 10000"/>
                <a:gd name="connsiteX5" fmla="*/ 3577 w 10000"/>
                <a:gd name="connsiteY5" fmla="*/ 8365 h 10000"/>
                <a:gd name="connsiteX6" fmla="*/ 4015 w 10000"/>
                <a:gd name="connsiteY6" fmla="*/ 8239 h 10000"/>
                <a:gd name="connsiteX7" fmla="*/ 4307 w 10000"/>
                <a:gd name="connsiteY7" fmla="*/ 8113 h 10000"/>
                <a:gd name="connsiteX8" fmla="*/ 5255 w 10000"/>
                <a:gd name="connsiteY8" fmla="*/ 7296 h 10000"/>
                <a:gd name="connsiteX9" fmla="*/ 8540 w 10000"/>
                <a:gd name="connsiteY9" fmla="*/ 4528 h 10000"/>
                <a:gd name="connsiteX10" fmla="*/ 7007 w 10000"/>
                <a:gd name="connsiteY10" fmla="*/ 3396 h 10000"/>
                <a:gd name="connsiteX11" fmla="*/ 10000 w 10000"/>
                <a:gd name="connsiteY11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2628 w 10000"/>
                <a:gd name="connsiteY4" fmla="*/ 8616 h 10000"/>
                <a:gd name="connsiteX5" fmla="*/ 3577 w 10000"/>
                <a:gd name="connsiteY5" fmla="*/ 8365 h 10000"/>
                <a:gd name="connsiteX6" fmla="*/ 4015 w 10000"/>
                <a:gd name="connsiteY6" fmla="*/ 8239 h 10000"/>
                <a:gd name="connsiteX7" fmla="*/ 4307 w 10000"/>
                <a:gd name="connsiteY7" fmla="*/ 8113 h 10000"/>
                <a:gd name="connsiteX8" fmla="*/ 8540 w 10000"/>
                <a:gd name="connsiteY8" fmla="*/ 4528 h 10000"/>
                <a:gd name="connsiteX9" fmla="*/ 7007 w 10000"/>
                <a:gd name="connsiteY9" fmla="*/ 3396 h 10000"/>
                <a:gd name="connsiteX10" fmla="*/ 10000 w 10000"/>
                <a:gd name="connsiteY10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2628 w 10000"/>
                <a:gd name="connsiteY4" fmla="*/ 8616 h 10000"/>
                <a:gd name="connsiteX5" fmla="*/ 3577 w 10000"/>
                <a:gd name="connsiteY5" fmla="*/ 8365 h 10000"/>
                <a:gd name="connsiteX6" fmla="*/ 4015 w 10000"/>
                <a:gd name="connsiteY6" fmla="*/ 8239 h 10000"/>
                <a:gd name="connsiteX7" fmla="*/ 8540 w 10000"/>
                <a:gd name="connsiteY7" fmla="*/ 4528 h 10000"/>
                <a:gd name="connsiteX8" fmla="*/ 7007 w 10000"/>
                <a:gd name="connsiteY8" fmla="*/ 3396 h 10000"/>
                <a:gd name="connsiteX9" fmla="*/ 10000 w 10000"/>
                <a:gd name="connsiteY9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2628 w 10000"/>
                <a:gd name="connsiteY4" fmla="*/ 8616 h 10000"/>
                <a:gd name="connsiteX5" fmla="*/ 3222 w 10000"/>
                <a:gd name="connsiteY5" fmla="*/ 8612 h 10000"/>
                <a:gd name="connsiteX6" fmla="*/ 3577 w 10000"/>
                <a:gd name="connsiteY6" fmla="*/ 8365 h 10000"/>
                <a:gd name="connsiteX7" fmla="*/ 4015 w 10000"/>
                <a:gd name="connsiteY7" fmla="*/ 8239 h 10000"/>
                <a:gd name="connsiteX8" fmla="*/ 8540 w 10000"/>
                <a:gd name="connsiteY8" fmla="*/ 4528 h 10000"/>
                <a:gd name="connsiteX9" fmla="*/ 7007 w 10000"/>
                <a:gd name="connsiteY9" fmla="*/ 3396 h 10000"/>
                <a:gd name="connsiteX10" fmla="*/ 10000 w 10000"/>
                <a:gd name="connsiteY10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2628 w 10000"/>
                <a:gd name="connsiteY4" fmla="*/ 8616 h 10000"/>
                <a:gd name="connsiteX5" fmla="*/ 3222 w 10000"/>
                <a:gd name="connsiteY5" fmla="*/ 8612 h 10000"/>
                <a:gd name="connsiteX6" fmla="*/ 3577 w 10000"/>
                <a:gd name="connsiteY6" fmla="*/ 8365 h 10000"/>
                <a:gd name="connsiteX7" fmla="*/ 8540 w 10000"/>
                <a:gd name="connsiteY7" fmla="*/ 4528 h 10000"/>
                <a:gd name="connsiteX8" fmla="*/ 7007 w 10000"/>
                <a:gd name="connsiteY8" fmla="*/ 3396 h 10000"/>
                <a:gd name="connsiteX9" fmla="*/ 10000 w 10000"/>
                <a:gd name="connsiteY9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2628 w 10000"/>
                <a:gd name="connsiteY4" fmla="*/ 8616 h 10000"/>
                <a:gd name="connsiteX5" fmla="*/ 3577 w 10000"/>
                <a:gd name="connsiteY5" fmla="*/ 8365 h 10000"/>
                <a:gd name="connsiteX6" fmla="*/ 8540 w 10000"/>
                <a:gd name="connsiteY6" fmla="*/ 4528 h 10000"/>
                <a:gd name="connsiteX7" fmla="*/ 7007 w 10000"/>
                <a:gd name="connsiteY7" fmla="*/ 3396 h 10000"/>
                <a:gd name="connsiteX8" fmla="*/ 10000 w 10000"/>
                <a:gd name="connsiteY8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2628 w 10000"/>
                <a:gd name="connsiteY4" fmla="*/ 8616 h 10000"/>
                <a:gd name="connsiteX5" fmla="*/ 8540 w 10000"/>
                <a:gd name="connsiteY5" fmla="*/ 4528 h 10000"/>
                <a:gd name="connsiteX6" fmla="*/ 7007 w 10000"/>
                <a:gd name="connsiteY6" fmla="*/ 3396 h 10000"/>
                <a:gd name="connsiteX7" fmla="*/ 10000 w 10000"/>
                <a:gd name="connsiteY7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1679 w 10000"/>
                <a:gd name="connsiteY3" fmla="*/ 8899 h 10000"/>
                <a:gd name="connsiteX4" fmla="*/ 8540 w 10000"/>
                <a:gd name="connsiteY4" fmla="*/ 4528 h 10000"/>
                <a:gd name="connsiteX5" fmla="*/ 7007 w 10000"/>
                <a:gd name="connsiteY5" fmla="*/ 3396 h 10000"/>
                <a:gd name="connsiteX6" fmla="*/ 10000 w 10000"/>
                <a:gd name="connsiteY6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1314 w 10000"/>
                <a:gd name="connsiteY2" fmla="*/ 9025 h 10000"/>
                <a:gd name="connsiteX3" fmla="*/ 8540 w 10000"/>
                <a:gd name="connsiteY3" fmla="*/ 4528 h 10000"/>
                <a:gd name="connsiteX4" fmla="*/ 7007 w 10000"/>
                <a:gd name="connsiteY4" fmla="*/ 3396 h 10000"/>
                <a:gd name="connsiteX5" fmla="*/ 10000 w 10000"/>
                <a:gd name="connsiteY5" fmla="*/ 0 h 10000"/>
                <a:gd name="connsiteX0" fmla="*/ 0 w 10000"/>
                <a:gd name="connsiteY0" fmla="*/ 10000 h 10000"/>
                <a:gd name="connsiteX1" fmla="*/ 949 w 10000"/>
                <a:gd name="connsiteY1" fmla="*/ 9182 h 10000"/>
                <a:gd name="connsiteX2" fmla="*/ 8540 w 10000"/>
                <a:gd name="connsiteY2" fmla="*/ 4528 h 10000"/>
                <a:gd name="connsiteX3" fmla="*/ 7007 w 10000"/>
                <a:gd name="connsiteY3" fmla="*/ 3396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8540 w 10000"/>
                <a:gd name="connsiteY1" fmla="*/ 4528 h 10000"/>
                <a:gd name="connsiteX2" fmla="*/ 7007 w 10000"/>
                <a:gd name="connsiteY2" fmla="*/ 3396 h 10000"/>
                <a:gd name="connsiteX3" fmla="*/ 10000 w 10000"/>
                <a:gd name="connsiteY3" fmla="*/ 0 h 10000"/>
                <a:gd name="connsiteX0" fmla="*/ 1533 w 2993"/>
                <a:gd name="connsiteY0" fmla="*/ 4528 h 4528"/>
                <a:gd name="connsiteX1" fmla="*/ 0 w 2993"/>
                <a:gd name="connsiteY1" fmla="*/ 3396 h 4528"/>
                <a:gd name="connsiteX2" fmla="*/ 2993 w 2993"/>
                <a:gd name="connsiteY2" fmla="*/ 0 h 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93" h="4528">
                  <a:moveTo>
                    <a:pt x="1533" y="4528"/>
                  </a:moveTo>
                  <a:lnTo>
                    <a:pt x="0" y="3396"/>
                  </a:lnTo>
                  <a:lnTo>
                    <a:pt x="2993" y="0"/>
                  </a:lnTo>
                </a:path>
              </a:pathLst>
            </a:custGeom>
            <a:noFill/>
            <a:ln w="2667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54" name="Oval 312">
              <a:extLst>
                <a:ext uri="{FF2B5EF4-FFF2-40B4-BE49-F238E27FC236}">
                  <a16:creationId xmlns:a16="http://schemas.microsoft.com/office/drawing/2014/main" id="{4D340D47-1B4F-4BF4-8A49-9A40092FFC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3742" y="2324261"/>
              <a:ext cx="20157" cy="18627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5" name="Oval 313">
              <a:extLst>
                <a:ext uri="{FF2B5EF4-FFF2-40B4-BE49-F238E27FC236}">
                  <a16:creationId xmlns:a16="http://schemas.microsoft.com/office/drawing/2014/main" id="{7F6756E6-3991-4348-A76F-FA3C7CF029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7102" y="2402690"/>
              <a:ext cx="23519" cy="18627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6" name="Oval 381">
              <a:extLst>
                <a:ext uri="{FF2B5EF4-FFF2-40B4-BE49-F238E27FC236}">
                  <a16:creationId xmlns:a16="http://schemas.microsoft.com/office/drawing/2014/main" id="{B893582B-B8BA-49F6-A40A-1269C071E1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3978" y="2247793"/>
              <a:ext cx="25757" cy="22548"/>
            </a:xfrm>
            <a:prstGeom prst="ellipse">
              <a:avLst/>
            </a:prstGeom>
            <a:solidFill>
              <a:srgbClr val="FFFFFF"/>
            </a:solidFill>
            <a:ln w="6350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7" name="Freeform 453">
              <a:extLst>
                <a:ext uri="{FF2B5EF4-FFF2-40B4-BE49-F238E27FC236}">
                  <a16:creationId xmlns:a16="http://schemas.microsoft.com/office/drawing/2014/main" id="{ADA1EE33-1619-45D9-8A52-155D1790C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360" y="3949506"/>
              <a:ext cx="255720" cy="121756"/>
            </a:xfrm>
            <a:custGeom>
              <a:avLst/>
              <a:gdLst>
                <a:gd name="connsiteX0" fmla="*/ 0 w 9351"/>
                <a:gd name="connsiteY0" fmla="*/ 0 h 9257"/>
                <a:gd name="connsiteX1" fmla="*/ 446 w 9351"/>
                <a:gd name="connsiteY1" fmla="*/ 644 h 9257"/>
                <a:gd name="connsiteX2" fmla="*/ 751 w 9351"/>
                <a:gd name="connsiteY2" fmla="*/ 891 h 9257"/>
                <a:gd name="connsiteX3" fmla="*/ 1116 w 9351"/>
                <a:gd name="connsiteY3" fmla="*/ 1188 h 9257"/>
                <a:gd name="connsiteX4" fmla="*/ 1481 w 9351"/>
                <a:gd name="connsiteY4" fmla="*/ 1485 h 9257"/>
                <a:gd name="connsiteX5" fmla="*/ 1866 w 9351"/>
                <a:gd name="connsiteY5" fmla="*/ 1832 h 9257"/>
                <a:gd name="connsiteX6" fmla="*/ 2231 w 9351"/>
                <a:gd name="connsiteY6" fmla="*/ 2129 h 9257"/>
                <a:gd name="connsiteX7" fmla="*/ 2556 w 9351"/>
                <a:gd name="connsiteY7" fmla="*/ 2426 h 9257"/>
                <a:gd name="connsiteX8" fmla="*/ 2860 w 9351"/>
                <a:gd name="connsiteY8" fmla="*/ 2772 h 9257"/>
                <a:gd name="connsiteX9" fmla="*/ 4300 w 9351"/>
                <a:gd name="connsiteY9" fmla="*/ 5594 h 9257"/>
                <a:gd name="connsiteX10" fmla="*/ 6024 w 9351"/>
                <a:gd name="connsiteY10" fmla="*/ 4257 h 9257"/>
                <a:gd name="connsiteX11" fmla="*/ 7667 w 9351"/>
                <a:gd name="connsiteY11" fmla="*/ 5594 h 9257"/>
                <a:gd name="connsiteX12" fmla="*/ 7870 w 9351"/>
                <a:gd name="connsiteY12" fmla="*/ 5941 h 9257"/>
                <a:gd name="connsiteX13" fmla="*/ 8073 w 9351"/>
                <a:gd name="connsiteY13" fmla="*/ 6436 h 9257"/>
                <a:gd name="connsiteX14" fmla="*/ 8316 w 9351"/>
                <a:gd name="connsiteY14" fmla="*/ 6881 h 9257"/>
                <a:gd name="connsiteX15" fmla="*/ 8540 w 9351"/>
                <a:gd name="connsiteY15" fmla="*/ 7426 h 9257"/>
                <a:gd name="connsiteX16" fmla="*/ 8763 w 9351"/>
                <a:gd name="connsiteY16" fmla="*/ 7921 h 9257"/>
                <a:gd name="connsiteX17" fmla="*/ 8966 w 9351"/>
                <a:gd name="connsiteY17" fmla="*/ 8465 h 9257"/>
                <a:gd name="connsiteX18" fmla="*/ 9168 w 9351"/>
                <a:gd name="connsiteY18" fmla="*/ 8911 h 9257"/>
                <a:gd name="connsiteX19" fmla="*/ 9351 w 9351"/>
                <a:gd name="connsiteY19" fmla="*/ 9257 h 9257"/>
                <a:gd name="connsiteX0" fmla="*/ 0 w 9804"/>
                <a:gd name="connsiteY0" fmla="*/ 0 h 9626"/>
                <a:gd name="connsiteX1" fmla="*/ 477 w 9804"/>
                <a:gd name="connsiteY1" fmla="*/ 696 h 9626"/>
                <a:gd name="connsiteX2" fmla="*/ 803 w 9804"/>
                <a:gd name="connsiteY2" fmla="*/ 963 h 9626"/>
                <a:gd name="connsiteX3" fmla="*/ 1193 w 9804"/>
                <a:gd name="connsiteY3" fmla="*/ 1283 h 9626"/>
                <a:gd name="connsiteX4" fmla="*/ 1584 w 9804"/>
                <a:gd name="connsiteY4" fmla="*/ 1604 h 9626"/>
                <a:gd name="connsiteX5" fmla="*/ 1996 w 9804"/>
                <a:gd name="connsiteY5" fmla="*/ 1979 h 9626"/>
                <a:gd name="connsiteX6" fmla="*/ 2386 w 9804"/>
                <a:gd name="connsiteY6" fmla="*/ 2300 h 9626"/>
                <a:gd name="connsiteX7" fmla="*/ 2733 w 9804"/>
                <a:gd name="connsiteY7" fmla="*/ 2621 h 9626"/>
                <a:gd name="connsiteX8" fmla="*/ 3058 w 9804"/>
                <a:gd name="connsiteY8" fmla="*/ 2994 h 9626"/>
                <a:gd name="connsiteX9" fmla="*/ 4598 w 9804"/>
                <a:gd name="connsiteY9" fmla="*/ 6043 h 9626"/>
                <a:gd name="connsiteX10" fmla="*/ 6442 w 9804"/>
                <a:gd name="connsiteY10" fmla="*/ 4599 h 9626"/>
                <a:gd name="connsiteX11" fmla="*/ 8199 w 9804"/>
                <a:gd name="connsiteY11" fmla="*/ 6043 h 9626"/>
                <a:gd name="connsiteX12" fmla="*/ 8416 w 9804"/>
                <a:gd name="connsiteY12" fmla="*/ 6418 h 9626"/>
                <a:gd name="connsiteX13" fmla="*/ 8633 w 9804"/>
                <a:gd name="connsiteY13" fmla="*/ 6953 h 9626"/>
                <a:gd name="connsiteX14" fmla="*/ 8893 w 9804"/>
                <a:gd name="connsiteY14" fmla="*/ 7433 h 9626"/>
                <a:gd name="connsiteX15" fmla="*/ 9133 w 9804"/>
                <a:gd name="connsiteY15" fmla="*/ 8022 h 9626"/>
                <a:gd name="connsiteX16" fmla="*/ 9371 w 9804"/>
                <a:gd name="connsiteY16" fmla="*/ 8557 h 9626"/>
                <a:gd name="connsiteX17" fmla="*/ 9588 w 9804"/>
                <a:gd name="connsiteY17" fmla="*/ 9144 h 9626"/>
                <a:gd name="connsiteX18" fmla="*/ 9804 w 9804"/>
                <a:gd name="connsiteY18" fmla="*/ 9626 h 9626"/>
                <a:gd name="connsiteX0" fmla="*/ 0 w 9780"/>
                <a:gd name="connsiteY0" fmla="*/ 0 h 9499"/>
                <a:gd name="connsiteX1" fmla="*/ 487 w 9780"/>
                <a:gd name="connsiteY1" fmla="*/ 723 h 9499"/>
                <a:gd name="connsiteX2" fmla="*/ 819 w 9780"/>
                <a:gd name="connsiteY2" fmla="*/ 1000 h 9499"/>
                <a:gd name="connsiteX3" fmla="*/ 1217 w 9780"/>
                <a:gd name="connsiteY3" fmla="*/ 1333 h 9499"/>
                <a:gd name="connsiteX4" fmla="*/ 1616 w 9780"/>
                <a:gd name="connsiteY4" fmla="*/ 1666 h 9499"/>
                <a:gd name="connsiteX5" fmla="*/ 2036 w 9780"/>
                <a:gd name="connsiteY5" fmla="*/ 2056 h 9499"/>
                <a:gd name="connsiteX6" fmla="*/ 2434 w 9780"/>
                <a:gd name="connsiteY6" fmla="*/ 2389 h 9499"/>
                <a:gd name="connsiteX7" fmla="*/ 2788 w 9780"/>
                <a:gd name="connsiteY7" fmla="*/ 2723 h 9499"/>
                <a:gd name="connsiteX8" fmla="*/ 3119 w 9780"/>
                <a:gd name="connsiteY8" fmla="*/ 3110 h 9499"/>
                <a:gd name="connsiteX9" fmla="*/ 4690 w 9780"/>
                <a:gd name="connsiteY9" fmla="*/ 6278 h 9499"/>
                <a:gd name="connsiteX10" fmla="*/ 6571 w 9780"/>
                <a:gd name="connsiteY10" fmla="*/ 4778 h 9499"/>
                <a:gd name="connsiteX11" fmla="*/ 8363 w 9780"/>
                <a:gd name="connsiteY11" fmla="*/ 6278 h 9499"/>
                <a:gd name="connsiteX12" fmla="*/ 8584 w 9780"/>
                <a:gd name="connsiteY12" fmla="*/ 6667 h 9499"/>
                <a:gd name="connsiteX13" fmla="*/ 8806 w 9780"/>
                <a:gd name="connsiteY13" fmla="*/ 7223 h 9499"/>
                <a:gd name="connsiteX14" fmla="*/ 9071 w 9780"/>
                <a:gd name="connsiteY14" fmla="*/ 7722 h 9499"/>
                <a:gd name="connsiteX15" fmla="*/ 9316 w 9780"/>
                <a:gd name="connsiteY15" fmla="*/ 8334 h 9499"/>
                <a:gd name="connsiteX16" fmla="*/ 9558 w 9780"/>
                <a:gd name="connsiteY16" fmla="*/ 8889 h 9499"/>
                <a:gd name="connsiteX17" fmla="*/ 9780 w 9780"/>
                <a:gd name="connsiteY17" fmla="*/ 9499 h 9499"/>
                <a:gd name="connsiteX0" fmla="*/ 0 w 9773"/>
                <a:gd name="connsiteY0" fmla="*/ 0 h 9358"/>
                <a:gd name="connsiteX1" fmla="*/ 498 w 9773"/>
                <a:gd name="connsiteY1" fmla="*/ 761 h 9358"/>
                <a:gd name="connsiteX2" fmla="*/ 837 w 9773"/>
                <a:gd name="connsiteY2" fmla="*/ 1053 h 9358"/>
                <a:gd name="connsiteX3" fmla="*/ 1244 w 9773"/>
                <a:gd name="connsiteY3" fmla="*/ 1403 h 9358"/>
                <a:gd name="connsiteX4" fmla="*/ 1652 w 9773"/>
                <a:gd name="connsiteY4" fmla="*/ 1754 h 9358"/>
                <a:gd name="connsiteX5" fmla="*/ 2082 w 9773"/>
                <a:gd name="connsiteY5" fmla="*/ 2164 h 9358"/>
                <a:gd name="connsiteX6" fmla="*/ 2489 w 9773"/>
                <a:gd name="connsiteY6" fmla="*/ 2515 h 9358"/>
                <a:gd name="connsiteX7" fmla="*/ 2851 w 9773"/>
                <a:gd name="connsiteY7" fmla="*/ 2867 h 9358"/>
                <a:gd name="connsiteX8" fmla="*/ 3189 w 9773"/>
                <a:gd name="connsiteY8" fmla="*/ 3274 h 9358"/>
                <a:gd name="connsiteX9" fmla="*/ 4796 w 9773"/>
                <a:gd name="connsiteY9" fmla="*/ 6609 h 9358"/>
                <a:gd name="connsiteX10" fmla="*/ 6719 w 9773"/>
                <a:gd name="connsiteY10" fmla="*/ 5030 h 9358"/>
                <a:gd name="connsiteX11" fmla="*/ 8551 w 9773"/>
                <a:gd name="connsiteY11" fmla="*/ 6609 h 9358"/>
                <a:gd name="connsiteX12" fmla="*/ 8777 w 9773"/>
                <a:gd name="connsiteY12" fmla="*/ 7019 h 9358"/>
                <a:gd name="connsiteX13" fmla="*/ 9004 w 9773"/>
                <a:gd name="connsiteY13" fmla="*/ 7604 h 9358"/>
                <a:gd name="connsiteX14" fmla="*/ 9275 w 9773"/>
                <a:gd name="connsiteY14" fmla="*/ 8129 h 9358"/>
                <a:gd name="connsiteX15" fmla="*/ 9526 w 9773"/>
                <a:gd name="connsiteY15" fmla="*/ 8774 h 9358"/>
                <a:gd name="connsiteX16" fmla="*/ 9773 w 9773"/>
                <a:gd name="connsiteY16" fmla="*/ 9358 h 9358"/>
                <a:gd name="connsiteX0" fmla="*/ 0 w 9747"/>
                <a:gd name="connsiteY0" fmla="*/ 0 h 9376"/>
                <a:gd name="connsiteX1" fmla="*/ 510 w 9747"/>
                <a:gd name="connsiteY1" fmla="*/ 813 h 9376"/>
                <a:gd name="connsiteX2" fmla="*/ 856 w 9747"/>
                <a:gd name="connsiteY2" fmla="*/ 1125 h 9376"/>
                <a:gd name="connsiteX3" fmla="*/ 1273 w 9747"/>
                <a:gd name="connsiteY3" fmla="*/ 1499 h 9376"/>
                <a:gd name="connsiteX4" fmla="*/ 1690 w 9747"/>
                <a:gd name="connsiteY4" fmla="*/ 1874 h 9376"/>
                <a:gd name="connsiteX5" fmla="*/ 2130 w 9747"/>
                <a:gd name="connsiteY5" fmla="*/ 2312 h 9376"/>
                <a:gd name="connsiteX6" fmla="*/ 2547 w 9747"/>
                <a:gd name="connsiteY6" fmla="*/ 2688 h 9376"/>
                <a:gd name="connsiteX7" fmla="*/ 2917 w 9747"/>
                <a:gd name="connsiteY7" fmla="*/ 3064 h 9376"/>
                <a:gd name="connsiteX8" fmla="*/ 3263 w 9747"/>
                <a:gd name="connsiteY8" fmla="*/ 3499 h 9376"/>
                <a:gd name="connsiteX9" fmla="*/ 4907 w 9747"/>
                <a:gd name="connsiteY9" fmla="*/ 7062 h 9376"/>
                <a:gd name="connsiteX10" fmla="*/ 6875 w 9747"/>
                <a:gd name="connsiteY10" fmla="*/ 5375 h 9376"/>
                <a:gd name="connsiteX11" fmla="*/ 8750 w 9747"/>
                <a:gd name="connsiteY11" fmla="*/ 7062 h 9376"/>
                <a:gd name="connsiteX12" fmla="*/ 8981 w 9747"/>
                <a:gd name="connsiteY12" fmla="*/ 7501 h 9376"/>
                <a:gd name="connsiteX13" fmla="*/ 9213 w 9747"/>
                <a:gd name="connsiteY13" fmla="*/ 8126 h 9376"/>
                <a:gd name="connsiteX14" fmla="*/ 9490 w 9747"/>
                <a:gd name="connsiteY14" fmla="*/ 8687 h 9376"/>
                <a:gd name="connsiteX15" fmla="*/ 9747 w 9747"/>
                <a:gd name="connsiteY15" fmla="*/ 9376 h 9376"/>
                <a:gd name="connsiteX0" fmla="*/ 0 w 9736"/>
                <a:gd name="connsiteY0" fmla="*/ 0 h 9265"/>
                <a:gd name="connsiteX1" fmla="*/ 523 w 9736"/>
                <a:gd name="connsiteY1" fmla="*/ 867 h 9265"/>
                <a:gd name="connsiteX2" fmla="*/ 878 w 9736"/>
                <a:gd name="connsiteY2" fmla="*/ 1200 h 9265"/>
                <a:gd name="connsiteX3" fmla="*/ 1306 w 9736"/>
                <a:gd name="connsiteY3" fmla="*/ 1599 h 9265"/>
                <a:gd name="connsiteX4" fmla="*/ 1734 w 9736"/>
                <a:gd name="connsiteY4" fmla="*/ 1999 h 9265"/>
                <a:gd name="connsiteX5" fmla="*/ 2185 w 9736"/>
                <a:gd name="connsiteY5" fmla="*/ 2466 h 9265"/>
                <a:gd name="connsiteX6" fmla="*/ 2613 w 9736"/>
                <a:gd name="connsiteY6" fmla="*/ 2867 h 9265"/>
                <a:gd name="connsiteX7" fmla="*/ 2993 w 9736"/>
                <a:gd name="connsiteY7" fmla="*/ 3268 h 9265"/>
                <a:gd name="connsiteX8" fmla="*/ 3348 w 9736"/>
                <a:gd name="connsiteY8" fmla="*/ 3732 h 9265"/>
                <a:gd name="connsiteX9" fmla="*/ 5034 w 9736"/>
                <a:gd name="connsiteY9" fmla="*/ 7532 h 9265"/>
                <a:gd name="connsiteX10" fmla="*/ 7053 w 9736"/>
                <a:gd name="connsiteY10" fmla="*/ 5733 h 9265"/>
                <a:gd name="connsiteX11" fmla="*/ 8977 w 9736"/>
                <a:gd name="connsiteY11" fmla="*/ 7532 h 9265"/>
                <a:gd name="connsiteX12" fmla="*/ 9214 w 9736"/>
                <a:gd name="connsiteY12" fmla="*/ 8000 h 9265"/>
                <a:gd name="connsiteX13" fmla="*/ 9452 w 9736"/>
                <a:gd name="connsiteY13" fmla="*/ 8667 h 9265"/>
                <a:gd name="connsiteX14" fmla="*/ 9736 w 9736"/>
                <a:gd name="connsiteY14" fmla="*/ 9265 h 9265"/>
                <a:gd name="connsiteX0" fmla="*/ 0 w 9708"/>
                <a:gd name="connsiteY0" fmla="*/ 0 h 9355"/>
                <a:gd name="connsiteX1" fmla="*/ 537 w 9708"/>
                <a:gd name="connsiteY1" fmla="*/ 936 h 9355"/>
                <a:gd name="connsiteX2" fmla="*/ 902 w 9708"/>
                <a:gd name="connsiteY2" fmla="*/ 1295 h 9355"/>
                <a:gd name="connsiteX3" fmla="*/ 1341 w 9708"/>
                <a:gd name="connsiteY3" fmla="*/ 1726 h 9355"/>
                <a:gd name="connsiteX4" fmla="*/ 1781 w 9708"/>
                <a:gd name="connsiteY4" fmla="*/ 2158 h 9355"/>
                <a:gd name="connsiteX5" fmla="*/ 2244 w 9708"/>
                <a:gd name="connsiteY5" fmla="*/ 2662 h 9355"/>
                <a:gd name="connsiteX6" fmla="*/ 2684 w 9708"/>
                <a:gd name="connsiteY6" fmla="*/ 3094 h 9355"/>
                <a:gd name="connsiteX7" fmla="*/ 3074 w 9708"/>
                <a:gd name="connsiteY7" fmla="*/ 3527 h 9355"/>
                <a:gd name="connsiteX8" fmla="*/ 3439 w 9708"/>
                <a:gd name="connsiteY8" fmla="*/ 4028 h 9355"/>
                <a:gd name="connsiteX9" fmla="*/ 5171 w 9708"/>
                <a:gd name="connsiteY9" fmla="*/ 8130 h 9355"/>
                <a:gd name="connsiteX10" fmla="*/ 7244 w 9708"/>
                <a:gd name="connsiteY10" fmla="*/ 6188 h 9355"/>
                <a:gd name="connsiteX11" fmla="*/ 9220 w 9708"/>
                <a:gd name="connsiteY11" fmla="*/ 8130 h 9355"/>
                <a:gd name="connsiteX12" fmla="*/ 9464 w 9708"/>
                <a:gd name="connsiteY12" fmla="*/ 8635 h 9355"/>
                <a:gd name="connsiteX13" fmla="*/ 9708 w 9708"/>
                <a:gd name="connsiteY13" fmla="*/ 9355 h 9355"/>
                <a:gd name="connsiteX0" fmla="*/ 0 w 9749"/>
                <a:gd name="connsiteY0" fmla="*/ 0 h 9230"/>
                <a:gd name="connsiteX1" fmla="*/ 553 w 9749"/>
                <a:gd name="connsiteY1" fmla="*/ 1001 h 9230"/>
                <a:gd name="connsiteX2" fmla="*/ 929 w 9749"/>
                <a:gd name="connsiteY2" fmla="*/ 1384 h 9230"/>
                <a:gd name="connsiteX3" fmla="*/ 1381 w 9749"/>
                <a:gd name="connsiteY3" fmla="*/ 1845 h 9230"/>
                <a:gd name="connsiteX4" fmla="*/ 1835 w 9749"/>
                <a:gd name="connsiteY4" fmla="*/ 2307 h 9230"/>
                <a:gd name="connsiteX5" fmla="*/ 2311 w 9749"/>
                <a:gd name="connsiteY5" fmla="*/ 2846 h 9230"/>
                <a:gd name="connsiteX6" fmla="*/ 2765 w 9749"/>
                <a:gd name="connsiteY6" fmla="*/ 3307 h 9230"/>
                <a:gd name="connsiteX7" fmla="*/ 3166 w 9749"/>
                <a:gd name="connsiteY7" fmla="*/ 3770 h 9230"/>
                <a:gd name="connsiteX8" fmla="*/ 3542 w 9749"/>
                <a:gd name="connsiteY8" fmla="*/ 4306 h 9230"/>
                <a:gd name="connsiteX9" fmla="*/ 5327 w 9749"/>
                <a:gd name="connsiteY9" fmla="*/ 8691 h 9230"/>
                <a:gd name="connsiteX10" fmla="*/ 7462 w 9749"/>
                <a:gd name="connsiteY10" fmla="*/ 6615 h 9230"/>
                <a:gd name="connsiteX11" fmla="*/ 9497 w 9749"/>
                <a:gd name="connsiteY11" fmla="*/ 8691 h 9230"/>
                <a:gd name="connsiteX12" fmla="*/ 9749 w 9749"/>
                <a:gd name="connsiteY12" fmla="*/ 9230 h 9230"/>
                <a:gd name="connsiteX0" fmla="*/ 0 w 9742"/>
                <a:gd name="connsiteY0" fmla="*/ 0 h 9416"/>
                <a:gd name="connsiteX1" fmla="*/ 567 w 9742"/>
                <a:gd name="connsiteY1" fmla="*/ 1085 h 9416"/>
                <a:gd name="connsiteX2" fmla="*/ 953 w 9742"/>
                <a:gd name="connsiteY2" fmla="*/ 1499 h 9416"/>
                <a:gd name="connsiteX3" fmla="*/ 1417 w 9742"/>
                <a:gd name="connsiteY3" fmla="*/ 1999 h 9416"/>
                <a:gd name="connsiteX4" fmla="*/ 1882 w 9742"/>
                <a:gd name="connsiteY4" fmla="*/ 2499 h 9416"/>
                <a:gd name="connsiteX5" fmla="*/ 2370 w 9742"/>
                <a:gd name="connsiteY5" fmla="*/ 3083 h 9416"/>
                <a:gd name="connsiteX6" fmla="*/ 2836 w 9742"/>
                <a:gd name="connsiteY6" fmla="*/ 3583 h 9416"/>
                <a:gd name="connsiteX7" fmla="*/ 3248 w 9742"/>
                <a:gd name="connsiteY7" fmla="*/ 4085 h 9416"/>
                <a:gd name="connsiteX8" fmla="*/ 3633 w 9742"/>
                <a:gd name="connsiteY8" fmla="*/ 4665 h 9416"/>
                <a:gd name="connsiteX9" fmla="*/ 5464 w 9742"/>
                <a:gd name="connsiteY9" fmla="*/ 9416 h 9416"/>
                <a:gd name="connsiteX10" fmla="*/ 7654 w 9742"/>
                <a:gd name="connsiteY10" fmla="*/ 7167 h 9416"/>
                <a:gd name="connsiteX11" fmla="*/ 9742 w 9742"/>
                <a:gd name="connsiteY11" fmla="*/ 9416 h 9416"/>
                <a:gd name="connsiteX0" fmla="*/ 0 w 7857"/>
                <a:gd name="connsiteY0" fmla="*/ 0 h 10000"/>
                <a:gd name="connsiteX1" fmla="*/ 582 w 7857"/>
                <a:gd name="connsiteY1" fmla="*/ 1152 h 10000"/>
                <a:gd name="connsiteX2" fmla="*/ 978 w 7857"/>
                <a:gd name="connsiteY2" fmla="*/ 1592 h 10000"/>
                <a:gd name="connsiteX3" fmla="*/ 1455 w 7857"/>
                <a:gd name="connsiteY3" fmla="*/ 2123 h 10000"/>
                <a:gd name="connsiteX4" fmla="*/ 1932 w 7857"/>
                <a:gd name="connsiteY4" fmla="*/ 2654 h 10000"/>
                <a:gd name="connsiteX5" fmla="*/ 2433 w 7857"/>
                <a:gd name="connsiteY5" fmla="*/ 3274 h 10000"/>
                <a:gd name="connsiteX6" fmla="*/ 2911 w 7857"/>
                <a:gd name="connsiteY6" fmla="*/ 3805 h 10000"/>
                <a:gd name="connsiteX7" fmla="*/ 3334 w 7857"/>
                <a:gd name="connsiteY7" fmla="*/ 4338 h 10000"/>
                <a:gd name="connsiteX8" fmla="*/ 3729 w 7857"/>
                <a:gd name="connsiteY8" fmla="*/ 4954 h 10000"/>
                <a:gd name="connsiteX9" fmla="*/ 5609 w 7857"/>
                <a:gd name="connsiteY9" fmla="*/ 10000 h 10000"/>
                <a:gd name="connsiteX10" fmla="*/ 7857 w 7857"/>
                <a:gd name="connsiteY10" fmla="*/ 7612 h 10000"/>
                <a:gd name="connsiteX0" fmla="*/ 0 w 7139"/>
                <a:gd name="connsiteY0" fmla="*/ 0 h 10000"/>
                <a:gd name="connsiteX1" fmla="*/ 741 w 7139"/>
                <a:gd name="connsiteY1" fmla="*/ 1152 h 10000"/>
                <a:gd name="connsiteX2" fmla="*/ 1245 w 7139"/>
                <a:gd name="connsiteY2" fmla="*/ 1592 h 10000"/>
                <a:gd name="connsiteX3" fmla="*/ 1852 w 7139"/>
                <a:gd name="connsiteY3" fmla="*/ 2123 h 10000"/>
                <a:gd name="connsiteX4" fmla="*/ 2459 w 7139"/>
                <a:gd name="connsiteY4" fmla="*/ 2654 h 10000"/>
                <a:gd name="connsiteX5" fmla="*/ 3097 w 7139"/>
                <a:gd name="connsiteY5" fmla="*/ 3274 h 10000"/>
                <a:gd name="connsiteX6" fmla="*/ 3705 w 7139"/>
                <a:gd name="connsiteY6" fmla="*/ 3805 h 10000"/>
                <a:gd name="connsiteX7" fmla="*/ 4243 w 7139"/>
                <a:gd name="connsiteY7" fmla="*/ 4338 h 10000"/>
                <a:gd name="connsiteX8" fmla="*/ 4746 w 7139"/>
                <a:gd name="connsiteY8" fmla="*/ 4954 h 10000"/>
                <a:gd name="connsiteX9" fmla="*/ 7139 w 7139"/>
                <a:gd name="connsiteY9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39" h="10000">
                  <a:moveTo>
                    <a:pt x="0" y="0"/>
                  </a:moveTo>
                  <a:lnTo>
                    <a:pt x="741" y="1152"/>
                  </a:lnTo>
                  <a:lnTo>
                    <a:pt x="1245" y="1592"/>
                  </a:lnTo>
                  <a:lnTo>
                    <a:pt x="1852" y="2123"/>
                  </a:lnTo>
                  <a:lnTo>
                    <a:pt x="2459" y="2654"/>
                  </a:lnTo>
                  <a:lnTo>
                    <a:pt x="3097" y="3274"/>
                  </a:lnTo>
                  <a:lnTo>
                    <a:pt x="3705" y="3805"/>
                  </a:lnTo>
                  <a:lnTo>
                    <a:pt x="4243" y="4338"/>
                  </a:lnTo>
                  <a:lnTo>
                    <a:pt x="4746" y="4954"/>
                  </a:lnTo>
                  <a:lnTo>
                    <a:pt x="7139" y="10000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8" name="Freeform 573">
              <a:extLst>
                <a:ext uri="{FF2B5EF4-FFF2-40B4-BE49-F238E27FC236}">
                  <a16:creationId xmlns:a16="http://schemas.microsoft.com/office/drawing/2014/main" id="{B7644281-8618-48F2-AEF6-373366462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592" y="3865811"/>
              <a:ext cx="364213" cy="125251"/>
            </a:xfrm>
            <a:custGeom>
              <a:avLst/>
              <a:gdLst>
                <a:gd name="connsiteX0" fmla="*/ 0 w 9867"/>
                <a:gd name="connsiteY0" fmla="*/ 1179 h 9563"/>
                <a:gd name="connsiteX1" fmla="*/ 311 w 9867"/>
                <a:gd name="connsiteY1" fmla="*/ 794 h 9563"/>
                <a:gd name="connsiteX2" fmla="*/ 1422 w 9867"/>
                <a:gd name="connsiteY2" fmla="*/ 25 h 9563"/>
                <a:gd name="connsiteX3" fmla="*/ 2044 w 9867"/>
                <a:gd name="connsiteY3" fmla="*/ 333 h 9563"/>
                <a:gd name="connsiteX4" fmla="*/ 1911 w 9867"/>
                <a:gd name="connsiteY4" fmla="*/ 1256 h 9563"/>
                <a:gd name="connsiteX5" fmla="*/ 1822 w 9867"/>
                <a:gd name="connsiteY5" fmla="*/ 1717 h 9563"/>
                <a:gd name="connsiteX6" fmla="*/ 2356 w 9867"/>
                <a:gd name="connsiteY6" fmla="*/ 2256 h 9563"/>
                <a:gd name="connsiteX7" fmla="*/ 3022 w 9867"/>
                <a:gd name="connsiteY7" fmla="*/ 1563 h 9563"/>
                <a:gd name="connsiteX8" fmla="*/ 3289 w 9867"/>
                <a:gd name="connsiteY8" fmla="*/ 3256 h 9563"/>
                <a:gd name="connsiteX9" fmla="*/ 4533 w 9867"/>
                <a:gd name="connsiteY9" fmla="*/ 3717 h 9563"/>
                <a:gd name="connsiteX10" fmla="*/ 4933 w 9867"/>
                <a:gd name="connsiteY10" fmla="*/ 4179 h 9563"/>
                <a:gd name="connsiteX11" fmla="*/ 5333 w 9867"/>
                <a:gd name="connsiteY11" fmla="*/ 4409 h 9563"/>
                <a:gd name="connsiteX12" fmla="*/ 6267 w 9867"/>
                <a:gd name="connsiteY12" fmla="*/ 4563 h 9563"/>
                <a:gd name="connsiteX13" fmla="*/ 7867 w 9867"/>
                <a:gd name="connsiteY13" fmla="*/ 5563 h 9563"/>
                <a:gd name="connsiteX14" fmla="*/ 8400 w 9867"/>
                <a:gd name="connsiteY14" fmla="*/ 6102 h 9563"/>
                <a:gd name="connsiteX15" fmla="*/ 8711 w 9867"/>
                <a:gd name="connsiteY15" fmla="*/ 6717 h 9563"/>
                <a:gd name="connsiteX16" fmla="*/ 8889 w 9867"/>
                <a:gd name="connsiteY16" fmla="*/ 7409 h 9563"/>
                <a:gd name="connsiteX17" fmla="*/ 9422 w 9867"/>
                <a:gd name="connsiteY17" fmla="*/ 8871 h 9563"/>
                <a:gd name="connsiteX18" fmla="*/ 9556 w 9867"/>
                <a:gd name="connsiteY18" fmla="*/ 9025 h 9563"/>
                <a:gd name="connsiteX19" fmla="*/ 9600 w 9867"/>
                <a:gd name="connsiteY19" fmla="*/ 9256 h 9563"/>
                <a:gd name="connsiteX20" fmla="*/ 9867 w 9867"/>
                <a:gd name="connsiteY20" fmla="*/ 9563 h 9563"/>
                <a:gd name="connsiteX0" fmla="*/ 0 w 9729"/>
                <a:gd name="connsiteY0" fmla="*/ 1233 h 9679"/>
                <a:gd name="connsiteX1" fmla="*/ 315 w 9729"/>
                <a:gd name="connsiteY1" fmla="*/ 830 h 9679"/>
                <a:gd name="connsiteX2" fmla="*/ 1441 w 9729"/>
                <a:gd name="connsiteY2" fmla="*/ 26 h 9679"/>
                <a:gd name="connsiteX3" fmla="*/ 2072 w 9729"/>
                <a:gd name="connsiteY3" fmla="*/ 348 h 9679"/>
                <a:gd name="connsiteX4" fmla="*/ 1937 w 9729"/>
                <a:gd name="connsiteY4" fmla="*/ 1313 h 9679"/>
                <a:gd name="connsiteX5" fmla="*/ 1847 w 9729"/>
                <a:gd name="connsiteY5" fmla="*/ 1795 h 9679"/>
                <a:gd name="connsiteX6" fmla="*/ 2388 w 9729"/>
                <a:gd name="connsiteY6" fmla="*/ 2359 h 9679"/>
                <a:gd name="connsiteX7" fmla="*/ 3063 w 9729"/>
                <a:gd name="connsiteY7" fmla="*/ 1634 h 9679"/>
                <a:gd name="connsiteX8" fmla="*/ 3333 w 9729"/>
                <a:gd name="connsiteY8" fmla="*/ 3405 h 9679"/>
                <a:gd name="connsiteX9" fmla="*/ 4594 w 9729"/>
                <a:gd name="connsiteY9" fmla="*/ 3887 h 9679"/>
                <a:gd name="connsiteX10" fmla="*/ 4999 w 9729"/>
                <a:gd name="connsiteY10" fmla="*/ 4370 h 9679"/>
                <a:gd name="connsiteX11" fmla="*/ 5405 w 9729"/>
                <a:gd name="connsiteY11" fmla="*/ 4610 h 9679"/>
                <a:gd name="connsiteX12" fmla="*/ 6351 w 9729"/>
                <a:gd name="connsiteY12" fmla="*/ 4772 h 9679"/>
                <a:gd name="connsiteX13" fmla="*/ 7973 w 9729"/>
                <a:gd name="connsiteY13" fmla="*/ 5817 h 9679"/>
                <a:gd name="connsiteX14" fmla="*/ 8513 w 9729"/>
                <a:gd name="connsiteY14" fmla="*/ 6381 h 9679"/>
                <a:gd name="connsiteX15" fmla="*/ 8828 w 9729"/>
                <a:gd name="connsiteY15" fmla="*/ 7024 h 9679"/>
                <a:gd name="connsiteX16" fmla="*/ 9009 w 9729"/>
                <a:gd name="connsiteY16" fmla="*/ 7748 h 9679"/>
                <a:gd name="connsiteX17" fmla="*/ 9549 w 9729"/>
                <a:gd name="connsiteY17" fmla="*/ 9276 h 9679"/>
                <a:gd name="connsiteX18" fmla="*/ 9685 w 9729"/>
                <a:gd name="connsiteY18" fmla="*/ 9437 h 9679"/>
                <a:gd name="connsiteX19" fmla="*/ 9729 w 9729"/>
                <a:gd name="connsiteY19" fmla="*/ 9679 h 9679"/>
                <a:gd name="connsiteX0" fmla="*/ 0 w 10000"/>
                <a:gd name="connsiteY0" fmla="*/ 1274 h 10000"/>
                <a:gd name="connsiteX1" fmla="*/ 324 w 10000"/>
                <a:gd name="connsiteY1" fmla="*/ 858 h 10000"/>
                <a:gd name="connsiteX2" fmla="*/ 1481 w 10000"/>
                <a:gd name="connsiteY2" fmla="*/ 27 h 10000"/>
                <a:gd name="connsiteX3" fmla="*/ 2130 w 10000"/>
                <a:gd name="connsiteY3" fmla="*/ 360 h 10000"/>
                <a:gd name="connsiteX4" fmla="*/ 1991 w 10000"/>
                <a:gd name="connsiteY4" fmla="*/ 1357 h 10000"/>
                <a:gd name="connsiteX5" fmla="*/ 1898 w 10000"/>
                <a:gd name="connsiteY5" fmla="*/ 1855 h 10000"/>
                <a:gd name="connsiteX6" fmla="*/ 2455 w 10000"/>
                <a:gd name="connsiteY6" fmla="*/ 2437 h 10000"/>
                <a:gd name="connsiteX7" fmla="*/ 3148 w 10000"/>
                <a:gd name="connsiteY7" fmla="*/ 1688 h 10000"/>
                <a:gd name="connsiteX8" fmla="*/ 3426 w 10000"/>
                <a:gd name="connsiteY8" fmla="*/ 3518 h 10000"/>
                <a:gd name="connsiteX9" fmla="*/ 4722 w 10000"/>
                <a:gd name="connsiteY9" fmla="*/ 4016 h 10000"/>
                <a:gd name="connsiteX10" fmla="*/ 5138 w 10000"/>
                <a:gd name="connsiteY10" fmla="*/ 4515 h 10000"/>
                <a:gd name="connsiteX11" fmla="*/ 5556 w 10000"/>
                <a:gd name="connsiteY11" fmla="*/ 4763 h 10000"/>
                <a:gd name="connsiteX12" fmla="*/ 6528 w 10000"/>
                <a:gd name="connsiteY12" fmla="*/ 4930 h 10000"/>
                <a:gd name="connsiteX13" fmla="*/ 8195 w 10000"/>
                <a:gd name="connsiteY13" fmla="*/ 6010 h 10000"/>
                <a:gd name="connsiteX14" fmla="*/ 8750 w 10000"/>
                <a:gd name="connsiteY14" fmla="*/ 6593 h 10000"/>
                <a:gd name="connsiteX15" fmla="*/ 9074 w 10000"/>
                <a:gd name="connsiteY15" fmla="*/ 7257 h 10000"/>
                <a:gd name="connsiteX16" fmla="*/ 9260 w 10000"/>
                <a:gd name="connsiteY16" fmla="*/ 8005 h 10000"/>
                <a:gd name="connsiteX17" fmla="*/ 9815 w 10000"/>
                <a:gd name="connsiteY17" fmla="*/ 9584 h 10000"/>
                <a:gd name="connsiteX18" fmla="*/ 10000 w 10000"/>
                <a:gd name="connsiteY18" fmla="*/ 10000 h 10000"/>
                <a:gd name="connsiteX0" fmla="*/ 0 w 9815"/>
                <a:gd name="connsiteY0" fmla="*/ 1274 h 9584"/>
                <a:gd name="connsiteX1" fmla="*/ 324 w 9815"/>
                <a:gd name="connsiteY1" fmla="*/ 858 h 9584"/>
                <a:gd name="connsiteX2" fmla="*/ 1481 w 9815"/>
                <a:gd name="connsiteY2" fmla="*/ 27 h 9584"/>
                <a:gd name="connsiteX3" fmla="*/ 2130 w 9815"/>
                <a:gd name="connsiteY3" fmla="*/ 360 h 9584"/>
                <a:gd name="connsiteX4" fmla="*/ 1991 w 9815"/>
                <a:gd name="connsiteY4" fmla="*/ 1357 h 9584"/>
                <a:gd name="connsiteX5" fmla="*/ 1898 w 9815"/>
                <a:gd name="connsiteY5" fmla="*/ 1855 h 9584"/>
                <a:gd name="connsiteX6" fmla="*/ 2455 w 9815"/>
                <a:gd name="connsiteY6" fmla="*/ 2437 h 9584"/>
                <a:gd name="connsiteX7" fmla="*/ 3148 w 9815"/>
                <a:gd name="connsiteY7" fmla="*/ 1688 h 9584"/>
                <a:gd name="connsiteX8" fmla="*/ 3426 w 9815"/>
                <a:gd name="connsiteY8" fmla="*/ 3518 h 9584"/>
                <a:gd name="connsiteX9" fmla="*/ 4722 w 9815"/>
                <a:gd name="connsiteY9" fmla="*/ 4016 h 9584"/>
                <a:gd name="connsiteX10" fmla="*/ 5138 w 9815"/>
                <a:gd name="connsiteY10" fmla="*/ 4515 h 9584"/>
                <a:gd name="connsiteX11" fmla="*/ 5556 w 9815"/>
                <a:gd name="connsiteY11" fmla="*/ 4763 h 9584"/>
                <a:gd name="connsiteX12" fmla="*/ 6528 w 9815"/>
                <a:gd name="connsiteY12" fmla="*/ 4930 h 9584"/>
                <a:gd name="connsiteX13" fmla="*/ 8195 w 9815"/>
                <a:gd name="connsiteY13" fmla="*/ 6010 h 9584"/>
                <a:gd name="connsiteX14" fmla="*/ 8750 w 9815"/>
                <a:gd name="connsiteY14" fmla="*/ 6593 h 9584"/>
                <a:gd name="connsiteX15" fmla="*/ 9074 w 9815"/>
                <a:gd name="connsiteY15" fmla="*/ 7257 h 9584"/>
                <a:gd name="connsiteX16" fmla="*/ 9260 w 9815"/>
                <a:gd name="connsiteY16" fmla="*/ 8005 h 9584"/>
                <a:gd name="connsiteX17" fmla="*/ 9815 w 9815"/>
                <a:gd name="connsiteY17" fmla="*/ 9584 h 9584"/>
                <a:gd name="connsiteX0" fmla="*/ 0 w 9435"/>
                <a:gd name="connsiteY0" fmla="*/ 1329 h 8352"/>
                <a:gd name="connsiteX1" fmla="*/ 330 w 9435"/>
                <a:gd name="connsiteY1" fmla="*/ 895 h 8352"/>
                <a:gd name="connsiteX2" fmla="*/ 1509 w 9435"/>
                <a:gd name="connsiteY2" fmla="*/ 28 h 8352"/>
                <a:gd name="connsiteX3" fmla="*/ 2170 w 9435"/>
                <a:gd name="connsiteY3" fmla="*/ 376 h 8352"/>
                <a:gd name="connsiteX4" fmla="*/ 2029 w 9435"/>
                <a:gd name="connsiteY4" fmla="*/ 1416 h 8352"/>
                <a:gd name="connsiteX5" fmla="*/ 1934 w 9435"/>
                <a:gd name="connsiteY5" fmla="*/ 1936 h 8352"/>
                <a:gd name="connsiteX6" fmla="*/ 2501 w 9435"/>
                <a:gd name="connsiteY6" fmla="*/ 2543 h 8352"/>
                <a:gd name="connsiteX7" fmla="*/ 3207 w 9435"/>
                <a:gd name="connsiteY7" fmla="*/ 1761 h 8352"/>
                <a:gd name="connsiteX8" fmla="*/ 3491 w 9435"/>
                <a:gd name="connsiteY8" fmla="*/ 3671 h 8352"/>
                <a:gd name="connsiteX9" fmla="*/ 4811 w 9435"/>
                <a:gd name="connsiteY9" fmla="*/ 4190 h 8352"/>
                <a:gd name="connsiteX10" fmla="*/ 5235 w 9435"/>
                <a:gd name="connsiteY10" fmla="*/ 4711 h 8352"/>
                <a:gd name="connsiteX11" fmla="*/ 5661 w 9435"/>
                <a:gd name="connsiteY11" fmla="*/ 4970 h 8352"/>
                <a:gd name="connsiteX12" fmla="*/ 6651 w 9435"/>
                <a:gd name="connsiteY12" fmla="*/ 5144 h 8352"/>
                <a:gd name="connsiteX13" fmla="*/ 8349 w 9435"/>
                <a:gd name="connsiteY13" fmla="*/ 6271 h 8352"/>
                <a:gd name="connsiteX14" fmla="*/ 8915 w 9435"/>
                <a:gd name="connsiteY14" fmla="*/ 6879 h 8352"/>
                <a:gd name="connsiteX15" fmla="*/ 9245 w 9435"/>
                <a:gd name="connsiteY15" fmla="*/ 7572 h 8352"/>
                <a:gd name="connsiteX16" fmla="*/ 9435 w 9435"/>
                <a:gd name="connsiteY16" fmla="*/ 8352 h 8352"/>
                <a:gd name="connsiteX0" fmla="*/ 0 w 9799"/>
                <a:gd name="connsiteY0" fmla="*/ 1591 h 9066"/>
                <a:gd name="connsiteX1" fmla="*/ 350 w 9799"/>
                <a:gd name="connsiteY1" fmla="*/ 1072 h 9066"/>
                <a:gd name="connsiteX2" fmla="*/ 1599 w 9799"/>
                <a:gd name="connsiteY2" fmla="*/ 34 h 9066"/>
                <a:gd name="connsiteX3" fmla="*/ 2300 w 9799"/>
                <a:gd name="connsiteY3" fmla="*/ 450 h 9066"/>
                <a:gd name="connsiteX4" fmla="*/ 2151 w 9799"/>
                <a:gd name="connsiteY4" fmla="*/ 1695 h 9066"/>
                <a:gd name="connsiteX5" fmla="*/ 2050 w 9799"/>
                <a:gd name="connsiteY5" fmla="*/ 2318 h 9066"/>
                <a:gd name="connsiteX6" fmla="*/ 2651 w 9799"/>
                <a:gd name="connsiteY6" fmla="*/ 3045 h 9066"/>
                <a:gd name="connsiteX7" fmla="*/ 3399 w 9799"/>
                <a:gd name="connsiteY7" fmla="*/ 2108 h 9066"/>
                <a:gd name="connsiteX8" fmla="*/ 3700 w 9799"/>
                <a:gd name="connsiteY8" fmla="*/ 4395 h 9066"/>
                <a:gd name="connsiteX9" fmla="*/ 5099 w 9799"/>
                <a:gd name="connsiteY9" fmla="*/ 5017 h 9066"/>
                <a:gd name="connsiteX10" fmla="*/ 5548 w 9799"/>
                <a:gd name="connsiteY10" fmla="*/ 5641 h 9066"/>
                <a:gd name="connsiteX11" fmla="*/ 6000 w 9799"/>
                <a:gd name="connsiteY11" fmla="*/ 5951 h 9066"/>
                <a:gd name="connsiteX12" fmla="*/ 7049 w 9799"/>
                <a:gd name="connsiteY12" fmla="*/ 6159 h 9066"/>
                <a:gd name="connsiteX13" fmla="*/ 8849 w 9799"/>
                <a:gd name="connsiteY13" fmla="*/ 7508 h 9066"/>
                <a:gd name="connsiteX14" fmla="*/ 9449 w 9799"/>
                <a:gd name="connsiteY14" fmla="*/ 8236 h 9066"/>
                <a:gd name="connsiteX15" fmla="*/ 9799 w 9799"/>
                <a:gd name="connsiteY15" fmla="*/ 9066 h 9066"/>
                <a:gd name="connsiteX0" fmla="*/ 0 w 9643"/>
                <a:gd name="connsiteY0" fmla="*/ 1754 h 9083"/>
                <a:gd name="connsiteX1" fmla="*/ 357 w 9643"/>
                <a:gd name="connsiteY1" fmla="*/ 1181 h 9083"/>
                <a:gd name="connsiteX2" fmla="*/ 1632 w 9643"/>
                <a:gd name="connsiteY2" fmla="*/ 37 h 9083"/>
                <a:gd name="connsiteX3" fmla="*/ 2347 w 9643"/>
                <a:gd name="connsiteY3" fmla="*/ 495 h 9083"/>
                <a:gd name="connsiteX4" fmla="*/ 2195 w 9643"/>
                <a:gd name="connsiteY4" fmla="*/ 1869 h 9083"/>
                <a:gd name="connsiteX5" fmla="*/ 2092 w 9643"/>
                <a:gd name="connsiteY5" fmla="*/ 2556 h 9083"/>
                <a:gd name="connsiteX6" fmla="*/ 2705 w 9643"/>
                <a:gd name="connsiteY6" fmla="*/ 3358 h 9083"/>
                <a:gd name="connsiteX7" fmla="*/ 3469 w 9643"/>
                <a:gd name="connsiteY7" fmla="*/ 2324 h 9083"/>
                <a:gd name="connsiteX8" fmla="*/ 3776 w 9643"/>
                <a:gd name="connsiteY8" fmla="*/ 4847 h 9083"/>
                <a:gd name="connsiteX9" fmla="*/ 5204 w 9643"/>
                <a:gd name="connsiteY9" fmla="*/ 5533 h 9083"/>
                <a:gd name="connsiteX10" fmla="*/ 5662 w 9643"/>
                <a:gd name="connsiteY10" fmla="*/ 6221 h 9083"/>
                <a:gd name="connsiteX11" fmla="*/ 6123 w 9643"/>
                <a:gd name="connsiteY11" fmla="*/ 6563 h 9083"/>
                <a:gd name="connsiteX12" fmla="*/ 7194 w 9643"/>
                <a:gd name="connsiteY12" fmla="*/ 6793 h 9083"/>
                <a:gd name="connsiteX13" fmla="*/ 9031 w 9643"/>
                <a:gd name="connsiteY13" fmla="*/ 8280 h 9083"/>
                <a:gd name="connsiteX14" fmla="*/ 9643 w 9643"/>
                <a:gd name="connsiteY14" fmla="*/ 9083 h 9083"/>
                <a:gd name="connsiteX0" fmla="*/ 0 w 9365"/>
                <a:gd name="connsiteY0" fmla="*/ 1931 h 9116"/>
                <a:gd name="connsiteX1" fmla="*/ 370 w 9365"/>
                <a:gd name="connsiteY1" fmla="*/ 1300 h 9116"/>
                <a:gd name="connsiteX2" fmla="*/ 1692 w 9365"/>
                <a:gd name="connsiteY2" fmla="*/ 41 h 9116"/>
                <a:gd name="connsiteX3" fmla="*/ 2434 w 9365"/>
                <a:gd name="connsiteY3" fmla="*/ 545 h 9116"/>
                <a:gd name="connsiteX4" fmla="*/ 2276 w 9365"/>
                <a:gd name="connsiteY4" fmla="*/ 2058 h 9116"/>
                <a:gd name="connsiteX5" fmla="*/ 2169 w 9365"/>
                <a:gd name="connsiteY5" fmla="*/ 2814 h 9116"/>
                <a:gd name="connsiteX6" fmla="*/ 2805 w 9365"/>
                <a:gd name="connsiteY6" fmla="*/ 3697 h 9116"/>
                <a:gd name="connsiteX7" fmla="*/ 3597 w 9365"/>
                <a:gd name="connsiteY7" fmla="*/ 2559 h 9116"/>
                <a:gd name="connsiteX8" fmla="*/ 3916 w 9365"/>
                <a:gd name="connsiteY8" fmla="*/ 5336 h 9116"/>
                <a:gd name="connsiteX9" fmla="*/ 5397 w 9365"/>
                <a:gd name="connsiteY9" fmla="*/ 6092 h 9116"/>
                <a:gd name="connsiteX10" fmla="*/ 5872 w 9365"/>
                <a:gd name="connsiteY10" fmla="*/ 6849 h 9116"/>
                <a:gd name="connsiteX11" fmla="*/ 6350 w 9365"/>
                <a:gd name="connsiteY11" fmla="*/ 7226 h 9116"/>
                <a:gd name="connsiteX12" fmla="*/ 7460 w 9365"/>
                <a:gd name="connsiteY12" fmla="*/ 7479 h 9116"/>
                <a:gd name="connsiteX13" fmla="*/ 9365 w 9365"/>
                <a:gd name="connsiteY13" fmla="*/ 9116 h 9116"/>
                <a:gd name="connsiteX0" fmla="*/ 0 w 7966"/>
                <a:gd name="connsiteY0" fmla="*/ 2118 h 8204"/>
                <a:gd name="connsiteX1" fmla="*/ 395 w 7966"/>
                <a:gd name="connsiteY1" fmla="*/ 1426 h 8204"/>
                <a:gd name="connsiteX2" fmla="*/ 1807 w 7966"/>
                <a:gd name="connsiteY2" fmla="*/ 45 h 8204"/>
                <a:gd name="connsiteX3" fmla="*/ 2599 w 7966"/>
                <a:gd name="connsiteY3" fmla="*/ 598 h 8204"/>
                <a:gd name="connsiteX4" fmla="*/ 2430 w 7966"/>
                <a:gd name="connsiteY4" fmla="*/ 2258 h 8204"/>
                <a:gd name="connsiteX5" fmla="*/ 2316 w 7966"/>
                <a:gd name="connsiteY5" fmla="*/ 3087 h 8204"/>
                <a:gd name="connsiteX6" fmla="*/ 2995 w 7966"/>
                <a:gd name="connsiteY6" fmla="*/ 4056 h 8204"/>
                <a:gd name="connsiteX7" fmla="*/ 3841 w 7966"/>
                <a:gd name="connsiteY7" fmla="*/ 2807 h 8204"/>
                <a:gd name="connsiteX8" fmla="*/ 4182 w 7966"/>
                <a:gd name="connsiteY8" fmla="*/ 5853 h 8204"/>
                <a:gd name="connsiteX9" fmla="*/ 5763 w 7966"/>
                <a:gd name="connsiteY9" fmla="*/ 6683 h 8204"/>
                <a:gd name="connsiteX10" fmla="*/ 6270 w 7966"/>
                <a:gd name="connsiteY10" fmla="*/ 7513 h 8204"/>
                <a:gd name="connsiteX11" fmla="*/ 6781 w 7966"/>
                <a:gd name="connsiteY11" fmla="*/ 7927 h 8204"/>
                <a:gd name="connsiteX12" fmla="*/ 7966 w 7966"/>
                <a:gd name="connsiteY12" fmla="*/ 8204 h 8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66" h="8204">
                  <a:moveTo>
                    <a:pt x="0" y="2118"/>
                  </a:moveTo>
                  <a:cubicBezTo>
                    <a:pt x="85" y="1426"/>
                    <a:pt x="0" y="1771"/>
                    <a:pt x="395" y="1426"/>
                  </a:cubicBezTo>
                  <a:cubicBezTo>
                    <a:pt x="876" y="1011"/>
                    <a:pt x="1300" y="320"/>
                    <a:pt x="1807" y="45"/>
                  </a:cubicBezTo>
                  <a:cubicBezTo>
                    <a:pt x="1892" y="45"/>
                    <a:pt x="2571" y="-233"/>
                    <a:pt x="2599" y="598"/>
                  </a:cubicBezTo>
                  <a:cubicBezTo>
                    <a:pt x="2628" y="1011"/>
                    <a:pt x="2485" y="1912"/>
                    <a:pt x="2430" y="2258"/>
                  </a:cubicBezTo>
                  <a:cubicBezTo>
                    <a:pt x="2400" y="2532"/>
                    <a:pt x="2316" y="3087"/>
                    <a:pt x="2316" y="3087"/>
                  </a:cubicBezTo>
                  <a:cubicBezTo>
                    <a:pt x="2400" y="4331"/>
                    <a:pt x="2516" y="4331"/>
                    <a:pt x="2995" y="4056"/>
                  </a:cubicBezTo>
                  <a:cubicBezTo>
                    <a:pt x="3279" y="3640"/>
                    <a:pt x="3531" y="3087"/>
                    <a:pt x="3841" y="2807"/>
                  </a:cubicBezTo>
                  <a:cubicBezTo>
                    <a:pt x="4125" y="3918"/>
                    <a:pt x="3560" y="6821"/>
                    <a:pt x="4182" y="5853"/>
                  </a:cubicBezTo>
                  <a:cubicBezTo>
                    <a:pt x="5028" y="5921"/>
                    <a:pt x="5226" y="5783"/>
                    <a:pt x="5763" y="6683"/>
                  </a:cubicBezTo>
                  <a:cubicBezTo>
                    <a:pt x="5934" y="6959"/>
                    <a:pt x="6074" y="7372"/>
                    <a:pt x="6270" y="7513"/>
                  </a:cubicBezTo>
                  <a:lnTo>
                    <a:pt x="6781" y="7927"/>
                  </a:lnTo>
                  <a:cubicBezTo>
                    <a:pt x="7233" y="7581"/>
                    <a:pt x="7485" y="7789"/>
                    <a:pt x="7966" y="8204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9" name="Freeform 453">
              <a:extLst>
                <a:ext uri="{FF2B5EF4-FFF2-40B4-BE49-F238E27FC236}">
                  <a16:creationId xmlns:a16="http://schemas.microsoft.com/office/drawing/2014/main" id="{5128FD39-2E6F-416E-B37C-886842258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966" y="4038859"/>
              <a:ext cx="338919" cy="124969"/>
            </a:xfrm>
            <a:custGeom>
              <a:avLst/>
              <a:gdLst>
                <a:gd name="connsiteX0" fmla="*/ 0 w 10000"/>
                <a:gd name="connsiteY0" fmla="*/ 0 h 10000"/>
                <a:gd name="connsiteX1" fmla="*/ 446 w 10000"/>
                <a:gd name="connsiteY1" fmla="*/ 644 h 10000"/>
                <a:gd name="connsiteX2" fmla="*/ 751 w 10000"/>
                <a:gd name="connsiteY2" fmla="*/ 891 h 10000"/>
                <a:gd name="connsiteX3" fmla="*/ 1116 w 10000"/>
                <a:gd name="connsiteY3" fmla="*/ 1188 h 10000"/>
                <a:gd name="connsiteX4" fmla="*/ 1481 w 10000"/>
                <a:gd name="connsiteY4" fmla="*/ 1485 h 10000"/>
                <a:gd name="connsiteX5" fmla="*/ 1866 w 10000"/>
                <a:gd name="connsiteY5" fmla="*/ 1832 h 10000"/>
                <a:gd name="connsiteX6" fmla="*/ 2231 w 10000"/>
                <a:gd name="connsiteY6" fmla="*/ 2129 h 10000"/>
                <a:gd name="connsiteX7" fmla="*/ 2556 w 10000"/>
                <a:gd name="connsiteY7" fmla="*/ 2426 h 10000"/>
                <a:gd name="connsiteX8" fmla="*/ 4300 w 10000"/>
                <a:gd name="connsiteY8" fmla="*/ 5594 h 10000"/>
                <a:gd name="connsiteX9" fmla="*/ 6024 w 10000"/>
                <a:gd name="connsiteY9" fmla="*/ 4257 h 10000"/>
                <a:gd name="connsiteX10" fmla="*/ 7667 w 10000"/>
                <a:gd name="connsiteY10" fmla="*/ 5594 h 10000"/>
                <a:gd name="connsiteX11" fmla="*/ 7870 w 10000"/>
                <a:gd name="connsiteY11" fmla="*/ 5941 h 10000"/>
                <a:gd name="connsiteX12" fmla="*/ 8073 w 10000"/>
                <a:gd name="connsiteY12" fmla="*/ 6436 h 10000"/>
                <a:gd name="connsiteX13" fmla="*/ 8316 w 10000"/>
                <a:gd name="connsiteY13" fmla="*/ 6881 h 10000"/>
                <a:gd name="connsiteX14" fmla="*/ 8540 w 10000"/>
                <a:gd name="connsiteY14" fmla="*/ 7426 h 10000"/>
                <a:gd name="connsiteX15" fmla="*/ 8763 w 10000"/>
                <a:gd name="connsiteY15" fmla="*/ 7921 h 10000"/>
                <a:gd name="connsiteX16" fmla="*/ 8966 w 10000"/>
                <a:gd name="connsiteY16" fmla="*/ 8465 h 10000"/>
                <a:gd name="connsiteX17" fmla="*/ 9168 w 10000"/>
                <a:gd name="connsiteY17" fmla="*/ 8911 h 10000"/>
                <a:gd name="connsiteX18" fmla="*/ 9351 w 10000"/>
                <a:gd name="connsiteY18" fmla="*/ 9257 h 10000"/>
                <a:gd name="connsiteX19" fmla="*/ 10000 w 10000"/>
                <a:gd name="connsiteY19" fmla="*/ 10000 h 10000"/>
                <a:gd name="connsiteX0" fmla="*/ 0 w 10000"/>
                <a:gd name="connsiteY0" fmla="*/ 0 h 10000"/>
                <a:gd name="connsiteX1" fmla="*/ 446 w 10000"/>
                <a:gd name="connsiteY1" fmla="*/ 644 h 10000"/>
                <a:gd name="connsiteX2" fmla="*/ 751 w 10000"/>
                <a:gd name="connsiteY2" fmla="*/ 891 h 10000"/>
                <a:gd name="connsiteX3" fmla="*/ 1116 w 10000"/>
                <a:gd name="connsiteY3" fmla="*/ 1188 h 10000"/>
                <a:gd name="connsiteX4" fmla="*/ 1481 w 10000"/>
                <a:gd name="connsiteY4" fmla="*/ 1485 h 10000"/>
                <a:gd name="connsiteX5" fmla="*/ 1866 w 10000"/>
                <a:gd name="connsiteY5" fmla="*/ 1832 h 10000"/>
                <a:gd name="connsiteX6" fmla="*/ 2231 w 10000"/>
                <a:gd name="connsiteY6" fmla="*/ 2129 h 10000"/>
                <a:gd name="connsiteX7" fmla="*/ 4300 w 10000"/>
                <a:gd name="connsiteY7" fmla="*/ 5594 h 10000"/>
                <a:gd name="connsiteX8" fmla="*/ 6024 w 10000"/>
                <a:gd name="connsiteY8" fmla="*/ 4257 h 10000"/>
                <a:gd name="connsiteX9" fmla="*/ 7667 w 10000"/>
                <a:gd name="connsiteY9" fmla="*/ 5594 h 10000"/>
                <a:gd name="connsiteX10" fmla="*/ 7870 w 10000"/>
                <a:gd name="connsiteY10" fmla="*/ 5941 h 10000"/>
                <a:gd name="connsiteX11" fmla="*/ 8073 w 10000"/>
                <a:gd name="connsiteY11" fmla="*/ 6436 h 10000"/>
                <a:gd name="connsiteX12" fmla="*/ 8316 w 10000"/>
                <a:gd name="connsiteY12" fmla="*/ 6881 h 10000"/>
                <a:gd name="connsiteX13" fmla="*/ 8540 w 10000"/>
                <a:gd name="connsiteY13" fmla="*/ 7426 h 10000"/>
                <a:gd name="connsiteX14" fmla="*/ 8763 w 10000"/>
                <a:gd name="connsiteY14" fmla="*/ 7921 h 10000"/>
                <a:gd name="connsiteX15" fmla="*/ 8966 w 10000"/>
                <a:gd name="connsiteY15" fmla="*/ 8465 h 10000"/>
                <a:gd name="connsiteX16" fmla="*/ 9168 w 10000"/>
                <a:gd name="connsiteY16" fmla="*/ 8911 h 10000"/>
                <a:gd name="connsiteX17" fmla="*/ 9351 w 10000"/>
                <a:gd name="connsiteY17" fmla="*/ 9257 h 10000"/>
                <a:gd name="connsiteX18" fmla="*/ 10000 w 10000"/>
                <a:gd name="connsiteY18" fmla="*/ 10000 h 10000"/>
                <a:gd name="connsiteX0" fmla="*/ 0 w 9554"/>
                <a:gd name="connsiteY0" fmla="*/ 0 h 9356"/>
                <a:gd name="connsiteX1" fmla="*/ 305 w 9554"/>
                <a:gd name="connsiteY1" fmla="*/ 247 h 9356"/>
                <a:gd name="connsiteX2" fmla="*/ 670 w 9554"/>
                <a:gd name="connsiteY2" fmla="*/ 544 h 9356"/>
                <a:gd name="connsiteX3" fmla="*/ 1035 w 9554"/>
                <a:gd name="connsiteY3" fmla="*/ 841 h 9356"/>
                <a:gd name="connsiteX4" fmla="*/ 1420 w 9554"/>
                <a:gd name="connsiteY4" fmla="*/ 1188 h 9356"/>
                <a:gd name="connsiteX5" fmla="*/ 1785 w 9554"/>
                <a:gd name="connsiteY5" fmla="*/ 1485 h 9356"/>
                <a:gd name="connsiteX6" fmla="*/ 3854 w 9554"/>
                <a:gd name="connsiteY6" fmla="*/ 4950 h 9356"/>
                <a:gd name="connsiteX7" fmla="*/ 5578 w 9554"/>
                <a:gd name="connsiteY7" fmla="*/ 3613 h 9356"/>
                <a:gd name="connsiteX8" fmla="*/ 7221 w 9554"/>
                <a:gd name="connsiteY8" fmla="*/ 4950 h 9356"/>
                <a:gd name="connsiteX9" fmla="*/ 7424 w 9554"/>
                <a:gd name="connsiteY9" fmla="*/ 5297 h 9356"/>
                <a:gd name="connsiteX10" fmla="*/ 7627 w 9554"/>
                <a:gd name="connsiteY10" fmla="*/ 5792 h 9356"/>
                <a:gd name="connsiteX11" fmla="*/ 7870 w 9554"/>
                <a:gd name="connsiteY11" fmla="*/ 6237 h 9356"/>
                <a:gd name="connsiteX12" fmla="*/ 8094 w 9554"/>
                <a:gd name="connsiteY12" fmla="*/ 6782 h 9356"/>
                <a:gd name="connsiteX13" fmla="*/ 8317 w 9554"/>
                <a:gd name="connsiteY13" fmla="*/ 7277 h 9356"/>
                <a:gd name="connsiteX14" fmla="*/ 8520 w 9554"/>
                <a:gd name="connsiteY14" fmla="*/ 7821 h 9356"/>
                <a:gd name="connsiteX15" fmla="*/ 8722 w 9554"/>
                <a:gd name="connsiteY15" fmla="*/ 8267 h 9356"/>
                <a:gd name="connsiteX16" fmla="*/ 8905 w 9554"/>
                <a:gd name="connsiteY16" fmla="*/ 8613 h 9356"/>
                <a:gd name="connsiteX17" fmla="*/ 9554 w 9554"/>
                <a:gd name="connsiteY17" fmla="*/ 9356 h 9356"/>
                <a:gd name="connsiteX0" fmla="*/ 0 w 9681"/>
                <a:gd name="connsiteY0" fmla="*/ 0 h 9736"/>
                <a:gd name="connsiteX1" fmla="*/ 382 w 9681"/>
                <a:gd name="connsiteY1" fmla="*/ 317 h 9736"/>
                <a:gd name="connsiteX2" fmla="*/ 764 w 9681"/>
                <a:gd name="connsiteY2" fmla="*/ 635 h 9736"/>
                <a:gd name="connsiteX3" fmla="*/ 1167 w 9681"/>
                <a:gd name="connsiteY3" fmla="*/ 1006 h 9736"/>
                <a:gd name="connsiteX4" fmla="*/ 1549 w 9681"/>
                <a:gd name="connsiteY4" fmla="*/ 1323 h 9736"/>
                <a:gd name="connsiteX5" fmla="*/ 3715 w 9681"/>
                <a:gd name="connsiteY5" fmla="*/ 5027 h 9736"/>
                <a:gd name="connsiteX6" fmla="*/ 5519 w 9681"/>
                <a:gd name="connsiteY6" fmla="*/ 3598 h 9736"/>
                <a:gd name="connsiteX7" fmla="*/ 7239 w 9681"/>
                <a:gd name="connsiteY7" fmla="*/ 5027 h 9736"/>
                <a:gd name="connsiteX8" fmla="*/ 7452 w 9681"/>
                <a:gd name="connsiteY8" fmla="*/ 5398 h 9736"/>
                <a:gd name="connsiteX9" fmla="*/ 7664 w 9681"/>
                <a:gd name="connsiteY9" fmla="*/ 5927 h 9736"/>
                <a:gd name="connsiteX10" fmla="*/ 7918 w 9681"/>
                <a:gd name="connsiteY10" fmla="*/ 6402 h 9736"/>
                <a:gd name="connsiteX11" fmla="*/ 8153 w 9681"/>
                <a:gd name="connsiteY11" fmla="*/ 6985 h 9736"/>
                <a:gd name="connsiteX12" fmla="*/ 8386 w 9681"/>
                <a:gd name="connsiteY12" fmla="*/ 7514 h 9736"/>
                <a:gd name="connsiteX13" fmla="*/ 8599 w 9681"/>
                <a:gd name="connsiteY13" fmla="*/ 8095 h 9736"/>
                <a:gd name="connsiteX14" fmla="*/ 8810 w 9681"/>
                <a:gd name="connsiteY14" fmla="*/ 8572 h 9736"/>
                <a:gd name="connsiteX15" fmla="*/ 9002 w 9681"/>
                <a:gd name="connsiteY15" fmla="*/ 8942 h 9736"/>
                <a:gd name="connsiteX16" fmla="*/ 9681 w 9681"/>
                <a:gd name="connsiteY16" fmla="*/ 9736 h 9736"/>
                <a:gd name="connsiteX0" fmla="*/ 0 w 9605"/>
                <a:gd name="connsiteY0" fmla="*/ 0 h 9674"/>
                <a:gd name="connsiteX1" fmla="*/ 394 w 9605"/>
                <a:gd name="connsiteY1" fmla="*/ 326 h 9674"/>
                <a:gd name="connsiteX2" fmla="*/ 810 w 9605"/>
                <a:gd name="connsiteY2" fmla="*/ 707 h 9674"/>
                <a:gd name="connsiteX3" fmla="*/ 1205 w 9605"/>
                <a:gd name="connsiteY3" fmla="*/ 1033 h 9674"/>
                <a:gd name="connsiteX4" fmla="*/ 3442 w 9605"/>
                <a:gd name="connsiteY4" fmla="*/ 4837 h 9674"/>
                <a:gd name="connsiteX5" fmla="*/ 5306 w 9605"/>
                <a:gd name="connsiteY5" fmla="*/ 3370 h 9674"/>
                <a:gd name="connsiteX6" fmla="*/ 7083 w 9605"/>
                <a:gd name="connsiteY6" fmla="*/ 4837 h 9674"/>
                <a:gd name="connsiteX7" fmla="*/ 7303 w 9605"/>
                <a:gd name="connsiteY7" fmla="*/ 5218 h 9674"/>
                <a:gd name="connsiteX8" fmla="*/ 7522 w 9605"/>
                <a:gd name="connsiteY8" fmla="*/ 5762 h 9674"/>
                <a:gd name="connsiteX9" fmla="*/ 7784 w 9605"/>
                <a:gd name="connsiteY9" fmla="*/ 6250 h 9674"/>
                <a:gd name="connsiteX10" fmla="*/ 8027 w 9605"/>
                <a:gd name="connsiteY10" fmla="*/ 6848 h 9674"/>
                <a:gd name="connsiteX11" fmla="*/ 8267 w 9605"/>
                <a:gd name="connsiteY11" fmla="*/ 7392 h 9674"/>
                <a:gd name="connsiteX12" fmla="*/ 8487 w 9605"/>
                <a:gd name="connsiteY12" fmla="*/ 7989 h 9674"/>
                <a:gd name="connsiteX13" fmla="*/ 8705 w 9605"/>
                <a:gd name="connsiteY13" fmla="*/ 8478 h 9674"/>
                <a:gd name="connsiteX14" fmla="*/ 8904 w 9605"/>
                <a:gd name="connsiteY14" fmla="*/ 8858 h 9674"/>
                <a:gd name="connsiteX15" fmla="*/ 9605 w 9605"/>
                <a:gd name="connsiteY15" fmla="*/ 9674 h 9674"/>
                <a:gd name="connsiteX0" fmla="*/ 0 w 9590"/>
                <a:gd name="connsiteY0" fmla="*/ 0 h 9663"/>
                <a:gd name="connsiteX1" fmla="*/ 433 w 9590"/>
                <a:gd name="connsiteY1" fmla="*/ 394 h 9663"/>
                <a:gd name="connsiteX2" fmla="*/ 845 w 9590"/>
                <a:gd name="connsiteY2" fmla="*/ 731 h 9663"/>
                <a:gd name="connsiteX3" fmla="*/ 3174 w 9590"/>
                <a:gd name="connsiteY3" fmla="*/ 4663 h 9663"/>
                <a:gd name="connsiteX4" fmla="*/ 5114 w 9590"/>
                <a:gd name="connsiteY4" fmla="*/ 3147 h 9663"/>
                <a:gd name="connsiteX5" fmla="*/ 6964 w 9590"/>
                <a:gd name="connsiteY5" fmla="*/ 4663 h 9663"/>
                <a:gd name="connsiteX6" fmla="*/ 7193 w 9590"/>
                <a:gd name="connsiteY6" fmla="*/ 5057 h 9663"/>
                <a:gd name="connsiteX7" fmla="*/ 7421 w 9590"/>
                <a:gd name="connsiteY7" fmla="*/ 5619 h 9663"/>
                <a:gd name="connsiteX8" fmla="*/ 7694 w 9590"/>
                <a:gd name="connsiteY8" fmla="*/ 6124 h 9663"/>
                <a:gd name="connsiteX9" fmla="*/ 7947 w 9590"/>
                <a:gd name="connsiteY9" fmla="*/ 6742 h 9663"/>
                <a:gd name="connsiteX10" fmla="*/ 8197 w 9590"/>
                <a:gd name="connsiteY10" fmla="*/ 7304 h 9663"/>
                <a:gd name="connsiteX11" fmla="*/ 8426 w 9590"/>
                <a:gd name="connsiteY11" fmla="*/ 7921 h 9663"/>
                <a:gd name="connsiteX12" fmla="*/ 8653 w 9590"/>
                <a:gd name="connsiteY12" fmla="*/ 8427 h 9663"/>
                <a:gd name="connsiteX13" fmla="*/ 8860 w 9590"/>
                <a:gd name="connsiteY13" fmla="*/ 8820 h 9663"/>
                <a:gd name="connsiteX14" fmla="*/ 9590 w 9590"/>
                <a:gd name="connsiteY14" fmla="*/ 9663 h 9663"/>
                <a:gd name="connsiteX0" fmla="*/ 0 w 9548"/>
                <a:gd name="connsiteY0" fmla="*/ 0 h 9592"/>
                <a:gd name="connsiteX1" fmla="*/ 429 w 9548"/>
                <a:gd name="connsiteY1" fmla="*/ 348 h 9592"/>
                <a:gd name="connsiteX2" fmla="*/ 2858 w 9548"/>
                <a:gd name="connsiteY2" fmla="*/ 4418 h 9592"/>
                <a:gd name="connsiteX3" fmla="*/ 4881 w 9548"/>
                <a:gd name="connsiteY3" fmla="*/ 2849 h 9592"/>
                <a:gd name="connsiteX4" fmla="*/ 6810 w 9548"/>
                <a:gd name="connsiteY4" fmla="*/ 4418 h 9592"/>
                <a:gd name="connsiteX5" fmla="*/ 7049 w 9548"/>
                <a:gd name="connsiteY5" fmla="*/ 4825 h 9592"/>
                <a:gd name="connsiteX6" fmla="*/ 7286 w 9548"/>
                <a:gd name="connsiteY6" fmla="*/ 5407 h 9592"/>
                <a:gd name="connsiteX7" fmla="*/ 7571 w 9548"/>
                <a:gd name="connsiteY7" fmla="*/ 5930 h 9592"/>
                <a:gd name="connsiteX8" fmla="*/ 7835 w 9548"/>
                <a:gd name="connsiteY8" fmla="*/ 6569 h 9592"/>
                <a:gd name="connsiteX9" fmla="*/ 8095 w 9548"/>
                <a:gd name="connsiteY9" fmla="*/ 7151 h 9592"/>
                <a:gd name="connsiteX10" fmla="*/ 8334 w 9548"/>
                <a:gd name="connsiteY10" fmla="*/ 7789 h 9592"/>
                <a:gd name="connsiteX11" fmla="*/ 8571 w 9548"/>
                <a:gd name="connsiteY11" fmla="*/ 8313 h 9592"/>
                <a:gd name="connsiteX12" fmla="*/ 8787 w 9548"/>
                <a:gd name="connsiteY12" fmla="*/ 8720 h 9592"/>
                <a:gd name="connsiteX13" fmla="*/ 9548 w 9548"/>
                <a:gd name="connsiteY13" fmla="*/ 9592 h 9592"/>
                <a:gd name="connsiteX0" fmla="*/ 0 w 9551"/>
                <a:gd name="connsiteY0" fmla="*/ 0 h 9637"/>
                <a:gd name="connsiteX1" fmla="*/ 2544 w 9551"/>
                <a:gd name="connsiteY1" fmla="*/ 4243 h 9637"/>
                <a:gd name="connsiteX2" fmla="*/ 4663 w 9551"/>
                <a:gd name="connsiteY2" fmla="*/ 2607 h 9637"/>
                <a:gd name="connsiteX3" fmla="*/ 6683 w 9551"/>
                <a:gd name="connsiteY3" fmla="*/ 4243 h 9637"/>
                <a:gd name="connsiteX4" fmla="*/ 6934 w 9551"/>
                <a:gd name="connsiteY4" fmla="*/ 4667 h 9637"/>
                <a:gd name="connsiteX5" fmla="*/ 7182 w 9551"/>
                <a:gd name="connsiteY5" fmla="*/ 5274 h 9637"/>
                <a:gd name="connsiteX6" fmla="*/ 7480 w 9551"/>
                <a:gd name="connsiteY6" fmla="*/ 5819 h 9637"/>
                <a:gd name="connsiteX7" fmla="*/ 7757 w 9551"/>
                <a:gd name="connsiteY7" fmla="*/ 6485 h 9637"/>
                <a:gd name="connsiteX8" fmla="*/ 8029 w 9551"/>
                <a:gd name="connsiteY8" fmla="*/ 7092 h 9637"/>
                <a:gd name="connsiteX9" fmla="*/ 8280 w 9551"/>
                <a:gd name="connsiteY9" fmla="*/ 7757 h 9637"/>
                <a:gd name="connsiteX10" fmla="*/ 8528 w 9551"/>
                <a:gd name="connsiteY10" fmla="*/ 8304 h 9637"/>
                <a:gd name="connsiteX11" fmla="*/ 8754 w 9551"/>
                <a:gd name="connsiteY11" fmla="*/ 8728 h 9637"/>
                <a:gd name="connsiteX12" fmla="*/ 9551 w 9551"/>
                <a:gd name="connsiteY12" fmla="*/ 9637 h 9637"/>
                <a:gd name="connsiteX0" fmla="*/ 0 w 7336"/>
                <a:gd name="connsiteY0" fmla="*/ 1698 h 7295"/>
                <a:gd name="connsiteX1" fmla="*/ 2218 w 7336"/>
                <a:gd name="connsiteY1" fmla="*/ 0 h 7295"/>
                <a:gd name="connsiteX2" fmla="*/ 4333 w 7336"/>
                <a:gd name="connsiteY2" fmla="*/ 1698 h 7295"/>
                <a:gd name="connsiteX3" fmla="*/ 4596 w 7336"/>
                <a:gd name="connsiteY3" fmla="*/ 2138 h 7295"/>
                <a:gd name="connsiteX4" fmla="*/ 4856 w 7336"/>
                <a:gd name="connsiteY4" fmla="*/ 2768 h 7295"/>
                <a:gd name="connsiteX5" fmla="*/ 5168 w 7336"/>
                <a:gd name="connsiteY5" fmla="*/ 3333 h 7295"/>
                <a:gd name="connsiteX6" fmla="*/ 5458 w 7336"/>
                <a:gd name="connsiteY6" fmla="*/ 4024 h 7295"/>
                <a:gd name="connsiteX7" fmla="*/ 5742 w 7336"/>
                <a:gd name="connsiteY7" fmla="*/ 4654 h 7295"/>
                <a:gd name="connsiteX8" fmla="*/ 6005 w 7336"/>
                <a:gd name="connsiteY8" fmla="*/ 5344 h 7295"/>
                <a:gd name="connsiteX9" fmla="*/ 6265 w 7336"/>
                <a:gd name="connsiteY9" fmla="*/ 5912 h 7295"/>
                <a:gd name="connsiteX10" fmla="*/ 6502 w 7336"/>
                <a:gd name="connsiteY10" fmla="*/ 6352 h 7295"/>
                <a:gd name="connsiteX11" fmla="*/ 7336 w 7336"/>
                <a:gd name="connsiteY11" fmla="*/ 7295 h 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336" h="7295">
                  <a:moveTo>
                    <a:pt x="0" y="1698"/>
                  </a:moveTo>
                  <a:lnTo>
                    <a:pt x="2218" y="0"/>
                  </a:lnTo>
                  <a:lnTo>
                    <a:pt x="4333" y="1698"/>
                  </a:lnTo>
                  <a:cubicBezTo>
                    <a:pt x="4421" y="1844"/>
                    <a:pt x="4508" y="1991"/>
                    <a:pt x="4596" y="2138"/>
                  </a:cubicBezTo>
                  <a:cubicBezTo>
                    <a:pt x="4683" y="2347"/>
                    <a:pt x="4769" y="2558"/>
                    <a:pt x="4856" y="2768"/>
                  </a:cubicBezTo>
                  <a:lnTo>
                    <a:pt x="5168" y="3333"/>
                  </a:lnTo>
                  <a:cubicBezTo>
                    <a:pt x="5265" y="3563"/>
                    <a:pt x="5361" y="3794"/>
                    <a:pt x="5458" y="4024"/>
                  </a:cubicBezTo>
                  <a:lnTo>
                    <a:pt x="5742" y="4654"/>
                  </a:lnTo>
                  <a:lnTo>
                    <a:pt x="6005" y="5344"/>
                  </a:lnTo>
                  <a:cubicBezTo>
                    <a:pt x="6091" y="5535"/>
                    <a:pt x="6179" y="5722"/>
                    <a:pt x="6265" y="5912"/>
                  </a:cubicBezTo>
                  <a:lnTo>
                    <a:pt x="6502" y="6352"/>
                  </a:lnTo>
                  <a:lnTo>
                    <a:pt x="7336" y="7295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0" name="Freeform 675">
              <a:extLst>
                <a:ext uri="{FF2B5EF4-FFF2-40B4-BE49-F238E27FC236}">
                  <a16:creationId xmlns:a16="http://schemas.microsoft.com/office/drawing/2014/main" id="{629B2E00-59F5-4154-B6DD-22CCAA51A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0258" y="3982198"/>
              <a:ext cx="322475" cy="164905"/>
            </a:xfrm>
            <a:custGeom>
              <a:avLst/>
              <a:gdLst>
                <a:gd name="connsiteX0" fmla="*/ 0 w 10000"/>
                <a:gd name="connsiteY0" fmla="*/ 0 h 10000"/>
                <a:gd name="connsiteX1" fmla="*/ 3068 w 10000"/>
                <a:gd name="connsiteY1" fmla="*/ 6924 h 10000"/>
                <a:gd name="connsiteX2" fmla="*/ 10000 w 10000"/>
                <a:gd name="connsiteY2" fmla="*/ 10000 h 10000"/>
                <a:gd name="connsiteX0" fmla="*/ 0 w 7122"/>
                <a:gd name="connsiteY0" fmla="*/ 0 h 7532"/>
                <a:gd name="connsiteX1" fmla="*/ 190 w 7122"/>
                <a:gd name="connsiteY1" fmla="*/ 4456 h 7532"/>
                <a:gd name="connsiteX2" fmla="*/ 7122 w 7122"/>
                <a:gd name="connsiteY2" fmla="*/ 7532 h 7532"/>
                <a:gd name="connsiteX0" fmla="*/ 0 w 14775"/>
                <a:gd name="connsiteY0" fmla="*/ 0 h 12184"/>
                <a:gd name="connsiteX1" fmla="*/ 5042 w 14775"/>
                <a:gd name="connsiteY1" fmla="*/ 8100 h 12184"/>
                <a:gd name="connsiteX2" fmla="*/ 14775 w 14775"/>
                <a:gd name="connsiteY2" fmla="*/ 12184 h 12184"/>
                <a:gd name="connsiteX0" fmla="*/ 0 w 14775"/>
                <a:gd name="connsiteY0" fmla="*/ 0 h 12184"/>
                <a:gd name="connsiteX1" fmla="*/ 5609 w 14775"/>
                <a:gd name="connsiteY1" fmla="*/ 4221 h 12184"/>
                <a:gd name="connsiteX2" fmla="*/ 5042 w 14775"/>
                <a:gd name="connsiteY2" fmla="*/ 8100 h 12184"/>
                <a:gd name="connsiteX3" fmla="*/ 14775 w 14775"/>
                <a:gd name="connsiteY3" fmla="*/ 12184 h 12184"/>
                <a:gd name="connsiteX0" fmla="*/ 0 w 55291"/>
                <a:gd name="connsiteY0" fmla="*/ 0 h 31263"/>
                <a:gd name="connsiteX1" fmla="*/ 46125 w 55291"/>
                <a:gd name="connsiteY1" fmla="*/ 23300 h 31263"/>
                <a:gd name="connsiteX2" fmla="*/ 45558 w 55291"/>
                <a:gd name="connsiteY2" fmla="*/ 27179 h 31263"/>
                <a:gd name="connsiteX3" fmla="*/ 55291 w 55291"/>
                <a:gd name="connsiteY3" fmla="*/ 31263 h 31263"/>
                <a:gd name="connsiteX0" fmla="*/ 0 w 55291"/>
                <a:gd name="connsiteY0" fmla="*/ 0 h 31263"/>
                <a:gd name="connsiteX1" fmla="*/ 11515 w 55291"/>
                <a:gd name="connsiteY1" fmla="*/ 7480 h 31263"/>
                <a:gd name="connsiteX2" fmla="*/ 46125 w 55291"/>
                <a:gd name="connsiteY2" fmla="*/ 23300 h 31263"/>
                <a:gd name="connsiteX3" fmla="*/ 45558 w 55291"/>
                <a:gd name="connsiteY3" fmla="*/ 27179 h 31263"/>
                <a:gd name="connsiteX4" fmla="*/ 55291 w 55291"/>
                <a:gd name="connsiteY4" fmla="*/ 31263 h 31263"/>
                <a:gd name="connsiteX0" fmla="*/ 0 w 55291"/>
                <a:gd name="connsiteY0" fmla="*/ 0 h 31263"/>
                <a:gd name="connsiteX1" fmla="*/ 11515 w 55291"/>
                <a:gd name="connsiteY1" fmla="*/ 7480 h 31263"/>
                <a:gd name="connsiteX2" fmla="*/ 19728 w 55291"/>
                <a:gd name="connsiteY2" fmla="*/ 6950 h 31263"/>
                <a:gd name="connsiteX3" fmla="*/ 46125 w 55291"/>
                <a:gd name="connsiteY3" fmla="*/ 23300 h 31263"/>
                <a:gd name="connsiteX4" fmla="*/ 45558 w 55291"/>
                <a:gd name="connsiteY4" fmla="*/ 27179 h 31263"/>
                <a:gd name="connsiteX5" fmla="*/ 55291 w 55291"/>
                <a:gd name="connsiteY5" fmla="*/ 31263 h 31263"/>
                <a:gd name="connsiteX0" fmla="*/ 0 w 55291"/>
                <a:gd name="connsiteY0" fmla="*/ 0 h 31263"/>
                <a:gd name="connsiteX1" fmla="*/ 11515 w 55291"/>
                <a:gd name="connsiteY1" fmla="*/ 7480 h 31263"/>
                <a:gd name="connsiteX2" fmla="*/ 19728 w 55291"/>
                <a:gd name="connsiteY2" fmla="*/ 6950 h 31263"/>
                <a:gd name="connsiteX3" fmla="*/ 30678 w 55291"/>
                <a:gd name="connsiteY3" fmla="*/ 17550 h 31263"/>
                <a:gd name="connsiteX4" fmla="*/ 46125 w 55291"/>
                <a:gd name="connsiteY4" fmla="*/ 23300 h 31263"/>
                <a:gd name="connsiteX5" fmla="*/ 45558 w 55291"/>
                <a:gd name="connsiteY5" fmla="*/ 27179 h 31263"/>
                <a:gd name="connsiteX6" fmla="*/ 55291 w 55291"/>
                <a:gd name="connsiteY6" fmla="*/ 31263 h 31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291" h="31263">
                  <a:moveTo>
                    <a:pt x="0" y="0"/>
                  </a:moveTo>
                  <a:cubicBezTo>
                    <a:pt x="1645" y="805"/>
                    <a:pt x="3828" y="3597"/>
                    <a:pt x="11515" y="7480"/>
                  </a:cubicBezTo>
                  <a:cubicBezTo>
                    <a:pt x="15898" y="9963"/>
                    <a:pt x="13960" y="4313"/>
                    <a:pt x="19728" y="6950"/>
                  </a:cubicBezTo>
                  <a:cubicBezTo>
                    <a:pt x="23195" y="8098"/>
                    <a:pt x="26279" y="14825"/>
                    <a:pt x="30678" y="17550"/>
                  </a:cubicBezTo>
                  <a:cubicBezTo>
                    <a:pt x="35077" y="20275"/>
                    <a:pt x="43645" y="21695"/>
                    <a:pt x="46125" y="23300"/>
                  </a:cubicBezTo>
                  <a:cubicBezTo>
                    <a:pt x="48605" y="24905"/>
                    <a:pt x="43602" y="25913"/>
                    <a:pt x="45558" y="27179"/>
                  </a:cubicBezTo>
                  <a:cubicBezTo>
                    <a:pt x="47700" y="30239"/>
                    <a:pt x="53148" y="28203"/>
                    <a:pt x="55291" y="31263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1" name="Oval 164">
              <a:extLst>
                <a:ext uri="{FF2B5EF4-FFF2-40B4-BE49-F238E27FC236}">
                  <a16:creationId xmlns:a16="http://schemas.microsoft.com/office/drawing/2014/main" id="{DC53384E-1EB1-4CB4-B7FE-8B3A28887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128" y="3552651"/>
              <a:ext cx="26877" cy="22549"/>
            </a:xfrm>
            <a:prstGeom prst="ellipse">
              <a:avLst/>
            </a:prstGeom>
            <a:solidFill>
              <a:srgbClr val="FFFFFF"/>
            </a:solidFill>
            <a:ln w="3175">
              <a:solidFill>
                <a:schemeClr val="tx2"/>
              </a:solidFill>
              <a:round/>
              <a:headEnd/>
              <a:tailEnd/>
            </a:ln>
          </p:spPr>
          <p:txBody>
            <a:bodyPr lIns="90260" tIns="45133" rIns="90260" bIns="45133"/>
            <a:lstStyle/>
            <a:p>
              <a:pPr marL="0" marR="0" lvl="0" indent="0" algn="l" defTabSz="8290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1" name="Freeform 500">
              <a:extLst>
                <a:ext uri="{FF2B5EF4-FFF2-40B4-BE49-F238E27FC236}">
                  <a16:creationId xmlns:a16="http://schemas.microsoft.com/office/drawing/2014/main" id="{6E23B9BA-C152-4BB5-8C9F-5FF141585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7930" y="3823230"/>
              <a:ext cx="57112" cy="116665"/>
            </a:xfrm>
            <a:custGeom>
              <a:avLst/>
              <a:gdLst>
                <a:gd name="connsiteX0" fmla="*/ 10000 w 10000"/>
                <a:gd name="connsiteY0" fmla="*/ 10324 h 10324"/>
                <a:gd name="connsiteX1" fmla="*/ 0 w 10000"/>
                <a:gd name="connsiteY1" fmla="*/ 5640 h 10324"/>
                <a:gd name="connsiteX2" fmla="*/ 833 w 10000"/>
                <a:gd name="connsiteY2" fmla="*/ 324 h 10324"/>
                <a:gd name="connsiteX3" fmla="*/ 2745 w 10000"/>
                <a:gd name="connsiteY3" fmla="*/ 591 h 10324"/>
                <a:gd name="connsiteX0" fmla="*/ 12676 w 12676"/>
                <a:gd name="connsiteY0" fmla="*/ 13591 h 13591"/>
                <a:gd name="connsiteX1" fmla="*/ 2676 w 12676"/>
                <a:gd name="connsiteY1" fmla="*/ 8907 h 13591"/>
                <a:gd name="connsiteX2" fmla="*/ 3509 w 12676"/>
                <a:gd name="connsiteY2" fmla="*/ 3591 h 13591"/>
                <a:gd name="connsiteX3" fmla="*/ 25 w 12676"/>
                <a:gd name="connsiteY3" fmla="*/ 0 h 13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676" h="13591">
                  <a:moveTo>
                    <a:pt x="12676" y="13591"/>
                  </a:moveTo>
                  <a:lnTo>
                    <a:pt x="2676" y="8907"/>
                  </a:lnTo>
                  <a:lnTo>
                    <a:pt x="3509" y="3591"/>
                  </a:lnTo>
                  <a:cubicBezTo>
                    <a:pt x="3967" y="2749"/>
                    <a:pt x="-373" y="-55"/>
                    <a:pt x="25" y="0"/>
                  </a:cubicBez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2" name="Freeform 574">
              <a:extLst>
                <a:ext uri="{FF2B5EF4-FFF2-40B4-BE49-F238E27FC236}">
                  <a16:creationId xmlns:a16="http://schemas.microsoft.com/office/drawing/2014/main" id="{09A2E440-7CF5-4522-ACDA-AB8CD8E0C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361" y="3875190"/>
              <a:ext cx="687588" cy="283324"/>
            </a:xfrm>
            <a:custGeom>
              <a:avLst/>
              <a:gdLst>
                <a:gd name="T0" fmla="*/ 0 w 569"/>
                <a:gd name="T1" fmla="*/ 0 h 263"/>
                <a:gd name="T2" fmla="*/ 2147483647 w 569"/>
                <a:gd name="T3" fmla="*/ 2147483647 h 263"/>
                <a:gd name="T4" fmla="*/ 2147483647 w 569"/>
                <a:gd name="T5" fmla="*/ 2147483647 h 263"/>
                <a:gd name="T6" fmla="*/ 2147483647 w 569"/>
                <a:gd name="T7" fmla="*/ 2147483647 h 263"/>
                <a:gd name="T8" fmla="*/ 2147483647 w 569"/>
                <a:gd name="T9" fmla="*/ 2147483647 h 263"/>
                <a:gd name="T10" fmla="*/ 2147483647 w 569"/>
                <a:gd name="T11" fmla="*/ 2147483647 h 263"/>
                <a:gd name="T12" fmla="*/ 2147483647 w 569"/>
                <a:gd name="T13" fmla="*/ 2147483647 h 263"/>
                <a:gd name="T14" fmla="*/ 2147483647 w 569"/>
                <a:gd name="T15" fmla="*/ 2147483647 h 263"/>
                <a:gd name="T16" fmla="*/ 2147483647 w 569"/>
                <a:gd name="T17" fmla="*/ 2147483647 h 263"/>
                <a:gd name="T18" fmla="*/ 2147483647 w 569"/>
                <a:gd name="T19" fmla="*/ 2147483647 h 263"/>
                <a:gd name="T20" fmla="*/ 2147483647 w 569"/>
                <a:gd name="T21" fmla="*/ 2147483647 h 263"/>
                <a:gd name="T22" fmla="*/ 2147483647 w 569"/>
                <a:gd name="T23" fmla="*/ 2147483647 h 263"/>
                <a:gd name="T24" fmla="*/ 2147483647 w 569"/>
                <a:gd name="T25" fmla="*/ 2147483647 h 263"/>
                <a:gd name="T26" fmla="*/ 2147483647 w 569"/>
                <a:gd name="T27" fmla="*/ 2147483647 h 263"/>
                <a:gd name="T28" fmla="*/ 2147483647 w 569"/>
                <a:gd name="T29" fmla="*/ 2147483647 h 263"/>
                <a:gd name="T30" fmla="*/ 2147483647 w 569"/>
                <a:gd name="T31" fmla="*/ 2147483647 h 263"/>
                <a:gd name="T32" fmla="*/ 2147483647 w 569"/>
                <a:gd name="T33" fmla="*/ 2147483647 h 263"/>
                <a:gd name="T34" fmla="*/ 2147483647 w 569"/>
                <a:gd name="T35" fmla="*/ 2147483647 h 263"/>
                <a:gd name="T36" fmla="*/ 2147483647 w 569"/>
                <a:gd name="T37" fmla="*/ 2147483647 h 263"/>
                <a:gd name="T38" fmla="*/ 2147483647 w 569"/>
                <a:gd name="T39" fmla="*/ 2147483647 h 263"/>
                <a:gd name="T40" fmla="*/ 2147483647 w 569"/>
                <a:gd name="T41" fmla="*/ 2147483647 h 263"/>
                <a:gd name="T42" fmla="*/ 2147483647 w 569"/>
                <a:gd name="T43" fmla="*/ 2147483647 h 263"/>
                <a:gd name="T44" fmla="*/ 2147483647 w 569"/>
                <a:gd name="T45" fmla="*/ 2147483647 h 263"/>
                <a:gd name="T46" fmla="*/ 2147483647 w 569"/>
                <a:gd name="T47" fmla="*/ 2147483647 h 26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69"/>
                <a:gd name="T73" fmla="*/ 0 h 263"/>
                <a:gd name="T74" fmla="*/ 569 w 569"/>
                <a:gd name="T75" fmla="*/ 263 h 26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69" h="263">
                  <a:moveTo>
                    <a:pt x="0" y="0"/>
                  </a:moveTo>
                  <a:lnTo>
                    <a:pt x="40" y="4"/>
                  </a:lnTo>
                  <a:lnTo>
                    <a:pt x="209" y="82"/>
                  </a:lnTo>
                  <a:lnTo>
                    <a:pt x="245" y="112"/>
                  </a:lnTo>
                  <a:lnTo>
                    <a:pt x="257" y="113"/>
                  </a:lnTo>
                  <a:lnTo>
                    <a:pt x="271" y="113"/>
                  </a:lnTo>
                  <a:lnTo>
                    <a:pt x="287" y="112"/>
                  </a:lnTo>
                  <a:lnTo>
                    <a:pt x="305" y="111"/>
                  </a:lnTo>
                  <a:lnTo>
                    <a:pt x="323" y="111"/>
                  </a:lnTo>
                  <a:lnTo>
                    <a:pt x="342" y="111"/>
                  </a:lnTo>
                  <a:lnTo>
                    <a:pt x="359" y="112"/>
                  </a:lnTo>
                  <a:lnTo>
                    <a:pt x="375" y="115"/>
                  </a:lnTo>
                  <a:lnTo>
                    <a:pt x="483" y="182"/>
                  </a:lnTo>
                  <a:lnTo>
                    <a:pt x="486" y="206"/>
                  </a:lnTo>
                  <a:lnTo>
                    <a:pt x="477" y="230"/>
                  </a:lnTo>
                  <a:lnTo>
                    <a:pt x="482" y="233"/>
                  </a:lnTo>
                  <a:lnTo>
                    <a:pt x="490" y="236"/>
                  </a:lnTo>
                  <a:lnTo>
                    <a:pt x="499" y="239"/>
                  </a:lnTo>
                  <a:lnTo>
                    <a:pt x="509" y="242"/>
                  </a:lnTo>
                  <a:lnTo>
                    <a:pt x="520" y="245"/>
                  </a:lnTo>
                  <a:lnTo>
                    <a:pt x="530" y="248"/>
                  </a:lnTo>
                  <a:lnTo>
                    <a:pt x="540" y="251"/>
                  </a:lnTo>
                  <a:lnTo>
                    <a:pt x="547" y="254"/>
                  </a:lnTo>
                  <a:lnTo>
                    <a:pt x="569" y="263"/>
                  </a:lnTo>
                </a:path>
              </a:pathLst>
            </a:custGeom>
            <a:noFill/>
            <a:ln w="26670">
              <a:solidFill>
                <a:schemeClr val="tx2"/>
              </a:solidFill>
              <a:round/>
              <a:headEnd/>
              <a:tailEnd/>
            </a:ln>
          </p:spPr>
          <p:txBody>
            <a:bodyPr lIns="102977" tIns="51489" rIns="102977" bIns="5148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" name="Immagine 4">
            <a:extLst>
              <a:ext uri="{FF2B5EF4-FFF2-40B4-BE49-F238E27FC236}">
                <a16:creationId xmlns:a16="http://schemas.microsoft.com/office/drawing/2014/main" id="{51697297-4DEA-4427-8C90-45DA58B548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824" r="63773" b="5766"/>
          <a:stretch/>
        </p:blipFill>
        <p:spPr>
          <a:xfrm>
            <a:off x="7949268" y="1171569"/>
            <a:ext cx="1435600" cy="5115806"/>
          </a:xfrm>
          <a:prstGeom prst="rect">
            <a:avLst/>
          </a:prstGeom>
          <a:ln>
            <a:noFill/>
          </a:ln>
        </p:spPr>
      </p:pic>
      <p:pic>
        <p:nvPicPr>
          <p:cNvPr id="865" name="Immagine 864">
            <a:extLst>
              <a:ext uri="{FF2B5EF4-FFF2-40B4-BE49-F238E27FC236}">
                <a16:creationId xmlns:a16="http://schemas.microsoft.com/office/drawing/2014/main" id="{41687129-A3E5-4AE5-B241-F689B3E05AA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824" r="63773" b="5766"/>
          <a:stretch/>
        </p:blipFill>
        <p:spPr>
          <a:xfrm rot="10800000">
            <a:off x="2706160" y="1105160"/>
            <a:ext cx="1435600" cy="5115806"/>
          </a:xfrm>
          <a:prstGeom prst="rect">
            <a:avLst/>
          </a:prstGeom>
        </p:spPr>
      </p:pic>
      <p:sp>
        <p:nvSpPr>
          <p:cNvPr id="6" name="Rettangolo 5">
            <a:extLst>
              <a:ext uri="{FF2B5EF4-FFF2-40B4-BE49-F238E27FC236}">
                <a16:creationId xmlns:a16="http://schemas.microsoft.com/office/drawing/2014/main" id="{3AE99261-9DA8-4CF7-8735-D35048193781}"/>
              </a:ext>
            </a:extLst>
          </p:cNvPr>
          <p:cNvSpPr/>
          <p:nvPr/>
        </p:nvSpPr>
        <p:spPr>
          <a:xfrm>
            <a:off x="8575374" y="1312168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>
                <a:solidFill>
                  <a:srgbClr val="003366"/>
                </a:solidFill>
                <a:latin typeface="Calibri"/>
              </a:rPr>
              <a:t>~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6.800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m rete rfi (34% sud)</a:t>
            </a:r>
          </a:p>
        </p:txBody>
      </p:sp>
      <p:sp>
        <p:nvSpPr>
          <p:cNvPr id="866" name="Rettangolo 865">
            <a:extLst>
              <a:ext uri="{FF2B5EF4-FFF2-40B4-BE49-F238E27FC236}">
                <a16:creationId xmlns:a16="http://schemas.microsoft.com/office/drawing/2014/main" id="{97EC3A77-F882-4468-B676-D84429187125}"/>
              </a:ext>
            </a:extLst>
          </p:cNvPr>
          <p:cNvSpPr/>
          <p:nvPr/>
        </p:nvSpPr>
        <p:spPr>
          <a:xfrm>
            <a:off x="542049" y="1423827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00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pendenti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867" name="Rettangolo 866">
            <a:extLst>
              <a:ext uri="{FF2B5EF4-FFF2-40B4-BE49-F238E27FC236}">
                <a16:creationId xmlns:a16="http://schemas.microsoft.com/office/drawing/2014/main" id="{FF798A54-E8F3-464D-BA32-8246A962A96A}"/>
              </a:ext>
            </a:extLst>
          </p:cNvPr>
          <p:cNvSpPr/>
          <p:nvPr/>
        </p:nvSpPr>
        <p:spPr>
          <a:xfrm>
            <a:off x="9264243" y="3482454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200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zioni</a:t>
            </a:r>
          </a:p>
        </p:txBody>
      </p:sp>
      <p:sp>
        <p:nvSpPr>
          <p:cNvPr id="868" name="Rettangolo 867">
            <a:extLst>
              <a:ext uri="{FF2B5EF4-FFF2-40B4-BE49-F238E27FC236}">
                <a16:creationId xmlns:a16="http://schemas.microsoft.com/office/drawing/2014/main" id="{6EC54609-947C-4298-A526-51323E64B0E2}"/>
              </a:ext>
            </a:extLst>
          </p:cNvPr>
          <p:cNvSpPr/>
          <p:nvPr/>
        </p:nvSpPr>
        <p:spPr>
          <a:xfrm>
            <a:off x="9218519" y="4169665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.500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nti e viadotti</a:t>
            </a:r>
          </a:p>
          <a:p>
            <a:pPr>
              <a:defRPr/>
            </a:pP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 </a:t>
            </a:r>
            <a:r>
              <a:rPr lang="it-IT" b="1">
                <a:solidFill>
                  <a:srgbClr val="003366"/>
                </a:solidFill>
                <a:latin typeface="Calibri"/>
              </a:rPr>
              <a:t>1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700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llerie</a:t>
            </a:r>
          </a:p>
        </p:txBody>
      </p:sp>
      <p:sp>
        <p:nvSpPr>
          <p:cNvPr id="869" name="Rettangolo 868">
            <a:extLst>
              <a:ext uri="{FF2B5EF4-FFF2-40B4-BE49-F238E27FC236}">
                <a16:creationId xmlns:a16="http://schemas.microsoft.com/office/drawing/2014/main" id="{DF2608B2-3445-4680-894B-4E88F00D9DC5}"/>
              </a:ext>
            </a:extLst>
          </p:cNvPr>
          <p:cNvSpPr/>
          <p:nvPr/>
        </p:nvSpPr>
        <p:spPr>
          <a:xfrm>
            <a:off x="8543631" y="5560005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99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ianti merci</a:t>
            </a:r>
          </a:p>
        </p:txBody>
      </p:sp>
      <p:sp>
        <p:nvSpPr>
          <p:cNvPr id="870" name="Rettangolo 869">
            <a:extLst>
              <a:ext uri="{FF2B5EF4-FFF2-40B4-BE49-F238E27FC236}">
                <a16:creationId xmlns:a16="http://schemas.microsoft.com/office/drawing/2014/main" id="{8A05C86F-4A97-4AAA-AEC8-38AEE86BEF5E}"/>
              </a:ext>
            </a:extLst>
          </p:cNvPr>
          <p:cNvSpPr/>
          <p:nvPr/>
        </p:nvSpPr>
        <p:spPr>
          <a:xfrm>
            <a:off x="-93887" y="2834499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70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ln </a:t>
            </a:r>
            <a:r>
              <a:rPr kumimoji="0" lang="it-IT" sz="1400" i="0" u="none" strike="noStrike" kern="1200" cap="small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eni-km*</a:t>
            </a:r>
          </a:p>
        </p:txBody>
      </p:sp>
      <p:sp>
        <p:nvSpPr>
          <p:cNvPr id="871" name="Rettangolo 870">
            <a:extLst>
              <a:ext uri="{FF2B5EF4-FFF2-40B4-BE49-F238E27FC236}">
                <a16:creationId xmlns:a16="http://schemas.microsoft.com/office/drawing/2014/main" id="{FDEC20A0-5024-49EF-9DCB-81003E6C90F7}"/>
              </a:ext>
            </a:extLst>
          </p:cNvPr>
          <p:cNvSpPr/>
          <p:nvPr/>
        </p:nvSpPr>
        <p:spPr>
          <a:xfrm>
            <a:off x="8952961" y="4866820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rridoi europei</a:t>
            </a:r>
          </a:p>
        </p:txBody>
      </p:sp>
      <p:pic>
        <p:nvPicPr>
          <p:cNvPr id="872" name="Elemento grafico 871" descr="Scena di bridge con riempimento a tinta unita">
            <a:extLst>
              <a:ext uri="{FF2B5EF4-FFF2-40B4-BE49-F238E27FC236}">
                <a16:creationId xmlns:a16="http://schemas.microsoft.com/office/drawing/2014/main" id="{7D395AEC-59A9-4B85-AF93-0C66F9239E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739657" y="4134348"/>
            <a:ext cx="360000" cy="360000"/>
          </a:xfrm>
          <a:prstGeom prst="rect">
            <a:avLst/>
          </a:prstGeom>
        </p:spPr>
      </p:pic>
      <p:pic>
        <p:nvPicPr>
          <p:cNvPr id="873" name="Immagine 872">
            <a:extLst>
              <a:ext uri="{FF2B5EF4-FFF2-40B4-BE49-F238E27FC236}">
                <a16:creationId xmlns:a16="http://schemas.microsoft.com/office/drawing/2014/main" id="{0B573459-2583-4408-A8D3-FD56E4CF4A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26647" y="4830559"/>
            <a:ext cx="360000" cy="360000"/>
          </a:xfrm>
          <a:prstGeom prst="rect">
            <a:avLst/>
          </a:prstGeom>
        </p:spPr>
      </p:pic>
      <p:pic>
        <p:nvPicPr>
          <p:cNvPr id="874" name="Immagine 873">
            <a:extLst>
              <a:ext uri="{FF2B5EF4-FFF2-40B4-BE49-F238E27FC236}">
                <a16:creationId xmlns:a16="http://schemas.microsoft.com/office/drawing/2014/main" id="{B0723D01-7AA8-43C5-9A59-90DBEFE3316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clrChange>
              <a:clrFrom>
                <a:srgbClr val="FAFCFC"/>
              </a:clrFrom>
              <a:clrTo>
                <a:srgbClr val="FA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59298" y="2819648"/>
            <a:ext cx="360000" cy="363881"/>
          </a:xfrm>
          <a:prstGeom prst="rect">
            <a:avLst/>
          </a:prstGeom>
        </p:spPr>
      </p:pic>
      <p:pic>
        <p:nvPicPr>
          <p:cNvPr id="875" name="Immagine 874">
            <a:extLst>
              <a:ext uri="{FF2B5EF4-FFF2-40B4-BE49-F238E27FC236}">
                <a16:creationId xmlns:a16="http://schemas.microsoft.com/office/drawing/2014/main" id="{225DE987-8EAC-4BE9-A1F4-CD62E43BF133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9128" y="1479111"/>
            <a:ext cx="360000" cy="360000"/>
          </a:xfrm>
          <a:prstGeom prst="rect">
            <a:avLst/>
          </a:prstGeom>
        </p:spPr>
      </p:pic>
      <p:pic>
        <p:nvPicPr>
          <p:cNvPr id="876" name="Immagine 875">
            <a:extLst>
              <a:ext uri="{FF2B5EF4-FFF2-40B4-BE49-F238E27FC236}">
                <a16:creationId xmlns:a16="http://schemas.microsoft.com/office/drawing/2014/main" id="{5BEB2514-B234-4AF4-8B50-B2651E885B52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0141" y="3445689"/>
            <a:ext cx="452428" cy="452428"/>
          </a:xfrm>
          <a:prstGeom prst="rect">
            <a:avLst/>
          </a:prstGeom>
        </p:spPr>
      </p:pic>
      <p:pic>
        <p:nvPicPr>
          <p:cNvPr id="877" name="Immagine 876">
            <a:extLst>
              <a:ext uri="{FF2B5EF4-FFF2-40B4-BE49-F238E27FC236}">
                <a16:creationId xmlns:a16="http://schemas.microsoft.com/office/drawing/2014/main" id="{DF875E1C-231B-4532-BFAB-B36370ACAF6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7791" y="5518141"/>
            <a:ext cx="405374" cy="405374"/>
          </a:xfrm>
          <a:prstGeom prst="rect">
            <a:avLst/>
          </a:prstGeom>
        </p:spPr>
      </p:pic>
      <p:pic>
        <p:nvPicPr>
          <p:cNvPr id="878" name="Elemento grafico 877" descr="Strada con due vie con un sentiero con riempimento a tinta unita">
            <a:extLst>
              <a:ext uri="{FF2B5EF4-FFF2-40B4-BE49-F238E27FC236}">
                <a16:creationId xmlns:a16="http://schemas.microsoft.com/office/drawing/2014/main" id="{DBFF6F2F-4E3B-41A0-9F61-AA8EE699C3C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8074090" y="1411777"/>
            <a:ext cx="360000" cy="360000"/>
          </a:xfrm>
          <a:prstGeom prst="rect">
            <a:avLst/>
          </a:prstGeom>
        </p:spPr>
      </p:pic>
      <p:sp>
        <p:nvSpPr>
          <p:cNvPr id="881" name="Rettangolo 880">
            <a:extLst>
              <a:ext uri="{FF2B5EF4-FFF2-40B4-BE49-F238E27FC236}">
                <a16:creationId xmlns:a16="http://schemas.microsoft.com/office/drawing/2014/main" id="{4D3BC6BA-C7C3-4F4E-8280-4AFAF992D8F0}"/>
              </a:ext>
            </a:extLst>
          </p:cNvPr>
          <p:cNvSpPr/>
          <p:nvPr/>
        </p:nvSpPr>
        <p:spPr>
          <a:xfrm>
            <a:off x="-42620" y="4109021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,3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LD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400" b="0" i="0" u="none" strike="noStrike" kern="1200" cap="small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cavi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400" b="0" i="0" u="none" strike="noStrike" kern="1200" cap="small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ativi*</a:t>
            </a:r>
          </a:p>
        </p:txBody>
      </p:sp>
      <p:sp>
        <p:nvSpPr>
          <p:cNvPr id="884" name="Rettangolo 883">
            <a:extLst>
              <a:ext uri="{FF2B5EF4-FFF2-40B4-BE49-F238E27FC236}">
                <a16:creationId xmlns:a16="http://schemas.microsoft.com/office/drawing/2014/main" id="{B5406C71-272F-4278-B16B-DF3810C2AFC6}"/>
              </a:ext>
            </a:extLst>
          </p:cNvPr>
          <p:cNvSpPr/>
          <p:nvPr/>
        </p:nvSpPr>
        <p:spPr>
          <a:xfrm>
            <a:off x="608646" y="5611243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6,9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LD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400" b="0" i="0" u="none" strike="noStrike" kern="1200" cap="small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itale investito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400" b="0" i="0" u="none" strike="noStrike" kern="1200" cap="small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to*</a:t>
            </a:r>
          </a:p>
        </p:txBody>
      </p:sp>
      <p:sp>
        <p:nvSpPr>
          <p:cNvPr id="885" name="Rettangolo 884">
            <a:extLst>
              <a:ext uri="{FF2B5EF4-FFF2-40B4-BE49-F238E27FC236}">
                <a16:creationId xmlns:a16="http://schemas.microsoft.com/office/drawing/2014/main" id="{68D60E50-45C9-4FB3-A2C4-9FE38F2A886B}"/>
              </a:ext>
            </a:extLst>
          </p:cNvPr>
          <p:cNvSpPr/>
          <p:nvPr/>
        </p:nvSpPr>
        <p:spPr>
          <a:xfrm>
            <a:off x="176073" y="4855991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,3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LD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400" b="0" i="0" u="none" strike="noStrike" kern="1200" cap="small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ultato netto*</a:t>
            </a:r>
          </a:p>
        </p:txBody>
      </p:sp>
      <p:sp>
        <p:nvSpPr>
          <p:cNvPr id="897" name="Rettangolo 896">
            <a:extLst>
              <a:ext uri="{FF2B5EF4-FFF2-40B4-BE49-F238E27FC236}">
                <a16:creationId xmlns:a16="http://schemas.microsoft.com/office/drawing/2014/main" id="{09E062A9-21C6-4BC1-B32C-4FA25811203A}"/>
              </a:ext>
            </a:extLst>
          </p:cNvPr>
          <p:cNvSpPr/>
          <p:nvPr/>
        </p:nvSpPr>
        <p:spPr>
          <a:xfrm>
            <a:off x="-127358" y="3465389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,2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LD </a:t>
            </a:r>
            <a:r>
              <a:rPr kumimoji="0" lang="it-IT" sz="1400" b="0" i="0" u="none" strike="noStrike" kern="1200" cap="small" spc="0" normalizeH="0" baseline="0" noProof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imenti*</a:t>
            </a:r>
          </a:p>
        </p:txBody>
      </p:sp>
      <p:pic>
        <p:nvPicPr>
          <p:cNvPr id="899" name="Immagine 898">
            <a:extLst>
              <a:ext uri="{FF2B5EF4-FFF2-40B4-BE49-F238E27FC236}">
                <a16:creationId xmlns:a16="http://schemas.microsoft.com/office/drawing/2014/main" id="{5B3EE110-177C-423B-B46D-4B314A957558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1714" y="2178249"/>
            <a:ext cx="469190" cy="347493"/>
          </a:xfrm>
          <a:prstGeom prst="ellipse">
            <a:avLst/>
          </a:prstGeom>
          <a:ln>
            <a:noFill/>
          </a:ln>
          <a:effectLst/>
        </p:spPr>
      </p:pic>
      <p:pic>
        <p:nvPicPr>
          <p:cNvPr id="900" name="Picture 42" descr="Bag euro | Icona Gratis">
            <a:extLst>
              <a:ext uri="{FF2B5EF4-FFF2-40B4-BE49-F238E27FC236}">
                <a16:creationId xmlns:a16="http://schemas.microsoft.com/office/drawing/2014/main" id="{F2736361-A516-40FC-BEF4-3E99F12A20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hqprint">
            <a:biLevel thresh="75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89833" y="3501706"/>
            <a:ext cx="368122" cy="36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1" name="Rettangolo 900">
            <a:extLst>
              <a:ext uri="{FF2B5EF4-FFF2-40B4-BE49-F238E27FC236}">
                <a16:creationId xmlns:a16="http://schemas.microsoft.com/office/drawing/2014/main" id="{E7CF0F2F-5BC1-432E-8583-62B7D7E59309}"/>
              </a:ext>
            </a:extLst>
          </p:cNvPr>
          <p:cNvSpPr/>
          <p:nvPr/>
        </p:nvSpPr>
        <p:spPr>
          <a:xfrm>
            <a:off x="9264243" y="2813144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.700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m a doppio binar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 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.100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m a semplice binario</a:t>
            </a:r>
          </a:p>
        </p:txBody>
      </p:sp>
      <p:pic>
        <p:nvPicPr>
          <p:cNvPr id="902" name="Immagine 901">
            <a:extLst>
              <a:ext uri="{FF2B5EF4-FFF2-40B4-BE49-F238E27FC236}">
                <a16:creationId xmlns:a16="http://schemas.microsoft.com/office/drawing/2014/main" id="{46164A22-B97F-4D44-892F-2C7A076E391E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2015" y="2852395"/>
            <a:ext cx="257801" cy="375183"/>
          </a:xfrm>
          <a:prstGeom prst="rect">
            <a:avLst/>
          </a:prstGeom>
        </p:spPr>
      </p:pic>
      <p:pic>
        <p:nvPicPr>
          <p:cNvPr id="903" name="Picture 44" descr="Disegno di legge di euro di denaro a portata di mano | Icona Gratis">
            <a:extLst>
              <a:ext uri="{FF2B5EF4-FFF2-40B4-BE49-F238E27FC236}">
                <a16:creationId xmlns:a16="http://schemas.microsoft.com/office/drawing/2014/main" id="{53B1C37D-0B6B-4BB6-A6FC-B2777D93F7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2284" y="4169285"/>
            <a:ext cx="387249" cy="387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4" name="Picture 2" descr="Grande euro moneta su una piccola mano | Icona Gratis">
            <a:extLst>
              <a:ext uri="{FF2B5EF4-FFF2-40B4-BE49-F238E27FC236}">
                <a16:creationId xmlns:a16="http://schemas.microsoft.com/office/drawing/2014/main" id="{1F6248A8-83E4-4BC6-BFFA-B2F35181D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0707" y="4801068"/>
            <a:ext cx="390688" cy="390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5" name="Picture 34" descr="Railway Icon #123667 - Free Icons Library">
            <a:extLst>
              <a:ext uri="{FF2B5EF4-FFF2-40B4-BE49-F238E27FC236}">
                <a16:creationId xmlns:a16="http://schemas.microsoft.com/office/drawing/2014/main" id="{7F591B90-3668-45BD-8E9C-656DDC657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337249">
            <a:off x="3541357" y="5490487"/>
            <a:ext cx="544409" cy="544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6" name="Rettangolo 905">
            <a:extLst>
              <a:ext uri="{FF2B5EF4-FFF2-40B4-BE49-F238E27FC236}">
                <a16:creationId xmlns:a16="http://schemas.microsoft.com/office/drawing/2014/main" id="{70C64CBA-9B53-4C26-A28C-A7205DA13C91}"/>
              </a:ext>
            </a:extLst>
          </p:cNvPr>
          <p:cNvSpPr/>
          <p:nvPr/>
        </p:nvSpPr>
        <p:spPr>
          <a:xfrm>
            <a:off x="8941809" y="2053623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%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te attrezzata con scm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2%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te elettrificata</a:t>
            </a:r>
          </a:p>
        </p:txBody>
      </p:sp>
      <p:sp>
        <p:nvSpPr>
          <p:cNvPr id="862" name="Rettangolo 861">
            <a:extLst>
              <a:ext uri="{FF2B5EF4-FFF2-40B4-BE49-F238E27FC236}">
                <a16:creationId xmlns:a16="http://schemas.microsoft.com/office/drawing/2014/main" id="{D131757C-C7A9-4574-AD1A-7BA9A9620317}"/>
              </a:ext>
            </a:extLst>
          </p:cNvPr>
          <p:cNvSpPr/>
          <p:nvPr/>
        </p:nvSpPr>
        <p:spPr>
          <a:xfrm>
            <a:off x="179001" y="2151339"/>
            <a:ext cx="2944773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b="1">
                <a:solidFill>
                  <a:srgbClr val="717073"/>
                </a:solidFill>
                <a:latin typeface="Calibri"/>
              </a:rPr>
              <a:t>5</a:t>
            </a: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800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t-IT" sz="1400" b="1" i="0" u="none" strike="noStrike" kern="1200" cap="small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nitori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pic>
        <p:nvPicPr>
          <p:cNvPr id="1026" name="Picture 2" descr="Supplier Icon Png #81842 - Free Icons Library">
            <a:extLst>
              <a:ext uri="{FF2B5EF4-FFF2-40B4-BE49-F238E27FC236}">
                <a16:creationId xmlns:a16="http://schemas.microsoft.com/office/drawing/2014/main" id="{4BF71162-36DD-4B76-BC40-04497EDD0B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60075" y="2075487"/>
            <a:ext cx="415891" cy="415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3" name="Rettangolo 862">
            <a:extLst>
              <a:ext uri="{FF2B5EF4-FFF2-40B4-BE49-F238E27FC236}">
                <a16:creationId xmlns:a16="http://schemas.microsoft.com/office/drawing/2014/main" id="{0F040CC6-9154-4F7C-A12E-AB3919FD7E85}"/>
              </a:ext>
            </a:extLst>
          </p:cNvPr>
          <p:cNvSpPr/>
          <p:nvPr/>
        </p:nvSpPr>
        <p:spPr>
          <a:xfrm>
            <a:off x="2723989" y="6186833"/>
            <a:ext cx="1404000" cy="405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small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Preconsuntivo 2022</a:t>
            </a:r>
          </a:p>
        </p:txBody>
      </p:sp>
    </p:spTree>
    <p:extLst>
      <p:ext uri="{BB962C8B-B14F-4D97-AF65-F5344CB8AC3E}">
        <p14:creationId xmlns:p14="http://schemas.microsoft.com/office/powerpoint/2010/main" val="2382158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19D956-A063-45DA-960F-37B5AF495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-120292"/>
            <a:ext cx="11356542" cy="866367"/>
          </a:xfrm>
        </p:spPr>
        <p:txBody>
          <a:bodyPr/>
          <a:lstStyle/>
          <a:p>
            <a:r>
              <a:rPr lang="it-IT" dirty="0"/>
              <a:t>La rete ferroviaria è un’infrastruttura tecnologicamente in evoluzione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4711E61F-FE83-4477-99C0-D3DDAEB518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95" t="18000" r="2983" b="12778"/>
          <a:stretch/>
        </p:blipFill>
        <p:spPr>
          <a:xfrm>
            <a:off x="356511" y="1284011"/>
            <a:ext cx="11327489" cy="471726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CC750DA-097C-4521-9623-A40AC277BED7}"/>
              </a:ext>
            </a:extLst>
          </p:cNvPr>
          <p:cNvGrpSpPr>
            <a:grpSpLocks/>
          </p:cNvGrpSpPr>
          <p:nvPr/>
        </p:nvGrpSpPr>
        <p:grpSpPr>
          <a:xfrm>
            <a:off x="407368" y="915429"/>
            <a:ext cx="4556498" cy="262742"/>
            <a:chOff x="110753" y="1109131"/>
            <a:chExt cx="1836848" cy="262742"/>
          </a:xfrm>
        </p:grpSpPr>
        <p:sp>
          <p:nvSpPr>
            <p:cNvPr id="7" name="Arrow: Pentagon 63">
              <a:extLst>
                <a:ext uri="{FF2B5EF4-FFF2-40B4-BE49-F238E27FC236}">
                  <a16:creationId xmlns:a16="http://schemas.microsoft.com/office/drawing/2014/main" id="{3725A98B-DA2B-4D97-84D0-B21DDE3AE8DF}"/>
                </a:ext>
              </a:extLst>
            </p:cNvPr>
            <p:cNvSpPr>
              <a:spLocks/>
            </p:cNvSpPr>
            <p:nvPr/>
          </p:nvSpPr>
          <p:spPr>
            <a:xfrm>
              <a:off x="110753" y="1109131"/>
              <a:ext cx="1836847" cy="233910"/>
            </a:xfrm>
            <a:prstGeom prst="homePlate">
              <a:avLst>
                <a:gd name="adj" fmla="val 0"/>
              </a:avLst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895350">
                <a:lnSpc>
                  <a:spcPct val="95000"/>
                </a:lnSpc>
                <a:buClr>
                  <a:schemeClr val="tx2"/>
                </a:buClr>
                <a:buSzPct val="100000"/>
              </a:pPr>
              <a:r>
                <a:rPr lang="it-IT" sz="1400" b="1">
                  <a:solidFill>
                    <a:schemeClr val="tx2"/>
                  </a:solidFill>
                  <a:latin typeface="+mn-lt"/>
                </a:rPr>
                <a:t>Sistemi ad alta complessità </a:t>
              </a:r>
            </a:p>
          </p:txBody>
        </p:sp>
        <p:cxnSp>
          <p:nvCxnSpPr>
            <p:cNvPr id="8" name="Straight Connector 64">
              <a:extLst>
                <a:ext uri="{FF2B5EF4-FFF2-40B4-BE49-F238E27FC236}">
                  <a16:creationId xmlns:a16="http://schemas.microsoft.com/office/drawing/2014/main" id="{467A18B3-730E-4B40-8007-B53AD7D1B2AC}"/>
                </a:ext>
              </a:extLst>
            </p:cNvPr>
            <p:cNvCxnSpPr>
              <a:cxnSpLocks/>
            </p:cNvCxnSpPr>
            <p:nvPr/>
          </p:nvCxnSpPr>
          <p:spPr>
            <a:xfrm>
              <a:off x="110754" y="1371873"/>
              <a:ext cx="1836847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70">
            <a:extLst>
              <a:ext uri="{FF2B5EF4-FFF2-40B4-BE49-F238E27FC236}">
                <a16:creationId xmlns:a16="http://schemas.microsoft.com/office/drawing/2014/main" id="{5E6202C8-3C3B-4509-A38D-455A0B74C0F8}"/>
              </a:ext>
            </a:extLst>
          </p:cNvPr>
          <p:cNvGrpSpPr>
            <a:grpSpLocks/>
          </p:cNvGrpSpPr>
          <p:nvPr/>
        </p:nvGrpSpPr>
        <p:grpSpPr>
          <a:xfrm>
            <a:off x="6738752" y="915429"/>
            <a:ext cx="4556498" cy="262742"/>
            <a:chOff x="110753" y="1109131"/>
            <a:chExt cx="1836848" cy="262742"/>
          </a:xfrm>
        </p:grpSpPr>
        <p:sp>
          <p:nvSpPr>
            <p:cNvPr id="10" name="Arrow: Pentagon 71">
              <a:extLst>
                <a:ext uri="{FF2B5EF4-FFF2-40B4-BE49-F238E27FC236}">
                  <a16:creationId xmlns:a16="http://schemas.microsoft.com/office/drawing/2014/main" id="{8FD96958-1307-4B94-9640-6EE25DD292B7}"/>
                </a:ext>
              </a:extLst>
            </p:cNvPr>
            <p:cNvSpPr>
              <a:spLocks/>
            </p:cNvSpPr>
            <p:nvPr/>
          </p:nvSpPr>
          <p:spPr>
            <a:xfrm>
              <a:off x="110753" y="1109131"/>
              <a:ext cx="1836847" cy="233910"/>
            </a:xfrm>
            <a:prstGeom prst="homePlate">
              <a:avLst>
                <a:gd name="adj" fmla="val 0"/>
              </a:avLst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r" defTabSz="895350">
                <a:lnSpc>
                  <a:spcPct val="95000"/>
                </a:lnSpc>
                <a:buClr>
                  <a:schemeClr val="tx2"/>
                </a:buClr>
                <a:buSzPct val="100000"/>
              </a:pPr>
              <a:r>
                <a:rPr lang="it-IT" sz="1400" b="1">
                  <a:solidFill>
                    <a:schemeClr val="accent2"/>
                  </a:solidFill>
                </a:rPr>
                <a:t>Sistemi a medio/bassa complessità</a:t>
              </a:r>
            </a:p>
          </p:txBody>
        </p:sp>
        <p:cxnSp>
          <p:nvCxnSpPr>
            <p:cNvPr id="11" name="Straight Connector 73">
              <a:extLst>
                <a:ext uri="{FF2B5EF4-FFF2-40B4-BE49-F238E27FC236}">
                  <a16:creationId xmlns:a16="http://schemas.microsoft.com/office/drawing/2014/main" id="{27A27BF6-4D12-49E5-94D2-77FE3390667C}"/>
                </a:ext>
              </a:extLst>
            </p:cNvPr>
            <p:cNvCxnSpPr>
              <a:cxnSpLocks/>
            </p:cNvCxnSpPr>
            <p:nvPr/>
          </p:nvCxnSpPr>
          <p:spPr>
            <a:xfrm>
              <a:off x="110754" y="1371873"/>
              <a:ext cx="1836847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Immagine 3">
            <a:extLst>
              <a:ext uri="{FF2B5EF4-FFF2-40B4-BE49-F238E27FC236}">
                <a16:creationId xmlns:a16="http://schemas.microsoft.com/office/drawing/2014/main" id="{3CB162FE-BCA8-4A8A-A8ED-9B18954FC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6841" y="6107113"/>
            <a:ext cx="9093402" cy="750886"/>
          </a:xfrm>
          <a:prstGeom prst="rect">
            <a:avLst/>
          </a:prstGeom>
        </p:spPr>
      </p:pic>
      <p:grpSp>
        <p:nvGrpSpPr>
          <p:cNvPr id="31" name="Group 5">
            <a:extLst>
              <a:ext uri="{FF2B5EF4-FFF2-40B4-BE49-F238E27FC236}">
                <a16:creationId xmlns:a16="http://schemas.microsoft.com/office/drawing/2014/main" id="{83FBEA6E-804F-4FFB-9D3B-0ECE6C875E5C}"/>
              </a:ext>
            </a:extLst>
          </p:cNvPr>
          <p:cNvGrpSpPr>
            <a:grpSpLocks/>
          </p:cNvGrpSpPr>
          <p:nvPr/>
        </p:nvGrpSpPr>
        <p:grpSpPr>
          <a:xfrm>
            <a:off x="2296841" y="5757219"/>
            <a:ext cx="4556498" cy="262742"/>
            <a:chOff x="110753" y="1109131"/>
            <a:chExt cx="1836848" cy="262742"/>
          </a:xfrm>
        </p:grpSpPr>
        <p:sp>
          <p:nvSpPr>
            <p:cNvPr id="32" name="Arrow: Pentagon 63">
              <a:extLst>
                <a:ext uri="{FF2B5EF4-FFF2-40B4-BE49-F238E27FC236}">
                  <a16:creationId xmlns:a16="http://schemas.microsoft.com/office/drawing/2014/main" id="{D56FCFB4-B036-4891-85CA-D46AA2B10CD4}"/>
                </a:ext>
              </a:extLst>
            </p:cNvPr>
            <p:cNvSpPr>
              <a:spLocks/>
            </p:cNvSpPr>
            <p:nvPr/>
          </p:nvSpPr>
          <p:spPr>
            <a:xfrm>
              <a:off x="110753" y="1109131"/>
              <a:ext cx="1836847" cy="233910"/>
            </a:xfrm>
            <a:prstGeom prst="homePlate">
              <a:avLst>
                <a:gd name="adj" fmla="val 0"/>
              </a:avLst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defTabSz="895350">
                <a:lnSpc>
                  <a:spcPct val="95000"/>
                </a:lnSpc>
                <a:buClr>
                  <a:schemeClr val="tx2"/>
                </a:buClr>
                <a:buSzPct val="100000"/>
              </a:pPr>
              <a:r>
                <a:rPr lang="it-IT" sz="1400" b="1">
                  <a:solidFill>
                    <a:schemeClr val="tx2"/>
                  </a:solidFill>
                  <a:latin typeface="+mn-lt"/>
                </a:rPr>
                <a:t>Principali aree di innovazione</a:t>
              </a:r>
            </a:p>
          </p:txBody>
        </p:sp>
        <p:cxnSp>
          <p:nvCxnSpPr>
            <p:cNvPr id="33" name="Straight Connector 64">
              <a:extLst>
                <a:ext uri="{FF2B5EF4-FFF2-40B4-BE49-F238E27FC236}">
                  <a16:creationId xmlns:a16="http://schemas.microsoft.com/office/drawing/2014/main" id="{B4406DC0-F14D-4627-91E8-7731C8952663}"/>
                </a:ext>
              </a:extLst>
            </p:cNvPr>
            <p:cNvCxnSpPr>
              <a:cxnSpLocks/>
            </p:cNvCxnSpPr>
            <p:nvPr/>
          </p:nvCxnSpPr>
          <p:spPr>
            <a:xfrm>
              <a:off x="110754" y="1371873"/>
              <a:ext cx="1836847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042358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" name="Picture 4" descr="Mano amica Icona - Download gratuito, PNG e vettoriale"/>
          <p:cNvPicPr>
            <a:picLocks noChangeAspect="1" noChangeArrowheads="1"/>
          </p:cNvPicPr>
          <p:nvPr/>
        </p:nvPicPr>
        <p:blipFill>
          <a:blip r:embed="rId3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6060" y="904127"/>
            <a:ext cx="383189" cy="38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Ovale 46"/>
          <p:cNvSpPr/>
          <p:nvPr/>
        </p:nvSpPr>
        <p:spPr>
          <a:xfrm>
            <a:off x="4003793" y="1901509"/>
            <a:ext cx="4117982" cy="4141925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igura a mano libera 5"/>
          <p:cNvSpPr/>
          <p:nvPr/>
        </p:nvSpPr>
        <p:spPr>
          <a:xfrm>
            <a:off x="6087981" y="1468441"/>
            <a:ext cx="955856" cy="947497"/>
          </a:xfrm>
          <a:custGeom>
            <a:avLst/>
            <a:gdLst>
              <a:gd name="connsiteX0" fmla="*/ 0 w 573586"/>
              <a:gd name="connsiteY0" fmla="*/ 286793 h 573586"/>
              <a:gd name="connsiteX1" fmla="*/ 286793 w 573586"/>
              <a:gd name="connsiteY1" fmla="*/ 0 h 573586"/>
              <a:gd name="connsiteX2" fmla="*/ 573586 w 573586"/>
              <a:gd name="connsiteY2" fmla="*/ 286793 h 573586"/>
              <a:gd name="connsiteX3" fmla="*/ 286793 w 573586"/>
              <a:gd name="connsiteY3" fmla="*/ 573586 h 573586"/>
              <a:gd name="connsiteX4" fmla="*/ 0 w 573586"/>
              <a:gd name="connsiteY4" fmla="*/ 286793 h 57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586" h="573586">
                <a:moveTo>
                  <a:pt x="0" y="286793"/>
                </a:moveTo>
                <a:cubicBezTo>
                  <a:pt x="0" y="128402"/>
                  <a:pt x="128402" y="0"/>
                  <a:pt x="286793" y="0"/>
                </a:cubicBezTo>
                <a:cubicBezTo>
                  <a:pt x="445184" y="0"/>
                  <a:pt x="573586" y="128402"/>
                  <a:pt x="573586" y="286793"/>
                </a:cubicBezTo>
                <a:cubicBezTo>
                  <a:pt x="573586" y="445184"/>
                  <a:pt x="445184" y="573586"/>
                  <a:pt x="286793" y="573586"/>
                </a:cubicBezTo>
                <a:cubicBezTo>
                  <a:pt x="128402" y="573586"/>
                  <a:pt x="0" y="445184"/>
                  <a:pt x="0" y="286793"/>
                </a:cubicBezTo>
                <a:close/>
              </a:path>
            </a:pathLst>
          </a:custGeom>
          <a:solidFill>
            <a:schemeClr val="accent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80" tIns="114480" rIns="114480" bIns="114480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Figura a mano libera 9"/>
          <p:cNvSpPr/>
          <p:nvPr/>
        </p:nvSpPr>
        <p:spPr>
          <a:xfrm rot="1200000">
            <a:off x="7027115" y="2063345"/>
            <a:ext cx="253796" cy="319780"/>
          </a:xfrm>
          <a:custGeom>
            <a:avLst/>
            <a:gdLst>
              <a:gd name="connsiteX0" fmla="*/ 0 w 152297"/>
              <a:gd name="connsiteY0" fmla="*/ 38717 h 193585"/>
              <a:gd name="connsiteX1" fmla="*/ 76149 w 152297"/>
              <a:gd name="connsiteY1" fmla="*/ 38717 h 193585"/>
              <a:gd name="connsiteX2" fmla="*/ 76149 w 152297"/>
              <a:gd name="connsiteY2" fmla="*/ 0 h 193585"/>
              <a:gd name="connsiteX3" fmla="*/ 152297 w 152297"/>
              <a:gd name="connsiteY3" fmla="*/ 96793 h 193585"/>
              <a:gd name="connsiteX4" fmla="*/ 76149 w 152297"/>
              <a:gd name="connsiteY4" fmla="*/ 193585 h 193585"/>
              <a:gd name="connsiteX5" fmla="*/ 76149 w 152297"/>
              <a:gd name="connsiteY5" fmla="*/ 154868 h 193585"/>
              <a:gd name="connsiteX6" fmla="*/ 0 w 152297"/>
              <a:gd name="connsiteY6" fmla="*/ 154868 h 193585"/>
              <a:gd name="connsiteX7" fmla="*/ 0 w 152297"/>
              <a:gd name="connsiteY7" fmla="*/ 38717 h 193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97" h="193585">
                <a:moveTo>
                  <a:pt x="0" y="38717"/>
                </a:moveTo>
                <a:lnTo>
                  <a:pt x="76149" y="38717"/>
                </a:lnTo>
                <a:lnTo>
                  <a:pt x="76149" y="0"/>
                </a:lnTo>
                <a:lnTo>
                  <a:pt x="152297" y="96793"/>
                </a:lnTo>
                <a:lnTo>
                  <a:pt x="76149" y="193585"/>
                </a:lnTo>
                <a:lnTo>
                  <a:pt x="76149" y="154868"/>
                </a:lnTo>
                <a:lnTo>
                  <a:pt x="0" y="154868"/>
                </a:lnTo>
                <a:lnTo>
                  <a:pt x="0" y="38717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8716" rIns="45688" bIns="38717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Figura a mano libera 10"/>
          <p:cNvSpPr/>
          <p:nvPr/>
        </p:nvSpPr>
        <p:spPr>
          <a:xfrm>
            <a:off x="7356933" y="1995129"/>
            <a:ext cx="955856" cy="947497"/>
          </a:xfrm>
          <a:custGeom>
            <a:avLst/>
            <a:gdLst>
              <a:gd name="connsiteX0" fmla="*/ 0 w 573586"/>
              <a:gd name="connsiteY0" fmla="*/ 286793 h 573586"/>
              <a:gd name="connsiteX1" fmla="*/ 286793 w 573586"/>
              <a:gd name="connsiteY1" fmla="*/ 0 h 573586"/>
              <a:gd name="connsiteX2" fmla="*/ 573586 w 573586"/>
              <a:gd name="connsiteY2" fmla="*/ 286793 h 573586"/>
              <a:gd name="connsiteX3" fmla="*/ 286793 w 573586"/>
              <a:gd name="connsiteY3" fmla="*/ 573586 h 573586"/>
              <a:gd name="connsiteX4" fmla="*/ 0 w 573586"/>
              <a:gd name="connsiteY4" fmla="*/ 286793 h 57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586" h="573586">
                <a:moveTo>
                  <a:pt x="0" y="286793"/>
                </a:moveTo>
                <a:cubicBezTo>
                  <a:pt x="0" y="128402"/>
                  <a:pt x="128402" y="0"/>
                  <a:pt x="286793" y="0"/>
                </a:cubicBezTo>
                <a:cubicBezTo>
                  <a:pt x="445184" y="0"/>
                  <a:pt x="573586" y="128402"/>
                  <a:pt x="573586" y="286793"/>
                </a:cubicBezTo>
                <a:cubicBezTo>
                  <a:pt x="573586" y="445184"/>
                  <a:pt x="445184" y="573586"/>
                  <a:pt x="286793" y="573586"/>
                </a:cubicBezTo>
                <a:cubicBezTo>
                  <a:pt x="128402" y="573586"/>
                  <a:pt x="0" y="445184"/>
                  <a:pt x="0" y="286793"/>
                </a:cubicBezTo>
                <a:close/>
              </a:path>
            </a:pathLst>
          </a:custGeom>
          <a:solidFill>
            <a:schemeClr val="accent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80" tIns="114480" rIns="114480" bIns="114480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Figura a mano libera 11"/>
          <p:cNvSpPr/>
          <p:nvPr/>
        </p:nvSpPr>
        <p:spPr>
          <a:xfrm rot="3600000">
            <a:off x="7640277" y="2759923"/>
            <a:ext cx="251577" cy="322601"/>
          </a:xfrm>
          <a:custGeom>
            <a:avLst/>
            <a:gdLst>
              <a:gd name="connsiteX0" fmla="*/ 0 w 152297"/>
              <a:gd name="connsiteY0" fmla="*/ 38717 h 193585"/>
              <a:gd name="connsiteX1" fmla="*/ 76149 w 152297"/>
              <a:gd name="connsiteY1" fmla="*/ 38717 h 193585"/>
              <a:gd name="connsiteX2" fmla="*/ 76149 w 152297"/>
              <a:gd name="connsiteY2" fmla="*/ 0 h 193585"/>
              <a:gd name="connsiteX3" fmla="*/ 152297 w 152297"/>
              <a:gd name="connsiteY3" fmla="*/ 96793 h 193585"/>
              <a:gd name="connsiteX4" fmla="*/ 76149 w 152297"/>
              <a:gd name="connsiteY4" fmla="*/ 193585 h 193585"/>
              <a:gd name="connsiteX5" fmla="*/ 76149 w 152297"/>
              <a:gd name="connsiteY5" fmla="*/ 154868 h 193585"/>
              <a:gd name="connsiteX6" fmla="*/ 0 w 152297"/>
              <a:gd name="connsiteY6" fmla="*/ 154868 h 193585"/>
              <a:gd name="connsiteX7" fmla="*/ 0 w 152297"/>
              <a:gd name="connsiteY7" fmla="*/ 38717 h 193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97" h="193585">
                <a:moveTo>
                  <a:pt x="0" y="38717"/>
                </a:moveTo>
                <a:lnTo>
                  <a:pt x="76149" y="38717"/>
                </a:lnTo>
                <a:lnTo>
                  <a:pt x="76149" y="0"/>
                </a:lnTo>
                <a:lnTo>
                  <a:pt x="152297" y="96793"/>
                </a:lnTo>
                <a:lnTo>
                  <a:pt x="76149" y="193585"/>
                </a:lnTo>
                <a:lnTo>
                  <a:pt x="76149" y="154868"/>
                </a:lnTo>
                <a:lnTo>
                  <a:pt x="0" y="154868"/>
                </a:lnTo>
                <a:lnTo>
                  <a:pt x="0" y="38717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-1" tIns="38716" rIns="45689" bIns="38717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Figura a mano libera 12"/>
          <p:cNvSpPr/>
          <p:nvPr/>
        </p:nvSpPr>
        <p:spPr>
          <a:xfrm>
            <a:off x="7650410" y="3069461"/>
            <a:ext cx="955856" cy="947497"/>
          </a:xfrm>
          <a:custGeom>
            <a:avLst/>
            <a:gdLst>
              <a:gd name="connsiteX0" fmla="*/ 0 w 573586"/>
              <a:gd name="connsiteY0" fmla="*/ 286793 h 573586"/>
              <a:gd name="connsiteX1" fmla="*/ 286793 w 573586"/>
              <a:gd name="connsiteY1" fmla="*/ 0 h 573586"/>
              <a:gd name="connsiteX2" fmla="*/ 573586 w 573586"/>
              <a:gd name="connsiteY2" fmla="*/ 286793 h 573586"/>
              <a:gd name="connsiteX3" fmla="*/ 286793 w 573586"/>
              <a:gd name="connsiteY3" fmla="*/ 573586 h 573586"/>
              <a:gd name="connsiteX4" fmla="*/ 0 w 573586"/>
              <a:gd name="connsiteY4" fmla="*/ 286793 h 57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586" h="573586">
                <a:moveTo>
                  <a:pt x="0" y="286793"/>
                </a:moveTo>
                <a:cubicBezTo>
                  <a:pt x="0" y="128402"/>
                  <a:pt x="128402" y="0"/>
                  <a:pt x="286793" y="0"/>
                </a:cubicBezTo>
                <a:cubicBezTo>
                  <a:pt x="445184" y="0"/>
                  <a:pt x="573586" y="128402"/>
                  <a:pt x="573586" y="286793"/>
                </a:cubicBezTo>
                <a:cubicBezTo>
                  <a:pt x="573586" y="445184"/>
                  <a:pt x="445184" y="573586"/>
                  <a:pt x="286793" y="573586"/>
                </a:cubicBezTo>
                <a:cubicBezTo>
                  <a:pt x="128402" y="573586"/>
                  <a:pt x="0" y="445184"/>
                  <a:pt x="0" y="286793"/>
                </a:cubicBezTo>
                <a:close/>
              </a:path>
            </a:pathLst>
          </a:custGeom>
          <a:solidFill>
            <a:schemeClr val="accent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80" tIns="114480" rIns="114480" bIns="114480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igura a mano libera 13"/>
          <p:cNvSpPr/>
          <p:nvPr/>
        </p:nvSpPr>
        <p:spPr>
          <a:xfrm rot="16800000">
            <a:off x="7879229" y="4075181"/>
            <a:ext cx="251577" cy="322601"/>
          </a:xfrm>
          <a:custGeom>
            <a:avLst/>
            <a:gdLst>
              <a:gd name="connsiteX0" fmla="*/ 0 w 152297"/>
              <a:gd name="connsiteY0" fmla="*/ 38717 h 193585"/>
              <a:gd name="connsiteX1" fmla="*/ 76149 w 152297"/>
              <a:gd name="connsiteY1" fmla="*/ 38717 h 193585"/>
              <a:gd name="connsiteX2" fmla="*/ 76149 w 152297"/>
              <a:gd name="connsiteY2" fmla="*/ 0 h 193585"/>
              <a:gd name="connsiteX3" fmla="*/ 152297 w 152297"/>
              <a:gd name="connsiteY3" fmla="*/ 96793 h 193585"/>
              <a:gd name="connsiteX4" fmla="*/ 76149 w 152297"/>
              <a:gd name="connsiteY4" fmla="*/ 193585 h 193585"/>
              <a:gd name="connsiteX5" fmla="*/ 76149 w 152297"/>
              <a:gd name="connsiteY5" fmla="*/ 154868 h 193585"/>
              <a:gd name="connsiteX6" fmla="*/ 0 w 152297"/>
              <a:gd name="connsiteY6" fmla="*/ 154868 h 193585"/>
              <a:gd name="connsiteX7" fmla="*/ 0 w 152297"/>
              <a:gd name="connsiteY7" fmla="*/ 38717 h 193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97" h="193585">
                <a:moveTo>
                  <a:pt x="152297" y="154868"/>
                </a:moveTo>
                <a:lnTo>
                  <a:pt x="76148" y="154868"/>
                </a:lnTo>
                <a:lnTo>
                  <a:pt x="76148" y="193585"/>
                </a:lnTo>
                <a:lnTo>
                  <a:pt x="0" y="96792"/>
                </a:lnTo>
                <a:lnTo>
                  <a:pt x="76148" y="0"/>
                </a:lnTo>
                <a:lnTo>
                  <a:pt x="76148" y="38717"/>
                </a:lnTo>
                <a:lnTo>
                  <a:pt x="152297" y="38717"/>
                </a:lnTo>
                <a:lnTo>
                  <a:pt x="152297" y="154868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687" tIns="38716" rIns="1" bIns="38717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igura a mano libera 14"/>
          <p:cNvSpPr/>
          <p:nvPr/>
        </p:nvSpPr>
        <p:spPr>
          <a:xfrm>
            <a:off x="7401273" y="4470027"/>
            <a:ext cx="955856" cy="947497"/>
          </a:xfrm>
          <a:custGeom>
            <a:avLst/>
            <a:gdLst>
              <a:gd name="connsiteX0" fmla="*/ 0 w 573586"/>
              <a:gd name="connsiteY0" fmla="*/ 286793 h 573586"/>
              <a:gd name="connsiteX1" fmla="*/ 286793 w 573586"/>
              <a:gd name="connsiteY1" fmla="*/ 0 h 573586"/>
              <a:gd name="connsiteX2" fmla="*/ 573586 w 573586"/>
              <a:gd name="connsiteY2" fmla="*/ 286793 h 573586"/>
              <a:gd name="connsiteX3" fmla="*/ 286793 w 573586"/>
              <a:gd name="connsiteY3" fmla="*/ 573586 h 573586"/>
              <a:gd name="connsiteX4" fmla="*/ 0 w 573586"/>
              <a:gd name="connsiteY4" fmla="*/ 286793 h 57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586" h="573586">
                <a:moveTo>
                  <a:pt x="0" y="286793"/>
                </a:moveTo>
                <a:cubicBezTo>
                  <a:pt x="0" y="128402"/>
                  <a:pt x="128402" y="0"/>
                  <a:pt x="286793" y="0"/>
                </a:cubicBezTo>
                <a:cubicBezTo>
                  <a:pt x="445184" y="0"/>
                  <a:pt x="573586" y="128402"/>
                  <a:pt x="573586" y="286793"/>
                </a:cubicBezTo>
                <a:cubicBezTo>
                  <a:pt x="573586" y="445184"/>
                  <a:pt x="445184" y="573586"/>
                  <a:pt x="286793" y="573586"/>
                </a:cubicBezTo>
                <a:cubicBezTo>
                  <a:pt x="128402" y="573586"/>
                  <a:pt x="0" y="445184"/>
                  <a:pt x="0" y="286793"/>
                </a:cubicBezTo>
                <a:close/>
              </a:path>
            </a:pathLst>
          </a:custGeom>
          <a:solidFill>
            <a:schemeClr val="accent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80" tIns="114480" rIns="114480" bIns="114480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Figura a mano libera 15"/>
          <p:cNvSpPr/>
          <p:nvPr/>
        </p:nvSpPr>
        <p:spPr>
          <a:xfrm rot="19200000">
            <a:off x="7208276" y="5236385"/>
            <a:ext cx="253798" cy="319781"/>
          </a:xfrm>
          <a:custGeom>
            <a:avLst/>
            <a:gdLst>
              <a:gd name="connsiteX0" fmla="*/ 0 w 152297"/>
              <a:gd name="connsiteY0" fmla="*/ 38717 h 193585"/>
              <a:gd name="connsiteX1" fmla="*/ 76149 w 152297"/>
              <a:gd name="connsiteY1" fmla="*/ 38717 h 193585"/>
              <a:gd name="connsiteX2" fmla="*/ 76149 w 152297"/>
              <a:gd name="connsiteY2" fmla="*/ 0 h 193585"/>
              <a:gd name="connsiteX3" fmla="*/ 152297 w 152297"/>
              <a:gd name="connsiteY3" fmla="*/ 96793 h 193585"/>
              <a:gd name="connsiteX4" fmla="*/ 76149 w 152297"/>
              <a:gd name="connsiteY4" fmla="*/ 193585 h 193585"/>
              <a:gd name="connsiteX5" fmla="*/ 76149 w 152297"/>
              <a:gd name="connsiteY5" fmla="*/ 154868 h 193585"/>
              <a:gd name="connsiteX6" fmla="*/ 0 w 152297"/>
              <a:gd name="connsiteY6" fmla="*/ 154868 h 193585"/>
              <a:gd name="connsiteX7" fmla="*/ 0 w 152297"/>
              <a:gd name="connsiteY7" fmla="*/ 38717 h 193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97" h="193585">
                <a:moveTo>
                  <a:pt x="152297" y="154868"/>
                </a:moveTo>
                <a:lnTo>
                  <a:pt x="76148" y="154868"/>
                </a:lnTo>
                <a:lnTo>
                  <a:pt x="76148" y="193585"/>
                </a:lnTo>
                <a:lnTo>
                  <a:pt x="0" y="96792"/>
                </a:lnTo>
                <a:lnTo>
                  <a:pt x="76148" y="0"/>
                </a:lnTo>
                <a:lnTo>
                  <a:pt x="76148" y="38717"/>
                </a:lnTo>
                <a:lnTo>
                  <a:pt x="152297" y="38717"/>
                </a:lnTo>
                <a:lnTo>
                  <a:pt x="152297" y="154868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688" tIns="38717" rIns="1" bIns="38717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igura a mano libera 16"/>
          <p:cNvSpPr/>
          <p:nvPr/>
        </p:nvSpPr>
        <p:spPr>
          <a:xfrm>
            <a:off x="6302215" y="5384182"/>
            <a:ext cx="955856" cy="947497"/>
          </a:xfrm>
          <a:custGeom>
            <a:avLst/>
            <a:gdLst>
              <a:gd name="connsiteX0" fmla="*/ 0 w 573586"/>
              <a:gd name="connsiteY0" fmla="*/ 286793 h 573586"/>
              <a:gd name="connsiteX1" fmla="*/ 286793 w 573586"/>
              <a:gd name="connsiteY1" fmla="*/ 0 h 573586"/>
              <a:gd name="connsiteX2" fmla="*/ 573586 w 573586"/>
              <a:gd name="connsiteY2" fmla="*/ 286793 h 573586"/>
              <a:gd name="connsiteX3" fmla="*/ 286793 w 573586"/>
              <a:gd name="connsiteY3" fmla="*/ 573586 h 573586"/>
              <a:gd name="connsiteX4" fmla="*/ 0 w 573586"/>
              <a:gd name="connsiteY4" fmla="*/ 286793 h 57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586" h="573586">
                <a:moveTo>
                  <a:pt x="0" y="286793"/>
                </a:moveTo>
                <a:cubicBezTo>
                  <a:pt x="0" y="128402"/>
                  <a:pt x="128402" y="0"/>
                  <a:pt x="286793" y="0"/>
                </a:cubicBezTo>
                <a:cubicBezTo>
                  <a:pt x="445184" y="0"/>
                  <a:pt x="573586" y="128402"/>
                  <a:pt x="573586" y="286793"/>
                </a:cubicBezTo>
                <a:cubicBezTo>
                  <a:pt x="573586" y="445184"/>
                  <a:pt x="445184" y="573586"/>
                  <a:pt x="286793" y="573586"/>
                </a:cubicBezTo>
                <a:cubicBezTo>
                  <a:pt x="128402" y="573586"/>
                  <a:pt x="0" y="445184"/>
                  <a:pt x="0" y="286793"/>
                </a:cubicBezTo>
                <a:close/>
              </a:path>
            </a:pathLst>
          </a:custGeom>
          <a:solidFill>
            <a:schemeClr val="accent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80" tIns="114480" rIns="114480" bIns="114480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igura a mano libera 17"/>
          <p:cNvSpPr/>
          <p:nvPr/>
        </p:nvSpPr>
        <p:spPr>
          <a:xfrm rot="4281">
            <a:off x="5918919" y="5697143"/>
            <a:ext cx="270864" cy="319781"/>
          </a:xfrm>
          <a:custGeom>
            <a:avLst/>
            <a:gdLst>
              <a:gd name="connsiteX0" fmla="*/ 0 w 162538"/>
              <a:gd name="connsiteY0" fmla="*/ 38717 h 193585"/>
              <a:gd name="connsiteX1" fmla="*/ 81269 w 162538"/>
              <a:gd name="connsiteY1" fmla="*/ 38717 h 193585"/>
              <a:gd name="connsiteX2" fmla="*/ 81269 w 162538"/>
              <a:gd name="connsiteY2" fmla="*/ 0 h 193585"/>
              <a:gd name="connsiteX3" fmla="*/ 162538 w 162538"/>
              <a:gd name="connsiteY3" fmla="*/ 96793 h 193585"/>
              <a:gd name="connsiteX4" fmla="*/ 81269 w 162538"/>
              <a:gd name="connsiteY4" fmla="*/ 193585 h 193585"/>
              <a:gd name="connsiteX5" fmla="*/ 81269 w 162538"/>
              <a:gd name="connsiteY5" fmla="*/ 154868 h 193585"/>
              <a:gd name="connsiteX6" fmla="*/ 0 w 162538"/>
              <a:gd name="connsiteY6" fmla="*/ 154868 h 193585"/>
              <a:gd name="connsiteX7" fmla="*/ 0 w 162538"/>
              <a:gd name="connsiteY7" fmla="*/ 38717 h 193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538" h="193585">
                <a:moveTo>
                  <a:pt x="162538" y="154868"/>
                </a:moveTo>
                <a:lnTo>
                  <a:pt x="81269" y="154868"/>
                </a:lnTo>
                <a:lnTo>
                  <a:pt x="81269" y="193585"/>
                </a:lnTo>
                <a:lnTo>
                  <a:pt x="0" y="96792"/>
                </a:lnTo>
                <a:lnTo>
                  <a:pt x="81269" y="0"/>
                </a:lnTo>
                <a:lnTo>
                  <a:pt x="81269" y="38717"/>
                </a:lnTo>
                <a:lnTo>
                  <a:pt x="162538" y="38717"/>
                </a:lnTo>
                <a:lnTo>
                  <a:pt x="162538" y="154868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8761" tIns="38717" rIns="0" bIns="38717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igura a mano libera 18"/>
          <p:cNvSpPr/>
          <p:nvPr/>
        </p:nvSpPr>
        <p:spPr>
          <a:xfrm>
            <a:off x="4835299" y="5382372"/>
            <a:ext cx="955856" cy="947497"/>
          </a:xfrm>
          <a:custGeom>
            <a:avLst/>
            <a:gdLst>
              <a:gd name="connsiteX0" fmla="*/ 0 w 573586"/>
              <a:gd name="connsiteY0" fmla="*/ 286793 h 573586"/>
              <a:gd name="connsiteX1" fmla="*/ 286793 w 573586"/>
              <a:gd name="connsiteY1" fmla="*/ 0 h 573586"/>
              <a:gd name="connsiteX2" fmla="*/ 573586 w 573586"/>
              <a:gd name="connsiteY2" fmla="*/ 286793 h 573586"/>
              <a:gd name="connsiteX3" fmla="*/ 286793 w 573586"/>
              <a:gd name="connsiteY3" fmla="*/ 573586 h 573586"/>
              <a:gd name="connsiteX4" fmla="*/ 0 w 573586"/>
              <a:gd name="connsiteY4" fmla="*/ 286793 h 57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586" h="573586">
                <a:moveTo>
                  <a:pt x="0" y="286793"/>
                </a:moveTo>
                <a:cubicBezTo>
                  <a:pt x="0" y="128402"/>
                  <a:pt x="128402" y="0"/>
                  <a:pt x="286793" y="0"/>
                </a:cubicBezTo>
                <a:cubicBezTo>
                  <a:pt x="445184" y="0"/>
                  <a:pt x="573586" y="128402"/>
                  <a:pt x="573586" y="286793"/>
                </a:cubicBezTo>
                <a:cubicBezTo>
                  <a:pt x="573586" y="445184"/>
                  <a:pt x="445184" y="573586"/>
                  <a:pt x="286793" y="573586"/>
                </a:cubicBezTo>
                <a:cubicBezTo>
                  <a:pt x="128402" y="573586"/>
                  <a:pt x="0" y="445184"/>
                  <a:pt x="0" y="286793"/>
                </a:cubicBezTo>
                <a:close/>
              </a:path>
            </a:pathLst>
          </a:custGeom>
          <a:solidFill>
            <a:schemeClr val="accent3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80" tIns="114480" rIns="114480" bIns="114480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igura a mano libera 19"/>
          <p:cNvSpPr/>
          <p:nvPr/>
        </p:nvSpPr>
        <p:spPr>
          <a:xfrm rot="2447083">
            <a:off x="4664858" y="5244460"/>
            <a:ext cx="240173" cy="319780"/>
          </a:xfrm>
          <a:custGeom>
            <a:avLst/>
            <a:gdLst>
              <a:gd name="connsiteX0" fmla="*/ 0 w 144121"/>
              <a:gd name="connsiteY0" fmla="*/ 38717 h 193585"/>
              <a:gd name="connsiteX1" fmla="*/ 72061 w 144121"/>
              <a:gd name="connsiteY1" fmla="*/ 38717 h 193585"/>
              <a:gd name="connsiteX2" fmla="*/ 72061 w 144121"/>
              <a:gd name="connsiteY2" fmla="*/ 0 h 193585"/>
              <a:gd name="connsiteX3" fmla="*/ 144121 w 144121"/>
              <a:gd name="connsiteY3" fmla="*/ 96793 h 193585"/>
              <a:gd name="connsiteX4" fmla="*/ 72061 w 144121"/>
              <a:gd name="connsiteY4" fmla="*/ 193585 h 193585"/>
              <a:gd name="connsiteX5" fmla="*/ 72061 w 144121"/>
              <a:gd name="connsiteY5" fmla="*/ 154868 h 193585"/>
              <a:gd name="connsiteX6" fmla="*/ 0 w 144121"/>
              <a:gd name="connsiteY6" fmla="*/ 154868 h 193585"/>
              <a:gd name="connsiteX7" fmla="*/ 0 w 144121"/>
              <a:gd name="connsiteY7" fmla="*/ 38717 h 193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4121" h="193585">
                <a:moveTo>
                  <a:pt x="144121" y="154868"/>
                </a:moveTo>
                <a:lnTo>
                  <a:pt x="72060" y="154868"/>
                </a:lnTo>
                <a:lnTo>
                  <a:pt x="72060" y="193585"/>
                </a:lnTo>
                <a:lnTo>
                  <a:pt x="0" y="96792"/>
                </a:lnTo>
                <a:lnTo>
                  <a:pt x="72060" y="0"/>
                </a:lnTo>
                <a:lnTo>
                  <a:pt x="72060" y="38717"/>
                </a:lnTo>
                <a:lnTo>
                  <a:pt x="144121" y="38717"/>
                </a:lnTo>
                <a:lnTo>
                  <a:pt x="144121" y="154868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235" tIns="38717" rIns="1" bIns="38716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Figura a mano libera 20"/>
          <p:cNvSpPr/>
          <p:nvPr/>
        </p:nvSpPr>
        <p:spPr>
          <a:xfrm>
            <a:off x="3808611" y="4650619"/>
            <a:ext cx="955856" cy="947497"/>
          </a:xfrm>
          <a:custGeom>
            <a:avLst/>
            <a:gdLst>
              <a:gd name="connsiteX0" fmla="*/ 0 w 573586"/>
              <a:gd name="connsiteY0" fmla="*/ 286793 h 573586"/>
              <a:gd name="connsiteX1" fmla="*/ 286793 w 573586"/>
              <a:gd name="connsiteY1" fmla="*/ 0 h 573586"/>
              <a:gd name="connsiteX2" fmla="*/ 573586 w 573586"/>
              <a:gd name="connsiteY2" fmla="*/ 286793 h 573586"/>
              <a:gd name="connsiteX3" fmla="*/ 286793 w 573586"/>
              <a:gd name="connsiteY3" fmla="*/ 573586 h 573586"/>
              <a:gd name="connsiteX4" fmla="*/ 0 w 573586"/>
              <a:gd name="connsiteY4" fmla="*/ 286793 h 57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586" h="573586">
                <a:moveTo>
                  <a:pt x="0" y="286793"/>
                </a:moveTo>
                <a:cubicBezTo>
                  <a:pt x="0" y="128402"/>
                  <a:pt x="128402" y="0"/>
                  <a:pt x="286793" y="0"/>
                </a:cubicBezTo>
                <a:cubicBezTo>
                  <a:pt x="445184" y="0"/>
                  <a:pt x="573586" y="128402"/>
                  <a:pt x="573586" y="286793"/>
                </a:cubicBezTo>
                <a:cubicBezTo>
                  <a:pt x="573586" y="445184"/>
                  <a:pt x="445184" y="573586"/>
                  <a:pt x="286793" y="573586"/>
                </a:cubicBezTo>
                <a:cubicBezTo>
                  <a:pt x="128402" y="573586"/>
                  <a:pt x="0" y="445184"/>
                  <a:pt x="0" y="286793"/>
                </a:cubicBezTo>
                <a:close/>
              </a:path>
            </a:pathLst>
          </a:custGeom>
          <a:solidFill>
            <a:schemeClr val="accent3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80" tIns="114480" rIns="114480" bIns="114480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Figura a mano libera 21"/>
          <p:cNvSpPr/>
          <p:nvPr/>
        </p:nvSpPr>
        <p:spPr>
          <a:xfrm rot="4800000">
            <a:off x="4019036" y="4607897"/>
            <a:ext cx="251579" cy="322602"/>
          </a:xfrm>
          <a:custGeom>
            <a:avLst/>
            <a:gdLst>
              <a:gd name="connsiteX0" fmla="*/ 0 w 152297"/>
              <a:gd name="connsiteY0" fmla="*/ 38717 h 193585"/>
              <a:gd name="connsiteX1" fmla="*/ 76149 w 152297"/>
              <a:gd name="connsiteY1" fmla="*/ 38717 h 193585"/>
              <a:gd name="connsiteX2" fmla="*/ 76149 w 152297"/>
              <a:gd name="connsiteY2" fmla="*/ 0 h 193585"/>
              <a:gd name="connsiteX3" fmla="*/ 152297 w 152297"/>
              <a:gd name="connsiteY3" fmla="*/ 96793 h 193585"/>
              <a:gd name="connsiteX4" fmla="*/ 76149 w 152297"/>
              <a:gd name="connsiteY4" fmla="*/ 193585 h 193585"/>
              <a:gd name="connsiteX5" fmla="*/ 76149 w 152297"/>
              <a:gd name="connsiteY5" fmla="*/ 154868 h 193585"/>
              <a:gd name="connsiteX6" fmla="*/ 0 w 152297"/>
              <a:gd name="connsiteY6" fmla="*/ 154868 h 193585"/>
              <a:gd name="connsiteX7" fmla="*/ 0 w 152297"/>
              <a:gd name="connsiteY7" fmla="*/ 38717 h 193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97" h="193585">
                <a:moveTo>
                  <a:pt x="152297" y="154868"/>
                </a:moveTo>
                <a:lnTo>
                  <a:pt x="76148" y="154868"/>
                </a:lnTo>
                <a:lnTo>
                  <a:pt x="76148" y="193585"/>
                </a:lnTo>
                <a:lnTo>
                  <a:pt x="0" y="96792"/>
                </a:lnTo>
                <a:lnTo>
                  <a:pt x="76148" y="0"/>
                </a:lnTo>
                <a:lnTo>
                  <a:pt x="76148" y="38717"/>
                </a:lnTo>
                <a:lnTo>
                  <a:pt x="152297" y="38717"/>
                </a:lnTo>
                <a:lnTo>
                  <a:pt x="152297" y="154868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689" tIns="38718" rIns="0" bIns="38716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Figura a mano libera 22"/>
          <p:cNvSpPr/>
          <p:nvPr/>
        </p:nvSpPr>
        <p:spPr>
          <a:xfrm>
            <a:off x="3519026" y="3585643"/>
            <a:ext cx="955856" cy="947497"/>
          </a:xfrm>
          <a:custGeom>
            <a:avLst/>
            <a:gdLst>
              <a:gd name="connsiteX0" fmla="*/ 0 w 573586"/>
              <a:gd name="connsiteY0" fmla="*/ 286793 h 573586"/>
              <a:gd name="connsiteX1" fmla="*/ 286793 w 573586"/>
              <a:gd name="connsiteY1" fmla="*/ 0 h 573586"/>
              <a:gd name="connsiteX2" fmla="*/ 573586 w 573586"/>
              <a:gd name="connsiteY2" fmla="*/ 286793 h 573586"/>
              <a:gd name="connsiteX3" fmla="*/ 286793 w 573586"/>
              <a:gd name="connsiteY3" fmla="*/ 573586 h 573586"/>
              <a:gd name="connsiteX4" fmla="*/ 0 w 573586"/>
              <a:gd name="connsiteY4" fmla="*/ 286793 h 57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586" h="573586">
                <a:moveTo>
                  <a:pt x="0" y="286793"/>
                </a:moveTo>
                <a:cubicBezTo>
                  <a:pt x="0" y="128402"/>
                  <a:pt x="128402" y="0"/>
                  <a:pt x="286793" y="0"/>
                </a:cubicBezTo>
                <a:cubicBezTo>
                  <a:pt x="445184" y="0"/>
                  <a:pt x="573586" y="128402"/>
                  <a:pt x="573586" y="286793"/>
                </a:cubicBezTo>
                <a:cubicBezTo>
                  <a:pt x="573586" y="445184"/>
                  <a:pt x="445184" y="573586"/>
                  <a:pt x="286793" y="573586"/>
                </a:cubicBezTo>
                <a:cubicBezTo>
                  <a:pt x="128402" y="573586"/>
                  <a:pt x="0" y="445184"/>
                  <a:pt x="0" y="286793"/>
                </a:cubicBezTo>
                <a:close/>
              </a:path>
            </a:pathLst>
          </a:custGeom>
          <a:solidFill>
            <a:schemeClr val="accent3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80" tIns="114480" rIns="114480" bIns="114480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Figura a mano libera 23"/>
          <p:cNvSpPr/>
          <p:nvPr/>
        </p:nvSpPr>
        <p:spPr>
          <a:xfrm rot="18000000">
            <a:off x="4208135" y="3110359"/>
            <a:ext cx="251577" cy="322601"/>
          </a:xfrm>
          <a:custGeom>
            <a:avLst/>
            <a:gdLst>
              <a:gd name="connsiteX0" fmla="*/ 0 w 152297"/>
              <a:gd name="connsiteY0" fmla="*/ 38717 h 193585"/>
              <a:gd name="connsiteX1" fmla="*/ 76149 w 152297"/>
              <a:gd name="connsiteY1" fmla="*/ 38717 h 193585"/>
              <a:gd name="connsiteX2" fmla="*/ 76149 w 152297"/>
              <a:gd name="connsiteY2" fmla="*/ 0 h 193585"/>
              <a:gd name="connsiteX3" fmla="*/ 152297 w 152297"/>
              <a:gd name="connsiteY3" fmla="*/ 96793 h 193585"/>
              <a:gd name="connsiteX4" fmla="*/ 76149 w 152297"/>
              <a:gd name="connsiteY4" fmla="*/ 193585 h 193585"/>
              <a:gd name="connsiteX5" fmla="*/ 76149 w 152297"/>
              <a:gd name="connsiteY5" fmla="*/ 154868 h 193585"/>
              <a:gd name="connsiteX6" fmla="*/ 0 w 152297"/>
              <a:gd name="connsiteY6" fmla="*/ 154868 h 193585"/>
              <a:gd name="connsiteX7" fmla="*/ 0 w 152297"/>
              <a:gd name="connsiteY7" fmla="*/ 38717 h 193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97" h="193585">
                <a:moveTo>
                  <a:pt x="0" y="38717"/>
                </a:moveTo>
                <a:lnTo>
                  <a:pt x="76149" y="38717"/>
                </a:lnTo>
                <a:lnTo>
                  <a:pt x="76149" y="0"/>
                </a:lnTo>
                <a:lnTo>
                  <a:pt x="152297" y="96793"/>
                </a:lnTo>
                <a:lnTo>
                  <a:pt x="76149" y="193585"/>
                </a:lnTo>
                <a:lnTo>
                  <a:pt x="76149" y="154868"/>
                </a:lnTo>
                <a:lnTo>
                  <a:pt x="0" y="154868"/>
                </a:lnTo>
                <a:lnTo>
                  <a:pt x="0" y="38717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-1" tIns="38717" rIns="45689" bIns="38716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Figura a mano libera 25"/>
          <p:cNvSpPr/>
          <p:nvPr/>
        </p:nvSpPr>
        <p:spPr>
          <a:xfrm rot="20400000">
            <a:off x="5678921" y="2068217"/>
            <a:ext cx="253796" cy="319780"/>
          </a:xfrm>
          <a:custGeom>
            <a:avLst/>
            <a:gdLst>
              <a:gd name="connsiteX0" fmla="*/ 0 w 152297"/>
              <a:gd name="connsiteY0" fmla="*/ 38717 h 193585"/>
              <a:gd name="connsiteX1" fmla="*/ 76149 w 152297"/>
              <a:gd name="connsiteY1" fmla="*/ 38717 h 193585"/>
              <a:gd name="connsiteX2" fmla="*/ 76149 w 152297"/>
              <a:gd name="connsiteY2" fmla="*/ 0 h 193585"/>
              <a:gd name="connsiteX3" fmla="*/ 152297 w 152297"/>
              <a:gd name="connsiteY3" fmla="*/ 96793 h 193585"/>
              <a:gd name="connsiteX4" fmla="*/ 76149 w 152297"/>
              <a:gd name="connsiteY4" fmla="*/ 193585 h 193585"/>
              <a:gd name="connsiteX5" fmla="*/ 76149 w 152297"/>
              <a:gd name="connsiteY5" fmla="*/ 154868 h 193585"/>
              <a:gd name="connsiteX6" fmla="*/ 0 w 152297"/>
              <a:gd name="connsiteY6" fmla="*/ 154868 h 193585"/>
              <a:gd name="connsiteX7" fmla="*/ 0 w 152297"/>
              <a:gd name="connsiteY7" fmla="*/ 38717 h 193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97" h="193585">
                <a:moveTo>
                  <a:pt x="0" y="38717"/>
                </a:moveTo>
                <a:lnTo>
                  <a:pt x="76149" y="38717"/>
                </a:lnTo>
                <a:lnTo>
                  <a:pt x="76149" y="0"/>
                </a:lnTo>
                <a:lnTo>
                  <a:pt x="152297" y="96793"/>
                </a:lnTo>
                <a:lnTo>
                  <a:pt x="76149" y="193585"/>
                </a:lnTo>
                <a:lnTo>
                  <a:pt x="76149" y="154868"/>
                </a:lnTo>
                <a:lnTo>
                  <a:pt x="0" y="154868"/>
                </a:lnTo>
                <a:lnTo>
                  <a:pt x="0" y="38717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3">
            <a:scrgbClr r="0" g="0" b="0"/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8716" rIns="45688" bIns="38717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9" name="Gruppo 384">
            <a:extLst>
              <a:ext uri="{FF2B5EF4-FFF2-40B4-BE49-F238E27FC236}">
                <a16:creationId xmlns:a16="http://schemas.microsoft.com/office/drawing/2014/main" id="{5F274415-1F18-40DE-B874-5CB404EB3173}"/>
              </a:ext>
            </a:extLst>
          </p:cNvPr>
          <p:cNvGrpSpPr>
            <a:grpSpLocks/>
          </p:cNvGrpSpPr>
          <p:nvPr/>
        </p:nvGrpSpPr>
        <p:grpSpPr bwMode="auto">
          <a:xfrm>
            <a:off x="7494040" y="2132639"/>
            <a:ext cx="603522" cy="675084"/>
            <a:chOff x="6030758" y="980464"/>
            <a:chExt cx="5107083" cy="5839233"/>
          </a:xfrm>
          <a:solidFill>
            <a:schemeClr val="bg1"/>
          </a:solidFill>
          <a:effectLst/>
        </p:grpSpPr>
        <p:sp>
          <p:nvSpPr>
            <p:cNvPr id="70" name="Figura a mano libera 238">
              <a:extLst>
                <a:ext uri="{FF2B5EF4-FFF2-40B4-BE49-F238E27FC236}">
                  <a16:creationId xmlns:a16="http://schemas.microsoft.com/office/drawing/2014/main" id="{6F83E598-B8B0-4350-99E2-FEB34545EB80}"/>
                </a:ext>
              </a:extLst>
            </p:cNvPr>
            <p:cNvSpPr/>
            <p:nvPr/>
          </p:nvSpPr>
          <p:spPr bwMode="auto">
            <a:xfrm>
              <a:off x="6687092" y="3749428"/>
              <a:ext cx="749314" cy="1317359"/>
            </a:xfrm>
            <a:custGeom>
              <a:avLst/>
              <a:gdLst>
                <a:gd name="connsiteX0" fmla="*/ 58847 w 873659"/>
                <a:gd name="connsiteY0" fmla="*/ 208229 h 1552669"/>
                <a:gd name="connsiteX1" fmla="*/ 162962 w 873659"/>
                <a:gd name="connsiteY1" fmla="*/ 258023 h 1552669"/>
                <a:gd name="connsiteX2" fmla="*/ 230863 w 873659"/>
                <a:gd name="connsiteY2" fmla="*/ 267077 h 1552669"/>
                <a:gd name="connsiteX3" fmla="*/ 316871 w 873659"/>
                <a:gd name="connsiteY3" fmla="*/ 203703 h 1552669"/>
                <a:gd name="connsiteX4" fmla="*/ 353085 w 873659"/>
                <a:gd name="connsiteY4" fmla="*/ 208229 h 1552669"/>
                <a:gd name="connsiteX5" fmla="*/ 407406 w 873659"/>
                <a:gd name="connsiteY5" fmla="*/ 140328 h 1552669"/>
                <a:gd name="connsiteX6" fmla="*/ 479834 w 873659"/>
                <a:gd name="connsiteY6" fmla="*/ 76954 h 1552669"/>
                <a:gd name="connsiteX7" fmla="*/ 529628 w 873659"/>
                <a:gd name="connsiteY7" fmla="*/ 76954 h 1552669"/>
                <a:gd name="connsiteX8" fmla="*/ 543208 w 873659"/>
                <a:gd name="connsiteY8" fmla="*/ 58847 h 1552669"/>
                <a:gd name="connsiteX9" fmla="*/ 547735 w 873659"/>
                <a:gd name="connsiteY9" fmla="*/ 58847 h 1552669"/>
                <a:gd name="connsiteX10" fmla="*/ 538681 w 873659"/>
                <a:gd name="connsiteY10" fmla="*/ 0 h 1552669"/>
                <a:gd name="connsiteX11" fmla="*/ 611109 w 873659"/>
                <a:gd name="connsiteY11" fmla="*/ 0 h 1552669"/>
                <a:gd name="connsiteX12" fmla="*/ 620162 w 873659"/>
                <a:gd name="connsiteY12" fmla="*/ 45267 h 1552669"/>
                <a:gd name="connsiteX13" fmla="*/ 651849 w 873659"/>
                <a:gd name="connsiteY13" fmla="*/ 45267 h 1552669"/>
                <a:gd name="connsiteX14" fmla="*/ 697117 w 873659"/>
                <a:gd name="connsiteY14" fmla="*/ 4526 h 1552669"/>
                <a:gd name="connsiteX15" fmla="*/ 710697 w 873659"/>
                <a:gd name="connsiteY15" fmla="*/ 36214 h 1552669"/>
                <a:gd name="connsiteX16" fmla="*/ 710697 w 873659"/>
                <a:gd name="connsiteY16" fmla="*/ 36214 h 1552669"/>
                <a:gd name="connsiteX17" fmla="*/ 701643 w 873659"/>
                <a:gd name="connsiteY17" fmla="*/ 99588 h 1552669"/>
                <a:gd name="connsiteX18" fmla="*/ 728804 w 873659"/>
                <a:gd name="connsiteY18" fmla="*/ 86008 h 1552669"/>
                <a:gd name="connsiteX19" fmla="*/ 760491 w 873659"/>
                <a:gd name="connsiteY19" fmla="*/ 95061 h 1552669"/>
                <a:gd name="connsiteX20" fmla="*/ 760491 w 873659"/>
                <a:gd name="connsiteY20" fmla="*/ 95061 h 1552669"/>
                <a:gd name="connsiteX21" fmla="*/ 737857 w 873659"/>
                <a:gd name="connsiteY21" fmla="*/ 140328 h 1552669"/>
                <a:gd name="connsiteX22" fmla="*/ 737857 w 873659"/>
                <a:gd name="connsiteY22" fmla="*/ 185596 h 1552669"/>
                <a:gd name="connsiteX23" fmla="*/ 737857 w 873659"/>
                <a:gd name="connsiteY23" fmla="*/ 185596 h 1552669"/>
                <a:gd name="connsiteX24" fmla="*/ 778598 w 873659"/>
                <a:gd name="connsiteY24" fmla="*/ 167489 h 1552669"/>
                <a:gd name="connsiteX25" fmla="*/ 769544 w 873659"/>
                <a:gd name="connsiteY25" fmla="*/ 194649 h 1552669"/>
                <a:gd name="connsiteX26" fmla="*/ 760491 w 873659"/>
                <a:gd name="connsiteY26" fmla="*/ 244443 h 1552669"/>
                <a:gd name="connsiteX27" fmla="*/ 774071 w 873659"/>
                <a:gd name="connsiteY27" fmla="*/ 244443 h 1552669"/>
                <a:gd name="connsiteX28" fmla="*/ 805758 w 873659"/>
                <a:gd name="connsiteY28" fmla="*/ 244443 h 1552669"/>
                <a:gd name="connsiteX29" fmla="*/ 837445 w 873659"/>
                <a:gd name="connsiteY29" fmla="*/ 230863 h 1552669"/>
                <a:gd name="connsiteX30" fmla="*/ 837445 w 873659"/>
                <a:gd name="connsiteY30" fmla="*/ 230863 h 1552669"/>
                <a:gd name="connsiteX31" fmla="*/ 810285 w 873659"/>
                <a:gd name="connsiteY31" fmla="*/ 262550 h 1552669"/>
                <a:gd name="connsiteX32" fmla="*/ 851026 w 873659"/>
                <a:gd name="connsiteY32" fmla="*/ 262550 h 1552669"/>
                <a:gd name="connsiteX33" fmla="*/ 832919 w 873659"/>
                <a:gd name="connsiteY33" fmla="*/ 271604 h 1552669"/>
                <a:gd name="connsiteX34" fmla="*/ 801232 w 873659"/>
                <a:gd name="connsiteY34" fmla="*/ 307817 h 1552669"/>
                <a:gd name="connsiteX35" fmla="*/ 823865 w 873659"/>
                <a:gd name="connsiteY35" fmla="*/ 339505 h 1552669"/>
                <a:gd name="connsiteX36" fmla="*/ 832919 w 873659"/>
                <a:gd name="connsiteY36" fmla="*/ 384772 h 1552669"/>
                <a:gd name="connsiteX37" fmla="*/ 832919 w 873659"/>
                <a:gd name="connsiteY37" fmla="*/ 384772 h 1552669"/>
                <a:gd name="connsiteX38" fmla="*/ 832919 w 873659"/>
                <a:gd name="connsiteY38" fmla="*/ 434566 h 1552669"/>
                <a:gd name="connsiteX39" fmla="*/ 855552 w 873659"/>
                <a:gd name="connsiteY39" fmla="*/ 461726 h 1552669"/>
                <a:gd name="connsiteX40" fmla="*/ 873659 w 873659"/>
                <a:gd name="connsiteY40" fmla="*/ 502467 h 1552669"/>
                <a:gd name="connsiteX41" fmla="*/ 851026 w 873659"/>
                <a:gd name="connsiteY41" fmla="*/ 543208 h 1552669"/>
                <a:gd name="connsiteX42" fmla="*/ 851026 w 873659"/>
                <a:gd name="connsiteY42" fmla="*/ 574895 h 1552669"/>
                <a:gd name="connsiteX43" fmla="*/ 823865 w 873659"/>
                <a:gd name="connsiteY43" fmla="*/ 611109 h 1552669"/>
                <a:gd name="connsiteX44" fmla="*/ 783125 w 873659"/>
                <a:gd name="connsiteY44" fmla="*/ 642796 h 1552669"/>
                <a:gd name="connsiteX45" fmla="*/ 765018 w 873659"/>
                <a:gd name="connsiteY45" fmla="*/ 669956 h 1552669"/>
                <a:gd name="connsiteX46" fmla="*/ 760491 w 873659"/>
                <a:gd name="connsiteY46" fmla="*/ 710697 h 1552669"/>
                <a:gd name="connsiteX47" fmla="*/ 769544 w 873659"/>
                <a:gd name="connsiteY47" fmla="*/ 755964 h 1552669"/>
                <a:gd name="connsiteX48" fmla="*/ 769544 w 873659"/>
                <a:gd name="connsiteY48" fmla="*/ 755964 h 1552669"/>
                <a:gd name="connsiteX49" fmla="*/ 810285 w 873659"/>
                <a:gd name="connsiteY49" fmla="*/ 783124 h 1552669"/>
                <a:gd name="connsiteX50" fmla="*/ 783125 w 873659"/>
                <a:gd name="connsiteY50" fmla="*/ 860079 h 1552669"/>
                <a:gd name="connsiteX51" fmla="*/ 760491 w 873659"/>
                <a:gd name="connsiteY51" fmla="*/ 905346 h 1552669"/>
                <a:gd name="connsiteX52" fmla="*/ 769544 w 873659"/>
                <a:gd name="connsiteY52" fmla="*/ 995881 h 1552669"/>
                <a:gd name="connsiteX53" fmla="*/ 742384 w 873659"/>
                <a:gd name="connsiteY53" fmla="*/ 1045675 h 1552669"/>
                <a:gd name="connsiteX54" fmla="*/ 737857 w 873659"/>
                <a:gd name="connsiteY54" fmla="*/ 1109049 h 1552669"/>
                <a:gd name="connsiteX55" fmla="*/ 733331 w 873659"/>
                <a:gd name="connsiteY55" fmla="*/ 1163370 h 1552669"/>
                <a:gd name="connsiteX56" fmla="*/ 733331 w 873659"/>
                <a:gd name="connsiteY56" fmla="*/ 1204111 h 1552669"/>
                <a:gd name="connsiteX57" fmla="*/ 692590 w 873659"/>
                <a:gd name="connsiteY57" fmla="*/ 1244851 h 1552669"/>
                <a:gd name="connsiteX58" fmla="*/ 706170 w 873659"/>
                <a:gd name="connsiteY58" fmla="*/ 1285592 h 1552669"/>
                <a:gd name="connsiteX59" fmla="*/ 706170 w 873659"/>
                <a:gd name="connsiteY59" fmla="*/ 1285592 h 1552669"/>
                <a:gd name="connsiteX60" fmla="*/ 688063 w 873659"/>
                <a:gd name="connsiteY60" fmla="*/ 1326332 h 1552669"/>
                <a:gd name="connsiteX61" fmla="*/ 683537 w 873659"/>
                <a:gd name="connsiteY61" fmla="*/ 1371600 h 1552669"/>
                <a:gd name="connsiteX62" fmla="*/ 674483 w 873659"/>
                <a:gd name="connsiteY62" fmla="*/ 1425920 h 1552669"/>
                <a:gd name="connsiteX63" fmla="*/ 611109 w 873659"/>
                <a:gd name="connsiteY63" fmla="*/ 1416867 h 1552669"/>
                <a:gd name="connsiteX64" fmla="*/ 570368 w 873659"/>
                <a:gd name="connsiteY64" fmla="*/ 1376126 h 1552669"/>
                <a:gd name="connsiteX65" fmla="*/ 543208 w 873659"/>
                <a:gd name="connsiteY65" fmla="*/ 1348966 h 1552669"/>
                <a:gd name="connsiteX66" fmla="*/ 497940 w 873659"/>
                <a:gd name="connsiteY66" fmla="*/ 1339913 h 1552669"/>
                <a:gd name="connsiteX67" fmla="*/ 457200 w 873659"/>
                <a:gd name="connsiteY67" fmla="*/ 1367073 h 1552669"/>
                <a:gd name="connsiteX68" fmla="*/ 457200 w 873659"/>
                <a:gd name="connsiteY68" fmla="*/ 1367073 h 1552669"/>
                <a:gd name="connsiteX69" fmla="*/ 457200 w 873659"/>
                <a:gd name="connsiteY69" fmla="*/ 1367073 h 1552669"/>
                <a:gd name="connsiteX70" fmla="*/ 425513 w 873659"/>
                <a:gd name="connsiteY70" fmla="*/ 1339913 h 1552669"/>
                <a:gd name="connsiteX71" fmla="*/ 389299 w 873659"/>
                <a:gd name="connsiteY71" fmla="*/ 1403287 h 1552669"/>
                <a:gd name="connsiteX72" fmla="*/ 375719 w 873659"/>
                <a:gd name="connsiteY72" fmla="*/ 1439501 h 1552669"/>
                <a:gd name="connsiteX73" fmla="*/ 380245 w 873659"/>
                <a:gd name="connsiteY73" fmla="*/ 1484768 h 1552669"/>
                <a:gd name="connsiteX74" fmla="*/ 339505 w 873659"/>
                <a:gd name="connsiteY74" fmla="*/ 1511928 h 1552669"/>
                <a:gd name="connsiteX75" fmla="*/ 271604 w 873659"/>
                <a:gd name="connsiteY75" fmla="*/ 1552669 h 1552669"/>
                <a:gd name="connsiteX76" fmla="*/ 217283 w 873659"/>
                <a:gd name="connsiteY76" fmla="*/ 1516455 h 1552669"/>
                <a:gd name="connsiteX77" fmla="*/ 172016 w 873659"/>
                <a:gd name="connsiteY77" fmla="*/ 1548142 h 1552669"/>
                <a:gd name="connsiteX78" fmla="*/ 144855 w 873659"/>
                <a:gd name="connsiteY78" fmla="*/ 1484768 h 1552669"/>
                <a:gd name="connsiteX79" fmla="*/ 144855 w 873659"/>
                <a:gd name="connsiteY79" fmla="*/ 1421394 h 1552669"/>
                <a:gd name="connsiteX80" fmla="*/ 144855 w 873659"/>
                <a:gd name="connsiteY80" fmla="*/ 1421394 h 1552669"/>
                <a:gd name="connsiteX81" fmla="*/ 104115 w 873659"/>
                <a:gd name="connsiteY81" fmla="*/ 1444027 h 1552669"/>
                <a:gd name="connsiteX82" fmla="*/ 67901 w 873659"/>
                <a:gd name="connsiteY82" fmla="*/ 1471188 h 1552669"/>
                <a:gd name="connsiteX83" fmla="*/ 54321 w 873659"/>
                <a:gd name="connsiteY83" fmla="*/ 1507402 h 1552669"/>
                <a:gd name="connsiteX84" fmla="*/ 58847 w 873659"/>
                <a:gd name="connsiteY84" fmla="*/ 1484768 h 1552669"/>
                <a:gd name="connsiteX85" fmla="*/ 31687 w 873659"/>
                <a:gd name="connsiteY85" fmla="*/ 1421394 h 1552669"/>
                <a:gd name="connsiteX86" fmla="*/ 31687 w 873659"/>
                <a:gd name="connsiteY86" fmla="*/ 1421394 h 1552669"/>
                <a:gd name="connsiteX87" fmla="*/ 90535 w 873659"/>
                <a:gd name="connsiteY87" fmla="*/ 1394233 h 1552669"/>
                <a:gd name="connsiteX88" fmla="*/ 76954 w 873659"/>
                <a:gd name="connsiteY88" fmla="*/ 1348966 h 1552669"/>
                <a:gd name="connsiteX89" fmla="*/ 49794 w 873659"/>
                <a:gd name="connsiteY89" fmla="*/ 1321806 h 1552669"/>
                <a:gd name="connsiteX90" fmla="*/ 90535 w 873659"/>
                <a:gd name="connsiteY90" fmla="*/ 1281065 h 1552669"/>
                <a:gd name="connsiteX91" fmla="*/ 58847 w 873659"/>
                <a:gd name="connsiteY91" fmla="*/ 1226744 h 1552669"/>
                <a:gd name="connsiteX92" fmla="*/ 72428 w 873659"/>
                <a:gd name="connsiteY92" fmla="*/ 1181477 h 1552669"/>
                <a:gd name="connsiteX93" fmla="*/ 58847 w 873659"/>
                <a:gd name="connsiteY93" fmla="*/ 1149790 h 1552669"/>
                <a:gd name="connsiteX94" fmla="*/ 108641 w 873659"/>
                <a:gd name="connsiteY94" fmla="*/ 1063782 h 1552669"/>
                <a:gd name="connsiteX95" fmla="*/ 126748 w 873659"/>
                <a:gd name="connsiteY95" fmla="*/ 964194 h 1552669"/>
                <a:gd name="connsiteX96" fmla="*/ 158436 w 873659"/>
                <a:gd name="connsiteY96" fmla="*/ 982301 h 1552669"/>
                <a:gd name="connsiteX97" fmla="*/ 181069 w 873659"/>
                <a:gd name="connsiteY97" fmla="*/ 923453 h 1552669"/>
                <a:gd name="connsiteX98" fmla="*/ 162962 w 873659"/>
                <a:gd name="connsiteY98" fmla="*/ 869132 h 1552669"/>
                <a:gd name="connsiteX99" fmla="*/ 117695 w 873659"/>
                <a:gd name="connsiteY99" fmla="*/ 887239 h 1552669"/>
                <a:gd name="connsiteX100" fmla="*/ 122222 w 873659"/>
                <a:gd name="connsiteY100" fmla="*/ 887239 h 1552669"/>
                <a:gd name="connsiteX101" fmla="*/ 86008 w 873659"/>
                <a:gd name="connsiteY101" fmla="*/ 860079 h 1552669"/>
                <a:gd name="connsiteX102" fmla="*/ 90535 w 873659"/>
                <a:gd name="connsiteY102" fmla="*/ 774071 h 1552669"/>
                <a:gd name="connsiteX103" fmla="*/ 158436 w 873659"/>
                <a:gd name="connsiteY103" fmla="*/ 760491 h 1552669"/>
                <a:gd name="connsiteX104" fmla="*/ 144855 w 873659"/>
                <a:gd name="connsiteY104" fmla="*/ 715223 h 1552669"/>
                <a:gd name="connsiteX105" fmla="*/ 140329 w 873659"/>
                <a:gd name="connsiteY105" fmla="*/ 660903 h 1552669"/>
                <a:gd name="connsiteX106" fmla="*/ 158436 w 873659"/>
                <a:gd name="connsiteY106" fmla="*/ 602055 h 1552669"/>
                <a:gd name="connsiteX107" fmla="*/ 117695 w 873659"/>
                <a:gd name="connsiteY107" fmla="*/ 593002 h 1552669"/>
                <a:gd name="connsiteX108" fmla="*/ 117695 w 873659"/>
                <a:gd name="connsiteY108" fmla="*/ 538681 h 1552669"/>
                <a:gd name="connsiteX109" fmla="*/ 113168 w 873659"/>
                <a:gd name="connsiteY109" fmla="*/ 479833 h 1552669"/>
                <a:gd name="connsiteX110" fmla="*/ 67901 w 873659"/>
                <a:gd name="connsiteY110" fmla="*/ 411932 h 1552669"/>
                <a:gd name="connsiteX111" fmla="*/ 36214 w 873659"/>
                <a:gd name="connsiteY111" fmla="*/ 425513 h 1552669"/>
                <a:gd name="connsiteX112" fmla="*/ 36214 w 873659"/>
                <a:gd name="connsiteY112" fmla="*/ 389299 h 1552669"/>
                <a:gd name="connsiteX113" fmla="*/ 13580 w 873659"/>
                <a:gd name="connsiteY113" fmla="*/ 420986 h 1552669"/>
                <a:gd name="connsiteX114" fmla="*/ 0 w 873659"/>
                <a:gd name="connsiteY114" fmla="*/ 380245 h 1552669"/>
                <a:gd name="connsiteX115" fmla="*/ 31687 w 873659"/>
                <a:gd name="connsiteY115" fmla="*/ 348558 h 1552669"/>
                <a:gd name="connsiteX116" fmla="*/ 4527 w 873659"/>
                <a:gd name="connsiteY116" fmla="*/ 312344 h 1552669"/>
                <a:gd name="connsiteX117" fmla="*/ 58847 w 873659"/>
                <a:gd name="connsiteY117" fmla="*/ 208229 h 155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873659" h="1552669">
                  <a:moveTo>
                    <a:pt x="58847" y="208229"/>
                  </a:moveTo>
                  <a:lnTo>
                    <a:pt x="162962" y="258023"/>
                  </a:lnTo>
                  <a:lnTo>
                    <a:pt x="230863" y="267077"/>
                  </a:lnTo>
                  <a:lnTo>
                    <a:pt x="316871" y="203703"/>
                  </a:lnTo>
                  <a:lnTo>
                    <a:pt x="353085" y="208229"/>
                  </a:lnTo>
                  <a:lnTo>
                    <a:pt x="407406" y="140328"/>
                  </a:lnTo>
                  <a:lnTo>
                    <a:pt x="479834" y="76954"/>
                  </a:lnTo>
                  <a:lnTo>
                    <a:pt x="529628" y="76954"/>
                  </a:lnTo>
                  <a:lnTo>
                    <a:pt x="543208" y="58847"/>
                  </a:lnTo>
                  <a:lnTo>
                    <a:pt x="547735" y="58847"/>
                  </a:lnTo>
                  <a:lnTo>
                    <a:pt x="538681" y="0"/>
                  </a:lnTo>
                  <a:lnTo>
                    <a:pt x="611109" y="0"/>
                  </a:lnTo>
                  <a:lnTo>
                    <a:pt x="620162" y="45267"/>
                  </a:lnTo>
                  <a:lnTo>
                    <a:pt x="651849" y="45267"/>
                  </a:lnTo>
                  <a:lnTo>
                    <a:pt x="697117" y="4526"/>
                  </a:lnTo>
                  <a:lnTo>
                    <a:pt x="710697" y="36214"/>
                  </a:lnTo>
                  <a:lnTo>
                    <a:pt x="710697" y="36214"/>
                  </a:lnTo>
                  <a:lnTo>
                    <a:pt x="701643" y="99588"/>
                  </a:lnTo>
                  <a:lnTo>
                    <a:pt x="728804" y="86008"/>
                  </a:lnTo>
                  <a:lnTo>
                    <a:pt x="760491" y="95061"/>
                  </a:lnTo>
                  <a:lnTo>
                    <a:pt x="760491" y="95061"/>
                  </a:lnTo>
                  <a:lnTo>
                    <a:pt x="737857" y="140328"/>
                  </a:lnTo>
                  <a:lnTo>
                    <a:pt x="737857" y="185596"/>
                  </a:lnTo>
                  <a:lnTo>
                    <a:pt x="737857" y="185596"/>
                  </a:lnTo>
                  <a:lnTo>
                    <a:pt x="778598" y="167489"/>
                  </a:lnTo>
                  <a:lnTo>
                    <a:pt x="769544" y="194649"/>
                  </a:lnTo>
                  <a:lnTo>
                    <a:pt x="760491" y="244443"/>
                  </a:lnTo>
                  <a:lnTo>
                    <a:pt x="774071" y="244443"/>
                  </a:lnTo>
                  <a:lnTo>
                    <a:pt x="805758" y="244443"/>
                  </a:lnTo>
                  <a:lnTo>
                    <a:pt x="837445" y="230863"/>
                  </a:lnTo>
                  <a:lnTo>
                    <a:pt x="837445" y="230863"/>
                  </a:lnTo>
                  <a:lnTo>
                    <a:pt x="810285" y="262550"/>
                  </a:lnTo>
                  <a:lnTo>
                    <a:pt x="851026" y="262550"/>
                  </a:lnTo>
                  <a:lnTo>
                    <a:pt x="832919" y="271604"/>
                  </a:lnTo>
                  <a:lnTo>
                    <a:pt x="801232" y="307817"/>
                  </a:lnTo>
                  <a:lnTo>
                    <a:pt x="823865" y="339505"/>
                  </a:lnTo>
                  <a:lnTo>
                    <a:pt x="832919" y="384772"/>
                  </a:lnTo>
                  <a:lnTo>
                    <a:pt x="832919" y="384772"/>
                  </a:lnTo>
                  <a:lnTo>
                    <a:pt x="832919" y="434566"/>
                  </a:lnTo>
                  <a:lnTo>
                    <a:pt x="855552" y="461726"/>
                  </a:lnTo>
                  <a:lnTo>
                    <a:pt x="873659" y="502467"/>
                  </a:lnTo>
                  <a:lnTo>
                    <a:pt x="851026" y="543208"/>
                  </a:lnTo>
                  <a:lnTo>
                    <a:pt x="851026" y="574895"/>
                  </a:lnTo>
                  <a:lnTo>
                    <a:pt x="823865" y="611109"/>
                  </a:lnTo>
                  <a:lnTo>
                    <a:pt x="783125" y="642796"/>
                  </a:lnTo>
                  <a:lnTo>
                    <a:pt x="765018" y="669956"/>
                  </a:lnTo>
                  <a:lnTo>
                    <a:pt x="760491" y="710697"/>
                  </a:lnTo>
                  <a:cubicBezTo>
                    <a:pt x="765168" y="757465"/>
                    <a:pt x="749854" y="755964"/>
                    <a:pt x="769544" y="755964"/>
                  </a:cubicBezTo>
                  <a:lnTo>
                    <a:pt x="769544" y="755964"/>
                  </a:lnTo>
                  <a:lnTo>
                    <a:pt x="810285" y="783124"/>
                  </a:lnTo>
                  <a:lnTo>
                    <a:pt x="783125" y="860079"/>
                  </a:lnTo>
                  <a:lnTo>
                    <a:pt x="760491" y="905346"/>
                  </a:lnTo>
                  <a:lnTo>
                    <a:pt x="769544" y="995881"/>
                  </a:lnTo>
                  <a:lnTo>
                    <a:pt x="742384" y="1045675"/>
                  </a:lnTo>
                  <a:lnTo>
                    <a:pt x="737857" y="1109049"/>
                  </a:lnTo>
                  <a:lnTo>
                    <a:pt x="733331" y="1163370"/>
                  </a:lnTo>
                  <a:lnTo>
                    <a:pt x="733331" y="1204111"/>
                  </a:lnTo>
                  <a:lnTo>
                    <a:pt x="692590" y="1244851"/>
                  </a:lnTo>
                  <a:lnTo>
                    <a:pt x="706170" y="1285592"/>
                  </a:lnTo>
                  <a:lnTo>
                    <a:pt x="706170" y="1285592"/>
                  </a:lnTo>
                  <a:lnTo>
                    <a:pt x="688063" y="1326332"/>
                  </a:lnTo>
                  <a:lnTo>
                    <a:pt x="683537" y="1371600"/>
                  </a:lnTo>
                  <a:lnTo>
                    <a:pt x="674483" y="1425920"/>
                  </a:lnTo>
                  <a:lnTo>
                    <a:pt x="611109" y="1416867"/>
                  </a:lnTo>
                  <a:lnTo>
                    <a:pt x="570368" y="1376126"/>
                  </a:lnTo>
                  <a:lnTo>
                    <a:pt x="543208" y="1348966"/>
                  </a:lnTo>
                  <a:lnTo>
                    <a:pt x="497940" y="133991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57200" y="1367073"/>
                  </a:lnTo>
                  <a:lnTo>
                    <a:pt x="425513" y="1339913"/>
                  </a:lnTo>
                  <a:lnTo>
                    <a:pt x="389299" y="1403287"/>
                  </a:lnTo>
                  <a:lnTo>
                    <a:pt x="375719" y="1439501"/>
                  </a:lnTo>
                  <a:lnTo>
                    <a:pt x="380245" y="1484768"/>
                  </a:lnTo>
                  <a:lnTo>
                    <a:pt x="339505" y="1511928"/>
                  </a:lnTo>
                  <a:lnTo>
                    <a:pt x="271604" y="1552669"/>
                  </a:lnTo>
                  <a:lnTo>
                    <a:pt x="217283" y="1516455"/>
                  </a:lnTo>
                  <a:lnTo>
                    <a:pt x="172016" y="1548142"/>
                  </a:lnTo>
                  <a:lnTo>
                    <a:pt x="144855" y="1484768"/>
                  </a:lnTo>
                  <a:lnTo>
                    <a:pt x="144855" y="1421394"/>
                  </a:lnTo>
                  <a:lnTo>
                    <a:pt x="144855" y="1421394"/>
                  </a:lnTo>
                  <a:lnTo>
                    <a:pt x="104115" y="1444027"/>
                  </a:lnTo>
                  <a:lnTo>
                    <a:pt x="67901" y="1471188"/>
                  </a:lnTo>
                  <a:lnTo>
                    <a:pt x="54321" y="1507402"/>
                  </a:lnTo>
                  <a:lnTo>
                    <a:pt x="58847" y="1484768"/>
                  </a:lnTo>
                  <a:lnTo>
                    <a:pt x="31687" y="1421394"/>
                  </a:lnTo>
                  <a:lnTo>
                    <a:pt x="31687" y="1421394"/>
                  </a:lnTo>
                  <a:lnTo>
                    <a:pt x="90535" y="1394233"/>
                  </a:lnTo>
                  <a:lnTo>
                    <a:pt x="76954" y="1348966"/>
                  </a:lnTo>
                  <a:lnTo>
                    <a:pt x="49794" y="1321806"/>
                  </a:lnTo>
                  <a:lnTo>
                    <a:pt x="90535" y="1281065"/>
                  </a:lnTo>
                  <a:lnTo>
                    <a:pt x="58847" y="1226744"/>
                  </a:lnTo>
                  <a:lnTo>
                    <a:pt x="72428" y="1181477"/>
                  </a:lnTo>
                  <a:lnTo>
                    <a:pt x="58847" y="1149790"/>
                  </a:lnTo>
                  <a:lnTo>
                    <a:pt x="108641" y="1063782"/>
                  </a:lnTo>
                  <a:lnTo>
                    <a:pt x="126748" y="964194"/>
                  </a:lnTo>
                  <a:lnTo>
                    <a:pt x="158436" y="982301"/>
                  </a:lnTo>
                  <a:lnTo>
                    <a:pt x="181069" y="923453"/>
                  </a:lnTo>
                  <a:lnTo>
                    <a:pt x="162962" y="869132"/>
                  </a:lnTo>
                  <a:lnTo>
                    <a:pt x="117695" y="887239"/>
                  </a:lnTo>
                  <a:lnTo>
                    <a:pt x="122222" y="887239"/>
                  </a:lnTo>
                  <a:lnTo>
                    <a:pt x="86008" y="860079"/>
                  </a:lnTo>
                  <a:lnTo>
                    <a:pt x="90535" y="774071"/>
                  </a:lnTo>
                  <a:lnTo>
                    <a:pt x="158436" y="760491"/>
                  </a:lnTo>
                  <a:lnTo>
                    <a:pt x="144855" y="715223"/>
                  </a:lnTo>
                  <a:lnTo>
                    <a:pt x="140329" y="660903"/>
                  </a:lnTo>
                  <a:lnTo>
                    <a:pt x="158436" y="602055"/>
                  </a:lnTo>
                  <a:lnTo>
                    <a:pt x="117695" y="593002"/>
                  </a:lnTo>
                  <a:lnTo>
                    <a:pt x="117695" y="538681"/>
                  </a:lnTo>
                  <a:lnTo>
                    <a:pt x="113168" y="479833"/>
                  </a:lnTo>
                  <a:lnTo>
                    <a:pt x="67901" y="411932"/>
                  </a:lnTo>
                  <a:lnTo>
                    <a:pt x="36214" y="425513"/>
                  </a:lnTo>
                  <a:lnTo>
                    <a:pt x="36214" y="389299"/>
                  </a:lnTo>
                  <a:lnTo>
                    <a:pt x="13580" y="420986"/>
                  </a:lnTo>
                  <a:lnTo>
                    <a:pt x="0" y="380245"/>
                  </a:lnTo>
                  <a:lnTo>
                    <a:pt x="31687" y="348558"/>
                  </a:lnTo>
                  <a:lnTo>
                    <a:pt x="4527" y="312344"/>
                  </a:lnTo>
                  <a:lnTo>
                    <a:pt x="58847" y="20822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igura a mano libera 239">
              <a:extLst>
                <a:ext uri="{FF2B5EF4-FFF2-40B4-BE49-F238E27FC236}">
                  <a16:creationId xmlns:a16="http://schemas.microsoft.com/office/drawing/2014/main" id="{5BEED5E1-C34E-4151-BCA3-3459E842C063}"/>
                </a:ext>
              </a:extLst>
            </p:cNvPr>
            <p:cNvSpPr/>
            <p:nvPr/>
          </p:nvSpPr>
          <p:spPr bwMode="auto">
            <a:xfrm>
              <a:off x="9823366" y="4864292"/>
              <a:ext cx="731852" cy="1249111"/>
            </a:xfrm>
            <a:custGeom>
              <a:avLst/>
              <a:gdLst>
                <a:gd name="connsiteX0" fmla="*/ 81481 w 851025"/>
                <a:gd name="connsiteY0" fmla="*/ 144856 h 1475715"/>
                <a:gd name="connsiteX1" fmla="*/ 99588 w 851025"/>
                <a:gd name="connsiteY1" fmla="*/ 90535 h 1475715"/>
                <a:gd name="connsiteX2" fmla="*/ 140328 w 851025"/>
                <a:gd name="connsiteY2" fmla="*/ 108642 h 1475715"/>
                <a:gd name="connsiteX3" fmla="*/ 176542 w 851025"/>
                <a:gd name="connsiteY3" fmla="*/ 90535 h 1475715"/>
                <a:gd name="connsiteX4" fmla="*/ 208229 w 851025"/>
                <a:gd name="connsiteY4" fmla="*/ 113169 h 1475715"/>
                <a:gd name="connsiteX5" fmla="*/ 253497 w 851025"/>
                <a:gd name="connsiteY5" fmla="*/ 158436 h 1475715"/>
                <a:gd name="connsiteX6" fmla="*/ 312344 w 851025"/>
                <a:gd name="connsiteY6" fmla="*/ 140329 h 1475715"/>
                <a:gd name="connsiteX7" fmla="*/ 375719 w 851025"/>
                <a:gd name="connsiteY7" fmla="*/ 126749 h 1475715"/>
                <a:gd name="connsiteX8" fmla="*/ 393825 w 851025"/>
                <a:gd name="connsiteY8" fmla="*/ 144856 h 1475715"/>
                <a:gd name="connsiteX9" fmla="*/ 402879 w 851025"/>
                <a:gd name="connsiteY9" fmla="*/ 95062 h 1475715"/>
                <a:gd name="connsiteX10" fmla="*/ 402879 w 851025"/>
                <a:gd name="connsiteY10" fmla="*/ 36214 h 1475715"/>
                <a:gd name="connsiteX11" fmla="*/ 420986 w 851025"/>
                <a:gd name="connsiteY11" fmla="*/ 0 h 1475715"/>
                <a:gd name="connsiteX12" fmla="*/ 502467 w 851025"/>
                <a:gd name="connsiteY12" fmla="*/ 9054 h 1475715"/>
                <a:gd name="connsiteX13" fmla="*/ 538681 w 851025"/>
                <a:gd name="connsiteY13" fmla="*/ 18107 h 1475715"/>
                <a:gd name="connsiteX14" fmla="*/ 525101 w 851025"/>
                <a:gd name="connsiteY14" fmla="*/ 67901 h 1475715"/>
                <a:gd name="connsiteX15" fmla="*/ 525101 w 851025"/>
                <a:gd name="connsiteY15" fmla="*/ 104115 h 1475715"/>
                <a:gd name="connsiteX16" fmla="*/ 525101 w 851025"/>
                <a:gd name="connsiteY16" fmla="*/ 104115 h 1475715"/>
                <a:gd name="connsiteX17" fmla="*/ 466253 w 851025"/>
                <a:gd name="connsiteY17" fmla="*/ 226337 h 1475715"/>
                <a:gd name="connsiteX18" fmla="*/ 466253 w 851025"/>
                <a:gd name="connsiteY18" fmla="*/ 276131 h 1475715"/>
                <a:gd name="connsiteX19" fmla="*/ 484360 w 851025"/>
                <a:gd name="connsiteY19" fmla="*/ 312345 h 1475715"/>
                <a:gd name="connsiteX20" fmla="*/ 493414 w 851025"/>
                <a:gd name="connsiteY20" fmla="*/ 330452 h 1475715"/>
                <a:gd name="connsiteX21" fmla="*/ 565841 w 851025"/>
                <a:gd name="connsiteY21" fmla="*/ 353085 h 1475715"/>
                <a:gd name="connsiteX22" fmla="*/ 602055 w 851025"/>
                <a:gd name="connsiteY22" fmla="*/ 348559 h 1475715"/>
                <a:gd name="connsiteX23" fmla="*/ 706170 w 851025"/>
                <a:gd name="connsiteY23" fmla="*/ 411933 h 1475715"/>
                <a:gd name="connsiteX24" fmla="*/ 755964 w 851025"/>
                <a:gd name="connsiteY24" fmla="*/ 425513 h 1475715"/>
                <a:gd name="connsiteX25" fmla="*/ 755964 w 851025"/>
                <a:gd name="connsiteY25" fmla="*/ 461727 h 1475715"/>
                <a:gd name="connsiteX26" fmla="*/ 810285 w 851025"/>
                <a:gd name="connsiteY26" fmla="*/ 479834 h 1475715"/>
                <a:gd name="connsiteX27" fmla="*/ 792178 w 851025"/>
                <a:gd name="connsiteY27" fmla="*/ 552262 h 1475715"/>
                <a:gd name="connsiteX28" fmla="*/ 814812 w 851025"/>
                <a:gd name="connsiteY28" fmla="*/ 597529 h 1475715"/>
                <a:gd name="connsiteX29" fmla="*/ 814812 w 851025"/>
                <a:gd name="connsiteY29" fmla="*/ 651850 h 1475715"/>
                <a:gd name="connsiteX30" fmla="*/ 810285 w 851025"/>
                <a:gd name="connsiteY30" fmla="*/ 697117 h 1475715"/>
                <a:gd name="connsiteX31" fmla="*/ 823865 w 851025"/>
                <a:gd name="connsiteY31" fmla="*/ 719751 h 1475715"/>
                <a:gd name="connsiteX32" fmla="*/ 851025 w 851025"/>
                <a:gd name="connsiteY32" fmla="*/ 733331 h 1475715"/>
                <a:gd name="connsiteX33" fmla="*/ 828392 w 851025"/>
                <a:gd name="connsiteY33" fmla="*/ 751438 h 1475715"/>
                <a:gd name="connsiteX34" fmla="*/ 832919 w 851025"/>
                <a:gd name="connsiteY34" fmla="*/ 787652 h 1475715"/>
                <a:gd name="connsiteX35" fmla="*/ 796705 w 851025"/>
                <a:gd name="connsiteY35" fmla="*/ 814812 h 1475715"/>
                <a:gd name="connsiteX36" fmla="*/ 746911 w 851025"/>
                <a:gd name="connsiteY36" fmla="*/ 787652 h 1475715"/>
                <a:gd name="connsiteX37" fmla="*/ 692590 w 851025"/>
                <a:gd name="connsiteY37" fmla="*/ 774072 h 1475715"/>
                <a:gd name="connsiteX38" fmla="*/ 588475 w 851025"/>
                <a:gd name="connsiteY38" fmla="*/ 819339 h 1475715"/>
                <a:gd name="connsiteX39" fmla="*/ 506994 w 851025"/>
                <a:gd name="connsiteY39" fmla="*/ 900820 h 1475715"/>
                <a:gd name="connsiteX40" fmla="*/ 497940 w 851025"/>
                <a:gd name="connsiteY40" fmla="*/ 955141 h 1475715"/>
                <a:gd name="connsiteX41" fmla="*/ 511520 w 851025"/>
                <a:gd name="connsiteY41" fmla="*/ 1023042 h 1475715"/>
                <a:gd name="connsiteX42" fmla="*/ 525101 w 851025"/>
                <a:gd name="connsiteY42" fmla="*/ 1072836 h 1475715"/>
                <a:gd name="connsiteX43" fmla="*/ 525101 w 851025"/>
                <a:gd name="connsiteY43" fmla="*/ 1136210 h 1475715"/>
                <a:gd name="connsiteX44" fmla="*/ 502467 w 851025"/>
                <a:gd name="connsiteY44" fmla="*/ 1176951 h 1475715"/>
                <a:gd name="connsiteX45" fmla="*/ 448146 w 851025"/>
                <a:gd name="connsiteY45" fmla="*/ 1195058 h 1475715"/>
                <a:gd name="connsiteX46" fmla="*/ 402879 w 851025"/>
                <a:gd name="connsiteY46" fmla="*/ 1213165 h 1475715"/>
                <a:gd name="connsiteX47" fmla="*/ 357612 w 851025"/>
                <a:gd name="connsiteY47" fmla="*/ 1231272 h 1475715"/>
                <a:gd name="connsiteX48" fmla="*/ 294237 w 851025"/>
                <a:gd name="connsiteY48" fmla="*/ 1344440 h 1475715"/>
                <a:gd name="connsiteX49" fmla="*/ 285184 w 851025"/>
                <a:gd name="connsiteY49" fmla="*/ 1398761 h 1475715"/>
                <a:gd name="connsiteX50" fmla="*/ 276130 w 851025"/>
                <a:gd name="connsiteY50" fmla="*/ 1448555 h 1475715"/>
                <a:gd name="connsiteX51" fmla="*/ 221810 w 851025"/>
                <a:gd name="connsiteY51" fmla="*/ 1475715 h 1475715"/>
                <a:gd name="connsiteX52" fmla="*/ 153909 w 851025"/>
                <a:gd name="connsiteY52" fmla="*/ 1466662 h 1475715"/>
                <a:gd name="connsiteX53" fmla="*/ 99588 w 851025"/>
                <a:gd name="connsiteY53" fmla="*/ 1475715 h 1475715"/>
                <a:gd name="connsiteX54" fmla="*/ 9053 w 851025"/>
                <a:gd name="connsiteY54" fmla="*/ 1444028 h 1475715"/>
                <a:gd name="connsiteX55" fmla="*/ 4526 w 851025"/>
                <a:gd name="connsiteY55" fmla="*/ 1403287 h 1475715"/>
                <a:gd name="connsiteX56" fmla="*/ 36214 w 851025"/>
                <a:gd name="connsiteY56" fmla="*/ 1389707 h 1475715"/>
                <a:gd name="connsiteX57" fmla="*/ 0 w 851025"/>
                <a:gd name="connsiteY57" fmla="*/ 1339913 h 1475715"/>
                <a:gd name="connsiteX58" fmla="*/ 13580 w 851025"/>
                <a:gd name="connsiteY58" fmla="*/ 1339913 h 1475715"/>
                <a:gd name="connsiteX59" fmla="*/ 13580 w 851025"/>
                <a:gd name="connsiteY59" fmla="*/ 1267485 h 1475715"/>
                <a:gd name="connsiteX60" fmla="*/ 76954 w 851025"/>
                <a:gd name="connsiteY60" fmla="*/ 1249378 h 1475715"/>
                <a:gd name="connsiteX61" fmla="*/ 162962 w 851025"/>
                <a:gd name="connsiteY61" fmla="*/ 1167897 h 1475715"/>
                <a:gd name="connsiteX62" fmla="*/ 181069 w 851025"/>
                <a:gd name="connsiteY62" fmla="*/ 1090943 h 1475715"/>
                <a:gd name="connsiteX63" fmla="*/ 167489 w 851025"/>
                <a:gd name="connsiteY63" fmla="*/ 1045676 h 1475715"/>
                <a:gd name="connsiteX64" fmla="*/ 117695 w 851025"/>
                <a:gd name="connsiteY64" fmla="*/ 1009462 h 1475715"/>
                <a:gd name="connsiteX65" fmla="*/ 135802 w 851025"/>
                <a:gd name="connsiteY65" fmla="*/ 977775 h 1475715"/>
                <a:gd name="connsiteX66" fmla="*/ 181069 w 851025"/>
                <a:gd name="connsiteY66" fmla="*/ 959668 h 1475715"/>
                <a:gd name="connsiteX67" fmla="*/ 239917 w 851025"/>
                <a:gd name="connsiteY67" fmla="*/ 927980 h 1475715"/>
                <a:gd name="connsiteX68" fmla="*/ 276130 w 851025"/>
                <a:gd name="connsiteY68" fmla="*/ 955141 h 1475715"/>
                <a:gd name="connsiteX69" fmla="*/ 316871 w 851025"/>
                <a:gd name="connsiteY69" fmla="*/ 914400 h 1475715"/>
                <a:gd name="connsiteX70" fmla="*/ 339505 w 851025"/>
                <a:gd name="connsiteY70" fmla="*/ 855553 h 1475715"/>
                <a:gd name="connsiteX71" fmla="*/ 348558 w 851025"/>
                <a:gd name="connsiteY71" fmla="*/ 814812 h 1475715"/>
                <a:gd name="connsiteX72" fmla="*/ 312344 w 851025"/>
                <a:gd name="connsiteY72" fmla="*/ 787652 h 1475715"/>
                <a:gd name="connsiteX73" fmla="*/ 298764 w 851025"/>
                <a:gd name="connsiteY73" fmla="*/ 778598 h 1475715"/>
                <a:gd name="connsiteX74" fmla="*/ 235390 w 851025"/>
                <a:gd name="connsiteY74" fmla="*/ 715224 h 1475715"/>
                <a:gd name="connsiteX75" fmla="*/ 248970 w 851025"/>
                <a:gd name="connsiteY75" fmla="*/ 588476 h 1475715"/>
                <a:gd name="connsiteX76" fmla="*/ 199176 w 851025"/>
                <a:gd name="connsiteY76" fmla="*/ 457200 h 1475715"/>
                <a:gd name="connsiteX77" fmla="*/ 162962 w 851025"/>
                <a:gd name="connsiteY77" fmla="*/ 384773 h 1475715"/>
                <a:gd name="connsiteX78" fmla="*/ 140328 w 851025"/>
                <a:gd name="connsiteY78" fmla="*/ 389299 h 1475715"/>
                <a:gd name="connsiteX79" fmla="*/ 108641 w 851025"/>
                <a:gd name="connsiteY79" fmla="*/ 316872 h 1475715"/>
                <a:gd name="connsiteX80" fmla="*/ 108641 w 851025"/>
                <a:gd name="connsiteY80" fmla="*/ 285184 h 1475715"/>
                <a:gd name="connsiteX81" fmla="*/ 99588 w 851025"/>
                <a:gd name="connsiteY81" fmla="*/ 239917 h 1475715"/>
                <a:gd name="connsiteX82" fmla="*/ 81481 w 851025"/>
                <a:gd name="connsiteY82" fmla="*/ 144856 h 147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851025" h="1475715">
                  <a:moveTo>
                    <a:pt x="81481" y="144856"/>
                  </a:moveTo>
                  <a:lnTo>
                    <a:pt x="99588" y="90535"/>
                  </a:lnTo>
                  <a:lnTo>
                    <a:pt x="140328" y="108642"/>
                  </a:lnTo>
                  <a:lnTo>
                    <a:pt x="176542" y="90535"/>
                  </a:lnTo>
                  <a:lnTo>
                    <a:pt x="208229" y="113169"/>
                  </a:lnTo>
                  <a:lnTo>
                    <a:pt x="253497" y="158436"/>
                  </a:lnTo>
                  <a:lnTo>
                    <a:pt x="312344" y="140329"/>
                  </a:lnTo>
                  <a:lnTo>
                    <a:pt x="375719" y="126749"/>
                  </a:lnTo>
                  <a:lnTo>
                    <a:pt x="393825" y="144856"/>
                  </a:lnTo>
                  <a:lnTo>
                    <a:pt x="402879" y="95062"/>
                  </a:lnTo>
                  <a:lnTo>
                    <a:pt x="402879" y="36214"/>
                  </a:lnTo>
                  <a:lnTo>
                    <a:pt x="420986" y="0"/>
                  </a:lnTo>
                  <a:lnTo>
                    <a:pt x="502467" y="9054"/>
                  </a:lnTo>
                  <a:lnTo>
                    <a:pt x="538681" y="18107"/>
                  </a:lnTo>
                  <a:lnTo>
                    <a:pt x="525101" y="67901"/>
                  </a:lnTo>
                  <a:lnTo>
                    <a:pt x="525101" y="104115"/>
                  </a:lnTo>
                  <a:lnTo>
                    <a:pt x="525101" y="104115"/>
                  </a:lnTo>
                  <a:lnTo>
                    <a:pt x="466253" y="226337"/>
                  </a:lnTo>
                  <a:lnTo>
                    <a:pt x="466253" y="276131"/>
                  </a:lnTo>
                  <a:lnTo>
                    <a:pt x="484360" y="312345"/>
                  </a:lnTo>
                  <a:lnTo>
                    <a:pt x="493414" y="330452"/>
                  </a:lnTo>
                  <a:lnTo>
                    <a:pt x="565841" y="353085"/>
                  </a:lnTo>
                  <a:lnTo>
                    <a:pt x="602055" y="348559"/>
                  </a:lnTo>
                  <a:lnTo>
                    <a:pt x="706170" y="411933"/>
                  </a:lnTo>
                  <a:lnTo>
                    <a:pt x="755964" y="425513"/>
                  </a:lnTo>
                  <a:lnTo>
                    <a:pt x="755964" y="461727"/>
                  </a:lnTo>
                  <a:lnTo>
                    <a:pt x="810285" y="479834"/>
                  </a:lnTo>
                  <a:lnTo>
                    <a:pt x="792178" y="552262"/>
                  </a:lnTo>
                  <a:lnTo>
                    <a:pt x="814812" y="597529"/>
                  </a:lnTo>
                  <a:lnTo>
                    <a:pt x="814812" y="651850"/>
                  </a:lnTo>
                  <a:lnTo>
                    <a:pt x="810285" y="697117"/>
                  </a:lnTo>
                  <a:lnTo>
                    <a:pt x="823865" y="719751"/>
                  </a:lnTo>
                  <a:lnTo>
                    <a:pt x="851025" y="733331"/>
                  </a:lnTo>
                  <a:lnTo>
                    <a:pt x="828392" y="751438"/>
                  </a:lnTo>
                  <a:lnTo>
                    <a:pt x="832919" y="787652"/>
                  </a:lnTo>
                  <a:lnTo>
                    <a:pt x="796705" y="814812"/>
                  </a:lnTo>
                  <a:lnTo>
                    <a:pt x="746911" y="787652"/>
                  </a:lnTo>
                  <a:lnTo>
                    <a:pt x="692590" y="774072"/>
                  </a:lnTo>
                  <a:lnTo>
                    <a:pt x="588475" y="819339"/>
                  </a:lnTo>
                  <a:lnTo>
                    <a:pt x="506994" y="900820"/>
                  </a:lnTo>
                  <a:lnTo>
                    <a:pt x="497940" y="955141"/>
                  </a:lnTo>
                  <a:lnTo>
                    <a:pt x="511520" y="1023042"/>
                  </a:lnTo>
                  <a:lnTo>
                    <a:pt x="525101" y="1072836"/>
                  </a:lnTo>
                  <a:lnTo>
                    <a:pt x="525101" y="1136210"/>
                  </a:lnTo>
                  <a:lnTo>
                    <a:pt x="502467" y="1176951"/>
                  </a:lnTo>
                  <a:lnTo>
                    <a:pt x="448146" y="1195058"/>
                  </a:lnTo>
                  <a:lnTo>
                    <a:pt x="402879" y="1213165"/>
                  </a:lnTo>
                  <a:lnTo>
                    <a:pt x="357612" y="1231272"/>
                  </a:lnTo>
                  <a:lnTo>
                    <a:pt x="294237" y="1344440"/>
                  </a:lnTo>
                  <a:lnTo>
                    <a:pt x="285184" y="1398761"/>
                  </a:lnTo>
                  <a:lnTo>
                    <a:pt x="276130" y="1448555"/>
                  </a:lnTo>
                  <a:lnTo>
                    <a:pt x="221810" y="1475715"/>
                  </a:lnTo>
                  <a:lnTo>
                    <a:pt x="153909" y="1466662"/>
                  </a:lnTo>
                  <a:lnTo>
                    <a:pt x="99588" y="1475715"/>
                  </a:lnTo>
                  <a:lnTo>
                    <a:pt x="9053" y="1444028"/>
                  </a:lnTo>
                  <a:lnTo>
                    <a:pt x="4526" y="1403287"/>
                  </a:lnTo>
                  <a:lnTo>
                    <a:pt x="36214" y="1389707"/>
                  </a:lnTo>
                  <a:lnTo>
                    <a:pt x="0" y="1339913"/>
                  </a:lnTo>
                  <a:lnTo>
                    <a:pt x="13580" y="1339913"/>
                  </a:lnTo>
                  <a:lnTo>
                    <a:pt x="13580" y="1267485"/>
                  </a:lnTo>
                  <a:lnTo>
                    <a:pt x="76954" y="1249378"/>
                  </a:lnTo>
                  <a:lnTo>
                    <a:pt x="162962" y="1167897"/>
                  </a:lnTo>
                  <a:lnTo>
                    <a:pt x="181069" y="1090943"/>
                  </a:lnTo>
                  <a:lnTo>
                    <a:pt x="167489" y="1045676"/>
                  </a:lnTo>
                  <a:lnTo>
                    <a:pt x="117695" y="1009462"/>
                  </a:lnTo>
                  <a:lnTo>
                    <a:pt x="135802" y="977775"/>
                  </a:lnTo>
                  <a:lnTo>
                    <a:pt x="181069" y="959668"/>
                  </a:lnTo>
                  <a:lnTo>
                    <a:pt x="239917" y="927980"/>
                  </a:lnTo>
                  <a:lnTo>
                    <a:pt x="276130" y="955141"/>
                  </a:lnTo>
                  <a:lnTo>
                    <a:pt x="316871" y="914400"/>
                  </a:lnTo>
                  <a:lnTo>
                    <a:pt x="339505" y="855553"/>
                  </a:lnTo>
                  <a:lnTo>
                    <a:pt x="348558" y="814812"/>
                  </a:lnTo>
                  <a:lnTo>
                    <a:pt x="312344" y="787652"/>
                  </a:lnTo>
                  <a:lnTo>
                    <a:pt x="298764" y="778598"/>
                  </a:lnTo>
                  <a:lnTo>
                    <a:pt x="235390" y="715224"/>
                  </a:lnTo>
                  <a:lnTo>
                    <a:pt x="248970" y="588476"/>
                  </a:lnTo>
                  <a:lnTo>
                    <a:pt x="199176" y="457200"/>
                  </a:lnTo>
                  <a:lnTo>
                    <a:pt x="162962" y="384773"/>
                  </a:lnTo>
                  <a:lnTo>
                    <a:pt x="140328" y="389299"/>
                  </a:lnTo>
                  <a:lnTo>
                    <a:pt x="108641" y="316872"/>
                  </a:lnTo>
                  <a:lnTo>
                    <a:pt x="108641" y="285184"/>
                  </a:lnTo>
                  <a:lnTo>
                    <a:pt x="99588" y="239917"/>
                  </a:lnTo>
                  <a:lnTo>
                    <a:pt x="81481" y="14485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igura a mano libera 240">
              <a:extLst>
                <a:ext uri="{FF2B5EF4-FFF2-40B4-BE49-F238E27FC236}">
                  <a16:creationId xmlns:a16="http://schemas.microsoft.com/office/drawing/2014/main" id="{6B736614-5698-4FDC-B633-600076A69CBB}"/>
                </a:ext>
              </a:extLst>
            </p:cNvPr>
            <p:cNvSpPr/>
            <p:nvPr/>
          </p:nvSpPr>
          <p:spPr bwMode="auto">
            <a:xfrm>
              <a:off x="8343788" y="5888023"/>
              <a:ext cx="1500216" cy="931674"/>
            </a:xfrm>
            <a:custGeom>
              <a:avLst/>
              <a:gdLst>
                <a:gd name="connsiteX0" fmla="*/ 1688306 w 1745456"/>
                <a:gd name="connsiteY0" fmla="*/ 0 h 1097756"/>
                <a:gd name="connsiteX1" fmla="*/ 1745456 w 1745456"/>
                <a:gd name="connsiteY1" fmla="*/ 23812 h 1097756"/>
                <a:gd name="connsiteX2" fmla="*/ 1697831 w 1745456"/>
                <a:gd name="connsiteY2" fmla="*/ 57150 h 1097756"/>
                <a:gd name="connsiteX3" fmla="*/ 1657350 w 1745456"/>
                <a:gd name="connsiteY3" fmla="*/ 178594 h 1097756"/>
                <a:gd name="connsiteX4" fmla="*/ 1533525 w 1745456"/>
                <a:gd name="connsiteY4" fmla="*/ 321469 h 1097756"/>
                <a:gd name="connsiteX5" fmla="*/ 1507331 w 1745456"/>
                <a:gd name="connsiteY5" fmla="*/ 397669 h 1097756"/>
                <a:gd name="connsiteX6" fmla="*/ 1493044 w 1745456"/>
                <a:gd name="connsiteY6" fmla="*/ 428625 h 1097756"/>
                <a:gd name="connsiteX7" fmla="*/ 1504950 w 1745456"/>
                <a:gd name="connsiteY7" fmla="*/ 483394 h 1097756"/>
                <a:gd name="connsiteX8" fmla="*/ 1471613 w 1745456"/>
                <a:gd name="connsiteY8" fmla="*/ 500062 h 1097756"/>
                <a:gd name="connsiteX9" fmla="*/ 1440656 w 1745456"/>
                <a:gd name="connsiteY9" fmla="*/ 547687 h 1097756"/>
                <a:gd name="connsiteX10" fmla="*/ 1443038 w 1745456"/>
                <a:gd name="connsiteY10" fmla="*/ 657225 h 1097756"/>
                <a:gd name="connsiteX11" fmla="*/ 1519238 w 1745456"/>
                <a:gd name="connsiteY11" fmla="*/ 685800 h 1097756"/>
                <a:gd name="connsiteX12" fmla="*/ 1538288 w 1745456"/>
                <a:gd name="connsiteY12" fmla="*/ 702469 h 1097756"/>
                <a:gd name="connsiteX13" fmla="*/ 1502569 w 1745456"/>
                <a:gd name="connsiteY13" fmla="*/ 707231 h 1097756"/>
                <a:gd name="connsiteX14" fmla="*/ 1519238 w 1745456"/>
                <a:gd name="connsiteY14" fmla="*/ 785812 h 1097756"/>
                <a:gd name="connsiteX15" fmla="*/ 1557338 w 1745456"/>
                <a:gd name="connsiteY15" fmla="*/ 795337 h 1097756"/>
                <a:gd name="connsiteX16" fmla="*/ 1574006 w 1745456"/>
                <a:gd name="connsiteY16" fmla="*/ 816769 h 1097756"/>
                <a:gd name="connsiteX17" fmla="*/ 1559719 w 1745456"/>
                <a:gd name="connsiteY17" fmla="*/ 845344 h 1097756"/>
                <a:gd name="connsiteX18" fmla="*/ 1550194 w 1745456"/>
                <a:gd name="connsiteY18" fmla="*/ 876300 h 1097756"/>
                <a:gd name="connsiteX19" fmla="*/ 1531144 w 1745456"/>
                <a:gd name="connsiteY19" fmla="*/ 885825 h 1097756"/>
                <a:gd name="connsiteX20" fmla="*/ 1478756 w 1745456"/>
                <a:gd name="connsiteY20" fmla="*/ 912019 h 1097756"/>
                <a:gd name="connsiteX21" fmla="*/ 1450181 w 1745456"/>
                <a:gd name="connsiteY21" fmla="*/ 971550 h 1097756"/>
                <a:gd name="connsiteX22" fmla="*/ 1464469 w 1745456"/>
                <a:gd name="connsiteY22" fmla="*/ 1062037 h 1097756"/>
                <a:gd name="connsiteX23" fmla="*/ 1483519 w 1745456"/>
                <a:gd name="connsiteY23" fmla="*/ 1092994 h 1097756"/>
                <a:gd name="connsiteX24" fmla="*/ 1445419 w 1745456"/>
                <a:gd name="connsiteY24" fmla="*/ 1097756 h 1097756"/>
                <a:gd name="connsiteX25" fmla="*/ 1426369 w 1745456"/>
                <a:gd name="connsiteY25" fmla="*/ 1057275 h 1097756"/>
                <a:gd name="connsiteX26" fmla="*/ 1400175 w 1745456"/>
                <a:gd name="connsiteY26" fmla="*/ 1057275 h 1097756"/>
                <a:gd name="connsiteX27" fmla="*/ 1385888 w 1745456"/>
                <a:gd name="connsiteY27" fmla="*/ 1073944 h 1097756"/>
                <a:gd name="connsiteX28" fmla="*/ 1328738 w 1745456"/>
                <a:gd name="connsiteY28" fmla="*/ 1033462 h 1097756"/>
                <a:gd name="connsiteX29" fmla="*/ 1264444 w 1745456"/>
                <a:gd name="connsiteY29" fmla="*/ 1062037 h 1097756"/>
                <a:gd name="connsiteX30" fmla="*/ 1202531 w 1745456"/>
                <a:gd name="connsiteY30" fmla="*/ 1026319 h 1097756"/>
                <a:gd name="connsiteX31" fmla="*/ 1147763 w 1745456"/>
                <a:gd name="connsiteY31" fmla="*/ 1002506 h 1097756"/>
                <a:gd name="connsiteX32" fmla="*/ 1126331 w 1745456"/>
                <a:gd name="connsiteY32" fmla="*/ 1002506 h 1097756"/>
                <a:gd name="connsiteX33" fmla="*/ 1090613 w 1745456"/>
                <a:gd name="connsiteY33" fmla="*/ 978694 h 1097756"/>
                <a:gd name="connsiteX34" fmla="*/ 1004888 w 1745456"/>
                <a:gd name="connsiteY34" fmla="*/ 831056 h 1097756"/>
                <a:gd name="connsiteX35" fmla="*/ 897731 w 1745456"/>
                <a:gd name="connsiteY35" fmla="*/ 792956 h 1097756"/>
                <a:gd name="connsiteX36" fmla="*/ 854869 w 1745456"/>
                <a:gd name="connsiteY36" fmla="*/ 792956 h 1097756"/>
                <a:gd name="connsiteX37" fmla="*/ 802481 w 1745456"/>
                <a:gd name="connsiteY37" fmla="*/ 792956 h 1097756"/>
                <a:gd name="connsiteX38" fmla="*/ 790575 w 1745456"/>
                <a:gd name="connsiteY38" fmla="*/ 807244 h 1097756"/>
                <a:gd name="connsiteX39" fmla="*/ 769144 w 1745456"/>
                <a:gd name="connsiteY39" fmla="*/ 769144 h 1097756"/>
                <a:gd name="connsiteX40" fmla="*/ 719138 w 1745456"/>
                <a:gd name="connsiteY40" fmla="*/ 759619 h 1097756"/>
                <a:gd name="connsiteX41" fmla="*/ 666750 w 1745456"/>
                <a:gd name="connsiteY41" fmla="*/ 721519 h 1097756"/>
                <a:gd name="connsiteX42" fmla="*/ 631031 w 1745456"/>
                <a:gd name="connsiteY42" fmla="*/ 683419 h 1097756"/>
                <a:gd name="connsiteX43" fmla="*/ 626269 w 1745456"/>
                <a:gd name="connsiteY43" fmla="*/ 681037 h 1097756"/>
                <a:gd name="connsiteX44" fmla="*/ 566738 w 1745456"/>
                <a:gd name="connsiteY44" fmla="*/ 673894 h 1097756"/>
                <a:gd name="connsiteX45" fmla="*/ 526256 w 1745456"/>
                <a:gd name="connsiteY45" fmla="*/ 654844 h 1097756"/>
                <a:gd name="connsiteX46" fmla="*/ 471488 w 1745456"/>
                <a:gd name="connsiteY46" fmla="*/ 607219 h 1097756"/>
                <a:gd name="connsiteX47" fmla="*/ 411956 w 1745456"/>
                <a:gd name="connsiteY47" fmla="*/ 540544 h 1097756"/>
                <a:gd name="connsiteX48" fmla="*/ 392906 w 1745456"/>
                <a:gd name="connsiteY48" fmla="*/ 526256 h 1097756"/>
                <a:gd name="connsiteX49" fmla="*/ 333375 w 1745456"/>
                <a:gd name="connsiteY49" fmla="*/ 523875 h 1097756"/>
                <a:gd name="connsiteX50" fmla="*/ 300038 w 1745456"/>
                <a:gd name="connsiteY50" fmla="*/ 504825 h 1097756"/>
                <a:gd name="connsiteX51" fmla="*/ 271463 w 1745456"/>
                <a:gd name="connsiteY51" fmla="*/ 469106 h 1097756"/>
                <a:gd name="connsiteX52" fmla="*/ 164306 w 1745456"/>
                <a:gd name="connsiteY52" fmla="*/ 473869 h 1097756"/>
                <a:gd name="connsiteX53" fmla="*/ 142875 w 1745456"/>
                <a:gd name="connsiteY53" fmla="*/ 490537 h 1097756"/>
                <a:gd name="connsiteX54" fmla="*/ 83344 w 1745456"/>
                <a:gd name="connsiteY54" fmla="*/ 411956 h 1097756"/>
                <a:gd name="connsiteX55" fmla="*/ 52388 w 1745456"/>
                <a:gd name="connsiteY55" fmla="*/ 414337 h 1097756"/>
                <a:gd name="connsiteX56" fmla="*/ 28575 w 1745456"/>
                <a:gd name="connsiteY56" fmla="*/ 378619 h 1097756"/>
                <a:gd name="connsiteX57" fmla="*/ 26194 w 1745456"/>
                <a:gd name="connsiteY57" fmla="*/ 342900 h 1097756"/>
                <a:gd name="connsiteX58" fmla="*/ 4763 w 1745456"/>
                <a:gd name="connsiteY58" fmla="*/ 323850 h 1097756"/>
                <a:gd name="connsiteX59" fmla="*/ 35719 w 1745456"/>
                <a:gd name="connsiteY59" fmla="*/ 295275 h 1097756"/>
                <a:gd name="connsiteX60" fmla="*/ 0 w 1745456"/>
                <a:gd name="connsiteY60" fmla="*/ 266700 h 1097756"/>
                <a:gd name="connsiteX61" fmla="*/ 42863 w 1745456"/>
                <a:gd name="connsiteY61" fmla="*/ 233362 h 1097756"/>
                <a:gd name="connsiteX62" fmla="*/ 45244 w 1745456"/>
                <a:gd name="connsiteY62" fmla="*/ 176212 h 1097756"/>
                <a:gd name="connsiteX63" fmla="*/ 92869 w 1745456"/>
                <a:gd name="connsiteY63" fmla="*/ 140494 h 1097756"/>
                <a:gd name="connsiteX64" fmla="*/ 140494 w 1745456"/>
                <a:gd name="connsiteY64" fmla="*/ 116681 h 1097756"/>
                <a:gd name="connsiteX65" fmla="*/ 190500 w 1745456"/>
                <a:gd name="connsiteY65" fmla="*/ 76200 h 1097756"/>
                <a:gd name="connsiteX66" fmla="*/ 219075 w 1745456"/>
                <a:gd name="connsiteY66" fmla="*/ 147637 h 1097756"/>
                <a:gd name="connsiteX67" fmla="*/ 273844 w 1745456"/>
                <a:gd name="connsiteY67" fmla="*/ 180975 h 1097756"/>
                <a:gd name="connsiteX68" fmla="*/ 319088 w 1745456"/>
                <a:gd name="connsiteY68" fmla="*/ 154781 h 1097756"/>
                <a:gd name="connsiteX69" fmla="*/ 359569 w 1745456"/>
                <a:gd name="connsiteY69" fmla="*/ 154781 h 1097756"/>
                <a:gd name="connsiteX70" fmla="*/ 357188 w 1745456"/>
                <a:gd name="connsiteY70" fmla="*/ 123825 h 1097756"/>
                <a:gd name="connsiteX71" fmla="*/ 366713 w 1745456"/>
                <a:gd name="connsiteY71" fmla="*/ 69056 h 1097756"/>
                <a:gd name="connsiteX72" fmla="*/ 402431 w 1745456"/>
                <a:gd name="connsiteY72" fmla="*/ 85725 h 1097756"/>
                <a:gd name="connsiteX73" fmla="*/ 447675 w 1745456"/>
                <a:gd name="connsiteY73" fmla="*/ 85725 h 1097756"/>
                <a:gd name="connsiteX74" fmla="*/ 481013 w 1745456"/>
                <a:gd name="connsiteY74" fmla="*/ 54769 h 1097756"/>
                <a:gd name="connsiteX75" fmla="*/ 516731 w 1745456"/>
                <a:gd name="connsiteY75" fmla="*/ 71437 h 1097756"/>
                <a:gd name="connsiteX76" fmla="*/ 528638 w 1745456"/>
                <a:gd name="connsiteY76" fmla="*/ 102394 h 1097756"/>
                <a:gd name="connsiteX77" fmla="*/ 511969 w 1745456"/>
                <a:gd name="connsiteY77" fmla="*/ 133350 h 1097756"/>
                <a:gd name="connsiteX78" fmla="*/ 595313 w 1745456"/>
                <a:gd name="connsiteY78" fmla="*/ 126206 h 1097756"/>
                <a:gd name="connsiteX79" fmla="*/ 595313 w 1745456"/>
                <a:gd name="connsiteY79" fmla="*/ 126206 h 1097756"/>
                <a:gd name="connsiteX80" fmla="*/ 621506 w 1745456"/>
                <a:gd name="connsiteY80" fmla="*/ 159544 h 1097756"/>
                <a:gd name="connsiteX81" fmla="*/ 647700 w 1745456"/>
                <a:gd name="connsiteY81" fmla="*/ 204787 h 1097756"/>
                <a:gd name="connsiteX82" fmla="*/ 726281 w 1745456"/>
                <a:gd name="connsiteY82" fmla="*/ 221456 h 1097756"/>
                <a:gd name="connsiteX83" fmla="*/ 785813 w 1745456"/>
                <a:gd name="connsiteY83" fmla="*/ 211931 h 1097756"/>
                <a:gd name="connsiteX84" fmla="*/ 857250 w 1745456"/>
                <a:gd name="connsiteY84" fmla="*/ 176212 h 1097756"/>
                <a:gd name="connsiteX85" fmla="*/ 888206 w 1745456"/>
                <a:gd name="connsiteY85" fmla="*/ 176212 h 1097756"/>
                <a:gd name="connsiteX86" fmla="*/ 959644 w 1745456"/>
                <a:gd name="connsiteY86" fmla="*/ 192881 h 1097756"/>
                <a:gd name="connsiteX87" fmla="*/ 1059656 w 1745456"/>
                <a:gd name="connsiteY87" fmla="*/ 192881 h 1097756"/>
                <a:gd name="connsiteX88" fmla="*/ 1166813 w 1745456"/>
                <a:gd name="connsiteY88" fmla="*/ 171450 h 1097756"/>
                <a:gd name="connsiteX89" fmla="*/ 1245394 w 1745456"/>
                <a:gd name="connsiteY89" fmla="*/ 119062 h 1097756"/>
                <a:gd name="connsiteX90" fmla="*/ 1273969 w 1745456"/>
                <a:gd name="connsiteY90" fmla="*/ 102394 h 1097756"/>
                <a:gd name="connsiteX91" fmla="*/ 1366838 w 1745456"/>
                <a:gd name="connsiteY91" fmla="*/ 76200 h 1097756"/>
                <a:gd name="connsiteX92" fmla="*/ 1402556 w 1745456"/>
                <a:gd name="connsiteY92" fmla="*/ 114300 h 1097756"/>
                <a:gd name="connsiteX93" fmla="*/ 1462088 w 1745456"/>
                <a:gd name="connsiteY93" fmla="*/ 128587 h 1097756"/>
                <a:gd name="connsiteX94" fmla="*/ 1512094 w 1745456"/>
                <a:gd name="connsiteY94" fmla="*/ 107156 h 1097756"/>
                <a:gd name="connsiteX95" fmla="*/ 1528763 w 1745456"/>
                <a:gd name="connsiteY95" fmla="*/ 61912 h 1097756"/>
                <a:gd name="connsiteX96" fmla="*/ 1585913 w 1745456"/>
                <a:gd name="connsiteY96" fmla="*/ 61912 h 1097756"/>
                <a:gd name="connsiteX97" fmla="*/ 1621631 w 1745456"/>
                <a:gd name="connsiteY97" fmla="*/ 42862 h 1097756"/>
                <a:gd name="connsiteX98" fmla="*/ 1688306 w 1745456"/>
                <a:gd name="connsiteY98" fmla="*/ 0 h 1097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745456" h="1097756">
                  <a:moveTo>
                    <a:pt x="1688306" y="0"/>
                  </a:moveTo>
                  <a:lnTo>
                    <a:pt x="1745456" y="23812"/>
                  </a:lnTo>
                  <a:lnTo>
                    <a:pt x="1697831" y="57150"/>
                  </a:lnTo>
                  <a:lnTo>
                    <a:pt x="1657350" y="178594"/>
                  </a:lnTo>
                  <a:lnTo>
                    <a:pt x="1533525" y="321469"/>
                  </a:lnTo>
                  <a:lnTo>
                    <a:pt x="1507331" y="397669"/>
                  </a:lnTo>
                  <a:lnTo>
                    <a:pt x="1493044" y="428625"/>
                  </a:lnTo>
                  <a:lnTo>
                    <a:pt x="1504950" y="483394"/>
                  </a:lnTo>
                  <a:lnTo>
                    <a:pt x="1471613" y="500062"/>
                  </a:lnTo>
                  <a:lnTo>
                    <a:pt x="1440656" y="547687"/>
                  </a:lnTo>
                  <a:lnTo>
                    <a:pt x="1443038" y="657225"/>
                  </a:lnTo>
                  <a:lnTo>
                    <a:pt x="1519238" y="685800"/>
                  </a:lnTo>
                  <a:lnTo>
                    <a:pt x="1538288" y="702469"/>
                  </a:lnTo>
                  <a:lnTo>
                    <a:pt x="1502569" y="707231"/>
                  </a:lnTo>
                  <a:lnTo>
                    <a:pt x="1519238" y="785812"/>
                  </a:lnTo>
                  <a:lnTo>
                    <a:pt x="1557338" y="795337"/>
                  </a:lnTo>
                  <a:lnTo>
                    <a:pt x="1574006" y="816769"/>
                  </a:lnTo>
                  <a:lnTo>
                    <a:pt x="1559719" y="845344"/>
                  </a:lnTo>
                  <a:lnTo>
                    <a:pt x="1550194" y="876300"/>
                  </a:lnTo>
                  <a:lnTo>
                    <a:pt x="1531144" y="885825"/>
                  </a:lnTo>
                  <a:lnTo>
                    <a:pt x="1478756" y="912019"/>
                  </a:lnTo>
                  <a:lnTo>
                    <a:pt x="1450181" y="971550"/>
                  </a:lnTo>
                  <a:lnTo>
                    <a:pt x="1464469" y="1062037"/>
                  </a:lnTo>
                  <a:lnTo>
                    <a:pt x="1483519" y="1092994"/>
                  </a:lnTo>
                  <a:lnTo>
                    <a:pt x="1445419" y="1097756"/>
                  </a:lnTo>
                  <a:lnTo>
                    <a:pt x="1426369" y="1057275"/>
                  </a:lnTo>
                  <a:lnTo>
                    <a:pt x="1400175" y="1057275"/>
                  </a:lnTo>
                  <a:lnTo>
                    <a:pt x="1385888" y="1073944"/>
                  </a:lnTo>
                  <a:lnTo>
                    <a:pt x="1328738" y="1033462"/>
                  </a:lnTo>
                  <a:lnTo>
                    <a:pt x="1264444" y="1062037"/>
                  </a:lnTo>
                  <a:lnTo>
                    <a:pt x="1202531" y="1026319"/>
                  </a:lnTo>
                  <a:lnTo>
                    <a:pt x="1147763" y="1002506"/>
                  </a:lnTo>
                  <a:lnTo>
                    <a:pt x="1126331" y="1002506"/>
                  </a:lnTo>
                  <a:lnTo>
                    <a:pt x="1090613" y="978694"/>
                  </a:lnTo>
                  <a:lnTo>
                    <a:pt x="1004888" y="831056"/>
                  </a:lnTo>
                  <a:lnTo>
                    <a:pt x="897731" y="792956"/>
                  </a:lnTo>
                  <a:lnTo>
                    <a:pt x="854869" y="792956"/>
                  </a:lnTo>
                  <a:lnTo>
                    <a:pt x="802481" y="792956"/>
                  </a:lnTo>
                  <a:lnTo>
                    <a:pt x="790575" y="807244"/>
                  </a:lnTo>
                  <a:lnTo>
                    <a:pt x="769144" y="769144"/>
                  </a:lnTo>
                  <a:lnTo>
                    <a:pt x="719138" y="759619"/>
                  </a:lnTo>
                  <a:lnTo>
                    <a:pt x="666750" y="721519"/>
                  </a:lnTo>
                  <a:lnTo>
                    <a:pt x="631031" y="683419"/>
                  </a:lnTo>
                  <a:lnTo>
                    <a:pt x="626269" y="681037"/>
                  </a:lnTo>
                  <a:lnTo>
                    <a:pt x="566738" y="673894"/>
                  </a:lnTo>
                  <a:lnTo>
                    <a:pt x="526256" y="654844"/>
                  </a:lnTo>
                  <a:lnTo>
                    <a:pt x="471488" y="607219"/>
                  </a:lnTo>
                  <a:lnTo>
                    <a:pt x="411956" y="540544"/>
                  </a:lnTo>
                  <a:lnTo>
                    <a:pt x="392906" y="526256"/>
                  </a:lnTo>
                  <a:lnTo>
                    <a:pt x="333375" y="523875"/>
                  </a:lnTo>
                  <a:lnTo>
                    <a:pt x="300038" y="504825"/>
                  </a:lnTo>
                  <a:lnTo>
                    <a:pt x="271463" y="469106"/>
                  </a:lnTo>
                  <a:lnTo>
                    <a:pt x="164306" y="473869"/>
                  </a:lnTo>
                  <a:lnTo>
                    <a:pt x="142875" y="490537"/>
                  </a:lnTo>
                  <a:lnTo>
                    <a:pt x="83344" y="411956"/>
                  </a:lnTo>
                  <a:lnTo>
                    <a:pt x="52388" y="414337"/>
                  </a:lnTo>
                  <a:lnTo>
                    <a:pt x="28575" y="378619"/>
                  </a:lnTo>
                  <a:lnTo>
                    <a:pt x="26194" y="342900"/>
                  </a:lnTo>
                  <a:lnTo>
                    <a:pt x="4763" y="323850"/>
                  </a:lnTo>
                  <a:lnTo>
                    <a:pt x="35719" y="295275"/>
                  </a:lnTo>
                  <a:lnTo>
                    <a:pt x="0" y="266700"/>
                  </a:lnTo>
                  <a:lnTo>
                    <a:pt x="42863" y="233362"/>
                  </a:lnTo>
                  <a:cubicBezTo>
                    <a:pt x="43657" y="214312"/>
                    <a:pt x="44450" y="195262"/>
                    <a:pt x="45244" y="176212"/>
                  </a:cubicBezTo>
                  <a:lnTo>
                    <a:pt x="92869" y="140494"/>
                  </a:lnTo>
                  <a:lnTo>
                    <a:pt x="140494" y="116681"/>
                  </a:lnTo>
                  <a:lnTo>
                    <a:pt x="190500" y="76200"/>
                  </a:lnTo>
                  <a:lnTo>
                    <a:pt x="219075" y="147637"/>
                  </a:lnTo>
                  <a:lnTo>
                    <a:pt x="273844" y="180975"/>
                  </a:lnTo>
                  <a:lnTo>
                    <a:pt x="319088" y="154781"/>
                  </a:lnTo>
                  <a:lnTo>
                    <a:pt x="359569" y="154781"/>
                  </a:lnTo>
                  <a:lnTo>
                    <a:pt x="357188" y="123825"/>
                  </a:lnTo>
                  <a:lnTo>
                    <a:pt x="366713" y="69056"/>
                  </a:lnTo>
                  <a:lnTo>
                    <a:pt x="402431" y="85725"/>
                  </a:lnTo>
                  <a:lnTo>
                    <a:pt x="447675" y="85725"/>
                  </a:lnTo>
                  <a:lnTo>
                    <a:pt x="481013" y="54769"/>
                  </a:lnTo>
                  <a:lnTo>
                    <a:pt x="516731" y="71437"/>
                  </a:lnTo>
                  <a:lnTo>
                    <a:pt x="528638" y="102394"/>
                  </a:lnTo>
                  <a:lnTo>
                    <a:pt x="511969" y="133350"/>
                  </a:lnTo>
                  <a:lnTo>
                    <a:pt x="595313" y="126206"/>
                  </a:lnTo>
                  <a:lnTo>
                    <a:pt x="595313" y="126206"/>
                  </a:lnTo>
                  <a:lnTo>
                    <a:pt x="621506" y="159544"/>
                  </a:lnTo>
                  <a:lnTo>
                    <a:pt x="647700" y="204787"/>
                  </a:lnTo>
                  <a:lnTo>
                    <a:pt x="726281" y="221456"/>
                  </a:lnTo>
                  <a:lnTo>
                    <a:pt x="785813" y="211931"/>
                  </a:lnTo>
                  <a:lnTo>
                    <a:pt x="857250" y="176212"/>
                  </a:lnTo>
                  <a:lnTo>
                    <a:pt x="888206" y="176212"/>
                  </a:lnTo>
                  <a:lnTo>
                    <a:pt x="959644" y="192881"/>
                  </a:lnTo>
                  <a:lnTo>
                    <a:pt x="1059656" y="192881"/>
                  </a:lnTo>
                  <a:lnTo>
                    <a:pt x="1166813" y="171450"/>
                  </a:lnTo>
                  <a:lnTo>
                    <a:pt x="1245394" y="119062"/>
                  </a:lnTo>
                  <a:lnTo>
                    <a:pt x="1273969" y="102394"/>
                  </a:lnTo>
                  <a:lnTo>
                    <a:pt x="1366838" y="76200"/>
                  </a:lnTo>
                  <a:lnTo>
                    <a:pt x="1402556" y="114300"/>
                  </a:lnTo>
                  <a:lnTo>
                    <a:pt x="1462088" y="128587"/>
                  </a:lnTo>
                  <a:lnTo>
                    <a:pt x="1512094" y="107156"/>
                  </a:lnTo>
                  <a:lnTo>
                    <a:pt x="1528763" y="61912"/>
                  </a:lnTo>
                  <a:lnTo>
                    <a:pt x="1585913" y="61912"/>
                  </a:lnTo>
                  <a:lnTo>
                    <a:pt x="1621631" y="42862"/>
                  </a:lnTo>
                  <a:lnTo>
                    <a:pt x="1688306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igura a mano libera 241">
              <a:extLst>
                <a:ext uri="{FF2B5EF4-FFF2-40B4-BE49-F238E27FC236}">
                  <a16:creationId xmlns:a16="http://schemas.microsoft.com/office/drawing/2014/main" id="{301F1BA9-C97F-4D45-94D4-ED757E941D2C}"/>
                </a:ext>
              </a:extLst>
            </p:cNvPr>
            <p:cNvSpPr/>
            <p:nvPr/>
          </p:nvSpPr>
          <p:spPr bwMode="auto">
            <a:xfrm>
              <a:off x="9002614" y="4097685"/>
              <a:ext cx="908067" cy="852315"/>
            </a:xfrm>
            <a:custGeom>
              <a:avLst/>
              <a:gdLst>
                <a:gd name="connsiteX0" fmla="*/ 0 w 1057275"/>
                <a:gd name="connsiteY0" fmla="*/ 202406 h 1007268"/>
                <a:gd name="connsiteX1" fmla="*/ 21431 w 1057275"/>
                <a:gd name="connsiteY1" fmla="*/ 188118 h 1007268"/>
                <a:gd name="connsiteX2" fmla="*/ 54768 w 1057275"/>
                <a:gd name="connsiteY2" fmla="*/ 145256 h 1007268"/>
                <a:gd name="connsiteX3" fmla="*/ 59531 w 1057275"/>
                <a:gd name="connsiteY3" fmla="*/ 126206 h 1007268"/>
                <a:gd name="connsiteX4" fmla="*/ 64293 w 1057275"/>
                <a:gd name="connsiteY4" fmla="*/ 47625 h 1007268"/>
                <a:gd name="connsiteX5" fmla="*/ 128587 w 1057275"/>
                <a:gd name="connsiteY5" fmla="*/ 30956 h 1007268"/>
                <a:gd name="connsiteX6" fmla="*/ 166687 w 1057275"/>
                <a:gd name="connsiteY6" fmla="*/ 42862 h 1007268"/>
                <a:gd name="connsiteX7" fmla="*/ 173831 w 1057275"/>
                <a:gd name="connsiteY7" fmla="*/ 0 h 1007268"/>
                <a:gd name="connsiteX8" fmla="*/ 247650 w 1057275"/>
                <a:gd name="connsiteY8" fmla="*/ 16668 h 1007268"/>
                <a:gd name="connsiteX9" fmla="*/ 285750 w 1057275"/>
                <a:gd name="connsiteY9" fmla="*/ 40481 h 1007268"/>
                <a:gd name="connsiteX10" fmla="*/ 350043 w 1057275"/>
                <a:gd name="connsiteY10" fmla="*/ 52387 h 1007268"/>
                <a:gd name="connsiteX11" fmla="*/ 369093 w 1057275"/>
                <a:gd name="connsiteY11" fmla="*/ 78581 h 1007268"/>
                <a:gd name="connsiteX12" fmla="*/ 395287 w 1057275"/>
                <a:gd name="connsiteY12" fmla="*/ 92868 h 1007268"/>
                <a:gd name="connsiteX13" fmla="*/ 409575 w 1057275"/>
                <a:gd name="connsiteY13" fmla="*/ 85725 h 1007268"/>
                <a:gd name="connsiteX14" fmla="*/ 416718 w 1057275"/>
                <a:gd name="connsiteY14" fmla="*/ 97631 h 1007268"/>
                <a:gd name="connsiteX15" fmla="*/ 478631 w 1057275"/>
                <a:gd name="connsiteY15" fmla="*/ 66675 h 1007268"/>
                <a:gd name="connsiteX16" fmla="*/ 514350 w 1057275"/>
                <a:gd name="connsiteY16" fmla="*/ 66675 h 1007268"/>
                <a:gd name="connsiteX17" fmla="*/ 514350 w 1057275"/>
                <a:gd name="connsiteY17" fmla="*/ 42862 h 1007268"/>
                <a:gd name="connsiteX18" fmla="*/ 545306 w 1057275"/>
                <a:gd name="connsiteY18" fmla="*/ 54768 h 1007268"/>
                <a:gd name="connsiteX19" fmla="*/ 602456 w 1057275"/>
                <a:gd name="connsiteY19" fmla="*/ 33337 h 1007268"/>
                <a:gd name="connsiteX20" fmla="*/ 635793 w 1057275"/>
                <a:gd name="connsiteY20" fmla="*/ 21431 h 1007268"/>
                <a:gd name="connsiteX21" fmla="*/ 647700 w 1057275"/>
                <a:gd name="connsiteY21" fmla="*/ 50006 h 1007268"/>
                <a:gd name="connsiteX22" fmla="*/ 681037 w 1057275"/>
                <a:gd name="connsiteY22" fmla="*/ 59531 h 1007268"/>
                <a:gd name="connsiteX23" fmla="*/ 650081 w 1057275"/>
                <a:gd name="connsiteY23" fmla="*/ 85725 h 1007268"/>
                <a:gd name="connsiteX24" fmla="*/ 673893 w 1057275"/>
                <a:gd name="connsiteY24" fmla="*/ 123825 h 1007268"/>
                <a:gd name="connsiteX25" fmla="*/ 716756 w 1057275"/>
                <a:gd name="connsiteY25" fmla="*/ 140493 h 1007268"/>
                <a:gd name="connsiteX26" fmla="*/ 754856 w 1057275"/>
                <a:gd name="connsiteY26" fmla="*/ 157162 h 1007268"/>
                <a:gd name="connsiteX27" fmla="*/ 778668 w 1057275"/>
                <a:gd name="connsiteY27" fmla="*/ 176212 h 1007268"/>
                <a:gd name="connsiteX28" fmla="*/ 759618 w 1057275"/>
                <a:gd name="connsiteY28" fmla="*/ 185737 h 1007268"/>
                <a:gd name="connsiteX29" fmla="*/ 759618 w 1057275"/>
                <a:gd name="connsiteY29" fmla="*/ 204787 h 1007268"/>
                <a:gd name="connsiteX30" fmla="*/ 742950 w 1057275"/>
                <a:gd name="connsiteY30" fmla="*/ 226218 h 1007268"/>
                <a:gd name="connsiteX31" fmla="*/ 752475 w 1057275"/>
                <a:gd name="connsiteY31" fmla="*/ 240506 h 1007268"/>
                <a:gd name="connsiteX32" fmla="*/ 778668 w 1057275"/>
                <a:gd name="connsiteY32" fmla="*/ 271462 h 1007268"/>
                <a:gd name="connsiteX33" fmla="*/ 814387 w 1057275"/>
                <a:gd name="connsiteY33" fmla="*/ 276225 h 1007268"/>
                <a:gd name="connsiteX34" fmla="*/ 845343 w 1057275"/>
                <a:gd name="connsiteY34" fmla="*/ 269081 h 1007268"/>
                <a:gd name="connsiteX35" fmla="*/ 885825 w 1057275"/>
                <a:gd name="connsiteY35" fmla="*/ 283368 h 1007268"/>
                <a:gd name="connsiteX36" fmla="*/ 902493 w 1057275"/>
                <a:gd name="connsiteY36" fmla="*/ 290512 h 1007268"/>
                <a:gd name="connsiteX37" fmla="*/ 921543 w 1057275"/>
                <a:gd name="connsiteY37" fmla="*/ 309562 h 1007268"/>
                <a:gd name="connsiteX38" fmla="*/ 923925 w 1057275"/>
                <a:gd name="connsiteY38" fmla="*/ 340518 h 1007268"/>
                <a:gd name="connsiteX39" fmla="*/ 923925 w 1057275"/>
                <a:gd name="connsiteY39" fmla="*/ 378618 h 1007268"/>
                <a:gd name="connsiteX40" fmla="*/ 892968 w 1057275"/>
                <a:gd name="connsiteY40" fmla="*/ 404812 h 1007268"/>
                <a:gd name="connsiteX41" fmla="*/ 831056 w 1057275"/>
                <a:gd name="connsiteY41" fmla="*/ 411956 h 1007268"/>
                <a:gd name="connsiteX42" fmla="*/ 823912 w 1057275"/>
                <a:gd name="connsiteY42" fmla="*/ 435768 h 1007268"/>
                <a:gd name="connsiteX43" fmla="*/ 826293 w 1057275"/>
                <a:gd name="connsiteY43" fmla="*/ 469106 h 1007268"/>
                <a:gd name="connsiteX44" fmla="*/ 828675 w 1057275"/>
                <a:gd name="connsiteY44" fmla="*/ 500062 h 1007268"/>
                <a:gd name="connsiteX45" fmla="*/ 854868 w 1057275"/>
                <a:gd name="connsiteY45" fmla="*/ 538162 h 1007268"/>
                <a:gd name="connsiteX46" fmla="*/ 892968 w 1057275"/>
                <a:gd name="connsiteY46" fmla="*/ 557212 h 1007268"/>
                <a:gd name="connsiteX47" fmla="*/ 864393 w 1057275"/>
                <a:gd name="connsiteY47" fmla="*/ 588168 h 1007268"/>
                <a:gd name="connsiteX48" fmla="*/ 900112 w 1057275"/>
                <a:gd name="connsiteY48" fmla="*/ 621506 h 1007268"/>
                <a:gd name="connsiteX49" fmla="*/ 916781 w 1057275"/>
                <a:gd name="connsiteY49" fmla="*/ 645318 h 1007268"/>
                <a:gd name="connsiteX50" fmla="*/ 923925 w 1057275"/>
                <a:gd name="connsiteY50" fmla="*/ 678656 h 1007268"/>
                <a:gd name="connsiteX51" fmla="*/ 900112 w 1057275"/>
                <a:gd name="connsiteY51" fmla="*/ 681037 h 1007268"/>
                <a:gd name="connsiteX52" fmla="*/ 945356 w 1057275"/>
                <a:gd name="connsiteY52" fmla="*/ 704850 h 1007268"/>
                <a:gd name="connsiteX53" fmla="*/ 985837 w 1057275"/>
                <a:gd name="connsiteY53" fmla="*/ 740568 h 1007268"/>
                <a:gd name="connsiteX54" fmla="*/ 1002506 w 1057275"/>
                <a:gd name="connsiteY54" fmla="*/ 747712 h 1007268"/>
                <a:gd name="connsiteX55" fmla="*/ 1016793 w 1057275"/>
                <a:gd name="connsiteY55" fmla="*/ 790575 h 1007268"/>
                <a:gd name="connsiteX56" fmla="*/ 1054893 w 1057275"/>
                <a:gd name="connsiteY56" fmla="*/ 802481 h 1007268"/>
                <a:gd name="connsiteX57" fmla="*/ 1057275 w 1057275"/>
                <a:gd name="connsiteY57" fmla="*/ 840581 h 1007268"/>
                <a:gd name="connsiteX58" fmla="*/ 1031081 w 1057275"/>
                <a:gd name="connsiteY58" fmla="*/ 862012 h 1007268"/>
                <a:gd name="connsiteX59" fmla="*/ 997743 w 1057275"/>
                <a:gd name="connsiteY59" fmla="*/ 881062 h 1007268"/>
                <a:gd name="connsiteX60" fmla="*/ 1002506 w 1057275"/>
                <a:gd name="connsiteY60" fmla="*/ 921543 h 1007268"/>
                <a:gd name="connsiteX61" fmla="*/ 971550 w 1057275"/>
                <a:gd name="connsiteY61" fmla="*/ 945356 h 1007268"/>
                <a:gd name="connsiteX62" fmla="*/ 928687 w 1057275"/>
                <a:gd name="connsiteY62" fmla="*/ 950118 h 1007268"/>
                <a:gd name="connsiteX63" fmla="*/ 904875 w 1057275"/>
                <a:gd name="connsiteY63" fmla="*/ 950118 h 1007268"/>
                <a:gd name="connsiteX64" fmla="*/ 873918 w 1057275"/>
                <a:gd name="connsiteY64" fmla="*/ 981075 h 1007268"/>
                <a:gd name="connsiteX65" fmla="*/ 845343 w 1057275"/>
                <a:gd name="connsiteY65" fmla="*/ 1007268 h 1007268"/>
                <a:gd name="connsiteX66" fmla="*/ 797718 w 1057275"/>
                <a:gd name="connsiteY66" fmla="*/ 983456 h 1007268"/>
                <a:gd name="connsiteX67" fmla="*/ 776287 w 1057275"/>
                <a:gd name="connsiteY67" fmla="*/ 954881 h 1007268"/>
                <a:gd name="connsiteX68" fmla="*/ 738187 w 1057275"/>
                <a:gd name="connsiteY68" fmla="*/ 921543 h 1007268"/>
                <a:gd name="connsiteX69" fmla="*/ 742950 w 1057275"/>
                <a:gd name="connsiteY69" fmla="*/ 904875 h 1007268"/>
                <a:gd name="connsiteX70" fmla="*/ 711993 w 1057275"/>
                <a:gd name="connsiteY70" fmla="*/ 907256 h 1007268"/>
                <a:gd name="connsiteX71" fmla="*/ 714375 w 1057275"/>
                <a:gd name="connsiteY71" fmla="*/ 871537 h 1007268"/>
                <a:gd name="connsiteX72" fmla="*/ 678656 w 1057275"/>
                <a:gd name="connsiteY72" fmla="*/ 892968 h 1007268"/>
                <a:gd name="connsiteX73" fmla="*/ 661987 w 1057275"/>
                <a:gd name="connsiteY73" fmla="*/ 885825 h 1007268"/>
                <a:gd name="connsiteX74" fmla="*/ 626268 w 1057275"/>
                <a:gd name="connsiteY74" fmla="*/ 847725 h 1007268"/>
                <a:gd name="connsiteX75" fmla="*/ 600075 w 1057275"/>
                <a:gd name="connsiteY75" fmla="*/ 850106 h 1007268"/>
                <a:gd name="connsiteX76" fmla="*/ 600075 w 1057275"/>
                <a:gd name="connsiteY76" fmla="*/ 850106 h 1007268"/>
                <a:gd name="connsiteX77" fmla="*/ 611981 w 1057275"/>
                <a:gd name="connsiteY77" fmla="*/ 821531 h 1007268"/>
                <a:gd name="connsiteX78" fmla="*/ 614362 w 1057275"/>
                <a:gd name="connsiteY78" fmla="*/ 781050 h 1007268"/>
                <a:gd name="connsiteX79" fmla="*/ 640556 w 1057275"/>
                <a:gd name="connsiteY79" fmla="*/ 754856 h 1007268"/>
                <a:gd name="connsiteX80" fmla="*/ 621506 w 1057275"/>
                <a:gd name="connsiteY80" fmla="*/ 721518 h 1007268"/>
                <a:gd name="connsiteX81" fmla="*/ 597693 w 1057275"/>
                <a:gd name="connsiteY81" fmla="*/ 671512 h 1007268"/>
                <a:gd name="connsiteX82" fmla="*/ 573881 w 1057275"/>
                <a:gd name="connsiteY82" fmla="*/ 619125 h 1007268"/>
                <a:gd name="connsiteX83" fmla="*/ 526256 w 1057275"/>
                <a:gd name="connsiteY83" fmla="*/ 561975 h 1007268"/>
                <a:gd name="connsiteX84" fmla="*/ 504825 w 1057275"/>
                <a:gd name="connsiteY84" fmla="*/ 545306 h 1007268"/>
                <a:gd name="connsiteX85" fmla="*/ 492918 w 1057275"/>
                <a:gd name="connsiteY85" fmla="*/ 545306 h 1007268"/>
                <a:gd name="connsiteX86" fmla="*/ 481012 w 1057275"/>
                <a:gd name="connsiteY86" fmla="*/ 573881 h 1007268"/>
                <a:gd name="connsiteX87" fmla="*/ 476250 w 1057275"/>
                <a:gd name="connsiteY87" fmla="*/ 583406 h 1007268"/>
                <a:gd name="connsiteX88" fmla="*/ 445293 w 1057275"/>
                <a:gd name="connsiteY88" fmla="*/ 566737 h 1007268"/>
                <a:gd name="connsiteX89" fmla="*/ 404812 w 1057275"/>
                <a:gd name="connsiteY89" fmla="*/ 592931 h 1007268"/>
                <a:gd name="connsiteX90" fmla="*/ 402431 w 1057275"/>
                <a:gd name="connsiteY90" fmla="*/ 600075 h 1007268"/>
                <a:gd name="connsiteX91" fmla="*/ 373856 w 1057275"/>
                <a:gd name="connsiteY91" fmla="*/ 592931 h 1007268"/>
                <a:gd name="connsiteX92" fmla="*/ 345281 w 1057275"/>
                <a:gd name="connsiteY92" fmla="*/ 588168 h 1007268"/>
                <a:gd name="connsiteX93" fmla="*/ 316706 w 1057275"/>
                <a:gd name="connsiteY93" fmla="*/ 602456 h 1007268"/>
                <a:gd name="connsiteX94" fmla="*/ 290512 w 1057275"/>
                <a:gd name="connsiteY94" fmla="*/ 626268 h 1007268"/>
                <a:gd name="connsiteX95" fmla="*/ 273843 w 1057275"/>
                <a:gd name="connsiteY95" fmla="*/ 619125 h 1007268"/>
                <a:gd name="connsiteX96" fmla="*/ 300037 w 1057275"/>
                <a:gd name="connsiteY96" fmla="*/ 581025 h 1007268"/>
                <a:gd name="connsiteX97" fmla="*/ 357187 w 1057275"/>
                <a:gd name="connsiteY97" fmla="*/ 545306 h 1007268"/>
                <a:gd name="connsiteX98" fmla="*/ 369093 w 1057275"/>
                <a:gd name="connsiteY98" fmla="*/ 526256 h 1007268"/>
                <a:gd name="connsiteX99" fmla="*/ 340518 w 1057275"/>
                <a:gd name="connsiteY99" fmla="*/ 495300 h 1007268"/>
                <a:gd name="connsiteX100" fmla="*/ 321468 w 1057275"/>
                <a:gd name="connsiteY100" fmla="*/ 502443 h 1007268"/>
                <a:gd name="connsiteX101" fmla="*/ 266700 w 1057275"/>
                <a:gd name="connsiteY101" fmla="*/ 447675 h 1007268"/>
                <a:gd name="connsiteX102" fmla="*/ 266700 w 1057275"/>
                <a:gd name="connsiteY102" fmla="*/ 447675 h 1007268"/>
                <a:gd name="connsiteX103" fmla="*/ 216693 w 1057275"/>
                <a:gd name="connsiteY103" fmla="*/ 459581 h 1007268"/>
                <a:gd name="connsiteX104" fmla="*/ 216693 w 1057275"/>
                <a:gd name="connsiteY104" fmla="*/ 459581 h 1007268"/>
                <a:gd name="connsiteX105" fmla="*/ 197643 w 1057275"/>
                <a:gd name="connsiteY105" fmla="*/ 464343 h 1007268"/>
                <a:gd name="connsiteX106" fmla="*/ 178593 w 1057275"/>
                <a:gd name="connsiteY106" fmla="*/ 447675 h 1007268"/>
                <a:gd name="connsiteX107" fmla="*/ 176212 w 1057275"/>
                <a:gd name="connsiteY107" fmla="*/ 433387 h 1007268"/>
                <a:gd name="connsiteX108" fmla="*/ 166687 w 1057275"/>
                <a:gd name="connsiteY108" fmla="*/ 459581 h 1007268"/>
                <a:gd name="connsiteX109" fmla="*/ 164306 w 1057275"/>
                <a:gd name="connsiteY109" fmla="*/ 483393 h 1007268"/>
                <a:gd name="connsiteX110" fmla="*/ 164306 w 1057275"/>
                <a:gd name="connsiteY110" fmla="*/ 483393 h 1007268"/>
                <a:gd name="connsiteX111" fmla="*/ 126206 w 1057275"/>
                <a:gd name="connsiteY111" fmla="*/ 507206 h 1007268"/>
                <a:gd name="connsiteX112" fmla="*/ 111918 w 1057275"/>
                <a:gd name="connsiteY112" fmla="*/ 497681 h 1007268"/>
                <a:gd name="connsiteX113" fmla="*/ 138112 w 1057275"/>
                <a:gd name="connsiteY113" fmla="*/ 464343 h 1007268"/>
                <a:gd name="connsiteX114" fmla="*/ 135731 w 1057275"/>
                <a:gd name="connsiteY114" fmla="*/ 409575 h 1007268"/>
                <a:gd name="connsiteX115" fmla="*/ 102393 w 1057275"/>
                <a:gd name="connsiteY115" fmla="*/ 373856 h 1007268"/>
                <a:gd name="connsiteX116" fmla="*/ 80962 w 1057275"/>
                <a:gd name="connsiteY116" fmla="*/ 302418 h 1007268"/>
                <a:gd name="connsiteX117" fmla="*/ 30956 w 1057275"/>
                <a:gd name="connsiteY117" fmla="*/ 247650 h 1007268"/>
                <a:gd name="connsiteX118" fmla="*/ 0 w 1057275"/>
                <a:gd name="connsiteY118" fmla="*/ 202406 h 10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57275" h="1007268">
                  <a:moveTo>
                    <a:pt x="0" y="202406"/>
                  </a:moveTo>
                  <a:lnTo>
                    <a:pt x="21431" y="188118"/>
                  </a:lnTo>
                  <a:lnTo>
                    <a:pt x="54768" y="145256"/>
                  </a:lnTo>
                  <a:lnTo>
                    <a:pt x="59531" y="126206"/>
                  </a:lnTo>
                  <a:lnTo>
                    <a:pt x="64293" y="47625"/>
                  </a:lnTo>
                  <a:lnTo>
                    <a:pt x="128587" y="30956"/>
                  </a:lnTo>
                  <a:lnTo>
                    <a:pt x="166687" y="42862"/>
                  </a:lnTo>
                  <a:lnTo>
                    <a:pt x="173831" y="0"/>
                  </a:lnTo>
                  <a:lnTo>
                    <a:pt x="247650" y="16668"/>
                  </a:lnTo>
                  <a:lnTo>
                    <a:pt x="285750" y="40481"/>
                  </a:lnTo>
                  <a:lnTo>
                    <a:pt x="350043" y="52387"/>
                  </a:lnTo>
                  <a:lnTo>
                    <a:pt x="369093" y="78581"/>
                  </a:lnTo>
                  <a:lnTo>
                    <a:pt x="395287" y="92868"/>
                  </a:lnTo>
                  <a:lnTo>
                    <a:pt x="409575" y="85725"/>
                  </a:lnTo>
                  <a:lnTo>
                    <a:pt x="416718" y="97631"/>
                  </a:lnTo>
                  <a:lnTo>
                    <a:pt x="478631" y="66675"/>
                  </a:lnTo>
                  <a:lnTo>
                    <a:pt x="514350" y="66675"/>
                  </a:lnTo>
                  <a:lnTo>
                    <a:pt x="514350" y="42862"/>
                  </a:lnTo>
                  <a:lnTo>
                    <a:pt x="545306" y="54768"/>
                  </a:lnTo>
                  <a:lnTo>
                    <a:pt x="602456" y="33337"/>
                  </a:lnTo>
                  <a:lnTo>
                    <a:pt x="635793" y="21431"/>
                  </a:lnTo>
                  <a:lnTo>
                    <a:pt x="647700" y="50006"/>
                  </a:lnTo>
                  <a:lnTo>
                    <a:pt x="681037" y="59531"/>
                  </a:lnTo>
                  <a:lnTo>
                    <a:pt x="650081" y="85725"/>
                  </a:lnTo>
                  <a:lnTo>
                    <a:pt x="673893" y="123825"/>
                  </a:lnTo>
                  <a:lnTo>
                    <a:pt x="716756" y="140493"/>
                  </a:lnTo>
                  <a:lnTo>
                    <a:pt x="754856" y="157162"/>
                  </a:lnTo>
                  <a:lnTo>
                    <a:pt x="778668" y="176212"/>
                  </a:lnTo>
                  <a:lnTo>
                    <a:pt x="759618" y="185737"/>
                  </a:lnTo>
                  <a:lnTo>
                    <a:pt x="759618" y="204787"/>
                  </a:lnTo>
                  <a:lnTo>
                    <a:pt x="742950" y="226218"/>
                  </a:lnTo>
                  <a:lnTo>
                    <a:pt x="752475" y="240506"/>
                  </a:lnTo>
                  <a:lnTo>
                    <a:pt x="778668" y="271462"/>
                  </a:lnTo>
                  <a:lnTo>
                    <a:pt x="814387" y="276225"/>
                  </a:lnTo>
                  <a:lnTo>
                    <a:pt x="845343" y="269081"/>
                  </a:lnTo>
                  <a:lnTo>
                    <a:pt x="885825" y="283368"/>
                  </a:lnTo>
                  <a:lnTo>
                    <a:pt x="902493" y="290512"/>
                  </a:lnTo>
                  <a:lnTo>
                    <a:pt x="921543" y="309562"/>
                  </a:lnTo>
                  <a:lnTo>
                    <a:pt x="923925" y="340518"/>
                  </a:lnTo>
                  <a:lnTo>
                    <a:pt x="923925" y="378618"/>
                  </a:lnTo>
                  <a:lnTo>
                    <a:pt x="892968" y="404812"/>
                  </a:lnTo>
                  <a:lnTo>
                    <a:pt x="831056" y="411956"/>
                  </a:lnTo>
                  <a:lnTo>
                    <a:pt x="823912" y="435768"/>
                  </a:lnTo>
                  <a:lnTo>
                    <a:pt x="826293" y="469106"/>
                  </a:lnTo>
                  <a:lnTo>
                    <a:pt x="828675" y="500062"/>
                  </a:lnTo>
                  <a:lnTo>
                    <a:pt x="854868" y="538162"/>
                  </a:lnTo>
                  <a:lnTo>
                    <a:pt x="892968" y="557212"/>
                  </a:lnTo>
                  <a:lnTo>
                    <a:pt x="864393" y="588168"/>
                  </a:lnTo>
                  <a:lnTo>
                    <a:pt x="900112" y="621506"/>
                  </a:lnTo>
                  <a:lnTo>
                    <a:pt x="916781" y="645318"/>
                  </a:lnTo>
                  <a:lnTo>
                    <a:pt x="923925" y="678656"/>
                  </a:lnTo>
                  <a:lnTo>
                    <a:pt x="900112" y="681037"/>
                  </a:lnTo>
                  <a:lnTo>
                    <a:pt x="945356" y="704850"/>
                  </a:lnTo>
                  <a:lnTo>
                    <a:pt x="985837" y="740568"/>
                  </a:lnTo>
                  <a:lnTo>
                    <a:pt x="1002506" y="747712"/>
                  </a:lnTo>
                  <a:lnTo>
                    <a:pt x="1016793" y="790575"/>
                  </a:lnTo>
                  <a:lnTo>
                    <a:pt x="1054893" y="802481"/>
                  </a:lnTo>
                  <a:lnTo>
                    <a:pt x="1057275" y="840581"/>
                  </a:lnTo>
                  <a:lnTo>
                    <a:pt x="1031081" y="862012"/>
                  </a:lnTo>
                  <a:lnTo>
                    <a:pt x="997743" y="881062"/>
                  </a:lnTo>
                  <a:lnTo>
                    <a:pt x="1002506" y="921543"/>
                  </a:lnTo>
                  <a:lnTo>
                    <a:pt x="971550" y="945356"/>
                  </a:lnTo>
                  <a:lnTo>
                    <a:pt x="928687" y="950118"/>
                  </a:lnTo>
                  <a:lnTo>
                    <a:pt x="904875" y="950118"/>
                  </a:lnTo>
                  <a:lnTo>
                    <a:pt x="873918" y="981075"/>
                  </a:lnTo>
                  <a:lnTo>
                    <a:pt x="845343" y="1007268"/>
                  </a:lnTo>
                  <a:lnTo>
                    <a:pt x="797718" y="983456"/>
                  </a:lnTo>
                  <a:lnTo>
                    <a:pt x="776287" y="954881"/>
                  </a:lnTo>
                  <a:lnTo>
                    <a:pt x="738187" y="921543"/>
                  </a:lnTo>
                  <a:lnTo>
                    <a:pt x="742950" y="904875"/>
                  </a:lnTo>
                  <a:lnTo>
                    <a:pt x="711993" y="907256"/>
                  </a:lnTo>
                  <a:lnTo>
                    <a:pt x="714375" y="871537"/>
                  </a:lnTo>
                  <a:lnTo>
                    <a:pt x="678656" y="892968"/>
                  </a:lnTo>
                  <a:lnTo>
                    <a:pt x="661987" y="885825"/>
                  </a:lnTo>
                  <a:lnTo>
                    <a:pt x="626268" y="847725"/>
                  </a:lnTo>
                  <a:lnTo>
                    <a:pt x="600075" y="850106"/>
                  </a:lnTo>
                  <a:lnTo>
                    <a:pt x="600075" y="850106"/>
                  </a:lnTo>
                  <a:lnTo>
                    <a:pt x="611981" y="821531"/>
                  </a:lnTo>
                  <a:lnTo>
                    <a:pt x="614362" y="781050"/>
                  </a:lnTo>
                  <a:lnTo>
                    <a:pt x="640556" y="754856"/>
                  </a:lnTo>
                  <a:lnTo>
                    <a:pt x="621506" y="721518"/>
                  </a:lnTo>
                  <a:lnTo>
                    <a:pt x="597693" y="671512"/>
                  </a:lnTo>
                  <a:lnTo>
                    <a:pt x="573881" y="619125"/>
                  </a:lnTo>
                  <a:lnTo>
                    <a:pt x="526256" y="561975"/>
                  </a:lnTo>
                  <a:lnTo>
                    <a:pt x="504825" y="545306"/>
                  </a:lnTo>
                  <a:lnTo>
                    <a:pt x="492918" y="545306"/>
                  </a:lnTo>
                  <a:lnTo>
                    <a:pt x="481012" y="573881"/>
                  </a:lnTo>
                  <a:lnTo>
                    <a:pt x="476250" y="583406"/>
                  </a:lnTo>
                  <a:lnTo>
                    <a:pt x="445293" y="566737"/>
                  </a:lnTo>
                  <a:lnTo>
                    <a:pt x="404812" y="592931"/>
                  </a:lnTo>
                  <a:lnTo>
                    <a:pt x="402431" y="600075"/>
                  </a:lnTo>
                  <a:lnTo>
                    <a:pt x="373856" y="592931"/>
                  </a:lnTo>
                  <a:lnTo>
                    <a:pt x="345281" y="588168"/>
                  </a:lnTo>
                  <a:lnTo>
                    <a:pt x="316706" y="602456"/>
                  </a:lnTo>
                  <a:lnTo>
                    <a:pt x="290512" y="626268"/>
                  </a:lnTo>
                  <a:lnTo>
                    <a:pt x="273843" y="619125"/>
                  </a:lnTo>
                  <a:lnTo>
                    <a:pt x="300037" y="581025"/>
                  </a:lnTo>
                  <a:lnTo>
                    <a:pt x="357187" y="545306"/>
                  </a:lnTo>
                  <a:lnTo>
                    <a:pt x="369093" y="526256"/>
                  </a:lnTo>
                  <a:lnTo>
                    <a:pt x="340518" y="495300"/>
                  </a:lnTo>
                  <a:lnTo>
                    <a:pt x="321468" y="502443"/>
                  </a:lnTo>
                  <a:lnTo>
                    <a:pt x="266700" y="447675"/>
                  </a:lnTo>
                  <a:lnTo>
                    <a:pt x="266700" y="447675"/>
                  </a:lnTo>
                  <a:lnTo>
                    <a:pt x="216693" y="459581"/>
                  </a:lnTo>
                  <a:lnTo>
                    <a:pt x="216693" y="459581"/>
                  </a:lnTo>
                  <a:lnTo>
                    <a:pt x="197643" y="464343"/>
                  </a:lnTo>
                  <a:lnTo>
                    <a:pt x="178593" y="447675"/>
                  </a:lnTo>
                  <a:lnTo>
                    <a:pt x="176212" y="433387"/>
                  </a:lnTo>
                  <a:lnTo>
                    <a:pt x="166687" y="459581"/>
                  </a:lnTo>
                  <a:lnTo>
                    <a:pt x="164306" y="483393"/>
                  </a:lnTo>
                  <a:lnTo>
                    <a:pt x="164306" y="483393"/>
                  </a:lnTo>
                  <a:lnTo>
                    <a:pt x="126206" y="507206"/>
                  </a:lnTo>
                  <a:lnTo>
                    <a:pt x="111918" y="497681"/>
                  </a:lnTo>
                  <a:lnTo>
                    <a:pt x="138112" y="464343"/>
                  </a:lnTo>
                  <a:lnTo>
                    <a:pt x="135731" y="409575"/>
                  </a:lnTo>
                  <a:lnTo>
                    <a:pt x="102393" y="373856"/>
                  </a:lnTo>
                  <a:lnTo>
                    <a:pt x="80962" y="302418"/>
                  </a:lnTo>
                  <a:lnTo>
                    <a:pt x="30956" y="247650"/>
                  </a:lnTo>
                  <a:lnTo>
                    <a:pt x="0" y="20240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igura a mano libera 242">
              <a:extLst>
                <a:ext uri="{FF2B5EF4-FFF2-40B4-BE49-F238E27FC236}">
                  <a16:creationId xmlns:a16="http://schemas.microsoft.com/office/drawing/2014/main" id="{6F722355-4B0E-4186-87EB-1B4B4E22D53B}"/>
                </a:ext>
              </a:extLst>
            </p:cNvPr>
            <p:cNvSpPr/>
            <p:nvPr/>
          </p:nvSpPr>
          <p:spPr bwMode="auto">
            <a:xfrm>
              <a:off x="9712239" y="4302430"/>
              <a:ext cx="669938" cy="695185"/>
            </a:xfrm>
            <a:custGeom>
              <a:avLst/>
              <a:gdLst>
                <a:gd name="connsiteX0" fmla="*/ 676275 w 778669"/>
                <a:gd name="connsiteY0" fmla="*/ 666750 h 819150"/>
                <a:gd name="connsiteX1" fmla="*/ 721519 w 778669"/>
                <a:gd name="connsiteY1" fmla="*/ 616744 h 819150"/>
                <a:gd name="connsiteX2" fmla="*/ 723900 w 778669"/>
                <a:gd name="connsiteY2" fmla="*/ 585788 h 819150"/>
                <a:gd name="connsiteX3" fmla="*/ 745332 w 778669"/>
                <a:gd name="connsiteY3" fmla="*/ 545306 h 819150"/>
                <a:gd name="connsiteX4" fmla="*/ 778669 w 778669"/>
                <a:gd name="connsiteY4" fmla="*/ 483394 h 819150"/>
                <a:gd name="connsiteX5" fmla="*/ 762000 w 778669"/>
                <a:gd name="connsiteY5" fmla="*/ 471488 h 819150"/>
                <a:gd name="connsiteX6" fmla="*/ 740569 w 778669"/>
                <a:gd name="connsiteY6" fmla="*/ 435769 h 819150"/>
                <a:gd name="connsiteX7" fmla="*/ 714375 w 778669"/>
                <a:gd name="connsiteY7" fmla="*/ 447675 h 819150"/>
                <a:gd name="connsiteX8" fmla="*/ 707232 w 778669"/>
                <a:gd name="connsiteY8" fmla="*/ 404813 h 819150"/>
                <a:gd name="connsiteX9" fmla="*/ 702469 w 778669"/>
                <a:gd name="connsiteY9" fmla="*/ 335756 h 819150"/>
                <a:gd name="connsiteX10" fmla="*/ 711994 w 778669"/>
                <a:gd name="connsiteY10" fmla="*/ 292894 h 819150"/>
                <a:gd name="connsiteX11" fmla="*/ 700088 w 778669"/>
                <a:gd name="connsiteY11" fmla="*/ 266700 h 819150"/>
                <a:gd name="connsiteX12" fmla="*/ 676275 w 778669"/>
                <a:gd name="connsiteY12" fmla="*/ 261938 h 819150"/>
                <a:gd name="connsiteX13" fmla="*/ 640557 w 778669"/>
                <a:gd name="connsiteY13" fmla="*/ 247650 h 819150"/>
                <a:gd name="connsiteX14" fmla="*/ 597694 w 778669"/>
                <a:gd name="connsiteY14" fmla="*/ 247650 h 819150"/>
                <a:gd name="connsiteX15" fmla="*/ 578644 w 778669"/>
                <a:gd name="connsiteY15" fmla="*/ 257175 h 819150"/>
                <a:gd name="connsiteX16" fmla="*/ 554832 w 778669"/>
                <a:gd name="connsiteY16" fmla="*/ 278606 h 819150"/>
                <a:gd name="connsiteX17" fmla="*/ 557213 w 778669"/>
                <a:gd name="connsiteY17" fmla="*/ 302419 h 819150"/>
                <a:gd name="connsiteX18" fmla="*/ 531019 w 778669"/>
                <a:gd name="connsiteY18" fmla="*/ 261938 h 819150"/>
                <a:gd name="connsiteX19" fmla="*/ 478632 w 778669"/>
                <a:gd name="connsiteY19" fmla="*/ 226219 h 819150"/>
                <a:gd name="connsiteX20" fmla="*/ 454819 w 778669"/>
                <a:gd name="connsiteY20" fmla="*/ 190500 h 819150"/>
                <a:gd name="connsiteX21" fmla="*/ 440532 w 778669"/>
                <a:gd name="connsiteY21" fmla="*/ 142875 h 819150"/>
                <a:gd name="connsiteX22" fmla="*/ 404813 w 778669"/>
                <a:gd name="connsiteY22" fmla="*/ 138113 h 819150"/>
                <a:gd name="connsiteX23" fmla="*/ 397669 w 778669"/>
                <a:gd name="connsiteY23" fmla="*/ 166688 h 819150"/>
                <a:gd name="connsiteX24" fmla="*/ 361950 w 778669"/>
                <a:gd name="connsiteY24" fmla="*/ 145256 h 819150"/>
                <a:gd name="connsiteX25" fmla="*/ 326232 w 778669"/>
                <a:gd name="connsiteY25" fmla="*/ 123825 h 819150"/>
                <a:gd name="connsiteX26" fmla="*/ 304800 w 778669"/>
                <a:gd name="connsiteY26" fmla="*/ 123825 h 819150"/>
                <a:gd name="connsiteX27" fmla="*/ 333375 w 778669"/>
                <a:gd name="connsiteY27" fmla="*/ 109538 h 819150"/>
                <a:gd name="connsiteX28" fmla="*/ 335757 w 778669"/>
                <a:gd name="connsiteY28" fmla="*/ 95250 h 819150"/>
                <a:gd name="connsiteX29" fmla="*/ 342900 w 778669"/>
                <a:gd name="connsiteY29" fmla="*/ 59531 h 819150"/>
                <a:gd name="connsiteX30" fmla="*/ 307182 w 778669"/>
                <a:gd name="connsiteY30" fmla="*/ 52388 h 819150"/>
                <a:gd name="connsiteX31" fmla="*/ 297657 w 778669"/>
                <a:gd name="connsiteY31" fmla="*/ 21431 h 819150"/>
                <a:gd name="connsiteX32" fmla="*/ 245269 w 778669"/>
                <a:gd name="connsiteY32" fmla="*/ 0 h 819150"/>
                <a:gd name="connsiteX33" fmla="*/ 230982 w 778669"/>
                <a:gd name="connsiteY33" fmla="*/ 26194 h 819150"/>
                <a:gd name="connsiteX34" fmla="*/ 173832 w 778669"/>
                <a:gd name="connsiteY34" fmla="*/ 40481 h 819150"/>
                <a:gd name="connsiteX35" fmla="*/ 159544 w 778669"/>
                <a:gd name="connsiteY35" fmla="*/ 40481 h 819150"/>
                <a:gd name="connsiteX36" fmla="*/ 128588 w 778669"/>
                <a:gd name="connsiteY36" fmla="*/ 40481 h 819150"/>
                <a:gd name="connsiteX37" fmla="*/ 100013 w 778669"/>
                <a:gd name="connsiteY37" fmla="*/ 47625 h 819150"/>
                <a:gd name="connsiteX38" fmla="*/ 102394 w 778669"/>
                <a:gd name="connsiteY38" fmla="*/ 69056 h 819150"/>
                <a:gd name="connsiteX39" fmla="*/ 92869 w 778669"/>
                <a:gd name="connsiteY39" fmla="*/ 116681 h 819150"/>
                <a:gd name="connsiteX40" fmla="*/ 100013 w 778669"/>
                <a:gd name="connsiteY40" fmla="*/ 147638 h 819150"/>
                <a:gd name="connsiteX41" fmla="*/ 69057 w 778669"/>
                <a:gd name="connsiteY41" fmla="*/ 159544 h 819150"/>
                <a:gd name="connsiteX42" fmla="*/ 11907 w 778669"/>
                <a:gd name="connsiteY42" fmla="*/ 169069 h 819150"/>
                <a:gd name="connsiteX43" fmla="*/ 0 w 778669"/>
                <a:gd name="connsiteY43" fmla="*/ 192881 h 819150"/>
                <a:gd name="connsiteX44" fmla="*/ 14288 w 778669"/>
                <a:gd name="connsiteY44" fmla="*/ 259556 h 819150"/>
                <a:gd name="connsiteX45" fmla="*/ 38100 w 778669"/>
                <a:gd name="connsiteY45" fmla="*/ 300038 h 819150"/>
                <a:gd name="connsiteX46" fmla="*/ 69057 w 778669"/>
                <a:gd name="connsiteY46" fmla="*/ 309563 h 819150"/>
                <a:gd name="connsiteX47" fmla="*/ 45244 w 778669"/>
                <a:gd name="connsiteY47" fmla="*/ 338138 h 819150"/>
                <a:gd name="connsiteX48" fmla="*/ 54769 w 778669"/>
                <a:gd name="connsiteY48" fmla="*/ 361950 h 819150"/>
                <a:gd name="connsiteX49" fmla="*/ 90488 w 778669"/>
                <a:gd name="connsiteY49" fmla="*/ 409575 h 819150"/>
                <a:gd name="connsiteX50" fmla="*/ 107157 w 778669"/>
                <a:gd name="connsiteY50" fmla="*/ 435769 h 819150"/>
                <a:gd name="connsiteX51" fmla="*/ 85725 w 778669"/>
                <a:gd name="connsiteY51" fmla="*/ 445294 h 819150"/>
                <a:gd name="connsiteX52" fmla="*/ 150019 w 778669"/>
                <a:gd name="connsiteY52" fmla="*/ 488156 h 819150"/>
                <a:gd name="connsiteX53" fmla="*/ 164307 w 778669"/>
                <a:gd name="connsiteY53" fmla="*/ 497681 h 819150"/>
                <a:gd name="connsiteX54" fmla="*/ 164307 w 778669"/>
                <a:gd name="connsiteY54" fmla="*/ 497681 h 819150"/>
                <a:gd name="connsiteX55" fmla="*/ 192882 w 778669"/>
                <a:gd name="connsiteY55" fmla="*/ 545306 h 819150"/>
                <a:gd name="connsiteX56" fmla="*/ 238125 w 778669"/>
                <a:gd name="connsiteY56" fmla="*/ 561975 h 819150"/>
                <a:gd name="connsiteX57" fmla="*/ 235744 w 778669"/>
                <a:gd name="connsiteY57" fmla="*/ 604838 h 819150"/>
                <a:gd name="connsiteX58" fmla="*/ 185738 w 778669"/>
                <a:gd name="connsiteY58" fmla="*/ 621506 h 819150"/>
                <a:gd name="connsiteX59" fmla="*/ 178594 w 778669"/>
                <a:gd name="connsiteY59" fmla="*/ 659606 h 819150"/>
                <a:gd name="connsiteX60" fmla="*/ 183357 w 778669"/>
                <a:gd name="connsiteY60" fmla="*/ 681038 h 819150"/>
                <a:gd name="connsiteX61" fmla="*/ 133350 w 778669"/>
                <a:gd name="connsiteY61" fmla="*/ 711994 h 819150"/>
                <a:gd name="connsiteX62" fmla="*/ 161925 w 778669"/>
                <a:gd name="connsiteY62" fmla="*/ 735806 h 819150"/>
                <a:gd name="connsiteX63" fmla="*/ 164307 w 778669"/>
                <a:gd name="connsiteY63" fmla="*/ 754856 h 819150"/>
                <a:gd name="connsiteX64" fmla="*/ 178594 w 778669"/>
                <a:gd name="connsiteY64" fmla="*/ 778669 h 819150"/>
                <a:gd name="connsiteX65" fmla="*/ 202407 w 778669"/>
                <a:gd name="connsiteY65" fmla="*/ 802481 h 819150"/>
                <a:gd name="connsiteX66" fmla="*/ 211932 w 778669"/>
                <a:gd name="connsiteY66" fmla="*/ 807244 h 819150"/>
                <a:gd name="connsiteX67" fmla="*/ 242888 w 778669"/>
                <a:gd name="connsiteY67" fmla="*/ 752475 h 819150"/>
                <a:gd name="connsiteX68" fmla="*/ 261938 w 778669"/>
                <a:gd name="connsiteY68" fmla="*/ 773906 h 819150"/>
                <a:gd name="connsiteX69" fmla="*/ 328613 w 778669"/>
                <a:gd name="connsiteY69" fmla="*/ 752475 h 819150"/>
                <a:gd name="connsiteX70" fmla="*/ 390525 w 778669"/>
                <a:gd name="connsiteY70" fmla="*/ 819150 h 819150"/>
                <a:gd name="connsiteX71" fmla="*/ 478632 w 778669"/>
                <a:gd name="connsiteY71" fmla="*/ 819150 h 819150"/>
                <a:gd name="connsiteX72" fmla="*/ 514350 w 778669"/>
                <a:gd name="connsiteY72" fmla="*/ 788194 h 819150"/>
                <a:gd name="connsiteX73" fmla="*/ 528638 w 778669"/>
                <a:gd name="connsiteY73" fmla="*/ 804863 h 819150"/>
                <a:gd name="connsiteX74" fmla="*/ 528638 w 778669"/>
                <a:gd name="connsiteY74" fmla="*/ 709613 h 819150"/>
                <a:gd name="connsiteX75" fmla="*/ 547688 w 778669"/>
                <a:gd name="connsiteY75" fmla="*/ 664369 h 819150"/>
                <a:gd name="connsiteX76" fmla="*/ 590550 w 778669"/>
                <a:gd name="connsiteY76" fmla="*/ 661988 h 819150"/>
                <a:gd name="connsiteX77" fmla="*/ 676275 w 778669"/>
                <a:gd name="connsiteY77" fmla="*/ 666750 h 81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78669" h="819150">
                  <a:moveTo>
                    <a:pt x="676275" y="666750"/>
                  </a:moveTo>
                  <a:lnTo>
                    <a:pt x="721519" y="616744"/>
                  </a:lnTo>
                  <a:lnTo>
                    <a:pt x="723900" y="585788"/>
                  </a:lnTo>
                  <a:lnTo>
                    <a:pt x="745332" y="545306"/>
                  </a:lnTo>
                  <a:lnTo>
                    <a:pt x="778669" y="483394"/>
                  </a:lnTo>
                  <a:lnTo>
                    <a:pt x="762000" y="471488"/>
                  </a:lnTo>
                  <a:lnTo>
                    <a:pt x="740569" y="435769"/>
                  </a:lnTo>
                  <a:lnTo>
                    <a:pt x="714375" y="447675"/>
                  </a:lnTo>
                  <a:lnTo>
                    <a:pt x="707232" y="404813"/>
                  </a:lnTo>
                  <a:lnTo>
                    <a:pt x="702469" y="335756"/>
                  </a:lnTo>
                  <a:lnTo>
                    <a:pt x="711994" y="292894"/>
                  </a:lnTo>
                  <a:lnTo>
                    <a:pt x="700088" y="266700"/>
                  </a:lnTo>
                  <a:lnTo>
                    <a:pt x="676275" y="261938"/>
                  </a:lnTo>
                  <a:lnTo>
                    <a:pt x="640557" y="247650"/>
                  </a:lnTo>
                  <a:lnTo>
                    <a:pt x="597694" y="247650"/>
                  </a:lnTo>
                  <a:lnTo>
                    <a:pt x="578644" y="257175"/>
                  </a:lnTo>
                  <a:lnTo>
                    <a:pt x="554832" y="278606"/>
                  </a:lnTo>
                  <a:lnTo>
                    <a:pt x="557213" y="302419"/>
                  </a:lnTo>
                  <a:lnTo>
                    <a:pt x="531019" y="261938"/>
                  </a:lnTo>
                  <a:lnTo>
                    <a:pt x="478632" y="226219"/>
                  </a:lnTo>
                  <a:lnTo>
                    <a:pt x="454819" y="190500"/>
                  </a:lnTo>
                  <a:lnTo>
                    <a:pt x="440532" y="142875"/>
                  </a:lnTo>
                  <a:lnTo>
                    <a:pt x="404813" y="138113"/>
                  </a:lnTo>
                  <a:lnTo>
                    <a:pt x="397669" y="166688"/>
                  </a:lnTo>
                  <a:lnTo>
                    <a:pt x="361950" y="145256"/>
                  </a:lnTo>
                  <a:lnTo>
                    <a:pt x="326232" y="123825"/>
                  </a:lnTo>
                  <a:lnTo>
                    <a:pt x="304800" y="123825"/>
                  </a:lnTo>
                  <a:lnTo>
                    <a:pt x="333375" y="109538"/>
                  </a:lnTo>
                  <a:lnTo>
                    <a:pt x="335757" y="95250"/>
                  </a:lnTo>
                  <a:lnTo>
                    <a:pt x="342900" y="59531"/>
                  </a:lnTo>
                  <a:lnTo>
                    <a:pt x="307182" y="52388"/>
                  </a:lnTo>
                  <a:lnTo>
                    <a:pt x="297657" y="21431"/>
                  </a:lnTo>
                  <a:lnTo>
                    <a:pt x="245269" y="0"/>
                  </a:lnTo>
                  <a:lnTo>
                    <a:pt x="230982" y="26194"/>
                  </a:lnTo>
                  <a:lnTo>
                    <a:pt x="173832" y="40481"/>
                  </a:lnTo>
                  <a:lnTo>
                    <a:pt x="159544" y="40481"/>
                  </a:lnTo>
                  <a:lnTo>
                    <a:pt x="128588" y="40481"/>
                  </a:lnTo>
                  <a:lnTo>
                    <a:pt x="100013" y="47625"/>
                  </a:lnTo>
                  <a:lnTo>
                    <a:pt x="102394" y="69056"/>
                  </a:lnTo>
                  <a:lnTo>
                    <a:pt x="92869" y="116681"/>
                  </a:lnTo>
                  <a:lnTo>
                    <a:pt x="100013" y="147638"/>
                  </a:lnTo>
                  <a:lnTo>
                    <a:pt x="69057" y="159544"/>
                  </a:lnTo>
                  <a:lnTo>
                    <a:pt x="11907" y="169069"/>
                  </a:lnTo>
                  <a:lnTo>
                    <a:pt x="0" y="192881"/>
                  </a:lnTo>
                  <a:lnTo>
                    <a:pt x="14288" y="259556"/>
                  </a:lnTo>
                  <a:lnTo>
                    <a:pt x="38100" y="300038"/>
                  </a:lnTo>
                  <a:lnTo>
                    <a:pt x="69057" y="309563"/>
                  </a:lnTo>
                  <a:lnTo>
                    <a:pt x="45244" y="338138"/>
                  </a:lnTo>
                  <a:lnTo>
                    <a:pt x="54769" y="361950"/>
                  </a:lnTo>
                  <a:lnTo>
                    <a:pt x="90488" y="409575"/>
                  </a:lnTo>
                  <a:lnTo>
                    <a:pt x="107157" y="435769"/>
                  </a:lnTo>
                  <a:lnTo>
                    <a:pt x="85725" y="445294"/>
                  </a:lnTo>
                  <a:lnTo>
                    <a:pt x="150019" y="488156"/>
                  </a:lnTo>
                  <a:lnTo>
                    <a:pt x="164307" y="497681"/>
                  </a:lnTo>
                  <a:lnTo>
                    <a:pt x="164307" y="497681"/>
                  </a:lnTo>
                  <a:lnTo>
                    <a:pt x="192882" y="545306"/>
                  </a:lnTo>
                  <a:lnTo>
                    <a:pt x="238125" y="561975"/>
                  </a:lnTo>
                  <a:lnTo>
                    <a:pt x="235744" y="604838"/>
                  </a:lnTo>
                  <a:lnTo>
                    <a:pt x="185738" y="621506"/>
                  </a:lnTo>
                  <a:lnTo>
                    <a:pt x="178594" y="659606"/>
                  </a:lnTo>
                  <a:lnTo>
                    <a:pt x="183357" y="681038"/>
                  </a:lnTo>
                  <a:lnTo>
                    <a:pt x="133350" y="711994"/>
                  </a:lnTo>
                  <a:lnTo>
                    <a:pt x="161925" y="735806"/>
                  </a:lnTo>
                  <a:lnTo>
                    <a:pt x="164307" y="754856"/>
                  </a:lnTo>
                  <a:lnTo>
                    <a:pt x="178594" y="778669"/>
                  </a:lnTo>
                  <a:lnTo>
                    <a:pt x="202407" y="802481"/>
                  </a:lnTo>
                  <a:lnTo>
                    <a:pt x="211932" y="807244"/>
                  </a:lnTo>
                  <a:lnTo>
                    <a:pt x="242888" y="752475"/>
                  </a:lnTo>
                  <a:lnTo>
                    <a:pt x="261938" y="773906"/>
                  </a:lnTo>
                  <a:lnTo>
                    <a:pt x="328613" y="752475"/>
                  </a:lnTo>
                  <a:lnTo>
                    <a:pt x="390525" y="819150"/>
                  </a:lnTo>
                  <a:lnTo>
                    <a:pt x="478632" y="819150"/>
                  </a:lnTo>
                  <a:lnTo>
                    <a:pt x="514350" y="788194"/>
                  </a:lnTo>
                  <a:lnTo>
                    <a:pt x="528638" y="804863"/>
                  </a:lnTo>
                  <a:lnTo>
                    <a:pt x="528638" y="709613"/>
                  </a:lnTo>
                  <a:lnTo>
                    <a:pt x="547688" y="664369"/>
                  </a:lnTo>
                  <a:lnTo>
                    <a:pt x="590550" y="661988"/>
                  </a:lnTo>
                  <a:lnTo>
                    <a:pt x="676275" y="66675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igura a mano libera 243">
              <a:extLst>
                <a:ext uri="{FF2B5EF4-FFF2-40B4-BE49-F238E27FC236}">
                  <a16:creationId xmlns:a16="http://schemas.microsoft.com/office/drawing/2014/main" id="{F9165820-6068-4B4D-A064-F871F5F9C6F7}"/>
                </a:ext>
              </a:extLst>
            </p:cNvPr>
            <p:cNvSpPr/>
            <p:nvPr/>
          </p:nvSpPr>
          <p:spPr bwMode="auto">
            <a:xfrm>
              <a:off x="9516974" y="3846910"/>
              <a:ext cx="1620867" cy="1193559"/>
            </a:xfrm>
            <a:custGeom>
              <a:avLst/>
              <a:gdLst>
                <a:gd name="connsiteX0" fmla="*/ 1023937 w 1883568"/>
                <a:gd name="connsiteY0" fmla="*/ 1012031 h 1409700"/>
                <a:gd name="connsiteX1" fmla="*/ 1100137 w 1883568"/>
                <a:gd name="connsiteY1" fmla="*/ 945356 h 1409700"/>
                <a:gd name="connsiteX2" fmla="*/ 1152525 w 1883568"/>
                <a:gd name="connsiteY2" fmla="*/ 942975 h 1409700"/>
                <a:gd name="connsiteX3" fmla="*/ 1193006 w 1883568"/>
                <a:gd name="connsiteY3" fmla="*/ 966787 h 1409700"/>
                <a:gd name="connsiteX4" fmla="*/ 1202531 w 1883568"/>
                <a:gd name="connsiteY4" fmla="*/ 985837 h 1409700"/>
                <a:gd name="connsiteX5" fmla="*/ 1190625 w 1883568"/>
                <a:gd name="connsiteY5" fmla="*/ 1014412 h 1409700"/>
                <a:gd name="connsiteX6" fmla="*/ 1264443 w 1883568"/>
                <a:gd name="connsiteY6" fmla="*/ 1054893 h 1409700"/>
                <a:gd name="connsiteX7" fmla="*/ 1323975 w 1883568"/>
                <a:gd name="connsiteY7" fmla="*/ 1069181 h 1409700"/>
                <a:gd name="connsiteX8" fmla="*/ 1350168 w 1883568"/>
                <a:gd name="connsiteY8" fmla="*/ 1090612 h 1409700"/>
                <a:gd name="connsiteX9" fmla="*/ 1385887 w 1883568"/>
                <a:gd name="connsiteY9" fmla="*/ 1076325 h 1409700"/>
                <a:gd name="connsiteX10" fmla="*/ 1540668 w 1883568"/>
                <a:gd name="connsiteY10" fmla="*/ 1081087 h 1409700"/>
                <a:gd name="connsiteX11" fmla="*/ 1569243 w 1883568"/>
                <a:gd name="connsiteY11" fmla="*/ 1128712 h 1409700"/>
                <a:gd name="connsiteX12" fmla="*/ 1612106 w 1883568"/>
                <a:gd name="connsiteY12" fmla="*/ 1188243 h 1409700"/>
                <a:gd name="connsiteX13" fmla="*/ 1616868 w 1883568"/>
                <a:gd name="connsiteY13" fmla="*/ 1219200 h 1409700"/>
                <a:gd name="connsiteX14" fmla="*/ 1600200 w 1883568"/>
                <a:gd name="connsiteY14" fmla="*/ 1243012 h 1409700"/>
                <a:gd name="connsiteX15" fmla="*/ 1626393 w 1883568"/>
                <a:gd name="connsiteY15" fmla="*/ 1254918 h 1409700"/>
                <a:gd name="connsiteX16" fmla="*/ 1609725 w 1883568"/>
                <a:gd name="connsiteY16" fmla="*/ 1283493 h 1409700"/>
                <a:gd name="connsiteX17" fmla="*/ 1702593 w 1883568"/>
                <a:gd name="connsiteY17" fmla="*/ 1369218 h 1409700"/>
                <a:gd name="connsiteX18" fmla="*/ 1721643 w 1883568"/>
                <a:gd name="connsiteY18" fmla="*/ 1376362 h 1409700"/>
                <a:gd name="connsiteX19" fmla="*/ 1776412 w 1883568"/>
                <a:gd name="connsiteY19" fmla="*/ 1390650 h 1409700"/>
                <a:gd name="connsiteX20" fmla="*/ 1826418 w 1883568"/>
                <a:gd name="connsiteY20" fmla="*/ 1409700 h 1409700"/>
                <a:gd name="connsiteX21" fmla="*/ 1826418 w 1883568"/>
                <a:gd name="connsiteY21" fmla="*/ 1357312 h 1409700"/>
                <a:gd name="connsiteX22" fmla="*/ 1819275 w 1883568"/>
                <a:gd name="connsiteY22" fmla="*/ 1319212 h 1409700"/>
                <a:gd name="connsiteX23" fmla="*/ 1840706 w 1883568"/>
                <a:gd name="connsiteY23" fmla="*/ 1281112 h 1409700"/>
                <a:gd name="connsiteX24" fmla="*/ 1843087 w 1883568"/>
                <a:gd name="connsiteY24" fmla="*/ 1235868 h 1409700"/>
                <a:gd name="connsiteX25" fmla="*/ 1883568 w 1883568"/>
                <a:gd name="connsiteY25" fmla="*/ 1188243 h 1409700"/>
                <a:gd name="connsiteX26" fmla="*/ 1869281 w 1883568"/>
                <a:gd name="connsiteY26" fmla="*/ 1145381 h 1409700"/>
                <a:gd name="connsiteX27" fmla="*/ 1843087 w 1883568"/>
                <a:gd name="connsiteY27" fmla="*/ 1073943 h 1409700"/>
                <a:gd name="connsiteX28" fmla="*/ 1793081 w 1883568"/>
                <a:gd name="connsiteY28" fmla="*/ 1031081 h 1409700"/>
                <a:gd name="connsiteX29" fmla="*/ 1731168 w 1883568"/>
                <a:gd name="connsiteY29" fmla="*/ 973931 h 1409700"/>
                <a:gd name="connsiteX30" fmla="*/ 1674018 w 1883568"/>
                <a:gd name="connsiteY30" fmla="*/ 947737 h 1409700"/>
                <a:gd name="connsiteX31" fmla="*/ 1609725 w 1883568"/>
                <a:gd name="connsiteY31" fmla="*/ 888206 h 1409700"/>
                <a:gd name="connsiteX32" fmla="*/ 1595437 w 1883568"/>
                <a:gd name="connsiteY32" fmla="*/ 838200 h 1409700"/>
                <a:gd name="connsiteX33" fmla="*/ 1538287 w 1883568"/>
                <a:gd name="connsiteY33" fmla="*/ 842962 h 1409700"/>
                <a:gd name="connsiteX34" fmla="*/ 1552575 w 1883568"/>
                <a:gd name="connsiteY34" fmla="*/ 814387 h 1409700"/>
                <a:gd name="connsiteX35" fmla="*/ 1483518 w 1883568"/>
                <a:gd name="connsiteY35" fmla="*/ 812006 h 1409700"/>
                <a:gd name="connsiteX36" fmla="*/ 1390650 w 1883568"/>
                <a:gd name="connsiteY36" fmla="*/ 754856 h 1409700"/>
                <a:gd name="connsiteX37" fmla="*/ 1352550 w 1883568"/>
                <a:gd name="connsiteY37" fmla="*/ 762000 h 1409700"/>
                <a:gd name="connsiteX38" fmla="*/ 1250156 w 1883568"/>
                <a:gd name="connsiteY38" fmla="*/ 676275 h 1409700"/>
                <a:gd name="connsiteX39" fmla="*/ 1221581 w 1883568"/>
                <a:gd name="connsiteY39" fmla="*/ 640556 h 1409700"/>
                <a:gd name="connsiteX40" fmla="*/ 1071562 w 1883568"/>
                <a:gd name="connsiteY40" fmla="*/ 566737 h 1409700"/>
                <a:gd name="connsiteX41" fmla="*/ 971550 w 1883568"/>
                <a:gd name="connsiteY41" fmla="*/ 528637 h 1409700"/>
                <a:gd name="connsiteX42" fmla="*/ 845343 w 1883568"/>
                <a:gd name="connsiteY42" fmla="*/ 483393 h 1409700"/>
                <a:gd name="connsiteX43" fmla="*/ 719137 w 1883568"/>
                <a:gd name="connsiteY43" fmla="*/ 433387 h 1409700"/>
                <a:gd name="connsiteX44" fmla="*/ 631031 w 1883568"/>
                <a:gd name="connsiteY44" fmla="*/ 373856 h 1409700"/>
                <a:gd name="connsiteX45" fmla="*/ 507206 w 1883568"/>
                <a:gd name="connsiteY45" fmla="*/ 304800 h 1409700"/>
                <a:gd name="connsiteX46" fmla="*/ 476250 w 1883568"/>
                <a:gd name="connsiteY46" fmla="*/ 238125 h 1409700"/>
                <a:gd name="connsiteX47" fmla="*/ 547687 w 1883568"/>
                <a:gd name="connsiteY47" fmla="*/ 197643 h 1409700"/>
                <a:gd name="connsiteX48" fmla="*/ 652462 w 1883568"/>
                <a:gd name="connsiteY48" fmla="*/ 121443 h 1409700"/>
                <a:gd name="connsiteX49" fmla="*/ 645318 w 1883568"/>
                <a:gd name="connsiteY49" fmla="*/ 52387 h 1409700"/>
                <a:gd name="connsiteX50" fmla="*/ 623887 w 1883568"/>
                <a:gd name="connsiteY50" fmla="*/ 19050 h 1409700"/>
                <a:gd name="connsiteX51" fmla="*/ 554831 w 1883568"/>
                <a:gd name="connsiteY51" fmla="*/ 0 h 1409700"/>
                <a:gd name="connsiteX52" fmla="*/ 492918 w 1883568"/>
                <a:gd name="connsiteY52" fmla="*/ 2381 h 1409700"/>
                <a:gd name="connsiteX53" fmla="*/ 414337 w 1883568"/>
                <a:gd name="connsiteY53" fmla="*/ 28575 h 1409700"/>
                <a:gd name="connsiteX54" fmla="*/ 340518 w 1883568"/>
                <a:gd name="connsiteY54" fmla="*/ 26193 h 1409700"/>
                <a:gd name="connsiteX55" fmla="*/ 319087 w 1883568"/>
                <a:gd name="connsiteY55" fmla="*/ 16668 h 1409700"/>
                <a:gd name="connsiteX56" fmla="*/ 269081 w 1883568"/>
                <a:gd name="connsiteY56" fmla="*/ 26193 h 1409700"/>
                <a:gd name="connsiteX57" fmla="*/ 169068 w 1883568"/>
                <a:gd name="connsiteY57" fmla="*/ 23812 h 1409700"/>
                <a:gd name="connsiteX58" fmla="*/ 92868 w 1883568"/>
                <a:gd name="connsiteY58" fmla="*/ 14287 h 1409700"/>
                <a:gd name="connsiteX59" fmla="*/ 83343 w 1883568"/>
                <a:gd name="connsiteY59" fmla="*/ 126206 h 1409700"/>
                <a:gd name="connsiteX60" fmla="*/ 111918 w 1883568"/>
                <a:gd name="connsiteY60" fmla="*/ 166687 h 1409700"/>
                <a:gd name="connsiteX61" fmla="*/ 92868 w 1883568"/>
                <a:gd name="connsiteY61" fmla="*/ 190500 h 1409700"/>
                <a:gd name="connsiteX62" fmla="*/ 54768 w 1883568"/>
                <a:gd name="connsiteY62" fmla="*/ 223837 h 1409700"/>
                <a:gd name="connsiteX63" fmla="*/ 19050 w 1883568"/>
                <a:gd name="connsiteY63" fmla="*/ 195262 h 1409700"/>
                <a:gd name="connsiteX64" fmla="*/ 0 w 1883568"/>
                <a:gd name="connsiteY64" fmla="*/ 254793 h 1409700"/>
                <a:gd name="connsiteX65" fmla="*/ 23812 w 1883568"/>
                <a:gd name="connsiteY65" fmla="*/ 290512 h 1409700"/>
                <a:gd name="connsiteX66" fmla="*/ 38100 w 1883568"/>
                <a:gd name="connsiteY66" fmla="*/ 330993 h 1409700"/>
                <a:gd name="connsiteX67" fmla="*/ 78581 w 1883568"/>
                <a:gd name="connsiteY67" fmla="*/ 354806 h 1409700"/>
                <a:gd name="connsiteX68" fmla="*/ 57150 w 1883568"/>
                <a:gd name="connsiteY68" fmla="*/ 378618 h 1409700"/>
                <a:gd name="connsiteX69" fmla="*/ 80962 w 1883568"/>
                <a:gd name="connsiteY69" fmla="*/ 419100 h 1409700"/>
                <a:gd name="connsiteX70" fmla="*/ 164306 w 1883568"/>
                <a:gd name="connsiteY70" fmla="*/ 461962 h 1409700"/>
                <a:gd name="connsiteX71" fmla="*/ 188118 w 1883568"/>
                <a:gd name="connsiteY71" fmla="*/ 471487 h 1409700"/>
                <a:gd name="connsiteX72" fmla="*/ 171450 w 1883568"/>
                <a:gd name="connsiteY72" fmla="*/ 483393 h 1409700"/>
                <a:gd name="connsiteX73" fmla="*/ 150018 w 1883568"/>
                <a:gd name="connsiteY73" fmla="*/ 516731 h 1409700"/>
                <a:gd name="connsiteX74" fmla="*/ 188118 w 1883568"/>
                <a:gd name="connsiteY74" fmla="*/ 573881 h 1409700"/>
                <a:gd name="connsiteX75" fmla="*/ 257175 w 1883568"/>
                <a:gd name="connsiteY75" fmla="*/ 559593 h 1409700"/>
                <a:gd name="connsiteX76" fmla="*/ 273843 w 1883568"/>
                <a:gd name="connsiteY76" fmla="*/ 583406 h 1409700"/>
                <a:gd name="connsiteX77" fmla="*/ 297656 w 1883568"/>
                <a:gd name="connsiteY77" fmla="*/ 583406 h 1409700"/>
                <a:gd name="connsiteX78" fmla="*/ 323850 w 1883568"/>
                <a:gd name="connsiteY78" fmla="*/ 600075 h 1409700"/>
                <a:gd name="connsiteX79" fmla="*/ 354806 w 1883568"/>
                <a:gd name="connsiteY79" fmla="*/ 581025 h 1409700"/>
                <a:gd name="connsiteX80" fmla="*/ 409575 w 1883568"/>
                <a:gd name="connsiteY80" fmla="*/ 578643 h 1409700"/>
                <a:gd name="connsiteX81" fmla="*/ 450056 w 1883568"/>
                <a:gd name="connsiteY81" fmla="*/ 578643 h 1409700"/>
                <a:gd name="connsiteX82" fmla="*/ 488156 w 1883568"/>
                <a:gd name="connsiteY82" fmla="*/ 533400 h 1409700"/>
                <a:gd name="connsiteX83" fmla="*/ 531018 w 1883568"/>
                <a:gd name="connsiteY83" fmla="*/ 571500 h 1409700"/>
                <a:gd name="connsiteX84" fmla="*/ 547687 w 1883568"/>
                <a:gd name="connsiteY84" fmla="*/ 588168 h 1409700"/>
                <a:gd name="connsiteX85" fmla="*/ 559593 w 1883568"/>
                <a:gd name="connsiteY85" fmla="*/ 597693 h 1409700"/>
                <a:gd name="connsiteX86" fmla="*/ 583406 w 1883568"/>
                <a:gd name="connsiteY86" fmla="*/ 614362 h 1409700"/>
                <a:gd name="connsiteX87" fmla="*/ 533400 w 1883568"/>
                <a:gd name="connsiteY87" fmla="*/ 650081 h 1409700"/>
                <a:gd name="connsiteX88" fmla="*/ 581025 w 1883568"/>
                <a:gd name="connsiteY88" fmla="*/ 681037 h 1409700"/>
                <a:gd name="connsiteX89" fmla="*/ 623887 w 1883568"/>
                <a:gd name="connsiteY89" fmla="*/ 709612 h 1409700"/>
                <a:gd name="connsiteX90" fmla="*/ 661987 w 1883568"/>
                <a:gd name="connsiteY90" fmla="*/ 671512 h 1409700"/>
                <a:gd name="connsiteX91" fmla="*/ 678656 w 1883568"/>
                <a:gd name="connsiteY91" fmla="*/ 683418 h 1409700"/>
                <a:gd name="connsiteX92" fmla="*/ 700087 w 1883568"/>
                <a:gd name="connsiteY92" fmla="*/ 759618 h 1409700"/>
                <a:gd name="connsiteX93" fmla="*/ 752475 w 1883568"/>
                <a:gd name="connsiteY93" fmla="*/ 792956 h 1409700"/>
                <a:gd name="connsiteX94" fmla="*/ 783431 w 1883568"/>
                <a:gd name="connsiteY94" fmla="*/ 838200 h 1409700"/>
                <a:gd name="connsiteX95" fmla="*/ 795337 w 1883568"/>
                <a:gd name="connsiteY95" fmla="*/ 807243 h 1409700"/>
                <a:gd name="connsiteX96" fmla="*/ 852487 w 1883568"/>
                <a:gd name="connsiteY96" fmla="*/ 792956 h 1409700"/>
                <a:gd name="connsiteX97" fmla="*/ 902493 w 1883568"/>
                <a:gd name="connsiteY97" fmla="*/ 800100 h 1409700"/>
                <a:gd name="connsiteX98" fmla="*/ 947737 w 1883568"/>
                <a:gd name="connsiteY98" fmla="*/ 823912 h 1409700"/>
                <a:gd name="connsiteX99" fmla="*/ 928687 w 1883568"/>
                <a:gd name="connsiteY99" fmla="*/ 878681 h 1409700"/>
                <a:gd name="connsiteX100" fmla="*/ 931068 w 1883568"/>
                <a:gd name="connsiteY100" fmla="*/ 928687 h 1409700"/>
                <a:gd name="connsiteX101" fmla="*/ 931068 w 1883568"/>
                <a:gd name="connsiteY101" fmla="*/ 983456 h 1409700"/>
                <a:gd name="connsiteX102" fmla="*/ 962025 w 1883568"/>
                <a:gd name="connsiteY102" fmla="*/ 973931 h 1409700"/>
                <a:gd name="connsiteX103" fmla="*/ 1023937 w 1883568"/>
                <a:gd name="connsiteY103" fmla="*/ 1012031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883568" h="1409700">
                  <a:moveTo>
                    <a:pt x="1023937" y="1012031"/>
                  </a:moveTo>
                  <a:lnTo>
                    <a:pt x="1100137" y="945356"/>
                  </a:lnTo>
                  <a:lnTo>
                    <a:pt x="1152525" y="942975"/>
                  </a:lnTo>
                  <a:lnTo>
                    <a:pt x="1193006" y="966787"/>
                  </a:lnTo>
                  <a:lnTo>
                    <a:pt x="1202531" y="985837"/>
                  </a:lnTo>
                  <a:lnTo>
                    <a:pt x="1190625" y="1014412"/>
                  </a:lnTo>
                  <a:lnTo>
                    <a:pt x="1264443" y="1054893"/>
                  </a:lnTo>
                  <a:lnTo>
                    <a:pt x="1323975" y="1069181"/>
                  </a:lnTo>
                  <a:lnTo>
                    <a:pt x="1350168" y="1090612"/>
                  </a:lnTo>
                  <a:lnTo>
                    <a:pt x="1385887" y="1076325"/>
                  </a:lnTo>
                  <a:lnTo>
                    <a:pt x="1540668" y="1081087"/>
                  </a:lnTo>
                  <a:lnTo>
                    <a:pt x="1569243" y="1128712"/>
                  </a:lnTo>
                  <a:lnTo>
                    <a:pt x="1612106" y="1188243"/>
                  </a:lnTo>
                  <a:lnTo>
                    <a:pt x="1616868" y="1219200"/>
                  </a:lnTo>
                  <a:lnTo>
                    <a:pt x="1600200" y="1243012"/>
                  </a:lnTo>
                  <a:lnTo>
                    <a:pt x="1626393" y="1254918"/>
                  </a:lnTo>
                  <a:lnTo>
                    <a:pt x="1609725" y="1283493"/>
                  </a:lnTo>
                  <a:lnTo>
                    <a:pt x="1702593" y="1369218"/>
                  </a:lnTo>
                  <a:lnTo>
                    <a:pt x="1721643" y="1376362"/>
                  </a:lnTo>
                  <a:lnTo>
                    <a:pt x="1776412" y="1390650"/>
                  </a:lnTo>
                  <a:lnTo>
                    <a:pt x="1826418" y="1409700"/>
                  </a:lnTo>
                  <a:lnTo>
                    <a:pt x="1826418" y="1357312"/>
                  </a:lnTo>
                  <a:lnTo>
                    <a:pt x="1819275" y="1319212"/>
                  </a:lnTo>
                  <a:lnTo>
                    <a:pt x="1840706" y="1281112"/>
                  </a:lnTo>
                  <a:lnTo>
                    <a:pt x="1843087" y="1235868"/>
                  </a:lnTo>
                  <a:lnTo>
                    <a:pt x="1883568" y="1188243"/>
                  </a:lnTo>
                  <a:lnTo>
                    <a:pt x="1869281" y="1145381"/>
                  </a:lnTo>
                  <a:lnTo>
                    <a:pt x="1843087" y="1073943"/>
                  </a:lnTo>
                  <a:lnTo>
                    <a:pt x="1793081" y="1031081"/>
                  </a:lnTo>
                  <a:lnTo>
                    <a:pt x="1731168" y="973931"/>
                  </a:lnTo>
                  <a:lnTo>
                    <a:pt x="1674018" y="947737"/>
                  </a:lnTo>
                  <a:lnTo>
                    <a:pt x="1609725" y="888206"/>
                  </a:lnTo>
                  <a:lnTo>
                    <a:pt x="1595437" y="838200"/>
                  </a:lnTo>
                  <a:lnTo>
                    <a:pt x="1538287" y="842962"/>
                  </a:lnTo>
                  <a:lnTo>
                    <a:pt x="1552575" y="814387"/>
                  </a:lnTo>
                  <a:lnTo>
                    <a:pt x="1483518" y="812006"/>
                  </a:lnTo>
                  <a:lnTo>
                    <a:pt x="1390650" y="754856"/>
                  </a:lnTo>
                  <a:lnTo>
                    <a:pt x="1352550" y="762000"/>
                  </a:lnTo>
                  <a:lnTo>
                    <a:pt x="1250156" y="676275"/>
                  </a:lnTo>
                  <a:lnTo>
                    <a:pt x="1221581" y="640556"/>
                  </a:lnTo>
                  <a:lnTo>
                    <a:pt x="1071562" y="566737"/>
                  </a:lnTo>
                  <a:lnTo>
                    <a:pt x="971550" y="528637"/>
                  </a:lnTo>
                  <a:lnTo>
                    <a:pt x="845343" y="483393"/>
                  </a:lnTo>
                  <a:lnTo>
                    <a:pt x="719137" y="433387"/>
                  </a:lnTo>
                  <a:lnTo>
                    <a:pt x="631031" y="373856"/>
                  </a:lnTo>
                  <a:lnTo>
                    <a:pt x="507206" y="304800"/>
                  </a:lnTo>
                  <a:lnTo>
                    <a:pt x="476250" y="238125"/>
                  </a:lnTo>
                  <a:lnTo>
                    <a:pt x="547687" y="197643"/>
                  </a:lnTo>
                  <a:lnTo>
                    <a:pt x="652462" y="121443"/>
                  </a:lnTo>
                  <a:lnTo>
                    <a:pt x="645318" y="52387"/>
                  </a:lnTo>
                  <a:lnTo>
                    <a:pt x="623887" y="19050"/>
                  </a:lnTo>
                  <a:lnTo>
                    <a:pt x="554831" y="0"/>
                  </a:lnTo>
                  <a:lnTo>
                    <a:pt x="492918" y="2381"/>
                  </a:lnTo>
                  <a:lnTo>
                    <a:pt x="414337" y="28575"/>
                  </a:lnTo>
                  <a:lnTo>
                    <a:pt x="340518" y="26193"/>
                  </a:lnTo>
                  <a:lnTo>
                    <a:pt x="319087" y="16668"/>
                  </a:lnTo>
                  <a:lnTo>
                    <a:pt x="269081" y="26193"/>
                  </a:lnTo>
                  <a:lnTo>
                    <a:pt x="169068" y="23812"/>
                  </a:lnTo>
                  <a:lnTo>
                    <a:pt x="92868" y="14287"/>
                  </a:lnTo>
                  <a:lnTo>
                    <a:pt x="83343" y="126206"/>
                  </a:lnTo>
                  <a:lnTo>
                    <a:pt x="111918" y="166687"/>
                  </a:lnTo>
                  <a:lnTo>
                    <a:pt x="92868" y="190500"/>
                  </a:lnTo>
                  <a:lnTo>
                    <a:pt x="54768" y="223837"/>
                  </a:lnTo>
                  <a:lnTo>
                    <a:pt x="19050" y="195262"/>
                  </a:lnTo>
                  <a:lnTo>
                    <a:pt x="0" y="254793"/>
                  </a:lnTo>
                  <a:lnTo>
                    <a:pt x="23812" y="290512"/>
                  </a:lnTo>
                  <a:lnTo>
                    <a:pt x="38100" y="330993"/>
                  </a:lnTo>
                  <a:lnTo>
                    <a:pt x="78581" y="354806"/>
                  </a:lnTo>
                  <a:lnTo>
                    <a:pt x="57150" y="378618"/>
                  </a:lnTo>
                  <a:lnTo>
                    <a:pt x="80962" y="419100"/>
                  </a:lnTo>
                  <a:lnTo>
                    <a:pt x="164306" y="461962"/>
                  </a:lnTo>
                  <a:lnTo>
                    <a:pt x="188118" y="471487"/>
                  </a:lnTo>
                  <a:lnTo>
                    <a:pt x="171450" y="483393"/>
                  </a:lnTo>
                  <a:lnTo>
                    <a:pt x="150018" y="516731"/>
                  </a:lnTo>
                  <a:lnTo>
                    <a:pt x="188118" y="573881"/>
                  </a:lnTo>
                  <a:lnTo>
                    <a:pt x="257175" y="559593"/>
                  </a:lnTo>
                  <a:lnTo>
                    <a:pt x="273843" y="583406"/>
                  </a:lnTo>
                  <a:lnTo>
                    <a:pt x="297656" y="583406"/>
                  </a:lnTo>
                  <a:lnTo>
                    <a:pt x="323850" y="600075"/>
                  </a:lnTo>
                  <a:lnTo>
                    <a:pt x="354806" y="581025"/>
                  </a:lnTo>
                  <a:lnTo>
                    <a:pt x="409575" y="578643"/>
                  </a:lnTo>
                  <a:lnTo>
                    <a:pt x="450056" y="578643"/>
                  </a:lnTo>
                  <a:lnTo>
                    <a:pt x="488156" y="533400"/>
                  </a:lnTo>
                  <a:lnTo>
                    <a:pt x="531018" y="571500"/>
                  </a:lnTo>
                  <a:lnTo>
                    <a:pt x="547687" y="588168"/>
                  </a:lnTo>
                  <a:lnTo>
                    <a:pt x="559593" y="597693"/>
                  </a:lnTo>
                  <a:lnTo>
                    <a:pt x="583406" y="614362"/>
                  </a:lnTo>
                  <a:lnTo>
                    <a:pt x="533400" y="650081"/>
                  </a:lnTo>
                  <a:lnTo>
                    <a:pt x="581025" y="681037"/>
                  </a:lnTo>
                  <a:lnTo>
                    <a:pt x="623887" y="709612"/>
                  </a:lnTo>
                  <a:lnTo>
                    <a:pt x="661987" y="671512"/>
                  </a:lnTo>
                  <a:lnTo>
                    <a:pt x="678656" y="683418"/>
                  </a:lnTo>
                  <a:lnTo>
                    <a:pt x="700087" y="759618"/>
                  </a:lnTo>
                  <a:lnTo>
                    <a:pt x="752475" y="792956"/>
                  </a:lnTo>
                  <a:lnTo>
                    <a:pt x="783431" y="838200"/>
                  </a:lnTo>
                  <a:lnTo>
                    <a:pt x="795337" y="807243"/>
                  </a:lnTo>
                  <a:lnTo>
                    <a:pt x="852487" y="792956"/>
                  </a:lnTo>
                  <a:lnTo>
                    <a:pt x="902493" y="800100"/>
                  </a:lnTo>
                  <a:lnTo>
                    <a:pt x="947737" y="823912"/>
                  </a:lnTo>
                  <a:lnTo>
                    <a:pt x="928687" y="878681"/>
                  </a:lnTo>
                  <a:lnTo>
                    <a:pt x="931068" y="928687"/>
                  </a:lnTo>
                  <a:lnTo>
                    <a:pt x="931068" y="983456"/>
                  </a:lnTo>
                  <a:lnTo>
                    <a:pt x="962025" y="973931"/>
                  </a:lnTo>
                  <a:lnTo>
                    <a:pt x="1023937" y="101203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igura a mano libera 244">
              <a:extLst>
                <a:ext uri="{FF2B5EF4-FFF2-40B4-BE49-F238E27FC236}">
                  <a16:creationId xmlns:a16="http://schemas.microsoft.com/office/drawing/2014/main" id="{DB82ABF7-5F9E-423D-B40F-DC347F0EF20B}"/>
                </a:ext>
              </a:extLst>
            </p:cNvPr>
            <p:cNvSpPr/>
            <p:nvPr/>
          </p:nvSpPr>
          <p:spPr bwMode="auto">
            <a:xfrm>
              <a:off x="9091516" y="3792946"/>
              <a:ext cx="522297" cy="385684"/>
            </a:xfrm>
            <a:custGeom>
              <a:avLst/>
              <a:gdLst>
                <a:gd name="connsiteX0" fmla="*/ 571500 w 609600"/>
                <a:gd name="connsiteY0" fmla="*/ 83344 h 454819"/>
                <a:gd name="connsiteX1" fmla="*/ 528638 w 609600"/>
                <a:gd name="connsiteY1" fmla="*/ 47625 h 454819"/>
                <a:gd name="connsiteX2" fmla="*/ 514350 w 609600"/>
                <a:gd name="connsiteY2" fmla="*/ 19050 h 454819"/>
                <a:gd name="connsiteX3" fmla="*/ 457200 w 609600"/>
                <a:gd name="connsiteY3" fmla="*/ 23812 h 454819"/>
                <a:gd name="connsiteX4" fmla="*/ 423863 w 609600"/>
                <a:gd name="connsiteY4" fmla="*/ 0 h 454819"/>
                <a:gd name="connsiteX5" fmla="*/ 388144 w 609600"/>
                <a:gd name="connsiteY5" fmla="*/ 45244 h 454819"/>
                <a:gd name="connsiteX6" fmla="*/ 369094 w 609600"/>
                <a:gd name="connsiteY6" fmla="*/ 88106 h 454819"/>
                <a:gd name="connsiteX7" fmla="*/ 342900 w 609600"/>
                <a:gd name="connsiteY7" fmla="*/ 114300 h 454819"/>
                <a:gd name="connsiteX8" fmla="*/ 261938 w 609600"/>
                <a:gd name="connsiteY8" fmla="*/ 207169 h 454819"/>
                <a:gd name="connsiteX9" fmla="*/ 252413 w 609600"/>
                <a:gd name="connsiteY9" fmla="*/ 140494 h 454819"/>
                <a:gd name="connsiteX10" fmla="*/ 252413 w 609600"/>
                <a:gd name="connsiteY10" fmla="*/ 140494 h 454819"/>
                <a:gd name="connsiteX11" fmla="*/ 242888 w 609600"/>
                <a:gd name="connsiteY11" fmla="*/ 126206 h 454819"/>
                <a:gd name="connsiteX12" fmla="*/ 219075 w 609600"/>
                <a:gd name="connsiteY12" fmla="*/ 126206 h 454819"/>
                <a:gd name="connsiteX13" fmla="*/ 195263 w 609600"/>
                <a:gd name="connsiteY13" fmla="*/ 116681 h 454819"/>
                <a:gd name="connsiteX14" fmla="*/ 195263 w 609600"/>
                <a:gd name="connsiteY14" fmla="*/ 128587 h 454819"/>
                <a:gd name="connsiteX15" fmla="*/ 171450 w 609600"/>
                <a:gd name="connsiteY15" fmla="*/ 102394 h 454819"/>
                <a:gd name="connsiteX16" fmla="*/ 147638 w 609600"/>
                <a:gd name="connsiteY16" fmla="*/ 109537 h 454819"/>
                <a:gd name="connsiteX17" fmla="*/ 114300 w 609600"/>
                <a:gd name="connsiteY17" fmla="*/ 142875 h 454819"/>
                <a:gd name="connsiteX18" fmla="*/ 85725 w 609600"/>
                <a:gd name="connsiteY18" fmla="*/ 152400 h 454819"/>
                <a:gd name="connsiteX19" fmla="*/ 109538 w 609600"/>
                <a:gd name="connsiteY19" fmla="*/ 173831 h 454819"/>
                <a:gd name="connsiteX20" fmla="*/ 109538 w 609600"/>
                <a:gd name="connsiteY20" fmla="*/ 173831 h 454819"/>
                <a:gd name="connsiteX21" fmla="*/ 61913 w 609600"/>
                <a:gd name="connsiteY21" fmla="*/ 192881 h 454819"/>
                <a:gd name="connsiteX22" fmla="*/ 35719 w 609600"/>
                <a:gd name="connsiteY22" fmla="*/ 219075 h 454819"/>
                <a:gd name="connsiteX23" fmla="*/ 45244 w 609600"/>
                <a:gd name="connsiteY23" fmla="*/ 242887 h 454819"/>
                <a:gd name="connsiteX24" fmla="*/ 9525 w 609600"/>
                <a:gd name="connsiteY24" fmla="*/ 230981 h 454819"/>
                <a:gd name="connsiteX25" fmla="*/ 9525 w 609600"/>
                <a:gd name="connsiteY25" fmla="*/ 230981 h 454819"/>
                <a:gd name="connsiteX26" fmla="*/ 16669 w 609600"/>
                <a:gd name="connsiteY26" fmla="*/ 297656 h 454819"/>
                <a:gd name="connsiteX27" fmla="*/ 30957 w 609600"/>
                <a:gd name="connsiteY27" fmla="*/ 352425 h 454819"/>
                <a:gd name="connsiteX28" fmla="*/ 0 w 609600"/>
                <a:gd name="connsiteY28" fmla="*/ 376237 h 454819"/>
                <a:gd name="connsiteX29" fmla="*/ 35719 w 609600"/>
                <a:gd name="connsiteY29" fmla="*/ 388144 h 454819"/>
                <a:gd name="connsiteX30" fmla="*/ 61913 w 609600"/>
                <a:gd name="connsiteY30" fmla="*/ 400050 h 454819"/>
                <a:gd name="connsiteX31" fmla="*/ 73819 w 609600"/>
                <a:gd name="connsiteY31" fmla="*/ 357187 h 454819"/>
                <a:gd name="connsiteX32" fmla="*/ 145257 w 609600"/>
                <a:gd name="connsiteY32" fmla="*/ 378619 h 454819"/>
                <a:gd name="connsiteX33" fmla="*/ 188119 w 609600"/>
                <a:gd name="connsiteY33" fmla="*/ 404812 h 454819"/>
                <a:gd name="connsiteX34" fmla="*/ 252413 w 609600"/>
                <a:gd name="connsiteY34" fmla="*/ 416719 h 454819"/>
                <a:gd name="connsiteX35" fmla="*/ 292894 w 609600"/>
                <a:gd name="connsiteY35" fmla="*/ 452437 h 454819"/>
                <a:gd name="connsiteX36" fmla="*/ 323850 w 609600"/>
                <a:gd name="connsiteY36" fmla="*/ 454819 h 454819"/>
                <a:gd name="connsiteX37" fmla="*/ 388144 w 609600"/>
                <a:gd name="connsiteY37" fmla="*/ 428625 h 454819"/>
                <a:gd name="connsiteX38" fmla="*/ 411957 w 609600"/>
                <a:gd name="connsiteY38" fmla="*/ 419100 h 454819"/>
                <a:gd name="connsiteX39" fmla="*/ 414338 w 609600"/>
                <a:gd name="connsiteY39" fmla="*/ 404812 h 454819"/>
                <a:gd name="connsiteX40" fmla="*/ 459582 w 609600"/>
                <a:gd name="connsiteY40" fmla="*/ 409575 h 454819"/>
                <a:gd name="connsiteX41" fmla="*/ 528638 w 609600"/>
                <a:gd name="connsiteY41" fmla="*/ 388144 h 454819"/>
                <a:gd name="connsiteX42" fmla="*/ 504825 w 609600"/>
                <a:gd name="connsiteY42" fmla="*/ 311944 h 454819"/>
                <a:gd name="connsiteX43" fmla="*/ 516732 w 609600"/>
                <a:gd name="connsiteY43" fmla="*/ 259556 h 454819"/>
                <a:gd name="connsiteX44" fmla="*/ 552450 w 609600"/>
                <a:gd name="connsiteY44" fmla="*/ 288131 h 454819"/>
                <a:gd name="connsiteX45" fmla="*/ 609600 w 609600"/>
                <a:gd name="connsiteY45" fmla="*/ 233362 h 454819"/>
                <a:gd name="connsiteX46" fmla="*/ 592932 w 609600"/>
                <a:gd name="connsiteY46" fmla="*/ 197644 h 454819"/>
                <a:gd name="connsiteX47" fmla="*/ 571500 w 609600"/>
                <a:gd name="connsiteY47" fmla="*/ 83344 h 454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9600" h="454819">
                  <a:moveTo>
                    <a:pt x="571500" y="83344"/>
                  </a:moveTo>
                  <a:lnTo>
                    <a:pt x="528638" y="47625"/>
                  </a:lnTo>
                  <a:lnTo>
                    <a:pt x="514350" y="19050"/>
                  </a:lnTo>
                  <a:lnTo>
                    <a:pt x="457200" y="23812"/>
                  </a:lnTo>
                  <a:lnTo>
                    <a:pt x="423863" y="0"/>
                  </a:lnTo>
                  <a:lnTo>
                    <a:pt x="388144" y="45244"/>
                  </a:lnTo>
                  <a:lnTo>
                    <a:pt x="369094" y="88106"/>
                  </a:lnTo>
                  <a:lnTo>
                    <a:pt x="342900" y="114300"/>
                  </a:lnTo>
                  <a:lnTo>
                    <a:pt x="261938" y="207169"/>
                  </a:lnTo>
                  <a:lnTo>
                    <a:pt x="252413" y="140494"/>
                  </a:lnTo>
                  <a:lnTo>
                    <a:pt x="252413" y="140494"/>
                  </a:lnTo>
                  <a:lnTo>
                    <a:pt x="242888" y="126206"/>
                  </a:lnTo>
                  <a:lnTo>
                    <a:pt x="219075" y="126206"/>
                  </a:lnTo>
                  <a:lnTo>
                    <a:pt x="195263" y="116681"/>
                  </a:lnTo>
                  <a:lnTo>
                    <a:pt x="195263" y="128587"/>
                  </a:lnTo>
                  <a:lnTo>
                    <a:pt x="171450" y="102394"/>
                  </a:lnTo>
                  <a:lnTo>
                    <a:pt x="147638" y="109537"/>
                  </a:lnTo>
                  <a:lnTo>
                    <a:pt x="114300" y="142875"/>
                  </a:lnTo>
                  <a:lnTo>
                    <a:pt x="85725" y="152400"/>
                  </a:lnTo>
                  <a:lnTo>
                    <a:pt x="109538" y="173831"/>
                  </a:lnTo>
                  <a:lnTo>
                    <a:pt x="109538" y="173831"/>
                  </a:lnTo>
                  <a:lnTo>
                    <a:pt x="61913" y="192881"/>
                  </a:lnTo>
                  <a:lnTo>
                    <a:pt x="35719" y="219075"/>
                  </a:lnTo>
                  <a:lnTo>
                    <a:pt x="45244" y="242887"/>
                  </a:lnTo>
                  <a:lnTo>
                    <a:pt x="9525" y="230981"/>
                  </a:lnTo>
                  <a:lnTo>
                    <a:pt x="9525" y="230981"/>
                  </a:lnTo>
                  <a:lnTo>
                    <a:pt x="16669" y="297656"/>
                  </a:lnTo>
                  <a:lnTo>
                    <a:pt x="30957" y="352425"/>
                  </a:lnTo>
                  <a:lnTo>
                    <a:pt x="0" y="376237"/>
                  </a:lnTo>
                  <a:lnTo>
                    <a:pt x="35719" y="388144"/>
                  </a:lnTo>
                  <a:lnTo>
                    <a:pt x="61913" y="400050"/>
                  </a:lnTo>
                  <a:lnTo>
                    <a:pt x="73819" y="357187"/>
                  </a:lnTo>
                  <a:lnTo>
                    <a:pt x="145257" y="378619"/>
                  </a:lnTo>
                  <a:lnTo>
                    <a:pt x="188119" y="404812"/>
                  </a:lnTo>
                  <a:lnTo>
                    <a:pt x="252413" y="416719"/>
                  </a:lnTo>
                  <a:lnTo>
                    <a:pt x="292894" y="452437"/>
                  </a:lnTo>
                  <a:lnTo>
                    <a:pt x="323850" y="454819"/>
                  </a:lnTo>
                  <a:lnTo>
                    <a:pt x="388144" y="428625"/>
                  </a:lnTo>
                  <a:lnTo>
                    <a:pt x="411957" y="419100"/>
                  </a:lnTo>
                  <a:lnTo>
                    <a:pt x="414338" y="404812"/>
                  </a:lnTo>
                  <a:lnTo>
                    <a:pt x="459582" y="409575"/>
                  </a:lnTo>
                  <a:lnTo>
                    <a:pt x="528638" y="388144"/>
                  </a:lnTo>
                  <a:lnTo>
                    <a:pt x="504825" y="311944"/>
                  </a:lnTo>
                  <a:lnTo>
                    <a:pt x="516732" y="259556"/>
                  </a:lnTo>
                  <a:lnTo>
                    <a:pt x="552450" y="288131"/>
                  </a:lnTo>
                  <a:lnTo>
                    <a:pt x="609600" y="233362"/>
                  </a:lnTo>
                  <a:lnTo>
                    <a:pt x="592932" y="197644"/>
                  </a:lnTo>
                  <a:cubicBezTo>
                    <a:pt x="593726" y="168275"/>
                    <a:pt x="594519" y="138906"/>
                    <a:pt x="571500" y="83344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igura a mano libera 245">
              <a:extLst>
                <a:ext uri="{FF2B5EF4-FFF2-40B4-BE49-F238E27FC236}">
                  <a16:creationId xmlns:a16="http://schemas.microsoft.com/office/drawing/2014/main" id="{8DD72CE5-74FC-485C-BDBA-8E1BB193EC7D}"/>
                </a:ext>
              </a:extLst>
            </p:cNvPr>
            <p:cNvSpPr/>
            <p:nvPr/>
          </p:nvSpPr>
          <p:spPr bwMode="auto">
            <a:xfrm>
              <a:off x="8673995" y="3323141"/>
              <a:ext cx="784240" cy="688836"/>
            </a:xfrm>
            <a:custGeom>
              <a:avLst/>
              <a:gdLst>
                <a:gd name="connsiteX0" fmla="*/ 464344 w 912019"/>
                <a:gd name="connsiteY0" fmla="*/ 0 h 812006"/>
                <a:gd name="connsiteX1" fmla="*/ 369094 w 912019"/>
                <a:gd name="connsiteY1" fmla="*/ 21431 h 812006"/>
                <a:gd name="connsiteX2" fmla="*/ 352425 w 912019"/>
                <a:gd name="connsiteY2" fmla="*/ 42862 h 812006"/>
                <a:gd name="connsiteX3" fmla="*/ 330994 w 912019"/>
                <a:gd name="connsiteY3" fmla="*/ 61912 h 812006"/>
                <a:gd name="connsiteX4" fmla="*/ 314325 w 912019"/>
                <a:gd name="connsiteY4" fmla="*/ 57150 h 812006"/>
                <a:gd name="connsiteX5" fmla="*/ 278607 w 912019"/>
                <a:gd name="connsiteY5" fmla="*/ 57150 h 812006"/>
                <a:gd name="connsiteX6" fmla="*/ 264319 w 912019"/>
                <a:gd name="connsiteY6" fmla="*/ 90487 h 812006"/>
                <a:gd name="connsiteX7" fmla="*/ 257175 w 912019"/>
                <a:gd name="connsiteY7" fmla="*/ 102393 h 812006"/>
                <a:gd name="connsiteX8" fmla="*/ 185738 w 912019"/>
                <a:gd name="connsiteY8" fmla="*/ 138112 h 812006"/>
                <a:gd name="connsiteX9" fmla="*/ 202407 w 912019"/>
                <a:gd name="connsiteY9" fmla="*/ 150018 h 812006"/>
                <a:gd name="connsiteX10" fmla="*/ 207169 w 912019"/>
                <a:gd name="connsiteY10" fmla="*/ 171450 h 812006"/>
                <a:gd name="connsiteX11" fmla="*/ 197644 w 912019"/>
                <a:gd name="connsiteY11" fmla="*/ 197643 h 812006"/>
                <a:gd name="connsiteX12" fmla="*/ 159544 w 912019"/>
                <a:gd name="connsiteY12" fmla="*/ 207168 h 812006"/>
                <a:gd name="connsiteX13" fmla="*/ 102394 w 912019"/>
                <a:gd name="connsiteY13" fmla="*/ 190500 h 812006"/>
                <a:gd name="connsiteX14" fmla="*/ 83344 w 912019"/>
                <a:gd name="connsiteY14" fmla="*/ 221456 h 812006"/>
                <a:gd name="connsiteX15" fmla="*/ 90488 w 912019"/>
                <a:gd name="connsiteY15" fmla="*/ 264318 h 812006"/>
                <a:gd name="connsiteX16" fmla="*/ 73819 w 912019"/>
                <a:gd name="connsiteY16" fmla="*/ 278606 h 812006"/>
                <a:gd name="connsiteX17" fmla="*/ 50007 w 912019"/>
                <a:gd name="connsiteY17" fmla="*/ 295275 h 812006"/>
                <a:gd name="connsiteX18" fmla="*/ 85725 w 912019"/>
                <a:gd name="connsiteY18" fmla="*/ 335756 h 812006"/>
                <a:gd name="connsiteX19" fmla="*/ 97632 w 912019"/>
                <a:gd name="connsiteY19" fmla="*/ 371475 h 812006"/>
                <a:gd name="connsiteX20" fmla="*/ 121444 w 912019"/>
                <a:gd name="connsiteY20" fmla="*/ 404812 h 812006"/>
                <a:gd name="connsiteX21" fmla="*/ 154782 w 912019"/>
                <a:gd name="connsiteY21" fmla="*/ 440531 h 812006"/>
                <a:gd name="connsiteX22" fmla="*/ 176213 w 912019"/>
                <a:gd name="connsiteY22" fmla="*/ 454818 h 812006"/>
                <a:gd name="connsiteX23" fmla="*/ 178594 w 912019"/>
                <a:gd name="connsiteY23" fmla="*/ 478631 h 812006"/>
                <a:gd name="connsiteX24" fmla="*/ 159544 w 912019"/>
                <a:gd name="connsiteY24" fmla="*/ 502443 h 812006"/>
                <a:gd name="connsiteX25" fmla="*/ 135732 w 912019"/>
                <a:gd name="connsiteY25" fmla="*/ 502443 h 812006"/>
                <a:gd name="connsiteX26" fmla="*/ 114300 w 912019"/>
                <a:gd name="connsiteY26" fmla="*/ 502443 h 812006"/>
                <a:gd name="connsiteX27" fmla="*/ 97632 w 912019"/>
                <a:gd name="connsiteY27" fmla="*/ 492918 h 812006"/>
                <a:gd name="connsiteX28" fmla="*/ 33338 w 912019"/>
                <a:gd name="connsiteY28" fmla="*/ 461962 h 812006"/>
                <a:gd name="connsiteX29" fmla="*/ 30957 w 912019"/>
                <a:gd name="connsiteY29" fmla="*/ 492918 h 812006"/>
                <a:gd name="connsiteX30" fmla="*/ 11907 w 912019"/>
                <a:gd name="connsiteY30" fmla="*/ 500062 h 812006"/>
                <a:gd name="connsiteX31" fmla="*/ 0 w 912019"/>
                <a:gd name="connsiteY31" fmla="*/ 528637 h 812006"/>
                <a:gd name="connsiteX32" fmla="*/ 11907 w 912019"/>
                <a:gd name="connsiteY32" fmla="*/ 569118 h 812006"/>
                <a:gd name="connsiteX33" fmla="*/ 102394 w 912019"/>
                <a:gd name="connsiteY33" fmla="*/ 595312 h 812006"/>
                <a:gd name="connsiteX34" fmla="*/ 180975 w 912019"/>
                <a:gd name="connsiteY34" fmla="*/ 640556 h 812006"/>
                <a:gd name="connsiteX35" fmla="*/ 192882 w 912019"/>
                <a:gd name="connsiteY35" fmla="*/ 714375 h 812006"/>
                <a:gd name="connsiteX36" fmla="*/ 221457 w 912019"/>
                <a:gd name="connsiteY36" fmla="*/ 700087 h 812006"/>
                <a:gd name="connsiteX37" fmla="*/ 269082 w 912019"/>
                <a:gd name="connsiteY37" fmla="*/ 742950 h 812006"/>
                <a:gd name="connsiteX38" fmla="*/ 302419 w 912019"/>
                <a:gd name="connsiteY38" fmla="*/ 735806 h 812006"/>
                <a:gd name="connsiteX39" fmla="*/ 347663 w 912019"/>
                <a:gd name="connsiteY39" fmla="*/ 709612 h 812006"/>
                <a:gd name="connsiteX40" fmla="*/ 366713 w 912019"/>
                <a:gd name="connsiteY40" fmla="*/ 728662 h 812006"/>
                <a:gd name="connsiteX41" fmla="*/ 402432 w 912019"/>
                <a:gd name="connsiteY41" fmla="*/ 762000 h 812006"/>
                <a:gd name="connsiteX42" fmla="*/ 402432 w 912019"/>
                <a:gd name="connsiteY42" fmla="*/ 762000 h 812006"/>
                <a:gd name="connsiteX43" fmla="*/ 459582 w 912019"/>
                <a:gd name="connsiteY43" fmla="*/ 785812 h 812006"/>
                <a:gd name="connsiteX44" fmla="*/ 478632 w 912019"/>
                <a:gd name="connsiteY44" fmla="*/ 812006 h 812006"/>
                <a:gd name="connsiteX45" fmla="*/ 478632 w 912019"/>
                <a:gd name="connsiteY45" fmla="*/ 812006 h 812006"/>
                <a:gd name="connsiteX46" fmla="*/ 478632 w 912019"/>
                <a:gd name="connsiteY46" fmla="*/ 783431 h 812006"/>
                <a:gd name="connsiteX47" fmla="*/ 533400 w 912019"/>
                <a:gd name="connsiteY47" fmla="*/ 800100 h 812006"/>
                <a:gd name="connsiteX48" fmla="*/ 545307 w 912019"/>
                <a:gd name="connsiteY48" fmla="*/ 735806 h 812006"/>
                <a:gd name="connsiteX49" fmla="*/ 590550 w 912019"/>
                <a:gd name="connsiteY49" fmla="*/ 733425 h 812006"/>
                <a:gd name="connsiteX50" fmla="*/ 578644 w 912019"/>
                <a:gd name="connsiteY50" fmla="*/ 707231 h 812006"/>
                <a:gd name="connsiteX51" fmla="*/ 657225 w 912019"/>
                <a:gd name="connsiteY51" fmla="*/ 652462 h 812006"/>
                <a:gd name="connsiteX52" fmla="*/ 669132 w 912019"/>
                <a:gd name="connsiteY52" fmla="*/ 683418 h 812006"/>
                <a:gd name="connsiteX53" fmla="*/ 726282 w 912019"/>
                <a:gd name="connsiteY53" fmla="*/ 681037 h 812006"/>
                <a:gd name="connsiteX54" fmla="*/ 740569 w 912019"/>
                <a:gd name="connsiteY54" fmla="*/ 685800 h 812006"/>
                <a:gd name="connsiteX55" fmla="*/ 745332 w 912019"/>
                <a:gd name="connsiteY55" fmla="*/ 754856 h 812006"/>
                <a:gd name="connsiteX56" fmla="*/ 850107 w 912019"/>
                <a:gd name="connsiteY56" fmla="*/ 640556 h 812006"/>
                <a:gd name="connsiteX57" fmla="*/ 912019 w 912019"/>
                <a:gd name="connsiteY57" fmla="*/ 547687 h 812006"/>
                <a:gd name="connsiteX58" fmla="*/ 876300 w 912019"/>
                <a:gd name="connsiteY58" fmla="*/ 542925 h 812006"/>
                <a:gd name="connsiteX59" fmla="*/ 866775 w 912019"/>
                <a:gd name="connsiteY59" fmla="*/ 481012 h 812006"/>
                <a:gd name="connsiteX60" fmla="*/ 831057 w 912019"/>
                <a:gd name="connsiteY60" fmla="*/ 457200 h 812006"/>
                <a:gd name="connsiteX61" fmla="*/ 781050 w 912019"/>
                <a:gd name="connsiteY61" fmla="*/ 457200 h 812006"/>
                <a:gd name="connsiteX62" fmla="*/ 721519 w 912019"/>
                <a:gd name="connsiteY62" fmla="*/ 395287 h 812006"/>
                <a:gd name="connsiteX63" fmla="*/ 711994 w 912019"/>
                <a:gd name="connsiteY63" fmla="*/ 345281 h 812006"/>
                <a:gd name="connsiteX64" fmla="*/ 645319 w 912019"/>
                <a:gd name="connsiteY64" fmla="*/ 314325 h 812006"/>
                <a:gd name="connsiteX65" fmla="*/ 611982 w 912019"/>
                <a:gd name="connsiteY65" fmla="*/ 288131 h 812006"/>
                <a:gd name="connsiteX66" fmla="*/ 540544 w 912019"/>
                <a:gd name="connsiteY66" fmla="*/ 188118 h 812006"/>
                <a:gd name="connsiteX67" fmla="*/ 490538 w 912019"/>
                <a:gd name="connsiteY67" fmla="*/ 100012 h 812006"/>
                <a:gd name="connsiteX68" fmla="*/ 464344 w 912019"/>
                <a:gd name="connsiteY68" fmla="*/ 0 h 812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912019" h="812006">
                  <a:moveTo>
                    <a:pt x="464344" y="0"/>
                  </a:moveTo>
                  <a:lnTo>
                    <a:pt x="369094" y="21431"/>
                  </a:lnTo>
                  <a:lnTo>
                    <a:pt x="352425" y="42862"/>
                  </a:lnTo>
                  <a:lnTo>
                    <a:pt x="330994" y="61912"/>
                  </a:lnTo>
                  <a:lnTo>
                    <a:pt x="314325" y="57150"/>
                  </a:lnTo>
                  <a:lnTo>
                    <a:pt x="278607" y="57150"/>
                  </a:lnTo>
                  <a:lnTo>
                    <a:pt x="264319" y="90487"/>
                  </a:lnTo>
                  <a:lnTo>
                    <a:pt x="257175" y="102393"/>
                  </a:lnTo>
                  <a:lnTo>
                    <a:pt x="185738" y="138112"/>
                  </a:lnTo>
                  <a:lnTo>
                    <a:pt x="202407" y="150018"/>
                  </a:lnTo>
                  <a:lnTo>
                    <a:pt x="207169" y="171450"/>
                  </a:lnTo>
                  <a:lnTo>
                    <a:pt x="197644" y="197643"/>
                  </a:lnTo>
                  <a:lnTo>
                    <a:pt x="159544" y="207168"/>
                  </a:lnTo>
                  <a:lnTo>
                    <a:pt x="102394" y="190500"/>
                  </a:lnTo>
                  <a:lnTo>
                    <a:pt x="83344" y="221456"/>
                  </a:lnTo>
                  <a:lnTo>
                    <a:pt x="90488" y="264318"/>
                  </a:lnTo>
                  <a:lnTo>
                    <a:pt x="73819" y="278606"/>
                  </a:lnTo>
                  <a:lnTo>
                    <a:pt x="50007" y="295275"/>
                  </a:lnTo>
                  <a:lnTo>
                    <a:pt x="85725" y="335756"/>
                  </a:lnTo>
                  <a:lnTo>
                    <a:pt x="97632" y="371475"/>
                  </a:lnTo>
                  <a:lnTo>
                    <a:pt x="121444" y="404812"/>
                  </a:lnTo>
                  <a:lnTo>
                    <a:pt x="154782" y="440531"/>
                  </a:lnTo>
                  <a:lnTo>
                    <a:pt x="176213" y="454818"/>
                  </a:lnTo>
                  <a:lnTo>
                    <a:pt x="178594" y="478631"/>
                  </a:lnTo>
                  <a:lnTo>
                    <a:pt x="159544" y="502443"/>
                  </a:lnTo>
                  <a:lnTo>
                    <a:pt x="135732" y="502443"/>
                  </a:lnTo>
                  <a:lnTo>
                    <a:pt x="114300" y="502443"/>
                  </a:lnTo>
                  <a:lnTo>
                    <a:pt x="97632" y="492918"/>
                  </a:lnTo>
                  <a:lnTo>
                    <a:pt x="33338" y="461962"/>
                  </a:lnTo>
                  <a:lnTo>
                    <a:pt x="30957" y="492918"/>
                  </a:lnTo>
                  <a:lnTo>
                    <a:pt x="11907" y="500062"/>
                  </a:lnTo>
                  <a:lnTo>
                    <a:pt x="0" y="528637"/>
                  </a:lnTo>
                  <a:lnTo>
                    <a:pt x="11907" y="569118"/>
                  </a:lnTo>
                  <a:lnTo>
                    <a:pt x="102394" y="595312"/>
                  </a:lnTo>
                  <a:lnTo>
                    <a:pt x="180975" y="640556"/>
                  </a:lnTo>
                  <a:lnTo>
                    <a:pt x="192882" y="714375"/>
                  </a:lnTo>
                  <a:lnTo>
                    <a:pt x="221457" y="700087"/>
                  </a:lnTo>
                  <a:lnTo>
                    <a:pt x="269082" y="742950"/>
                  </a:lnTo>
                  <a:lnTo>
                    <a:pt x="302419" y="735806"/>
                  </a:lnTo>
                  <a:lnTo>
                    <a:pt x="347663" y="709612"/>
                  </a:lnTo>
                  <a:lnTo>
                    <a:pt x="366713" y="728662"/>
                  </a:lnTo>
                  <a:lnTo>
                    <a:pt x="402432" y="762000"/>
                  </a:lnTo>
                  <a:lnTo>
                    <a:pt x="402432" y="762000"/>
                  </a:lnTo>
                  <a:lnTo>
                    <a:pt x="459582" y="785812"/>
                  </a:lnTo>
                  <a:lnTo>
                    <a:pt x="478632" y="812006"/>
                  </a:lnTo>
                  <a:lnTo>
                    <a:pt x="478632" y="812006"/>
                  </a:lnTo>
                  <a:lnTo>
                    <a:pt x="478632" y="783431"/>
                  </a:lnTo>
                  <a:lnTo>
                    <a:pt x="533400" y="800100"/>
                  </a:lnTo>
                  <a:lnTo>
                    <a:pt x="545307" y="735806"/>
                  </a:lnTo>
                  <a:lnTo>
                    <a:pt x="590550" y="733425"/>
                  </a:lnTo>
                  <a:lnTo>
                    <a:pt x="578644" y="707231"/>
                  </a:lnTo>
                  <a:lnTo>
                    <a:pt x="657225" y="652462"/>
                  </a:lnTo>
                  <a:lnTo>
                    <a:pt x="669132" y="683418"/>
                  </a:lnTo>
                  <a:lnTo>
                    <a:pt x="726282" y="681037"/>
                  </a:lnTo>
                  <a:lnTo>
                    <a:pt x="740569" y="685800"/>
                  </a:lnTo>
                  <a:lnTo>
                    <a:pt x="745332" y="754856"/>
                  </a:lnTo>
                  <a:lnTo>
                    <a:pt x="850107" y="640556"/>
                  </a:lnTo>
                  <a:lnTo>
                    <a:pt x="912019" y="547687"/>
                  </a:lnTo>
                  <a:lnTo>
                    <a:pt x="876300" y="542925"/>
                  </a:lnTo>
                  <a:lnTo>
                    <a:pt x="866775" y="481012"/>
                  </a:lnTo>
                  <a:lnTo>
                    <a:pt x="831057" y="457200"/>
                  </a:lnTo>
                  <a:lnTo>
                    <a:pt x="781050" y="457200"/>
                  </a:lnTo>
                  <a:lnTo>
                    <a:pt x="721519" y="395287"/>
                  </a:lnTo>
                  <a:lnTo>
                    <a:pt x="711994" y="345281"/>
                  </a:lnTo>
                  <a:lnTo>
                    <a:pt x="645319" y="314325"/>
                  </a:lnTo>
                  <a:lnTo>
                    <a:pt x="611982" y="288131"/>
                  </a:lnTo>
                  <a:lnTo>
                    <a:pt x="540544" y="188118"/>
                  </a:lnTo>
                  <a:lnTo>
                    <a:pt x="490538" y="100012"/>
                  </a:lnTo>
                  <a:lnTo>
                    <a:pt x="46434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igura a mano libera 246">
              <a:extLst>
                <a:ext uri="{FF2B5EF4-FFF2-40B4-BE49-F238E27FC236}">
                  <a16:creationId xmlns:a16="http://schemas.microsoft.com/office/drawing/2014/main" id="{8FA6B574-8DBA-4767-AF31-9FB6C91A9961}"/>
                </a:ext>
              </a:extLst>
            </p:cNvPr>
            <p:cNvSpPr/>
            <p:nvPr/>
          </p:nvSpPr>
          <p:spPr bwMode="auto">
            <a:xfrm>
              <a:off x="6335564" y="2258143"/>
              <a:ext cx="1069995" cy="461870"/>
            </a:xfrm>
            <a:custGeom>
              <a:avLst/>
              <a:gdLst>
                <a:gd name="connsiteX0" fmla="*/ 1176337 w 1245394"/>
                <a:gd name="connsiteY0" fmla="*/ 335756 h 545306"/>
                <a:gd name="connsiteX1" fmla="*/ 1228725 w 1245394"/>
                <a:gd name="connsiteY1" fmla="*/ 335756 h 545306"/>
                <a:gd name="connsiteX2" fmla="*/ 1245394 w 1245394"/>
                <a:gd name="connsiteY2" fmla="*/ 378618 h 545306"/>
                <a:gd name="connsiteX3" fmla="*/ 1204912 w 1245394"/>
                <a:gd name="connsiteY3" fmla="*/ 381000 h 545306"/>
                <a:gd name="connsiteX4" fmla="*/ 1190625 w 1245394"/>
                <a:gd name="connsiteY4" fmla="*/ 409575 h 545306"/>
                <a:gd name="connsiteX5" fmla="*/ 1176337 w 1245394"/>
                <a:gd name="connsiteY5" fmla="*/ 390525 h 545306"/>
                <a:gd name="connsiteX6" fmla="*/ 1162050 w 1245394"/>
                <a:gd name="connsiteY6" fmla="*/ 407193 h 545306"/>
                <a:gd name="connsiteX7" fmla="*/ 1173956 w 1245394"/>
                <a:gd name="connsiteY7" fmla="*/ 438150 h 545306"/>
                <a:gd name="connsiteX8" fmla="*/ 1173956 w 1245394"/>
                <a:gd name="connsiteY8" fmla="*/ 438150 h 545306"/>
                <a:gd name="connsiteX9" fmla="*/ 1073944 w 1245394"/>
                <a:gd name="connsiteY9" fmla="*/ 352425 h 545306"/>
                <a:gd name="connsiteX10" fmla="*/ 1014412 w 1245394"/>
                <a:gd name="connsiteY10" fmla="*/ 307181 h 545306"/>
                <a:gd name="connsiteX11" fmla="*/ 978694 w 1245394"/>
                <a:gd name="connsiteY11" fmla="*/ 273843 h 545306"/>
                <a:gd name="connsiteX12" fmla="*/ 947737 w 1245394"/>
                <a:gd name="connsiteY12" fmla="*/ 245268 h 545306"/>
                <a:gd name="connsiteX13" fmla="*/ 885825 w 1245394"/>
                <a:gd name="connsiteY13" fmla="*/ 219075 h 545306"/>
                <a:gd name="connsiteX14" fmla="*/ 869156 w 1245394"/>
                <a:gd name="connsiteY14" fmla="*/ 223837 h 545306"/>
                <a:gd name="connsiteX15" fmla="*/ 859631 w 1245394"/>
                <a:gd name="connsiteY15" fmla="*/ 240506 h 545306"/>
                <a:gd name="connsiteX16" fmla="*/ 845344 w 1245394"/>
                <a:gd name="connsiteY16" fmla="*/ 226218 h 545306"/>
                <a:gd name="connsiteX17" fmla="*/ 828675 w 1245394"/>
                <a:gd name="connsiteY17" fmla="*/ 204787 h 545306"/>
                <a:gd name="connsiteX18" fmla="*/ 788194 w 1245394"/>
                <a:gd name="connsiteY18" fmla="*/ 192881 h 545306"/>
                <a:gd name="connsiteX19" fmla="*/ 707231 w 1245394"/>
                <a:gd name="connsiteY19" fmla="*/ 164306 h 545306"/>
                <a:gd name="connsiteX20" fmla="*/ 671512 w 1245394"/>
                <a:gd name="connsiteY20" fmla="*/ 150018 h 545306"/>
                <a:gd name="connsiteX21" fmla="*/ 614362 w 1245394"/>
                <a:gd name="connsiteY21" fmla="*/ 171450 h 545306"/>
                <a:gd name="connsiteX22" fmla="*/ 550069 w 1245394"/>
                <a:gd name="connsiteY22" fmla="*/ 200025 h 545306"/>
                <a:gd name="connsiteX23" fmla="*/ 483394 w 1245394"/>
                <a:gd name="connsiteY23" fmla="*/ 235743 h 545306"/>
                <a:gd name="connsiteX24" fmla="*/ 466725 w 1245394"/>
                <a:gd name="connsiteY24" fmla="*/ 280987 h 545306"/>
                <a:gd name="connsiteX25" fmla="*/ 445294 w 1245394"/>
                <a:gd name="connsiteY25" fmla="*/ 314325 h 545306"/>
                <a:gd name="connsiteX26" fmla="*/ 388144 w 1245394"/>
                <a:gd name="connsiteY26" fmla="*/ 326231 h 545306"/>
                <a:gd name="connsiteX27" fmla="*/ 364331 w 1245394"/>
                <a:gd name="connsiteY27" fmla="*/ 369093 h 545306"/>
                <a:gd name="connsiteX28" fmla="*/ 369094 w 1245394"/>
                <a:gd name="connsiteY28" fmla="*/ 388143 h 545306"/>
                <a:gd name="connsiteX29" fmla="*/ 342900 w 1245394"/>
                <a:gd name="connsiteY29" fmla="*/ 411956 h 545306"/>
                <a:gd name="connsiteX30" fmla="*/ 321469 w 1245394"/>
                <a:gd name="connsiteY30" fmla="*/ 442912 h 545306"/>
                <a:gd name="connsiteX31" fmla="*/ 311944 w 1245394"/>
                <a:gd name="connsiteY31" fmla="*/ 478631 h 545306"/>
                <a:gd name="connsiteX32" fmla="*/ 273844 w 1245394"/>
                <a:gd name="connsiteY32" fmla="*/ 478631 h 545306"/>
                <a:gd name="connsiteX33" fmla="*/ 235744 w 1245394"/>
                <a:gd name="connsiteY33" fmla="*/ 502443 h 545306"/>
                <a:gd name="connsiteX34" fmla="*/ 159544 w 1245394"/>
                <a:gd name="connsiteY34" fmla="*/ 504825 h 545306"/>
                <a:gd name="connsiteX35" fmla="*/ 126206 w 1245394"/>
                <a:gd name="connsiteY35" fmla="*/ 521493 h 545306"/>
                <a:gd name="connsiteX36" fmla="*/ 95250 w 1245394"/>
                <a:gd name="connsiteY36" fmla="*/ 540543 h 545306"/>
                <a:gd name="connsiteX37" fmla="*/ 64294 w 1245394"/>
                <a:gd name="connsiteY37" fmla="*/ 542925 h 545306"/>
                <a:gd name="connsiteX38" fmla="*/ 50006 w 1245394"/>
                <a:gd name="connsiteY38" fmla="*/ 528637 h 545306"/>
                <a:gd name="connsiteX39" fmla="*/ 28575 w 1245394"/>
                <a:gd name="connsiteY39" fmla="*/ 545306 h 545306"/>
                <a:gd name="connsiteX40" fmla="*/ 0 w 1245394"/>
                <a:gd name="connsiteY40" fmla="*/ 545306 h 545306"/>
                <a:gd name="connsiteX41" fmla="*/ 2381 w 1245394"/>
                <a:gd name="connsiteY41" fmla="*/ 471487 h 545306"/>
                <a:gd name="connsiteX42" fmla="*/ 35719 w 1245394"/>
                <a:gd name="connsiteY42" fmla="*/ 454818 h 545306"/>
                <a:gd name="connsiteX43" fmla="*/ 100012 w 1245394"/>
                <a:gd name="connsiteY43" fmla="*/ 381000 h 545306"/>
                <a:gd name="connsiteX44" fmla="*/ 130969 w 1245394"/>
                <a:gd name="connsiteY44" fmla="*/ 340518 h 545306"/>
                <a:gd name="connsiteX45" fmla="*/ 154781 w 1245394"/>
                <a:gd name="connsiteY45" fmla="*/ 307181 h 545306"/>
                <a:gd name="connsiteX46" fmla="*/ 219075 w 1245394"/>
                <a:gd name="connsiteY46" fmla="*/ 338137 h 545306"/>
                <a:gd name="connsiteX47" fmla="*/ 261937 w 1245394"/>
                <a:gd name="connsiteY47" fmla="*/ 335756 h 545306"/>
                <a:gd name="connsiteX48" fmla="*/ 283369 w 1245394"/>
                <a:gd name="connsiteY48" fmla="*/ 302418 h 545306"/>
                <a:gd name="connsiteX49" fmla="*/ 314325 w 1245394"/>
                <a:gd name="connsiteY49" fmla="*/ 319087 h 545306"/>
                <a:gd name="connsiteX50" fmla="*/ 316706 w 1245394"/>
                <a:gd name="connsiteY50" fmla="*/ 273843 h 545306"/>
                <a:gd name="connsiteX51" fmla="*/ 328612 w 1245394"/>
                <a:gd name="connsiteY51" fmla="*/ 178593 h 545306"/>
                <a:gd name="connsiteX52" fmla="*/ 354806 w 1245394"/>
                <a:gd name="connsiteY52" fmla="*/ 157162 h 545306"/>
                <a:gd name="connsiteX53" fmla="*/ 392906 w 1245394"/>
                <a:gd name="connsiteY53" fmla="*/ 104775 h 545306"/>
                <a:gd name="connsiteX54" fmla="*/ 402431 w 1245394"/>
                <a:gd name="connsiteY54" fmla="*/ 71437 h 545306"/>
                <a:gd name="connsiteX55" fmla="*/ 459581 w 1245394"/>
                <a:gd name="connsiteY55" fmla="*/ 107156 h 545306"/>
                <a:gd name="connsiteX56" fmla="*/ 528637 w 1245394"/>
                <a:gd name="connsiteY56" fmla="*/ 88106 h 545306"/>
                <a:gd name="connsiteX57" fmla="*/ 557212 w 1245394"/>
                <a:gd name="connsiteY57" fmla="*/ 107156 h 545306"/>
                <a:gd name="connsiteX58" fmla="*/ 590550 w 1245394"/>
                <a:gd name="connsiteY58" fmla="*/ 45243 h 545306"/>
                <a:gd name="connsiteX59" fmla="*/ 652462 w 1245394"/>
                <a:gd name="connsiteY59" fmla="*/ 54768 h 545306"/>
                <a:gd name="connsiteX60" fmla="*/ 676275 w 1245394"/>
                <a:gd name="connsiteY60" fmla="*/ 102393 h 545306"/>
                <a:gd name="connsiteX61" fmla="*/ 704850 w 1245394"/>
                <a:gd name="connsiteY61" fmla="*/ 71437 h 545306"/>
                <a:gd name="connsiteX62" fmla="*/ 742950 w 1245394"/>
                <a:gd name="connsiteY62" fmla="*/ 80962 h 545306"/>
                <a:gd name="connsiteX63" fmla="*/ 742950 w 1245394"/>
                <a:gd name="connsiteY63" fmla="*/ 42862 h 545306"/>
                <a:gd name="connsiteX64" fmla="*/ 776287 w 1245394"/>
                <a:gd name="connsiteY64" fmla="*/ 0 h 545306"/>
                <a:gd name="connsiteX65" fmla="*/ 814387 w 1245394"/>
                <a:gd name="connsiteY65" fmla="*/ 42862 h 545306"/>
                <a:gd name="connsiteX66" fmla="*/ 852487 w 1245394"/>
                <a:gd name="connsiteY66" fmla="*/ 61912 h 545306"/>
                <a:gd name="connsiteX67" fmla="*/ 859631 w 1245394"/>
                <a:gd name="connsiteY67" fmla="*/ 78581 h 545306"/>
                <a:gd name="connsiteX68" fmla="*/ 883444 w 1245394"/>
                <a:gd name="connsiteY68" fmla="*/ 42862 h 545306"/>
                <a:gd name="connsiteX69" fmla="*/ 928687 w 1245394"/>
                <a:gd name="connsiteY69" fmla="*/ 76200 h 545306"/>
                <a:gd name="connsiteX70" fmla="*/ 983456 w 1245394"/>
                <a:gd name="connsiteY70" fmla="*/ 69056 h 545306"/>
                <a:gd name="connsiteX71" fmla="*/ 1000125 w 1245394"/>
                <a:gd name="connsiteY71" fmla="*/ 80962 h 545306"/>
                <a:gd name="connsiteX72" fmla="*/ 1021556 w 1245394"/>
                <a:gd name="connsiteY72" fmla="*/ 104775 h 545306"/>
                <a:gd name="connsiteX73" fmla="*/ 1002506 w 1245394"/>
                <a:gd name="connsiteY73" fmla="*/ 178593 h 545306"/>
                <a:gd name="connsiteX74" fmla="*/ 1042987 w 1245394"/>
                <a:gd name="connsiteY74" fmla="*/ 180975 h 545306"/>
                <a:gd name="connsiteX75" fmla="*/ 1092994 w 1245394"/>
                <a:gd name="connsiteY75" fmla="*/ 173831 h 545306"/>
                <a:gd name="connsiteX76" fmla="*/ 1092994 w 1245394"/>
                <a:gd name="connsiteY76" fmla="*/ 207168 h 545306"/>
                <a:gd name="connsiteX77" fmla="*/ 1114425 w 1245394"/>
                <a:gd name="connsiteY77" fmla="*/ 230981 h 545306"/>
                <a:gd name="connsiteX78" fmla="*/ 1150144 w 1245394"/>
                <a:gd name="connsiteY78" fmla="*/ 276225 h 545306"/>
                <a:gd name="connsiteX79" fmla="*/ 1171575 w 1245394"/>
                <a:gd name="connsiteY79" fmla="*/ 285750 h 545306"/>
                <a:gd name="connsiteX80" fmla="*/ 1176337 w 1245394"/>
                <a:gd name="connsiteY80" fmla="*/ 335756 h 54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245394" h="545306">
                  <a:moveTo>
                    <a:pt x="1176337" y="335756"/>
                  </a:moveTo>
                  <a:lnTo>
                    <a:pt x="1228725" y="335756"/>
                  </a:lnTo>
                  <a:lnTo>
                    <a:pt x="1245394" y="378618"/>
                  </a:lnTo>
                  <a:lnTo>
                    <a:pt x="1204912" y="381000"/>
                  </a:lnTo>
                  <a:lnTo>
                    <a:pt x="1190625" y="409575"/>
                  </a:lnTo>
                  <a:lnTo>
                    <a:pt x="1176337" y="390525"/>
                  </a:lnTo>
                  <a:lnTo>
                    <a:pt x="1162050" y="407193"/>
                  </a:lnTo>
                  <a:lnTo>
                    <a:pt x="1173956" y="438150"/>
                  </a:lnTo>
                  <a:lnTo>
                    <a:pt x="1173956" y="438150"/>
                  </a:lnTo>
                  <a:lnTo>
                    <a:pt x="1073944" y="352425"/>
                  </a:lnTo>
                  <a:lnTo>
                    <a:pt x="1014412" y="307181"/>
                  </a:lnTo>
                  <a:lnTo>
                    <a:pt x="978694" y="273843"/>
                  </a:lnTo>
                  <a:lnTo>
                    <a:pt x="947737" y="245268"/>
                  </a:lnTo>
                  <a:lnTo>
                    <a:pt x="885825" y="219075"/>
                  </a:lnTo>
                  <a:lnTo>
                    <a:pt x="869156" y="223837"/>
                  </a:lnTo>
                  <a:lnTo>
                    <a:pt x="859631" y="240506"/>
                  </a:lnTo>
                  <a:lnTo>
                    <a:pt x="845344" y="226218"/>
                  </a:lnTo>
                  <a:lnTo>
                    <a:pt x="828675" y="204787"/>
                  </a:lnTo>
                  <a:lnTo>
                    <a:pt x="788194" y="192881"/>
                  </a:lnTo>
                  <a:lnTo>
                    <a:pt x="707231" y="164306"/>
                  </a:lnTo>
                  <a:lnTo>
                    <a:pt x="671512" y="150018"/>
                  </a:lnTo>
                  <a:lnTo>
                    <a:pt x="614362" y="171450"/>
                  </a:lnTo>
                  <a:lnTo>
                    <a:pt x="550069" y="200025"/>
                  </a:lnTo>
                  <a:lnTo>
                    <a:pt x="483394" y="235743"/>
                  </a:lnTo>
                  <a:lnTo>
                    <a:pt x="466725" y="280987"/>
                  </a:lnTo>
                  <a:lnTo>
                    <a:pt x="445294" y="314325"/>
                  </a:lnTo>
                  <a:lnTo>
                    <a:pt x="388144" y="326231"/>
                  </a:lnTo>
                  <a:lnTo>
                    <a:pt x="364331" y="369093"/>
                  </a:lnTo>
                  <a:lnTo>
                    <a:pt x="369094" y="388143"/>
                  </a:lnTo>
                  <a:lnTo>
                    <a:pt x="342900" y="411956"/>
                  </a:lnTo>
                  <a:lnTo>
                    <a:pt x="321469" y="442912"/>
                  </a:lnTo>
                  <a:lnTo>
                    <a:pt x="311944" y="478631"/>
                  </a:lnTo>
                  <a:lnTo>
                    <a:pt x="273844" y="478631"/>
                  </a:lnTo>
                  <a:lnTo>
                    <a:pt x="235744" y="502443"/>
                  </a:lnTo>
                  <a:lnTo>
                    <a:pt x="159544" y="504825"/>
                  </a:lnTo>
                  <a:lnTo>
                    <a:pt x="126206" y="521493"/>
                  </a:lnTo>
                  <a:lnTo>
                    <a:pt x="95250" y="540543"/>
                  </a:lnTo>
                  <a:lnTo>
                    <a:pt x="64294" y="542925"/>
                  </a:lnTo>
                  <a:lnTo>
                    <a:pt x="50006" y="528637"/>
                  </a:lnTo>
                  <a:lnTo>
                    <a:pt x="28575" y="545306"/>
                  </a:lnTo>
                  <a:lnTo>
                    <a:pt x="0" y="545306"/>
                  </a:lnTo>
                  <a:cubicBezTo>
                    <a:pt x="794" y="520700"/>
                    <a:pt x="1587" y="496093"/>
                    <a:pt x="2381" y="471487"/>
                  </a:cubicBezTo>
                  <a:lnTo>
                    <a:pt x="35719" y="454818"/>
                  </a:lnTo>
                  <a:lnTo>
                    <a:pt x="100012" y="381000"/>
                  </a:lnTo>
                  <a:lnTo>
                    <a:pt x="130969" y="340518"/>
                  </a:lnTo>
                  <a:lnTo>
                    <a:pt x="154781" y="307181"/>
                  </a:lnTo>
                  <a:lnTo>
                    <a:pt x="219075" y="338137"/>
                  </a:lnTo>
                  <a:lnTo>
                    <a:pt x="261937" y="335756"/>
                  </a:lnTo>
                  <a:lnTo>
                    <a:pt x="283369" y="302418"/>
                  </a:lnTo>
                  <a:lnTo>
                    <a:pt x="314325" y="319087"/>
                  </a:lnTo>
                  <a:lnTo>
                    <a:pt x="316706" y="273843"/>
                  </a:lnTo>
                  <a:lnTo>
                    <a:pt x="328612" y="178593"/>
                  </a:lnTo>
                  <a:lnTo>
                    <a:pt x="354806" y="157162"/>
                  </a:lnTo>
                  <a:lnTo>
                    <a:pt x="392906" y="104775"/>
                  </a:lnTo>
                  <a:lnTo>
                    <a:pt x="402431" y="71437"/>
                  </a:lnTo>
                  <a:lnTo>
                    <a:pt x="459581" y="107156"/>
                  </a:lnTo>
                  <a:lnTo>
                    <a:pt x="528637" y="88106"/>
                  </a:lnTo>
                  <a:lnTo>
                    <a:pt x="557212" y="107156"/>
                  </a:lnTo>
                  <a:lnTo>
                    <a:pt x="590550" y="45243"/>
                  </a:lnTo>
                  <a:lnTo>
                    <a:pt x="652462" y="54768"/>
                  </a:lnTo>
                  <a:lnTo>
                    <a:pt x="676275" y="102393"/>
                  </a:lnTo>
                  <a:lnTo>
                    <a:pt x="704850" y="71437"/>
                  </a:lnTo>
                  <a:lnTo>
                    <a:pt x="742950" y="80962"/>
                  </a:lnTo>
                  <a:lnTo>
                    <a:pt x="742950" y="42862"/>
                  </a:lnTo>
                  <a:lnTo>
                    <a:pt x="776287" y="0"/>
                  </a:lnTo>
                  <a:lnTo>
                    <a:pt x="814387" y="42862"/>
                  </a:lnTo>
                  <a:lnTo>
                    <a:pt x="852487" y="61912"/>
                  </a:lnTo>
                  <a:lnTo>
                    <a:pt x="859631" y="78581"/>
                  </a:lnTo>
                  <a:lnTo>
                    <a:pt x="883444" y="42862"/>
                  </a:lnTo>
                  <a:lnTo>
                    <a:pt x="928687" y="76200"/>
                  </a:lnTo>
                  <a:lnTo>
                    <a:pt x="983456" y="69056"/>
                  </a:lnTo>
                  <a:lnTo>
                    <a:pt x="1000125" y="80962"/>
                  </a:lnTo>
                  <a:lnTo>
                    <a:pt x="1021556" y="104775"/>
                  </a:lnTo>
                  <a:lnTo>
                    <a:pt x="1002506" y="178593"/>
                  </a:lnTo>
                  <a:lnTo>
                    <a:pt x="1042987" y="180975"/>
                  </a:lnTo>
                  <a:lnTo>
                    <a:pt x="1092994" y="173831"/>
                  </a:lnTo>
                  <a:lnTo>
                    <a:pt x="1092994" y="207168"/>
                  </a:lnTo>
                  <a:lnTo>
                    <a:pt x="1114425" y="230981"/>
                  </a:lnTo>
                  <a:lnTo>
                    <a:pt x="1150144" y="276225"/>
                  </a:lnTo>
                  <a:lnTo>
                    <a:pt x="1171575" y="285750"/>
                  </a:lnTo>
                  <a:lnTo>
                    <a:pt x="1176337" y="33575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igura a mano libera 247">
              <a:extLst>
                <a:ext uri="{FF2B5EF4-FFF2-40B4-BE49-F238E27FC236}">
                  <a16:creationId xmlns:a16="http://schemas.microsoft.com/office/drawing/2014/main" id="{CE295A47-829E-4A57-82B3-717397EE32E1}"/>
                </a:ext>
              </a:extLst>
            </p:cNvPr>
            <p:cNvSpPr/>
            <p:nvPr/>
          </p:nvSpPr>
          <p:spPr bwMode="auto">
            <a:xfrm>
              <a:off x="7083290" y="2029589"/>
              <a:ext cx="1522442" cy="803113"/>
            </a:xfrm>
            <a:custGeom>
              <a:avLst/>
              <a:gdLst>
                <a:gd name="connsiteX0" fmla="*/ 11906 w 1774031"/>
                <a:gd name="connsiteY0" fmla="*/ 311944 h 947738"/>
                <a:gd name="connsiteX1" fmla="*/ 0 w 1774031"/>
                <a:gd name="connsiteY1" fmla="*/ 292894 h 947738"/>
                <a:gd name="connsiteX2" fmla="*/ 16669 w 1774031"/>
                <a:gd name="connsiteY2" fmla="*/ 264319 h 947738"/>
                <a:gd name="connsiteX3" fmla="*/ 52388 w 1774031"/>
                <a:gd name="connsiteY3" fmla="*/ 266700 h 947738"/>
                <a:gd name="connsiteX4" fmla="*/ 52388 w 1774031"/>
                <a:gd name="connsiteY4" fmla="*/ 266700 h 947738"/>
                <a:gd name="connsiteX5" fmla="*/ 83344 w 1774031"/>
                <a:gd name="connsiteY5" fmla="*/ 242888 h 947738"/>
                <a:gd name="connsiteX6" fmla="*/ 54769 w 1774031"/>
                <a:gd name="connsiteY6" fmla="*/ 211932 h 947738"/>
                <a:gd name="connsiteX7" fmla="*/ 85725 w 1774031"/>
                <a:gd name="connsiteY7" fmla="*/ 180975 h 947738"/>
                <a:gd name="connsiteX8" fmla="*/ 95250 w 1774031"/>
                <a:gd name="connsiteY8" fmla="*/ 142875 h 947738"/>
                <a:gd name="connsiteX9" fmla="*/ 64294 w 1774031"/>
                <a:gd name="connsiteY9" fmla="*/ 135732 h 947738"/>
                <a:gd name="connsiteX10" fmla="*/ 76200 w 1774031"/>
                <a:gd name="connsiteY10" fmla="*/ 90488 h 947738"/>
                <a:gd name="connsiteX11" fmla="*/ 121444 w 1774031"/>
                <a:gd name="connsiteY11" fmla="*/ 33338 h 947738"/>
                <a:gd name="connsiteX12" fmla="*/ 133350 w 1774031"/>
                <a:gd name="connsiteY12" fmla="*/ 16669 h 947738"/>
                <a:gd name="connsiteX13" fmla="*/ 145256 w 1774031"/>
                <a:gd name="connsiteY13" fmla="*/ 4763 h 947738"/>
                <a:gd name="connsiteX14" fmla="*/ 178594 w 1774031"/>
                <a:gd name="connsiteY14" fmla="*/ 2382 h 947738"/>
                <a:gd name="connsiteX15" fmla="*/ 180975 w 1774031"/>
                <a:gd name="connsiteY15" fmla="*/ 21432 h 947738"/>
                <a:gd name="connsiteX16" fmla="*/ 204788 w 1774031"/>
                <a:gd name="connsiteY16" fmla="*/ 33338 h 947738"/>
                <a:gd name="connsiteX17" fmla="*/ 235744 w 1774031"/>
                <a:gd name="connsiteY17" fmla="*/ 33338 h 947738"/>
                <a:gd name="connsiteX18" fmla="*/ 271463 w 1774031"/>
                <a:gd name="connsiteY18" fmla="*/ 23813 h 947738"/>
                <a:gd name="connsiteX19" fmla="*/ 295275 w 1774031"/>
                <a:gd name="connsiteY19" fmla="*/ 11907 h 947738"/>
                <a:gd name="connsiteX20" fmla="*/ 297656 w 1774031"/>
                <a:gd name="connsiteY20" fmla="*/ 23813 h 947738"/>
                <a:gd name="connsiteX21" fmla="*/ 328613 w 1774031"/>
                <a:gd name="connsiteY21" fmla="*/ 23813 h 947738"/>
                <a:gd name="connsiteX22" fmla="*/ 328613 w 1774031"/>
                <a:gd name="connsiteY22" fmla="*/ 23813 h 947738"/>
                <a:gd name="connsiteX23" fmla="*/ 371475 w 1774031"/>
                <a:gd name="connsiteY23" fmla="*/ 0 h 947738"/>
                <a:gd name="connsiteX24" fmla="*/ 376238 w 1774031"/>
                <a:gd name="connsiteY24" fmla="*/ 28575 h 947738"/>
                <a:gd name="connsiteX25" fmla="*/ 411956 w 1774031"/>
                <a:gd name="connsiteY25" fmla="*/ 2382 h 947738"/>
                <a:gd name="connsiteX26" fmla="*/ 440531 w 1774031"/>
                <a:gd name="connsiteY26" fmla="*/ 23813 h 947738"/>
                <a:gd name="connsiteX27" fmla="*/ 445294 w 1774031"/>
                <a:gd name="connsiteY27" fmla="*/ 50007 h 947738"/>
                <a:gd name="connsiteX28" fmla="*/ 466725 w 1774031"/>
                <a:gd name="connsiteY28" fmla="*/ 66675 h 947738"/>
                <a:gd name="connsiteX29" fmla="*/ 514350 w 1774031"/>
                <a:gd name="connsiteY29" fmla="*/ 59532 h 947738"/>
                <a:gd name="connsiteX30" fmla="*/ 514350 w 1774031"/>
                <a:gd name="connsiteY30" fmla="*/ 83344 h 947738"/>
                <a:gd name="connsiteX31" fmla="*/ 545306 w 1774031"/>
                <a:gd name="connsiteY31" fmla="*/ 85725 h 947738"/>
                <a:gd name="connsiteX32" fmla="*/ 564356 w 1774031"/>
                <a:gd name="connsiteY32" fmla="*/ 102394 h 947738"/>
                <a:gd name="connsiteX33" fmla="*/ 583406 w 1774031"/>
                <a:gd name="connsiteY33" fmla="*/ 111919 h 947738"/>
                <a:gd name="connsiteX34" fmla="*/ 602456 w 1774031"/>
                <a:gd name="connsiteY34" fmla="*/ 119063 h 947738"/>
                <a:gd name="connsiteX35" fmla="*/ 647700 w 1774031"/>
                <a:gd name="connsiteY35" fmla="*/ 142875 h 947738"/>
                <a:gd name="connsiteX36" fmla="*/ 700088 w 1774031"/>
                <a:gd name="connsiteY36" fmla="*/ 164307 h 947738"/>
                <a:gd name="connsiteX37" fmla="*/ 750094 w 1774031"/>
                <a:gd name="connsiteY37" fmla="*/ 121444 h 947738"/>
                <a:gd name="connsiteX38" fmla="*/ 766763 w 1774031"/>
                <a:gd name="connsiteY38" fmla="*/ 109538 h 947738"/>
                <a:gd name="connsiteX39" fmla="*/ 785813 w 1774031"/>
                <a:gd name="connsiteY39" fmla="*/ 135732 h 947738"/>
                <a:gd name="connsiteX40" fmla="*/ 807244 w 1774031"/>
                <a:gd name="connsiteY40" fmla="*/ 152400 h 947738"/>
                <a:gd name="connsiteX41" fmla="*/ 873919 w 1774031"/>
                <a:gd name="connsiteY41" fmla="*/ 157163 h 947738"/>
                <a:gd name="connsiteX42" fmla="*/ 907256 w 1774031"/>
                <a:gd name="connsiteY42" fmla="*/ 135732 h 947738"/>
                <a:gd name="connsiteX43" fmla="*/ 969169 w 1774031"/>
                <a:gd name="connsiteY43" fmla="*/ 138113 h 947738"/>
                <a:gd name="connsiteX44" fmla="*/ 992981 w 1774031"/>
                <a:gd name="connsiteY44" fmla="*/ 145257 h 947738"/>
                <a:gd name="connsiteX45" fmla="*/ 1023938 w 1774031"/>
                <a:gd name="connsiteY45" fmla="*/ 147638 h 947738"/>
                <a:gd name="connsiteX46" fmla="*/ 1066800 w 1774031"/>
                <a:gd name="connsiteY46" fmla="*/ 133350 h 947738"/>
                <a:gd name="connsiteX47" fmla="*/ 1131094 w 1774031"/>
                <a:gd name="connsiteY47" fmla="*/ 142875 h 947738"/>
                <a:gd name="connsiteX48" fmla="*/ 1176338 w 1774031"/>
                <a:gd name="connsiteY48" fmla="*/ 161925 h 947738"/>
                <a:gd name="connsiteX49" fmla="*/ 1200150 w 1774031"/>
                <a:gd name="connsiteY49" fmla="*/ 192882 h 947738"/>
                <a:gd name="connsiteX50" fmla="*/ 1264444 w 1774031"/>
                <a:gd name="connsiteY50" fmla="*/ 157163 h 947738"/>
                <a:gd name="connsiteX51" fmla="*/ 1314450 w 1774031"/>
                <a:gd name="connsiteY51" fmla="*/ 130969 h 947738"/>
                <a:gd name="connsiteX52" fmla="*/ 1354931 w 1774031"/>
                <a:gd name="connsiteY52" fmla="*/ 138113 h 947738"/>
                <a:gd name="connsiteX53" fmla="*/ 1409700 w 1774031"/>
                <a:gd name="connsiteY53" fmla="*/ 138113 h 947738"/>
                <a:gd name="connsiteX54" fmla="*/ 1438275 w 1774031"/>
                <a:gd name="connsiteY54" fmla="*/ 157163 h 947738"/>
                <a:gd name="connsiteX55" fmla="*/ 1495425 w 1774031"/>
                <a:gd name="connsiteY55" fmla="*/ 183357 h 947738"/>
                <a:gd name="connsiteX56" fmla="*/ 1524000 w 1774031"/>
                <a:gd name="connsiteY56" fmla="*/ 157163 h 947738"/>
                <a:gd name="connsiteX57" fmla="*/ 1540669 w 1774031"/>
                <a:gd name="connsiteY57" fmla="*/ 226219 h 947738"/>
                <a:gd name="connsiteX58" fmla="*/ 1512094 w 1774031"/>
                <a:gd name="connsiteY58" fmla="*/ 247650 h 947738"/>
                <a:gd name="connsiteX59" fmla="*/ 1500188 w 1774031"/>
                <a:gd name="connsiteY59" fmla="*/ 288132 h 947738"/>
                <a:gd name="connsiteX60" fmla="*/ 1512094 w 1774031"/>
                <a:gd name="connsiteY60" fmla="*/ 364332 h 947738"/>
                <a:gd name="connsiteX61" fmla="*/ 1524000 w 1774031"/>
                <a:gd name="connsiteY61" fmla="*/ 452438 h 947738"/>
                <a:gd name="connsiteX62" fmla="*/ 1526381 w 1774031"/>
                <a:gd name="connsiteY62" fmla="*/ 490538 h 947738"/>
                <a:gd name="connsiteX63" fmla="*/ 1552575 w 1774031"/>
                <a:gd name="connsiteY63" fmla="*/ 559594 h 947738"/>
                <a:gd name="connsiteX64" fmla="*/ 1559719 w 1774031"/>
                <a:gd name="connsiteY64" fmla="*/ 607219 h 947738"/>
                <a:gd name="connsiteX65" fmla="*/ 1574006 w 1774031"/>
                <a:gd name="connsiteY65" fmla="*/ 664369 h 947738"/>
                <a:gd name="connsiteX66" fmla="*/ 1638300 w 1774031"/>
                <a:gd name="connsiteY66" fmla="*/ 723900 h 947738"/>
                <a:gd name="connsiteX67" fmla="*/ 1674019 w 1774031"/>
                <a:gd name="connsiteY67" fmla="*/ 759619 h 947738"/>
                <a:gd name="connsiteX68" fmla="*/ 1712119 w 1774031"/>
                <a:gd name="connsiteY68" fmla="*/ 788194 h 947738"/>
                <a:gd name="connsiteX69" fmla="*/ 1750219 w 1774031"/>
                <a:gd name="connsiteY69" fmla="*/ 804863 h 947738"/>
                <a:gd name="connsiteX70" fmla="*/ 1774031 w 1774031"/>
                <a:gd name="connsiteY70" fmla="*/ 812007 h 947738"/>
                <a:gd name="connsiteX71" fmla="*/ 1747838 w 1774031"/>
                <a:gd name="connsiteY71" fmla="*/ 869157 h 947738"/>
                <a:gd name="connsiteX72" fmla="*/ 1716881 w 1774031"/>
                <a:gd name="connsiteY72" fmla="*/ 876300 h 947738"/>
                <a:gd name="connsiteX73" fmla="*/ 1690688 w 1774031"/>
                <a:gd name="connsiteY73" fmla="*/ 904875 h 947738"/>
                <a:gd name="connsiteX74" fmla="*/ 1654969 w 1774031"/>
                <a:gd name="connsiteY74" fmla="*/ 873919 h 947738"/>
                <a:gd name="connsiteX75" fmla="*/ 1621631 w 1774031"/>
                <a:gd name="connsiteY75" fmla="*/ 831057 h 947738"/>
                <a:gd name="connsiteX76" fmla="*/ 1595438 w 1774031"/>
                <a:gd name="connsiteY76" fmla="*/ 850107 h 947738"/>
                <a:gd name="connsiteX77" fmla="*/ 1576388 w 1774031"/>
                <a:gd name="connsiteY77" fmla="*/ 809625 h 947738"/>
                <a:gd name="connsiteX78" fmla="*/ 1502569 w 1774031"/>
                <a:gd name="connsiteY78" fmla="*/ 835819 h 947738"/>
                <a:gd name="connsiteX79" fmla="*/ 1466850 w 1774031"/>
                <a:gd name="connsiteY79" fmla="*/ 838200 h 947738"/>
                <a:gd name="connsiteX80" fmla="*/ 1452563 w 1774031"/>
                <a:gd name="connsiteY80" fmla="*/ 838200 h 947738"/>
                <a:gd name="connsiteX81" fmla="*/ 1407319 w 1774031"/>
                <a:gd name="connsiteY81" fmla="*/ 947738 h 947738"/>
                <a:gd name="connsiteX82" fmla="*/ 1338263 w 1774031"/>
                <a:gd name="connsiteY82" fmla="*/ 909638 h 947738"/>
                <a:gd name="connsiteX83" fmla="*/ 1231106 w 1774031"/>
                <a:gd name="connsiteY83" fmla="*/ 871538 h 947738"/>
                <a:gd name="connsiteX84" fmla="*/ 1233488 w 1774031"/>
                <a:gd name="connsiteY84" fmla="*/ 821532 h 947738"/>
                <a:gd name="connsiteX85" fmla="*/ 1209675 w 1774031"/>
                <a:gd name="connsiteY85" fmla="*/ 809625 h 947738"/>
                <a:gd name="connsiteX86" fmla="*/ 1262063 w 1774031"/>
                <a:gd name="connsiteY86" fmla="*/ 695325 h 947738"/>
                <a:gd name="connsiteX87" fmla="*/ 1183481 w 1774031"/>
                <a:gd name="connsiteY87" fmla="*/ 711994 h 947738"/>
                <a:gd name="connsiteX88" fmla="*/ 1185863 w 1774031"/>
                <a:gd name="connsiteY88" fmla="*/ 669132 h 947738"/>
                <a:gd name="connsiteX89" fmla="*/ 1131094 w 1774031"/>
                <a:gd name="connsiteY89" fmla="*/ 669132 h 947738"/>
                <a:gd name="connsiteX90" fmla="*/ 1095375 w 1774031"/>
                <a:gd name="connsiteY90" fmla="*/ 626269 h 947738"/>
                <a:gd name="connsiteX91" fmla="*/ 1078706 w 1774031"/>
                <a:gd name="connsiteY91" fmla="*/ 619125 h 947738"/>
                <a:gd name="connsiteX92" fmla="*/ 1050131 w 1774031"/>
                <a:gd name="connsiteY92" fmla="*/ 645319 h 947738"/>
                <a:gd name="connsiteX93" fmla="*/ 1009650 w 1774031"/>
                <a:gd name="connsiteY93" fmla="*/ 669132 h 947738"/>
                <a:gd name="connsiteX94" fmla="*/ 981075 w 1774031"/>
                <a:gd name="connsiteY94" fmla="*/ 681038 h 947738"/>
                <a:gd name="connsiteX95" fmla="*/ 1004888 w 1774031"/>
                <a:gd name="connsiteY95" fmla="*/ 707232 h 947738"/>
                <a:gd name="connsiteX96" fmla="*/ 985838 w 1774031"/>
                <a:gd name="connsiteY96" fmla="*/ 702469 h 947738"/>
                <a:gd name="connsiteX97" fmla="*/ 947738 w 1774031"/>
                <a:gd name="connsiteY97" fmla="*/ 702469 h 947738"/>
                <a:gd name="connsiteX98" fmla="*/ 947738 w 1774031"/>
                <a:gd name="connsiteY98" fmla="*/ 702469 h 947738"/>
                <a:gd name="connsiteX99" fmla="*/ 885825 w 1774031"/>
                <a:gd name="connsiteY99" fmla="*/ 673894 h 947738"/>
                <a:gd name="connsiteX100" fmla="*/ 847725 w 1774031"/>
                <a:gd name="connsiteY100" fmla="*/ 728663 h 947738"/>
                <a:gd name="connsiteX101" fmla="*/ 747713 w 1774031"/>
                <a:gd name="connsiteY101" fmla="*/ 661988 h 947738"/>
                <a:gd name="connsiteX102" fmla="*/ 704850 w 1774031"/>
                <a:gd name="connsiteY102" fmla="*/ 657225 h 947738"/>
                <a:gd name="connsiteX103" fmla="*/ 681038 w 1774031"/>
                <a:gd name="connsiteY103" fmla="*/ 671513 h 947738"/>
                <a:gd name="connsiteX104" fmla="*/ 647700 w 1774031"/>
                <a:gd name="connsiteY104" fmla="*/ 633413 h 947738"/>
                <a:gd name="connsiteX105" fmla="*/ 623888 w 1774031"/>
                <a:gd name="connsiteY105" fmla="*/ 600075 h 947738"/>
                <a:gd name="connsiteX106" fmla="*/ 573881 w 1774031"/>
                <a:gd name="connsiteY106" fmla="*/ 566738 h 947738"/>
                <a:gd name="connsiteX107" fmla="*/ 514350 w 1774031"/>
                <a:gd name="connsiteY107" fmla="*/ 561975 h 947738"/>
                <a:gd name="connsiteX108" fmla="*/ 431006 w 1774031"/>
                <a:gd name="connsiteY108" fmla="*/ 521494 h 947738"/>
                <a:gd name="connsiteX109" fmla="*/ 414338 w 1774031"/>
                <a:gd name="connsiteY109" fmla="*/ 471488 h 947738"/>
                <a:gd name="connsiteX110" fmla="*/ 404813 w 1774031"/>
                <a:gd name="connsiteY110" fmla="*/ 423863 h 947738"/>
                <a:gd name="connsiteX111" fmla="*/ 314325 w 1774031"/>
                <a:gd name="connsiteY111" fmla="*/ 421482 h 947738"/>
                <a:gd name="connsiteX112" fmla="*/ 292894 w 1774031"/>
                <a:gd name="connsiteY112" fmla="*/ 461963 h 947738"/>
                <a:gd name="connsiteX113" fmla="*/ 276225 w 1774031"/>
                <a:gd name="connsiteY113" fmla="*/ 483394 h 947738"/>
                <a:gd name="connsiteX114" fmla="*/ 233363 w 1774031"/>
                <a:gd name="connsiteY114" fmla="*/ 495300 h 947738"/>
                <a:gd name="connsiteX115" fmla="*/ 219075 w 1774031"/>
                <a:gd name="connsiteY115" fmla="*/ 435769 h 947738"/>
                <a:gd name="connsiteX116" fmla="*/ 133350 w 1774031"/>
                <a:gd name="connsiteY116" fmla="*/ 454819 h 947738"/>
                <a:gd name="connsiteX117" fmla="*/ 152400 w 1774031"/>
                <a:gd name="connsiteY117" fmla="*/ 409575 h 947738"/>
                <a:gd name="connsiteX118" fmla="*/ 164306 w 1774031"/>
                <a:gd name="connsiteY118" fmla="*/ 369094 h 947738"/>
                <a:gd name="connsiteX119" fmla="*/ 116681 w 1774031"/>
                <a:gd name="connsiteY119" fmla="*/ 328613 h 947738"/>
                <a:gd name="connsiteX120" fmla="*/ 64294 w 1774031"/>
                <a:gd name="connsiteY120" fmla="*/ 340519 h 947738"/>
                <a:gd name="connsiteX121" fmla="*/ 11906 w 1774031"/>
                <a:gd name="connsiteY121" fmla="*/ 311944 h 947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1774031" h="947738">
                  <a:moveTo>
                    <a:pt x="11906" y="311944"/>
                  </a:moveTo>
                  <a:lnTo>
                    <a:pt x="0" y="292894"/>
                  </a:lnTo>
                  <a:lnTo>
                    <a:pt x="16669" y="264319"/>
                  </a:lnTo>
                  <a:lnTo>
                    <a:pt x="52388" y="266700"/>
                  </a:lnTo>
                  <a:lnTo>
                    <a:pt x="52388" y="266700"/>
                  </a:lnTo>
                  <a:lnTo>
                    <a:pt x="83344" y="242888"/>
                  </a:lnTo>
                  <a:lnTo>
                    <a:pt x="54769" y="211932"/>
                  </a:lnTo>
                  <a:lnTo>
                    <a:pt x="85725" y="180975"/>
                  </a:lnTo>
                  <a:lnTo>
                    <a:pt x="95250" y="142875"/>
                  </a:lnTo>
                  <a:lnTo>
                    <a:pt x="64294" y="135732"/>
                  </a:lnTo>
                  <a:lnTo>
                    <a:pt x="76200" y="90488"/>
                  </a:lnTo>
                  <a:lnTo>
                    <a:pt x="121444" y="33338"/>
                  </a:lnTo>
                  <a:lnTo>
                    <a:pt x="133350" y="16669"/>
                  </a:lnTo>
                  <a:lnTo>
                    <a:pt x="145256" y="4763"/>
                  </a:lnTo>
                  <a:lnTo>
                    <a:pt x="178594" y="2382"/>
                  </a:lnTo>
                  <a:lnTo>
                    <a:pt x="180975" y="21432"/>
                  </a:lnTo>
                  <a:lnTo>
                    <a:pt x="204788" y="33338"/>
                  </a:lnTo>
                  <a:lnTo>
                    <a:pt x="235744" y="33338"/>
                  </a:lnTo>
                  <a:lnTo>
                    <a:pt x="271463" y="23813"/>
                  </a:lnTo>
                  <a:lnTo>
                    <a:pt x="295275" y="11907"/>
                  </a:lnTo>
                  <a:lnTo>
                    <a:pt x="297656" y="23813"/>
                  </a:lnTo>
                  <a:lnTo>
                    <a:pt x="328613" y="23813"/>
                  </a:lnTo>
                  <a:lnTo>
                    <a:pt x="328613" y="23813"/>
                  </a:lnTo>
                  <a:lnTo>
                    <a:pt x="371475" y="0"/>
                  </a:lnTo>
                  <a:lnTo>
                    <a:pt x="376238" y="28575"/>
                  </a:lnTo>
                  <a:lnTo>
                    <a:pt x="411956" y="2382"/>
                  </a:lnTo>
                  <a:lnTo>
                    <a:pt x="440531" y="23813"/>
                  </a:lnTo>
                  <a:lnTo>
                    <a:pt x="445294" y="50007"/>
                  </a:lnTo>
                  <a:lnTo>
                    <a:pt x="466725" y="66675"/>
                  </a:lnTo>
                  <a:lnTo>
                    <a:pt x="514350" y="59532"/>
                  </a:lnTo>
                  <a:lnTo>
                    <a:pt x="514350" y="83344"/>
                  </a:lnTo>
                  <a:lnTo>
                    <a:pt x="545306" y="85725"/>
                  </a:lnTo>
                  <a:cubicBezTo>
                    <a:pt x="551656" y="91281"/>
                    <a:pt x="557403" y="97614"/>
                    <a:pt x="564356" y="102394"/>
                  </a:cubicBezTo>
                  <a:cubicBezTo>
                    <a:pt x="570206" y="106416"/>
                    <a:pt x="583406" y="111919"/>
                    <a:pt x="583406" y="111919"/>
                  </a:cubicBezTo>
                  <a:lnTo>
                    <a:pt x="602456" y="119063"/>
                  </a:lnTo>
                  <a:lnTo>
                    <a:pt x="647700" y="142875"/>
                  </a:lnTo>
                  <a:lnTo>
                    <a:pt x="700088" y="164307"/>
                  </a:lnTo>
                  <a:lnTo>
                    <a:pt x="750094" y="121444"/>
                  </a:lnTo>
                  <a:lnTo>
                    <a:pt x="766763" y="109538"/>
                  </a:lnTo>
                  <a:lnTo>
                    <a:pt x="785813" y="135732"/>
                  </a:lnTo>
                  <a:lnTo>
                    <a:pt x="807244" y="152400"/>
                  </a:lnTo>
                  <a:lnTo>
                    <a:pt x="873919" y="157163"/>
                  </a:lnTo>
                  <a:lnTo>
                    <a:pt x="907256" y="135732"/>
                  </a:lnTo>
                  <a:lnTo>
                    <a:pt x="969169" y="138113"/>
                  </a:lnTo>
                  <a:lnTo>
                    <a:pt x="992981" y="145257"/>
                  </a:lnTo>
                  <a:cubicBezTo>
                    <a:pt x="1017569" y="147989"/>
                    <a:pt x="1007225" y="147638"/>
                    <a:pt x="1023938" y="147638"/>
                  </a:cubicBezTo>
                  <a:lnTo>
                    <a:pt x="1066800" y="133350"/>
                  </a:lnTo>
                  <a:lnTo>
                    <a:pt x="1131094" y="142875"/>
                  </a:lnTo>
                  <a:lnTo>
                    <a:pt x="1176338" y="161925"/>
                  </a:lnTo>
                  <a:lnTo>
                    <a:pt x="1200150" y="192882"/>
                  </a:lnTo>
                  <a:lnTo>
                    <a:pt x="1264444" y="157163"/>
                  </a:lnTo>
                  <a:lnTo>
                    <a:pt x="1314450" y="130969"/>
                  </a:lnTo>
                  <a:lnTo>
                    <a:pt x="1354931" y="138113"/>
                  </a:lnTo>
                  <a:lnTo>
                    <a:pt x="1409700" y="138113"/>
                  </a:lnTo>
                  <a:lnTo>
                    <a:pt x="1438275" y="157163"/>
                  </a:lnTo>
                  <a:lnTo>
                    <a:pt x="1495425" y="183357"/>
                  </a:lnTo>
                  <a:lnTo>
                    <a:pt x="1524000" y="157163"/>
                  </a:lnTo>
                  <a:lnTo>
                    <a:pt x="1540669" y="226219"/>
                  </a:lnTo>
                  <a:lnTo>
                    <a:pt x="1512094" y="247650"/>
                  </a:lnTo>
                  <a:lnTo>
                    <a:pt x="1500188" y="288132"/>
                  </a:lnTo>
                  <a:lnTo>
                    <a:pt x="1512094" y="364332"/>
                  </a:lnTo>
                  <a:lnTo>
                    <a:pt x="1524000" y="452438"/>
                  </a:lnTo>
                  <a:lnTo>
                    <a:pt x="1526381" y="490538"/>
                  </a:lnTo>
                  <a:lnTo>
                    <a:pt x="1552575" y="559594"/>
                  </a:lnTo>
                  <a:lnTo>
                    <a:pt x="1559719" y="607219"/>
                  </a:lnTo>
                  <a:lnTo>
                    <a:pt x="1574006" y="664369"/>
                  </a:lnTo>
                  <a:lnTo>
                    <a:pt x="1638300" y="723900"/>
                  </a:lnTo>
                  <a:lnTo>
                    <a:pt x="1674019" y="759619"/>
                  </a:lnTo>
                  <a:lnTo>
                    <a:pt x="1712119" y="788194"/>
                  </a:lnTo>
                  <a:lnTo>
                    <a:pt x="1750219" y="804863"/>
                  </a:lnTo>
                  <a:lnTo>
                    <a:pt x="1774031" y="812007"/>
                  </a:lnTo>
                  <a:lnTo>
                    <a:pt x="1747838" y="869157"/>
                  </a:lnTo>
                  <a:lnTo>
                    <a:pt x="1716881" y="876300"/>
                  </a:lnTo>
                  <a:lnTo>
                    <a:pt x="1690688" y="904875"/>
                  </a:lnTo>
                  <a:lnTo>
                    <a:pt x="1654969" y="873919"/>
                  </a:lnTo>
                  <a:lnTo>
                    <a:pt x="1621631" y="831057"/>
                  </a:lnTo>
                  <a:lnTo>
                    <a:pt x="1595438" y="850107"/>
                  </a:lnTo>
                  <a:lnTo>
                    <a:pt x="1576388" y="809625"/>
                  </a:lnTo>
                  <a:lnTo>
                    <a:pt x="1502569" y="835819"/>
                  </a:lnTo>
                  <a:lnTo>
                    <a:pt x="1466850" y="838200"/>
                  </a:lnTo>
                  <a:lnTo>
                    <a:pt x="1452563" y="838200"/>
                  </a:lnTo>
                  <a:lnTo>
                    <a:pt x="1407319" y="947738"/>
                  </a:lnTo>
                  <a:lnTo>
                    <a:pt x="1338263" y="909638"/>
                  </a:lnTo>
                  <a:lnTo>
                    <a:pt x="1231106" y="871538"/>
                  </a:lnTo>
                  <a:lnTo>
                    <a:pt x="1233488" y="821532"/>
                  </a:lnTo>
                  <a:lnTo>
                    <a:pt x="1209675" y="809625"/>
                  </a:lnTo>
                  <a:lnTo>
                    <a:pt x="1262063" y="695325"/>
                  </a:lnTo>
                  <a:lnTo>
                    <a:pt x="1183481" y="711994"/>
                  </a:lnTo>
                  <a:lnTo>
                    <a:pt x="1185863" y="669132"/>
                  </a:lnTo>
                  <a:lnTo>
                    <a:pt x="1131094" y="669132"/>
                  </a:lnTo>
                  <a:lnTo>
                    <a:pt x="1095375" y="626269"/>
                  </a:lnTo>
                  <a:lnTo>
                    <a:pt x="1078706" y="619125"/>
                  </a:lnTo>
                  <a:lnTo>
                    <a:pt x="1050131" y="645319"/>
                  </a:lnTo>
                  <a:lnTo>
                    <a:pt x="1009650" y="669132"/>
                  </a:lnTo>
                  <a:lnTo>
                    <a:pt x="981075" y="681038"/>
                  </a:lnTo>
                  <a:lnTo>
                    <a:pt x="1004888" y="707232"/>
                  </a:lnTo>
                  <a:lnTo>
                    <a:pt x="985838" y="702469"/>
                  </a:lnTo>
                  <a:lnTo>
                    <a:pt x="947738" y="702469"/>
                  </a:lnTo>
                  <a:lnTo>
                    <a:pt x="947738" y="702469"/>
                  </a:lnTo>
                  <a:lnTo>
                    <a:pt x="885825" y="673894"/>
                  </a:lnTo>
                  <a:lnTo>
                    <a:pt x="847725" y="728663"/>
                  </a:lnTo>
                  <a:lnTo>
                    <a:pt x="747713" y="661988"/>
                  </a:lnTo>
                  <a:lnTo>
                    <a:pt x="704850" y="657225"/>
                  </a:lnTo>
                  <a:lnTo>
                    <a:pt x="681038" y="671513"/>
                  </a:lnTo>
                  <a:lnTo>
                    <a:pt x="647700" y="633413"/>
                  </a:lnTo>
                  <a:lnTo>
                    <a:pt x="623888" y="600075"/>
                  </a:lnTo>
                  <a:lnTo>
                    <a:pt x="573881" y="566738"/>
                  </a:lnTo>
                  <a:lnTo>
                    <a:pt x="514350" y="561975"/>
                  </a:lnTo>
                  <a:lnTo>
                    <a:pt x="431006" y="521494"/>
                  </a:lnTo>
                  <a:lnTo>
                    <a:pt x="414338" y="471488"/>
                  </a:lnTo>
                  <a:lnTo>
                    <a:pt x="404813" y="423863"/>
                  </a:lnTo>
                  <a:lnTo>
                    <a:pt x="314325" y="421482"/>
                  </a:lnTo>
                  <a:lnTo>
                    <a:pt x="292894" y="461963"/>
                  </a:lnTo>
                  <a:lnTo>
                    <a:pt x="276225" y="483394"/>
                  </a:lnTo>
                  <a:lnTo>
                    <a:pt x="233363" y="495300"/>
                  </a:lnTo>
                  <a:lnTo>
                    <a:pt x="219075" y="435769"/>
                  </a:lnTo>
                  <a:lnTo>
                    <a:pt x="133350" y="454819"/>
                  </a:lnTo>
                  <a:lnTo>
                    <a:pt x="152400" y="409575"/>
                  </a:lnTo>
                  <a:lnTo>
                    <a:pt x="164306" y="369094"/>
                  </a:lnTo>
                  <a:lnTo>
                    <a:pt x="116681" y="328613"/>
                  </a:lnTo>
                  <a:lnTo>
                    <a:pt x="64294" y="340519"/>
                  </a:lnTo>
                  <a:lnTo>
                    <a:pt x="11906" y="31194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igura a mano libera 248">
              <a:extLst>
                <a:ext uri="{FF2B5EF4-FFF2-40B4-BE49-F238E27FC236}">
                  <a16:creationId xmlns:a16="http://schemas.microsoft.com/office/drawing/2014/main" id="{52D6FBF7-9F50-4F87-B334-5E7D2AAA8967}"/>
                </a:ext>
              </a:extLst>
            </p:cNvPr>
            <p:cNvSpPr/>
            <p:nvPr/>
          </p:nvSpPr>
          <p:spPr bwMode="auto">
            <a:xfrm>
              <a:off x="6138710" y="1488361"/>
              <a:ext cx="466734" cy="284105"/>
            </a:xfrm>
            <a:custGeom>
              <a:avLst/>
              <a:gdLst>
                <a:gd name="connsiteX0" fmla="*/ 121444 w 542925"/>
                <a:gd name="connsiteY0" fmla="*/ 335756 h 335756"/>
                <a:gd name="connsiteX1" fmla="*/ 135731 w 542925"/>
                <a:gd name="connsiteY1" fmla="*/ 304800 h 335756"/>
                <a:gd name="connsiteX2" fmla="*/ 195262 w 542925"/>
                <a:gd name="connsiteY2" fmla="*/ 330994 h 335756"/>
                <a:gd name="connsiteX3" fmla="*/ 242887 w 542925"/>
                <a:gd name="connsiteY3" fmla="*/ 295275 h 335756"/>
                <a:gd name="connsiteX4" fmla="*/ 335756 w 542925"/>
                <a:gd name="connsiteY4" fmla="*/ 264319 h 335756"/>
                <a:gd name="connsiteX5" fmla="*/ 404812 w 542925"/>
                <a:gd name="connsiteY5" fmla="*/ 302419 h 335756"/>
                <a:gd name="connsiteX6" fmla="*/ 483394 w 542925"/>
                <a:gd name="connsiteY6" fmla="*/ 269081 h 335756"/>
                <a:gd name="connsiteX7" fmla="*/ 521494 w 542925"/>
                <a:gd name="connsiteY7" fmla="*/ 269081 h 335756"/>
                <a:gd name="connsiteX8" fmla="*/ 535781 w 542925"/>
                <a:gd name="connsiteY8" fmla="*/ 247650 h 335756"/>
                <a:gd name="connsiteX9" fmla="*/ 526256 w 542925"/>
                <a:gd name="connsiteY9" fmla="*/ 195263 h 335756"/>
                <a:gd name="connsiteX10" fmla="*/ 542925 w 542925"/>
                <a:gd name="connsiteY10" fmla="*/ 188119 h 335756"/>
                <a:gd name="connsiteX11" fmla="*/ 511969 w 542925"/>
                <a:gd name="connsiteY11" fmla="*/ 135731 h 335756"/>
                <a:gd name="connsiteX12" fmla="*/ 519112 w 542925"/>
                <a:gd name="connsiteY12" fmla="*/ 71438 h 335756"/>
                <a:gd name="connsiteX13" fmla="*/ 521494 w 542925"/>
                <a:gd name="connsiteY13" fmla="*/ 50006 h 335756"/>
                <a:gd name="connsiteX14" fmla="*/ 500062 w 542925"/>
                <a:gd name="connsiteY14" fmla="*/ 52388 h 335756"/>
                <a:gd name="connsiteX15" fmla="*/ 452437 w 542925"/>
                <a:gd name="connsiteY15" fmla="*/ 50006 h 335756"/>
                <a:gd name="connsiteX16" fmla="*/ 445294 w 542925"/>
                <a:gd name="connsiteY16" fmla="*/ 54769 h 335756"/>
                <a:gd name="connsiteX17" fmla="*/ 426244 w 542925"/>
                <a:gd name="connsiteY17" fmla="*/ 21431 h 335756"/>
                <a:gd name="connsiteX18" fmla="*/ 404812 w 542925"/>
                <a:gd name="connsiteY18" fmla="*/ 4763 h 335756"/>
                <a:gd name="connsiteX19" fmla="*/ 364331 w 542925"/>
                <a:gd name="connsiteY19" fmla="*/ 0 h 335756"/>
                <a:gd name="connsiteX20" fmla="*/ 333375 w 542925"/>
                <a:gd name="connsiteY20" fmla="*/ 30956 h 335756"/>
                <a:gd name="connsiteX21" fmla="*/ 288131 w 542925"/>
                <a:gd name="connsiteY21" fmla="*/ 42863 h 335756"/>
                <a:gd name="connsiteX22" fmla="*/ 280987 w 542925"/>
                <a:gd name="connsiteY22" fmla="*/ 64294 h 335756"/>
                <a:gd name="connsiteX23" fmla="*/ 247650 w 542925"/>
                <a:gd name="connsiteY23" fmla="*/ 30956 h 335756"/>
                <a:gd name="connsiteX24" fmla="*/ 230981 w 542925"/>
                <a:gd name="connsiteY24" fmla="*/ 54769 h 335756"/>
                <a:gd name="connsiteX25" fmla="*/ 204787 w 542925"/>
                <a:gd name="connsiteY25" fmla="*/ 76200 h 335756"/>
                <a:gd name="connsiteX26" fmla="*/ 178594 w 542925"/>
                <a:gd name="connsiteY26" fmla="*/ 78581 h 335756"/>
                <a:gd name="connsiteX27" fmla="*/ 183356 w 542925"/>
                <a:gd name="connsiteY27" fmla="*/ 54769 h 335756"/>
                <a:gd name="connsiteX28" fmla="*/ 138112 w 542925"/>
                <a:gd name="connsiteY28" fmla="*/ 64294 h 335756"/>
                <a:gd name="connsiteX29" fmla="*/ 126206 w 542925"/>
                <a:gd name="connsiteY29" fmla="*/ 88106 h 335756"/>
                <a:gd name="connsiteX30" fmla="*/ 126206 w 542925"/>
                <a:gd name="connsiteY30" fmla="*/ 52388 h 335756"/>
                <a:gd name="connsiteX31" fmla="*/ 123825 w 542925"/>
                <a:gd name="connsiteY31" fmla="*/ 28575 h 335756"/>
                <a:gd name="connsiteX32" fmla="*/ 95250 w 542925"/>
                <a:gd name="connsiteY32" fmla="*/ 45244 h 335756"/>
                <a:gd name="connsiteX33" fmla="*/ 90487 w 542925"/>
                <a:gd name="connsiteY33" fmla="*/ 64294 h 335756"/>
                <a:gd name="connsiteX34" fmla="*/ 35719 w 542925"/>
                <a:gd name="connsiteY34" fmla="*/ 69056 h 335756"/>
                <a:gd name="connsiteX35" fmla="*/ 19050 w 542925"/>
                <a:gd name="connsiteY35" fmla="*/ 83344 h 335756"/>
                <a:gd name="connsiteX36" fmla="*/ 0 w 542925"/>
                <a:gd name="connsiteY36" fmla="*/ 128588 h 335756"/>
                <a:gd name="connsiteX37" fmla="*/ 16669 w 542925"/>
                <a:gd name="connsiteY37" fmla="*/ 161925 h 335756"/>
                <a:gd name="connsiteX38" fmla="*/ 50006 w 542925"/>
                <a:gd name="connsiteY38" fmla="*/ 202406 h 335756"/>
                <a:gd name="connsiteX39" fmla="*/ 76200 w 542925"/>
                <a:gd name="connsiteY39" fmla="*/ 200025 h 335756"/>
                <a:gd name="connsiteX40" fmla="*/ 88106 w 542925"/>
                <a:gd name="connsiteY40" fmla="*/ 223838 h 335756"/>
                <a:gd name="connsiteX41" fmla="*/ 69056 w 542925"/>
                <a:gd name="connsiteY41" fmla="*/ 233363 h 335756"/>
                <a:gd name="connsiteX42" fmla="*/ 52387 w 542925"/>
                <a:gd name="connsiteY42" fmla="*/ 250031 h 335756"/>
                <a:gd name="connsiteX43" fmla="*/ 121444 w 542925"/>
                <a:gd name="connsiteY43" fmla="*/ 335756 h 335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42925" h="335756">
                  <a:moveTo>
                    <a:pt x="121444" y="335756"/>
                  </a:moveTo>
                  <a:lnTo>
                    <a:pt x="135731" y="304800"/>
                  </a:lnTo>
                  <a:lnTo>
                    <a:pt x="195262" y="330994"/>
                  </a:lnTo>
                  <a:lnTo>
                    <a:pt x="242887" y="295275"/>
                  </a:lnTo>
                  <a:lnTo>
                    <a:pt x="335756" y="264319"/>
                  </a:lnTo>
                  <a:lnTo>
                    <a:pt x="404812" y="302419"/>
                  </a:lnTo>
                  <a:lnTo>
                    <a:pt x="483394" y="269081"/>
                  </a:lnTo>
                  <a:lnTo>
                    <a:pt x="521494" y="269081"/>
                  </a:lnTo>
                  <a:lnTo>
                    <a:pt x="535781" y="247650"/>
                  </a:lnTo>
                  <a:lnTo>
                    <a:pt x="526256" y="195263"/>
                  </a:lnTo>
                  <a:lnTo>
                    <a:pt x="542925" y="188119"/>
                  </a:lnTo>
                  <a:lnTo>
                    <a:pt x="511969" y="135731"/>
                  </a:lnTo>
                  <a:lnTo>
                    <a:pt x="519112" y="71438"/>
                  </a:lnTo>
                  <a:lnTo>
                    <a:pt x="521494" y="50006"/>
                  </a:lnTo>
                  <a:lnTo>
                    <a:pt x="500062" y="52388"/>
                  </a:lnTo>
                  <a:lnTo>
                    <a:pt x="452437" y="50006"/>
                  </a:lnTo>
                  <a:lnTo>
                    <a:pt x="445294" y="54769"/>
                  </a:lnTo>
                  <a:lnTo>
                    <a:pt x="426244" y="21431"/>
                  </a:lnTo>
                  <a:lnTo>
                    <a:pt x="404812" y="4763"/>
                  </a:lnTo>
                  <a:lnTo>
                    <a:pt x="364331" y="0"/>
                  </a:lnTo>
                  <a:lnTo>
                    <a:pt x="333375" y="30956"/>
                  </a:lnTo>
                  <a:lnTo>
                    <a:pt x="288131" y="42863"/>
                  </a:lnTo>
                  <a:lnTo>
                    <a:pt x="280987" y="64294"/>
                  </a:lnTo>
                  <a:lnTo>
                    <a:pt x="247650" y="30956"/>
                  </a:lnTo>
                  <a:lnTo>
                    <a:pt x="230981" y="54769"/>
                  </a:lnTo>
                  <a:lnTo>
                    <a:pt x="204787" y="76200"/>
                  </a:lnTo>
                  <a:lnTo>
                    <a:pt x="178594" y="78581"/>
                  </a:lnTo>
                  <a:lnTo>
                    <a:pt x="183356" y="54769"/>
                  </a:lnTo>
                  <a:lnTo>
                    <a:pt x="138112" y="64294"/>
                  </a:lnTo>
                  <a:lnTo>
                    <a:pt x="126206" y="88106"/>
                  </a:lnTo>
                  <a:lnTo>
                    <a:pt x="126206" y="52388"/>
                  </a:lnTo>
                  <a:lnTo>
                    <a:pt x="123825" y="28575"/>
                  </a:lnTo>
                  <a:lnTo>
                    <a:pt x="95250" y="45244"/>
                  </a:lnTo>
                  <a:lnTo>
                    <a:pt x="90487" y="64294"/>
                  </a:lnTo>
                  <a:lnTo>
                    <a:pt x="35719" y="69056"/>
                  </a:lnTo>
                  <a:lnTo>
                    <a:pt x="19050" y="83344"/>
                  </a:lnTo>
                  <a:lnTo>
                    <a:pt x="0" y="128588"/>
                  </a:lnTo>
                  <a:lnTo>
                    <a:pt x="16669" y="161925"/>
                  </a:lnTo>
                  <a:lnTo>
                    <a:pt x="50006" y="202406"/>
                  </a:lnTo>
                  <a:lnTo>
                    <a:pt x="76200" y="200025"/>
                  </a:lnTo>
                  <a:lnTo>
                    <a:pt x="88106" y="223838"/>
                  </a:lnTo>
                  <a:lnTo>
                    <a:pt x="69056" y="233363"/>
                  </a:lnTo>
                  <a:lnTo>
                    <a:pt x="52387" y="250031"/>
                  </a:lnTo>
                  <a:lnTo>
                    <a:pt x="121444" y="33575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igura a mano libera 249">
              <a:extLst>
                <a:ext uri="{FF2B5EF4-FFF2-40B4-BE49-F238E27FC236}">
                  <a16:creationId xmlns:a16="http://schemas.microsoft.com/office/drawing/2014/main" id="{BB873B6D-1EA9-45DF-89B6-067F4DD72A0B}"/>
                </a:ext>
              </a:extLst>
            </p:cNvPr>
            <p:cNvSpPr/>
            <p:nvPr/>
          </p:nvSpPr>
          <p:spPr bwMode="auto">
            <a:xfrm>
              <a:off x="6030758" y="1255046"/>
              <a:ext cx="1089044" cy="1296726"/>
            </a:xfrm>
            <a:custGeom>
              <a:avLst/>
              <a:gdLst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40656 w 1624012"/>
                <a:gd name="connsiteY100" fmla="*/ 7144 h 1533525"/>
                <a:gd name="connsiteX101" fmla="*/ 1438275 w 1624012"/>
                <a:gd name="connsiteY101" fmla="*/ 69056 h 1533525"/>
                <a:gd name="connsiteX102" fmla="*/ 1440656 w 1624012"/>
                <a:gd name="connsiteY102" fmla="*/ 104775 h 1533525"/>
                <a:gd name="connsiteX103" fmla="*/ 1490662 w 1624012"/>
                <a:gd name="connsiteY103" fmla="*/ 142875 h 1533525"/>
                <a:gd name="connsiteX104" fmla="*/ 1543050 w 1624012"/>
                <a:gd name="connsiteY104" fmla="*/ 147638 h 1533525"/>
                <a:gd name="connsiteX105" fmla="*/ 1547812 w 1624012"/>
                <a:gd name="connsiteY105" fmla="*/ 121444 h 1533525"/>
                <a:gd name="connsiteX106" fmla="*/ 1574006 w 1624012"/>
                <a:gd name="connsiteY106" fmla="*/ 121444 h 1533525"/>
                <a:gd name="connsiteX107" fmla="*/ 1624012 w 1624012"/>
                <a:gd name="connsiteY107" fmla="*/ 109538 h 1533525"/>
                <a:gd name="connsiteX108" fmla="*/ 1057275 w 1624012"/>
                <a:gd name="connsiteY108" fmla="*/ 264319 h 1533525"/>
                <a:gd name="connsiteX109" fmla="*/ 1062037 w 1624012"/>
                <a:gd name="connsiteY109" fmla="*/ 304800 h 1533525"/>
                <a:gd name="connsiteX110" fmla="*/ 995362 w 1624012"/>
                <a:gd name="connsiteY110" fmla="*/ 352425 h 1533525"/>
                <a:gd name="connsiteX111" fmla="*/ 973931 w 1624012"/>
                <a:gd name="connsiteY111" fmla="*/ 383381 h 1533525"/>
                <a:gd name="connsiteX112" fmla="*/ 1000125 w 1624012"/>
                <a:gd name="connsiteY112" fmla="*/ 428625 h 1533525"/>
                <a:gd name="connsiteX113" fmla="*/ 983456 w 1624012"/>
                <a:gd name="connsiteY113" fmla="*/ 466725 h 1533525"/>
                <a:gd name="connsiteX114" fmla="*/ 1000125 w 1624012"/>
                <a:gd name="connsiteY114" fmla="*/ 519113 h 1533525"/>
                <a:gd name="connsiteX115" fmla="*/ 1033462 w 1624012"/>
                <a:gd name="connsiteY115" fmla="*/ 519113 h 1533525"/>
                <a:gd name="connsiteX116" fmla="*/ 1019175 w 1624012"/>
                <a:gd name="connsiteY116" fmla="*/ 552450 h 1533525"/>
                <a:gd name="connsiteX117" fmla="*/ 1035843 w 1624012"/>
                <a:gd name="connsiteY117" fmla="*/ 590550 h 1533525"/>
                <a:gd name="connsiteX118" fmla="*/ 1035843 w 1624012"/>
                <a:gd name="connsiteY118" fmla="*/ 607219 h 1533525"/>
                <a:gd name="connsiteX119" fmla="*/ 1045368 w 1624012"/>
                <a:gd name="connsiteY119" fmla="*/ 645319 h 1533525"/>
                <a:gd name="connsiteX120" fmla="*/ 1064418 w 1624012"/>
                <a:gd name="connsiteY120" fmla="*/ 645319 h 1533525"/>
                <a:gd name="connsiteX121" fmla="*/ 1078706 w 1624012"/>
                <a:gd name="connsiteY121" fmla="*/ 666750 h 1533525"/>
                <a:gd name="connsiteX122" fmla="*/ 1085850 w 1624012"/>
                <a:gd name="connsiteY122" fmla="*/ 688181 h 1533525"/>
                <a:gd name="connsiteX123" fmla="*/ 1076325 w 1624012"/>
                <a:gd name="connsiteY123" fmla="*/ 719138 h 1533525"/>
                <a:gd name="connsiteX124" fmla="*/ 1021556 w 1624012"/>
                <a:gd name="connsiteY124" fmla="*/ 714375 h 1533525"/>
                <a:gd name="connsiteX125" fmla="*/ 1002506 w 1624012"/>
                <a:gd name="connsiteY125" fmla="*/ 721519 h 1533525"/>
                <a:gd name="connsiteX126" fmla="*/ 995362 w 1624012"/>
                <a:gd name="connsiteY126" fmla="*/ 726281 h 1533525"/>
                <a:gd name="connsiteX127" fmla="*/ 995362 w 1624012"/>
                <a:gd name="connsiteY127" fmla="*/ 726281 h 1533525"/>
                <a:gd name="connsiteX128" fmla="*/ 923925 w 1624012"/>
                <a:gd name="connsiteY128" fmla="*/ 721519 h 1533525"/>
                <a:gd name="connsiteX129" fmla="*/ 940593 w 1624012"/>
                <a:gd name="connsiteY129" fmla="*/ 778669 h 1533525"/>
                <a:gd name="connsiteX130" fmla="*/ 938212 w 1624012"/>
                <a:gd name="connsiteY130" fmla="*/ 847725 h 1533525"/>
                <a:gd name="connsiteX131" fmla="*/ 954881 w 1624012"/>
                <a:gd name="connsiteY131" fmla="*/ 871538 h 1533525"/>
                <a:gd name="connsiteX132" fmla="*/ 997743 w 1624012"/>
                <a:gd name="connsiteY132" fmla="*/ 919163 h 1533525"/>
                <a:gd name="connsiteX133" fmla="*/ 1012031 w 1624012"/>
                <a:gd name="connsiteY133" fmla="*/ 954881 h 1533525"/>
                <a:gd name="connsiteX134" fmla="*/ 1031081 w 1624012"/>
                <a:gd name="connsiteY134" fmla="*/ 954881 h 1533525"/>
                <a:gd name="connsiteX135" fmla="*/ 1071562 w 1624012"/>
                <a:gd name="connsiteY135" fmla="*/ 940594 h 1533525"/>
                <a:gd name="connsiteX136" fmla="*/ 1102518 w 1624012"/>
                <a:gd name="connsiteY136" fmla="*/ 933450 h 1533525"/>
                <a:gd name="connsiteX137" fmla="*/ 1159668 w 1624012"/>
                <a:gd name="connsiteY137" fmla="*/ 997744 h 1533525"/>
                <a:gd name="connsiteX138" fmla="*/ 1178718 w 1624012"/>
                <a:gd name="connsiteY138" fmla="*/ 1052513 h 1533525"/>
                <a:gd name="connsiteX139" fmla="*/ 1190625 w 1624012"/>
                <a:gd name="connsiteY139" fmla="*/ 1081088 h 1533525"/>
                <a:gd name="connsiteX140" fmla="*/ 1212056 w 1624012"/>
                <a:gd name="connsiteY140" fmla="*/ 1109663 h 1533525"/>
                <a:gd name="connsiteX141" fmla="*/ 1231106 w 1624012"/>
                <a:gd name="connsiteY141" fmla="*/ 1102519 h 1533525"/>
                <a:gd name="connsiteX142" fmla="*/ 1231106 w 1624012"/>
                <a:gd name="connsiteY142" fmla="*/ 1131094 h 1533525"/>
                <a:gd name="connsiteX143" fmla="*/ 1233487 w 1624012"/>
                <a:gd name="connsiteY143" fmla="*/ 1145381 h 1533525"/>
                <a:gd name="connsiteX144" fmla="*/ 1266825 w 1624012"/>
                <a:gd name="connsiteY144" fmla="*/ 1181100 h 1533525"/>
                <a:gd name="connsiteX145" fmla="*/ 1233487 w 1624012"/>
                <a:gd name="connsiteY145" fmla="*/ 1181100 h 1533525"/>
                <a:gd name="connsiteX146" fmla="*/ 1228725 w 1624012"/>
                <a:gd name="connsiteY146" fmla="*/ 1223963 h 1533525"/>
                <a:gd name="connsiteX147" fmla="*/ 1226343 w 1624012"/>
                <a:gd name="connsiteY147" fmla="*/ 1243013 h 1533525"/>
                <a:gd name="connsiteX148" fmla="*/ 1216818 w 1624012"/>
                <a:gd name="connsiteY148" fmla="*/ 1264444 h 1533525"/>
                <a:gd name="connsiteX149" fmla="*/ 1190625 w 1624012"/>
                <a:gd name="connsiteY149" fmla="*/ 1238250 h 1533525"/>
                <a:gd name="connsiteX150" fmla="*/ 1157287 w 1624012"/>
                <a:gd name="connsiteY150" fmla="*/ 1209675 h 1533525"/>
                <a:gd name="connsiteX151" fmla="*/ 1131093 w 1624012"/>
                <a:gd name="connsiteY151" fmla="*/ 1185863 h 1533525"/>
                <a:gd name="connsiteX152" fmla="*/ 1107281 w 1624012"/>
                <a:gd name="connsiteY152" fmla="*/ 1219200 h 1533525"/>
                <a:gd name="connsiteX153" fmla="*/ 1104900 w 1624012"/>
                <a:gd name="connsiteY153" fmla="*/ 1264444 h 1533525"/>
                <a:gd name="connsiteX154" fmla="*/ 1062037 w 1624012"/>
                <a:gd name="connsiteY154" fmla="*/ 1259681 h 1533525"/>
                <a:gd name="connsiteX155" fmla="*/ 1026318 w 1624012"/>
                <a:gd name="connsiteY155" fmla="*/ 1288256 h 1533525"/>
                <a:gd name="connsiteX156" fmla="*/ 1007268 w 1624012"/>
                <a:gd name="connsiteY156" fmla="*/ 1240631 h 1533525"/>
                <a:gd name="connsiteX157" fmla="*/ 947737 w 1624012"/>
                <a:gd name="connsiteY157" fmla="*/ 1231106 h 1533525"/>
                <a:gd name="connsiteX158" fmla="*/ 921543 w 1624012"/>
                <a:gd name="connsiteY158" fmla="*/ 1297781 h 1533525"/>
                <a:gd name="connsiteX159" fmla="*/ 885825 w 1624012"/>
                <a:gd name="connsiteY159" fmla="*/ 1278731 h 1533525"/>
                <a:gd name="connsiteX160" fmla="*/ 816768 w 1624012"/>
                <a:gd name="connsiteY160" fmla="*/ 1295400 h 1533525"/>
                <a:gd name="connsiteX161" fmla="*/ 757237 w 1624012"/>
                <a:gd name="connsiteY161" fmla="*/ 1259681 h 1533525"/>
                <a:gd name="connsiteX162" fmla="*/ 742950 w 1624012"/>
                <a:gd name="connsiteY162" fmla="*/ 1312069 h 1533525"/>
                <a:gd name="connsiteX163" fmla="*/ 704850 w 1624012"/>
                <a:gd name="connsiteY163" fmla="*/ 1345406 h 1533525"/>
                <a:gd name="connsiteX164" fmla="*/ 692943 w 1624012"/>
                <a:gd name="connsiteY164" fmla="*/ 1366838 h 1533525"/>
                <a:gd name="connsiteX165" fmla="*/ 671512 w 1624012"/>
                <a:gd name="connsiteY165" fmla="*/ 1509713 h 1533525"/>
                <a:gd name="connsiteX166" fmla="*/ 633412 w 1624012"/>
                <a:gd name="connsiteY166" fmla="*/ 1490663 h 1533525"/>
                <a:gd name="connsiteX167" fmla="*/ 614362 w 1624012"/>
                <a:gd name="connsiteY167" fmla="*/ 1504950 h 1533525"/>
                <a:gd name="connsiteX168" fmla="*/ 581025 w 1624012"/>
                <a:gd name="connsiteY168" fmla="*/ 1531144 h 1533525"/>
                <a:gd name="connsiteX169" fmla="*/ 523875 w 1624012"/>
                <a:gd name="connsiteY169" fmla="*/ 1502569 h 1533525"/>
                <a:gd name="connsiteX170" fmla="*/ 514350 w 1624012"/>
                <a:gd name="connsiteY170" fmla="*/ 1490663 h 1533525"/>
                <a:gd name="connsiteX171" fmla="*/ 483393 w 1624012"/>
                <a:gd name="connsiteY171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381125 w 1624012"/>
                <a:gd name="connsiteY98" fmla="*/ 0 h 1533525"/>
                <a:gd name="connsiteX99" fmla="*/ 1419225 w 1624012"/>
                <a:gd name="connsiteY99" fmla="*/ 11906 h 1533525"/>
                <a:gd name="connsiteX100" fmla="*/ 1438275 w 1624012"/>
                <a:gd name="connsiteY100" fmla="*/ 69056 h 1533525"/>
                <a:gd name="connsiteX101" fmla="*/ 1440656 w 1624012"/>
                <a:gd name="connsiteY101" fmla="*/ 104775 h 1533525"/>
                <a:gd name="connsiteX102" fmla="*/ 1490662 w 1624012"/>
                <a:gd name="connsiteY102" fmla="*/ 142875 h 1533525"/>
                <a:gd name="connsiteX103" fmla="*/ 1543050 w 1624012"/>
                <a:gd name="connsiteY103" fmla="*/ 147638 h 1533525"/>
                <a:gd name="connsiteX104" fmla="*/ 1547812 w 1624012"/>
                <a:gd name="connsiteY104" fmla="*/ 121444 h 1533525"/>
                <a:gd name="connsiteX105" fmla="*/ 1574006 w 1624012"/>
                <a:gd name="connsiteY105" fmla="*/ 121444 h 1533525"/>
                <a:gd name="connsiteX106" fmla="*/ 1624012 w 1624012"/>
                <a:gd name="connsiteY106" fmla="*/ 109538 h 1533525"/>
                <a:gd name="connsiteX107" fmla="*/ 1057275 w 1624012"/>
                <a:gd name="connsiteY107" fmla="*/ 264319 h 1533525"/>
                <a:gd name="connsiteX108" fmla="*/ 1062037 w 1624012"/>
                <a:gd name="connsiteY108" fmla="*/ 304800 h 1533525"/>
                <a:gd name="connsiteX109" fmla="*/ 995362 w 1624012"/>
                <a:gd name="connsiteY109" fmla="*/ 352425 h 1533525"/>
                <a:gd name="connsiteX110" fmla="*/ 973931 w 1624012"/>
                <a:gd name="connsiteY110" fmla="*/ 383381 h 1533525"/>
                <a:gd name="connsiteX111" fmla="*/ 1000125 w 1624012"/>
                <a:gd name="connsiteY111" fmla="*/ 428625 h 1533525"/>
                <a:gd name="connsiteX112" fmla="*/ 983456 w 1624012"/>
                <a:gd name="connsiteY112" fmla="*/ 466725 h 1533525"/>
                <a:gd name="connsiteX113" fmla="*/ 1000125 w 1624012"/>
                <a:gd name="connsiteY113" fmla="*/ 519113 h 1533525"/>
                <a:gd name="connsiteX114" fmla="*/ 1033462 w 1624012"/>
                <a:gd name="connsiteY114" fmla="*/ 519113 h 1533525"/>
                <a:gd name="connsiteX115" fmla="*/ 1019175 w 1624012"/>
                <a:gd name="connsiteY115" fmla="*/ 552450 h 1533525"/>
                <a:gd name="connsiteX116" fmla="*/ 1035843 w 1624012"/>
                <a:gd name="connsiteY116" fmla="*/ 590550 h 1533525"/>
                <a:gd name="connsiteX117" fmla="*/ 1035843 w 1624012"/>
                <a:gd name="connsiteY117" fmla="*/ 607219 h 1533525"/>
                <a:gd name="connsiteX118" fmla="*/ 1045368 w 1624012"/>
                <a:gd name="connsiteY118" fmla="*/ 645319 h 1533525"/>
                <a:gd name="connsiteX119" fmla="*/ 1064418 w 1624012"/>
                <a:gd name="connsiteY119" fmla="*/ 645319 h 1533525"/>
                <a:gd name="connsiteX120" fmla="*/ 1078706 w 1624012"/>
                <a:gd name="connsiteY120" fmla="*/ 666750 h 1533525"/>
                <a:gd name="connsiteX121" fmla="*/ 1085850 w 1624012"/>
                <a:gd name="connsiteY121" fmla="*/ 688181 h 1533525"/>
                <a:gd name="connsiteX122" fmla="*/ 1076325 w 1624012"/>
                <a:gd name="connsiteY122" fmla="*/ 719138 h 1533525"/>
                <a:gd name="connsiteX123" fmla="*/ 1021556 w 1624012"/>
                <a:gd name="connsiteY123" fmla="*/ 714375 h 1533525"/>
                <a:gd name="connsiteX124" fmla="*/ 1002506 w 1624012"/>
                <a:gd name="connsiteY124" fmla="*/ 721519 h 1533525"/>
                <a:gd name="connsiteX125" fmla="*/ 995362 w 1624012"/>
                <a:gd name="connsiteY125" fmla="*/ 726281 h 1533525"/>
                <a:gd name="connsiteX126" fmla="*/ 995362 w 1624012"/>
                <a:gd name="connsiteY126" fmla="*/ 726281 h 1533525"/>
                <a:gd name="connsiteX127" fmla="*/ 923925 w 1624012"/>
                <a:gd name="connsiteY127" fmla="*/ 721519 h 1533525"/>
                <a:gd name="connsiteX128" fmla="*/ 940593 w 1624012"/>
                <a:gd name="connsiteY128" fmla="*/ 778669 h 1533525"/>
                <a:gd name="connsiteX129" fmla="*/ 938212 w 1624012"/>
                <a:gd name="connsiteY129" fmla="*/ 847725 h 1533525"/>
                <a:gd name="connsiteX130" fmla="*/ 954881 w 1624012"/>
                <a:gd name="connsiteY130" fmla="*/ 871538 h 1533525"/>
                <a:gd name="connsiteX131" fmla="*/ 997743 w 1624012"/>
                <a:gd name="connsiteY131" fmla="*/ 919163 h 1533525"/>
                <a:gd name="connsiteX132" fmla="*/ 1012031 w 1624012"/>
                <a:gd name="connsiteY132" fmla="*/ 954881 h 1533525"/>
                <a:gd name="connsiteX133" fmla="*/ 1031081 w 1624012"/>
                <a:gd name="connsiteY133" fmla="*/ 954881 h 1533525"/>
                <a:gd name="connsiteX134" fmla="*/ 1071562 w 1624012"/>
                <a:gd name="connsiteY134" fmla="*/ 940594 h 1533525"/>
                <a:gd name="connsiteX135" fmla="*/ 1102518 w 1624012"/>
                <a:gd name="connsiteY135" fmla="*/ 933450 h 1533525"/>
                <a:gd name="connsiteX136" fmla="*/ 1159668 w 1624012"/>
                <a:gd name="connsiteY136" fmla="*/ 997744 h 1533525"/>
                <a:gd name="connsiteX137" fmla="*/ 1178718 w 1624012"/>
                <a:gd name="connsiteY137" fmla="*/ 1052513 h 1533525"/>
                <a:gd name="connsiteX138" fmla="*/ 1190625 w 1624012"/>
                <a:gd name="connsiteY138" fmla="*/ 1081088 h 1533525"/>
                <a:gd name="connsiteX139" fmla="*/ 1212056 w 1624012"/>
                <a:gd name="connsiteY139" fmla="*/ 1109663 h 1533525"/>
                <a:gd name="connsiteX140" fmla="*/ 1231106 w 1624012"/>
                <a:gd name="connsiteY140" fmla="*/ 1102519 h 1533525"/>
                <a:gd name="connsiteX141" fmla="*/ 1231106 w 1624012"/>
                <a:gd name="connsiteY141" fmla="*/ 1131094 h 1533525"/>
                <a:gd name="connsiteX142" fmla="*/ 1233487 w 1624012"/>
                <a:gd name="connsiteY142" fmla="*/ 1145381 h 1533525"/>
                <a:gd name="connsiteX143" fmla="*/ 1266825 w 1624012"/>
                <a:gd name="connsiteY143" fmla="*/ 1181100 h 1533525"/>
                <a:gd name="connsiteX144" fmla="*/ 1233487 w 1624012"/>
                <a:gd name="connsiteY144" fmla="*/ 1181100 h 1533525"/>
                <a:gd name="connsiteX145" fmla="*/ 1228725 w 1624012"/>
                <a:gd name="connsiteY145" fmla="*/ 1223963 h 1533525"/>
                <a:gd name="connsiteX146" fmla="*/ 1226343 w 1624012"/>
                <a:gd name="connsiteY146" fmla="*/ 1243013 h 1533525"/>
                <a:gd name="connsiteX147" fmla="*/ 1216818 w 1624012"/>
                <a:gd name="connsiteY147" fmla="*/ 1264444 h 1533525"/>
                <a:gd name="connsiteX148" fmla="*/ 1190625 w 1624012"/>
                <a:gd name="connsiteY148" fmla="*/ 1238250 h 1533525"/>
                <a:gd name="connsiteX149" fmla="*/ 1157287 w 1624012"/>
                <a:gd name="connsiteY149" fmla="*/ 1209675 h 1533525"/>
                <a:gd name="connsiteX150" fmla="*/ 1131093 w 1624012"/>
                <a:gd name="connsiteY150" fmla="*/ 1185863 h 1533525"/>
                <a:gd name="connsiteX151" fmla="*/ 1107281 w 1624012"/>
                <a:gd name="connsiteY151" fmla="*/ 1219200 h 1533525"/>
                <a:gd name="connsiteX152" fmla="*/ 1104900 w 1624012"/>
                <a:gd name="connsiteY152" fmla="*/ 1264444 h 1533525"/>
                <a:gd name="connsiteX153" fmla="*/ 1062037 w 1624012"/>
                <a:gd name="connsiteY153" fmla="*/ 1259681 h 1533525"/>
                <a:gd name="connsiteX154" fmla="*/ 1026318 w 1624012"/>
                <a:gd name="connsiteY154" fmla="*/ 1288256 h 1533525"/>
                <a:gd name="connsiteX155" fmla="*/ 1007268 w 1624012"/>
                <a:gd name="connsiteY155" fmla="*/ 1240631 h 1533525"/>
                <a:gd name="connsiteX156" fmla="*/ 947737 w 1624012"/>
                <a:gd name="connsiteY156" fmla="*/ 1231106 h 1533525"/>
                <a:gd name="connsiteX157" fmla="*/ 921543 w 1624012"/>
                <a:gd name="connsiteY157" fmla="*/ 1297781 h 1533525"/>
                <a:gd name="connsiteX158" fmla="*/ 885825 w 1624012"/>
                <a:gd name="connsiteY158" fmla="*/ 1278731 h 1533525"/>
                <a:gd name="connsiteX159" fmla="*/ 816768 w 1624012"/>
                <a:gd name="connsiteY159" fmla="*/ 1295400 h 1533525"/>
                <a:gd name="connsiteX160" fmla="*/ 757237 w 1624012"/>
                <a:gd name="connsiteY160" fmla="*/ 1259681 h 1533525"/>
                <a:gd name="connsiteX161" fmla="*/ 742950 w 1624012"/>
                <a:gd name="connsiteY161" fmla="*/ 1312069 h 1533525"/>
                <a:gd name="connsiteX162" fmla="*/ 704850 w 1624012"/>
                <a:gd name="connsiteY162" fmla="*/ 1345406 h 1533525"/>
                <a:gd name="connsiteX163" fmla="*/ 692943 w 1624012"/>
                <a:gd name="connsiteY163" fmla="*/ 1366838 h 1533525"/>
                <a:gd name="connsiteX164" fmla="*/ 671512 w 1624012"/>
                <a:gd name="connsiteY164" fmla="*/ 1509713 h 1533525"/>
                <a:gd name="connsiteX165" fmla="*/ 633412 w 1624012"/>
                <a:gd name="connsiteY165" fmla="*/ 1490663 h 1533525"/>
                <a:gd name="connsiteX166" fmla="*/ 614362 w 1624012"/>
                <a:gd name="connsiteY166" fmla="*/ 1504950 h 1533525"/>
                <a:gd name="connsiteX167" fmla="*/ 581025 w 1624012"/>
                <a:gd name="connsiteY167" fmla="*/ 1531144 h 1533525"/>
                <a:gd name="connsiteX168" fmla="*/ 523875 w 1624012"/>
                <a:gd name="connsiteY168" fmla="*/ 1502569 h 1533525"/>
                <a:gd name="connsiteX169" fmla="*/ 514350 w 1624012"/>
                <a:gd name="connsiteY169" fmla="*/ 1490663 h 1533525"/>
                <a:gd name="connsiteX170" fmla="*/ 483393 w 1624012"/>
                <a:gd name="connsiteY170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19225 w 1624012"/>
                <a:gd name="connsiteY98" fmla="*/ 11906 h 1533525"/>
                <a:gd name="connsiteX99" fmla="*/ 1438275 w 1624012"/>
                <a:gd name="connsiteY99" fmla="*/ 69056 h 1533525"/>
                <a:gd name="connsiteX100" fmla="*/ 1440656 w 1624012"/>
                <a:gd name="connsiteY100" fmla="*/ 104775 h 1533525"/>
                <a:gd name="connsiteX101" fmla="*/ 1490662 w 1624012"/>
                <a:gd name="connsiteY101" fmla="*/ 142875 h 1533525"/>
                <a:gd name="connsiteX102" fmla="*/ 1543050 w 1624012"/>
                <a:gd name="connsiteY102" fmla="*/ 147638 h 1533525"/>
                <a:gd name="connsiteX103" fmla="*/ 1547812 w 1624012"/>
                <a:gd name="connsiteY103" fmla="*/ 121444 h 1533525"/>
                <a:gd name="connsiteX104" fmla="*/ 1574006 w 1624012"/>
                <a:gd name="connsiteY104" fmla="*/ 121444 h 1533525"/>
                <a:gd name="connsiteX105" fmla="*/ 1624012 w 1624012"/>
                <a:gd name="connsiteY105" fmla="*/ 109538 h 1533525"/>
                <a:gd name="connsiteX106" fmla="*/ 1057275 w 1624012"/>
                <a:gd name="connsiteY106" fmla="*/ 264319 h 1533525"/>
                <a:gd name="connsiteX107" fmla="*/ 1062037 w 1624012"/>
                <a:gd name="connsiteY107" fmla="*/ 304800 h 1533525"/>
                <a:gd name="connsiteX108" fmla="*/ 995362 w 1624012"/>
                <a:gd name="connsiteY108" fmla="*/ 352425 h 1533525"/>
                <a:gd name="connsiteX109" fmla="*/ 973931 w 1624012"/>
                <a:gd name="connsiteY109" fmla="*/ 383381 h 1533525"/>
                <a:gd name="connsiteX110" fmla="*/ 1000125 w 1624012"/>
                <a:gd name="connsiteY110" fmla="*/ 428625 h 1533525"/>
                <a:gd name="connsiteX111" fmla="*/ 983456 w 1624012"/>
                <a:gd name="connsiteY111" fmla="*/ 466725 h 1533525"/>
                <a:gd name="connsiteX112" fmla="*/ 1000125 w 1624012"/>
                <a:gd name="connsiteY112" fmla="*/ 519113 h 1533525"/>
                <a:gd name="connsiteX113" fmla="*/ 1033462 w 1624012"/>
                <a:gd name="connsiteY113" fmla="*/ 519113 h 1533525"/>
                <a:gd name="connsiteX114" fmla="*/ 1019175 w 1624012"/>
                <a:gd name="connsiteY114" fmla="*/ 552450 h 1533525"/>
                <a:gd name="connsiteX115" fmla="*/ 1035843 w 1624012"/>
                <a:gd name="connsiteY115" fmla="*/ 590550 h 1533525"/>
                <a:gd name="connsiteX116" fmla="*/ 1035843 w 1624012"/>
                <a:gd name="connsiteY116" fmla="*/ 607219 h 1533525"/>
                <a:gd name="connsiteX117" fmla="*/ 1045368 w 1624012"/>
                <a:gd name="connsiteY117" fmla="*/ 645319 h 1533525"/>
                <a:gd name="connsiteX118" fmla="*/ 1064418 w 1624012"/>
                <a:gd name="connsiteY118" fmla="*/ 645319 h 1533525"/>
                <a:gd name="connsiteX119" fmla="*/ 1078706 w 1624012"/>
                <a:gd name="connsiteY119" fmla="*/ 666750 h 1533525"/>
                <a:gd name="connsiteX120" fmla="*/ 1085850 w 1624012"/>
                <a:gd name="connsiteY120" fmla="*/ 688181 h 1533525"/>
                <a:gd name="connsiteX121" fmla="*/ 1076325 w 1624012"/>
                <a:gd name="connsiteY121" fmla="*/ 719138 h 1533525"/>
                <a:gd name="connsiteX122" fmla="*/ 1021556 w 1624012"/>
                <a:gd name="connsiteY122" fmla="*/ 714375 h 1533525"/>
                <a:gd name="connsiteX123" fmla="*/ 1002506 w 1624012"/>
                <a:gd name="connsiteY123" fmla="*/ 721519 h 1533525"/>
                <a:gd name="connsiteX124" fmla="*/ 995362 w 1624012"/>
                <a:gd name="connsiteY124" fmla="*/ 726281 h 1533525"/>
                <a:gd name="connsiteX125" fmla="*/ 995362 w 1624012"/>
                <a:gd name="connsiteY125" fmla="*/ 726281 h 1533525"/>
                <a:gd name="connsiteX126" fmla="*/ 923925 w 1624012"/>
                <a:gd name="connsiteY126" fmla="*/ 721519 h 1533525"/>
                <a:gd name="connsiteX127" fmla="*/ 940593 w 1624012"/>
                <a:gd name="connsiteY127" fmla="*/ 778669 h 1533525"/>
                <a:gd name="connsiteX128" fmla="*/ 938212 w 1624012"/>
                <a:gd name="connsiteY128" fmla="*/ 847725 h 1533525"/>
                <a:gd name="connsiteX129" fmla="*/ 954881 w 1624012"/>
                <a:gd name="connsiteY129" fmla="*/ 871538 h 1533525"/>
                <a:gd name="connsiteX130" fmla="*/ 997743 w 1624012"/>
                <a:gd name="connsiteY130" fmla="*/ 919163 h 1533525"/>
                <a:gd name="connsiteX131" fmla="*/ 1012031 w 1624012"/>
                <a:gd name="connsiteY131" fmla="*/ 954881 h 1533525"/>
                <a:gd name="connsiteX132" fmla="*/ 1031081 w 1624012"/>
                <a:gd name="connsiteY132" fmla="*/ 954881 h 1533525"/>
                <a:gd name="connsiteX133" fmla="*/ 1071562 w 1624012"/>
                <a:gd name="connsiteY133" fmla="*/ 940594 h 1533525"/>
                <a:gd name="connsiteX134" fmla="*/ 1102518 w 1624012"/>
                <a:gd name="connsiteY134" fmla="*/ 933450 h 1533525"/>
                <a:gd name="connsiteX135" fmla="*/ 1159668 w 1624012"/>
                <a:gd name="connsiteY135" fmla="*/ 997744 h 1533525"/>
                <a:gd name="connsiteX136" fmla="*/ 1178718 w 1624012"/>
                <a:gd name="connsiteY136" fmla="*/ 1052513 h 1533525"/>
                <a:gd name="connsiteX137" fmla="*/ 1190625 w 1624012"/>
                <a:gd name="connsiteY137" fmla="*/ 1081088 h 1533525"/>
                <a:gd name="connsiteX138" fmla="*/ 1212056 w 1624012"/>
                <a:gd name="connsiteY138" fmla="*/ 1109663 h 1533525"/>
                <a:gd name="connsiteX139" fmla="*/ 1231106 w 1624012"/>
                <a:gd name="connsiteY139" fmla="*/ 1102519 h 1533525"/>
                <a:gd name="connsiteX140" fmla="*/ 1231106 w 1624012"/>
                <a:gd name="connsiteY140" fmla="*/ 1131094 h 1533525"/>
                <a:gd name="connsiteX141" fmla="*/ 1233487 w 1624012"/>
                <a:gd name="connsiteY141" fmla="*/ 1145381 h 1533525"/>
                <a:gd name="connsiteX142" fmla="*/ 1266825 w 1624012"/>
                <a:gd name="connsiteY142" fmla="*/ 1181100 h 1533525"/>
                <a:gd name="connsiteX143" fmla="*/ 1233487 w 1624012"/>
                <a:gd name="connsiteY143" fmla="*/ 1181100 h 1533525"/>
                <a:gd name="connsiteX144" fmla="*/ 1228725 w 1624012"/>
                <a:gd name="connsiteY144" fmla="*/ 1223963 h 1533525"/>
                <a:gd name="connsiteX145" fmla="*/ 1226343 w 1624012"/>
                <a:gd name="connsiteY145" fmla="*/ 1243013 h 1533525"/>
                <a:gd name="connsiteX146" fmla="*/ 1216818 w 1624012"/>
                <a:gd name="connsiteY146" fmla="*/ 1264444 h 1533525"/>
                <a:gd name="connsiteX147" fmla="*/ 1190625 w 1624012"/>
                <a:gd name="connsiteY147" fmla="*/ 1238250 h 1533525"/>
                <a:gd name="connsiteX148" fmla="*/ 1157287 w 1624012"/>
                <a:gd name="connsiteY148" fmla="*/ 1209675 h 1533525"/>
                <a:gd name="connsiteX149" fmla="*/ 1131093 w 1624012"/>
                <a:gd name="connsiteY149" fmla="*/ 1185863 h 1533525"/>
                <a:gd name="connsiteX150" fmla="*/ 1107281 w 1624012"/>
                <a:gd name="connsiteY150" fmla="*/ 1219200 h 1533525"/>
                <a:gd name="connsiteX151" fmla="*/ 1104900 w 1624012"/>
                <a:gd name="connsiteY151" fmla="*/ 1264444 h 1533525"/>
                <a:gd name="connsiteX152" fmla="*/ 1062037 w 1624012"/>
                <a:gd name="connsiteY152" fmla="*/ 1259681 h 1533525"/>
                <a:gd name="connsiteX153" fmla="*/ 1026318 w 1624012"/>
                <a:gd name="connsiteY153" fmla="*/ 1288256 h 1533525"/>
                <a:gd name="connsiteX154" fmla="*/ 1007268 w 1624012"/>
                <a:gd name="connsiteY154" fmla="*/ 1240631 h 1533525"/>
                <a:gd name="connsiteX155" fmla="*/ 947737 w 1624012"/>
                <a:gd name="connsiteY155" fmla="*/ 1231106 h 1533525"/>
                <a:gd name="connsiteX156" fmla="*/ 921543 w 1624012"/>
                <a:gd name="connsiteY156" fmla="*/ 1297781 h 1533525"/>
                <a:gd name="connsiteX157" fmla="*/ 885825 w 1624012"/>
                <a:gd name="connsiteY157" fmla="*/ 1278731 h 1533525"/>
                <a:gd name="connsiteX158" fmla="*/ 816768 w 1624012"/>
                <a:gd name="connsiteY158" fmla="*/ 1295400 h 1533525"/>
                <a:gd name="connsiteX159" fmla="*/ 757237 w 1624012"/>
                <a:gd name="connsiteY159" fmla="*/ 1259681 h 1533525"/>
                <a:gd name="connsiteX160" fmla="*/ 742950 w 1624012"/>
                <a:gd name="connsiteY160" fmla="*/ 1312069 h 1533525"/>
                <a:gd name="connsiteX161" fmla="*/ 704850 w 1624012"/>
                <a:gd name="connsiteY161" fmla="*/ 1345406 h 1533525"/>
                <a:gd name="connsiteX162" fmla="*/ 692943 w 1624012"/>
                <a:gd name="connsiteY162" fmla="*/ 1366838 h 1533525"/>
                <a:gd name="connsiteX163" fmla="*/ 671512 w 1624012"/>
                <a:gd name="connsiteY163" fmla="*/ 1509713 h 1533525"/>
                <a:gd name="connsiteX164" fmla="*/ 633412 w 1624012"/>
                <a:gd name="connsiteY164" fmla="*/ 1490663 h 1533525"/>
                <a:gd name="connsiteX165" fmla="*/ 614362 w 1624012"/>
                <a:gd name="connsiteY165" fmla="*/ 1504950 h 1533525"/>
                <a:gd name="connsiteX166" fmla="*/ 581025 w 1624012"/>
                <a:gd name="connsiteY166" fmla="*/ 1531144 h 1533525"/>
                <a:gd name="connsiteX167" fmla="*/ 523875 w 1624012"/>
                <a:gd name="connsiteY167" fmla="*/ 1502569 h 1533525"/>
                <a:gd name="connsiteX168" fmla="*/ 514350 w 1624012"/>
                <a:gd name="connsiteY168" fmla="*/ 1490663 h 1533525"/>
                <a:gd name="connsiteX169" fmla="*/ 483393 w 1624012"/>
                <a:gd name="connsiteY169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343025 w 1624012"/>
                <a:gd name="connsiteY97" fmla="*/ 61913 h 1533525"/>
                <a:gd name="connsiteX98" fmla="*/ 1438275 w 1624012"/>
                <a:gd name="connsiteY98" fmla="*/ 69056 h 1533525"/>
                <a:gd name="connsiteX99" fmla="*/ 1440656 w 1624012"/>
                <a:gd name="connsiteY99" fmla="*/ 104775 h 1533525"/>
                <a:gd name="connsiteX100" fmla="*/ 1490662 w 1624012"/>
                <a:gd name="connsiteY100" fmla="*/ 142875 h 1533525"/>
                <a:gd name="connsiteX101" fmla="*/ 1543050 w 1624012"/>
                <a:gd name="connsiteY101" fmla="*/ 147638 h 1533525"/>
                <a:gd name="connsiteX102" fmla="*/ 1547812 w 1624012"/>
                <a:gd name="connsiteY102" fmla="*/ 121444 h 1533525"/>
                <a:gd name="connsiteX103" fmla="*/ 1574006 w 1624012"/>
                <a:gd name="connsiteY103" fmla="*/ 121444 h 1533525"/>
                <a:gd name="connsiteX104" fmla="*/ 1624012 w 1624012"/>
                <a:gd name="connsiteY104" fmla="*/ 109538 h 1533525"/>
                <a:gd name="connsiteX105" fmla="*/ 1057275 w 1624012"/>
                <a:gd name="connsiteY105" fmla="*/ 264319 h 1533525"/>
                <a:gd name="connsiteX106" fmla="*/ 1062037 w 1624012"/>
                <a:gd name="connsiteY106" fmla="*/ 304800 h 1533525"/>
                <a:gd name="connsiteX107" fmla="*/ 995362 w 1624012"/>
                <a:gd name="connsiteY107" fmla="*/ 352425 h 1533525"/>
                <a:gd name="connsiteX108" fmla="*/ 973931 w 1624012"/>
                <a:gd name="connsiteY108" fmla="*/ 383381 h 1533525"/>
                <a:gd name="connsiteX109" fmla="*/ 1000125 w 1624012"/>
                <a:gd name="connsiteY109" fmla="*/ 428625 h 1533525"/>
                <a:gd name="connsiteX110" fmla="*/ 983456 w 1624012"/>
                <a:gd name="connsiteY110" fmla="*/ 466725 h 1533525"/>
                <a:gd name="connsiteX111" fmla="*/ 1000125 w 1624012"/>
                <a:gd name="connsiteY111" fmla="*/ 519113 h 1533525"/>
                <a:gd name="connsiteX112" fmla="*/ 1033462 w 1624012"/>
                <a:gd name="connsiteY112" fmla="*/ 519113 h 1533525"/>
                <a:gd name="connsiteX113" fmla="*/ 1019175 w 1624012"/>
                <a:gd name="connsiteY113" fmla="*/ 552450 h 1533525"/>
                <a:gd name="connsiteX114" fmla="*/ 1035843 w 1624012"/>
                <a:gd name="connsiteY114" fmla="*/ 590550 h 1533525"/>
                <a:gd name="connsiteX115" fmla="*/ 1035843 w 1624012"/>
                <a:gd name="connsiteY115" fmla="*/ 607219 h 1533525"/>
                <a:gd name="connsiteX116" fmla="*/ 1045368 w 1624012"/>
                <a:gd name="connsiteY116" fmla="*/ 645319 h 1533525"/>
                <a:gd name="connsiteX117" fmla="*/ 1064418 w 1624012"/>
                <a:gd name="connsiteY117" fmla="*/ 645319 h 1533525"/>
                <a:gd name="connsiteX118" fmla="*/ 1078706 w 1624012"/>
                <a:gd name="connsiteY118" fmla="*/ 666750 h 1533525"/>
                <a:gd name="connsiteX119" fmla="*/ 1085850 w 1624012"/>
                <a:gd name="connsiteY119" fmla="*/ 688181 h 1533525"/>
                <a:gd name="connsiteX120" fmla="*/ 1076325 w 1624012"/>
                <a:gd name="connsiteY120" fmla="*/ 719138 h 1533525"/>
                <a:gd name="connsiteX121" fmla="*/ 1021556 w 1624012"/>
                <a:gd name="connsiteY121" fmla="*/ 714375 h 1533525"/>
                <a:gd name="connsiteX122" fmla="*/ 1002506 w 1624012"/>
                <a:gd name="connsiteY122" fmla="*/ 721519 h 1533525"/>
                <a:gd name="connsiteX123" fmla="*/ 995362 w 1624012"/>
                <a:gd name="connsiteY123" fmla="*/ 726281 h 1533525"/>
                <a:gd name="connsiteX124" fmla="*/ 995362 w 1624012"/>
                <a:gd name="connsiteY124" fmla="*/ 726281 h 1533525"/>
                <a:gd name="connsiteX125" fmla="*/ 923925 w 1624012"/>
                <a:gd name="connsiteY125" fmla="*/ 721519 h 1533525"/>
                <a:gd name="connsiteX126" fmla="*/ 940593 w 1624012"/>
                <a:gd name="connsiteY126" fmla="*/ 778669 h 1533525"/>
                <a:gd name="connsiteX127" fmla="*/ 938212 w 1624012"/>
                <a:gd name="connsiteY127" fmla="*/ 847725 h 1533525"/>
                <a:gd name="connsiteX128" fmla="*/ 954881 w 1624012"/>
                <a:gd name="connsiteY128" fmla="*/ 871538 h 1533525"/>
                <a:gd name="connsiteX129" fmla="*/ 997743 w 1624012"/>
                <a:gd name="connsiteY129" fmla="*/ 919163 h 1533525"/>
                <a:gd name="connsiteX130" fmla="*/ 1012031 w 1624012"/>
                <a:gd name="connsiteY130" fmla="*/ 954881 h 1533525"/>
                <a:gd name="connsiteX131" fmla="*/ 1031081 w 1624012"/>
                <a:gd name="connsiteY131" fmla="*/ 954881 h 1533525"/>
                <a:gd name="connsiteX132" fmla="*/ 1071562 w 1624012"/>
                <a:gd name="connsiteY132" fmla="*/ 940594 h 1533525"/>
                <a:gd name="connsiteX133" fmla="*/ 1102518 w 1624012"/>
                <a:gd name="connsiteY133" fmla="*/ 933450 h 1533525"/>
                <a:gd name="connsiteX134" fmla="*/ 1159668 w 1624012"/>
                <a:gd name="connsiteY134" fmla="*/ 997744 h 1533525"/>
                <a:gd name="connsiteX135" fmla="*/ 1178718 w 1624012"/>
                <a:gd name="connsiteY135" fmla="*/ 1052513 h 1533525"/>
                <a:gd name="connsiteX136" fmla="*/ 1190625 w 1624012"/>
                <a:gd name="connsiteY136" fmla="*/ 1081088 h 1533525"/>
                <a:gd name="connsiteX137" fmla="*/ 1212056 w 1624012"/>
                <a:gd name="connsiteY137" fmla="*/ 1109663 h 1533525"/>
                <a:gd name="connsiteX138" fmla="*/ 1231106 w 1624012"/>
                <a:gd name="connsiteY138" fmla="*/ 1102519 h 1533525"/>
                <a:gd name="connsiteX139" fmla="*/ 1231106 w 1624012"/>
                <a:gd name="connsiteY139" fmla="*/ 1131094 h 1533525"/>
                <a:gd name="connsiteX140" fmla="*/ 1233487 w 1624012"/>
                <a:gd name="connsiteY140" fmla="*/ 1145381 h 1533525"/>
                <a:gd name="connsiteX141" fmla="*/ 1266825 w 1624012"/>
                <a:gd name="connsiteY141" fmla="*/ 1181100 h 1533525"/>
                <a:gd name="connsiteX142" fmla="*/ 1233487 w 1624012"/>
                <a:gd name="connsiteY142" fmla="*/ 1181100 h 1533525"/>
                <a:gd name="connsiteX143" fmla="*/ 1228725 w 1624012"/>
                <a:gd name="connsiteY143" fmla="*/ 1223963 h 1533525"/>
                <a:gd name="connsiteX144" fmla="*/ 1226343 w 1624012"/>
                <a:gd name="connsiteY144" fmla="*/ 1243013 h 1533525"/>
                <a:gd name="connsiteX145" fmla="*/ 1216818 w 1624012"/>
                <a:gd name="connsiteY145" fmla="*/ 1264444 h 1533525"/>
                <a:gd name="connsiteX146" fmla="*/ 1190625 w 1624012"/>
                <a:gd name="connsiteY146" fmla="*/ 1238250 h 1533525"/>
                <a:gd name="connsiteX147" fmla="*/ 1157287 w 1624012"/>
                <a:gd name="connsiteY147" fmla="*/ 1209675 h 1533525"/>
                <a:gd name="connsiteX148" fmla="*/ 1131093 w 1624012"/>
                <a:gd name="connsiteY148" fmla="*/ 1185863 h 1533525"/>
                <a:gd name="connsiteX149" fmla="*/ 1107281 w 1624012"/>
                <a:gd name="connsiteY149" fmla="*/ 1219200 h 1533525"/>
                <a:gd name="connsiteX150" fmla="*/ 1104900 w 1624012"/>
                <a:gd name="connsiteY150" fmla="*/ 1264444 h 1533525"/>
                <a:gd name="connsiteX151" fmla="*/ 1062037 w 1624012"/>
                <a:gd name="connsiteY151" fmla="*/ 1259681 h 1533525"/>
                <a:gd name="connsiteX152" fmla="*/ 1026318 w 1624012"/>
                <a:gd name="connsiteY152" fmla="*/ 1288256 h 1533525"/>
                <a:gd name="connsiteX153" fmla="*/ 1007268 w 1624012"/>
                <a:gd name="connsiteY153" fmla="*/ 1240631 h 1533525"/>
                <a:gd name="connsiteX154" fmla="*/ 947737 w 1624012"/>
                <a:gd name="connsiteY154" fmla="*/ 1231106 h 1533525"/>
                <a:gd name="connsiteX155" fmla="*/ 921543 w 1624012"/>
                <a:gd name="connsiteY155" fmla="*/ 1297781 h 1533525"/>
                <a:gd name="connsiteX156" fmla="*/ 885825 w 1624012"/>
                <a:gd name="connsiteY156" fmla="*/ 1278731 h 1533525"/>
                <a:gd name="connsiteX157" fmla="*/ 816768 w 1624012"/>
                <a:gd name="connsiteY157" fmla="*/ 1295400 h 1533525"/>
                <a:gd name="connsiteX158" fmla="*/ 757237 w 1624012"/>
                <a:gd name="connsiteY158" fmla="*/ 1259681 h 1533525"/>
                <a:gd name="connsiteX159" fmla="*/ 742950 w 1624012"/>
                <a:gd name="connsiteY159" fmla="*/ 1312069 h 1533525"/>
                <a:gd name="connsiteX160" fmla="*/ 704850 w 1624012"/>
                <a:gd name="connsiteY160" fmla="*/ 1345406 h 1533525"/>
                <a:gd name="connsiteX161" fmla="*/ 692943 w 1624012"/>
                <a:gd name="connsiteY161" fmla="*/ 1366838 h 1533525"/>
                <a:gd name="connsiteX162" fmla="*/ 671512 w 1624012"/>
                <a:gd name="connsiteY162" fmla="*/ 1509713 h 1533525"/>
                <a:gd name="connsiteX163" fmla="*/ 633412 w 1624012"/>
                <a:gd name="connsiteY163" fmla="*/ 1490663 h 1533525"/>
                <a:gd name="connsiteX164" fmla="*/ 614362 w 1624012"/>
                <a:gd name="connsiteY164" fmla="*/ 1504950 h 1533525"/>
                <a:gd name="connsiteX165" fmla="*/ 581025 w 1624012"/>
                <a:gd name="connsiteY165" fmla="*/ 1531144 h 1533525"/>
                <a:gd name="connsiteX166" fmla="*/ 523875 w 1624012"/>
                <a:gd name="connsiteY166" fmla="*/ 1502569 h 1533525"/>
                <a:gd name="connsiteX167" fmla="*/ 514350 w 1624012"/>
                <a:gd name="connsiteY167" fmla="*/ 1490663 h 1533525"/>
                <a:gd name="connsiteX168" fmla="*/ 483393 w 1624012"/>
                <a:gd name="connsiteY168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38275 w 1624012"/>
                <a:gd name="connsiteY97" fmla="*/ 69056 h 1533525"/>
                <a:gd name="connsiteX98" fmla="*/ 1440656 w 1624012"/>
                <a:gd name="connsiteY98" fmla="*/ 104775 h 1533525"/>
                <a:gd name="connsiteX99" fmla="*/ 1490662 w 1624012"/>
                <a:gd name="connsiteY99" fmla="*/ 142875 h 1533525"/>
                <a:gd name="connsiteX100" fmla="*/ 1543050 w 1624012"/>
                <a:gd name="connsiteY100" fmla="*/ 147638 h 1533525"/>
                <a:gd name="connsiteX101" fmla="*/ 1547812 w 1624012"/>
                <a:gd name="connsiteY101" fmla="*/ 121444 h 1533525"/>
                <a:gd name="connsiteX102" fmla="*/ 1574006 w 1624012"/>
                <a:gd name="connsiteY102" fmla="*/ 121444 h 1533525"/>
                <a:gd name="connsiteX103" fmla="*/ 1624012 w 1624012"/>
                <a:gd name="connsiteY103" fmla="*/ 109538 h 1533525"/>
                <a:gd name="connsiteX104" fmla="*/ 1057275 w 1624012"/>
                <a:gd name="connsiteY104" fmla="*/ 264319 h 1533525"/>
                <a:gd name="connsiteX105" fmla="*/ 1062037 w 1624012"/>
                <a:gd name="connsiteY105" fmla="*/ 304800 h 1533525"/>
                <a:gd name="connsiteX106" fmla="*/ 995362 w 1624012"/>
                <a:gd name="connsiteY106" fmla="*/ 352425 h 1533525"/>
                <a:gd name="connsiteX107" fmla="*/ 973931 w 1624012"/>
                <a:gd name="connsiteY107" fmla="*/ 383381 h 1533525"/>
                <a:gd name="connsiteX108" fmla="*/ 1000125 w 1624012"/>
                <a:gd name="connsiteY108" fmla="*/ 428625 h 1533525"/>
                <a:gd name="connsiteX109" fmla="*/ 983456 w 1624012"/>
                <a:gd name="connsiteY109" fmla="*/ 466725 h 1533525"/>
                <a:gd name="connsiteX110" fmla="*/ 1000125 w 1624012"/>
                <a:gd name="connsiteY110" fmla="*/ 519113 h 1533525"/>
                <a:gd name="connsiteX111" fmla="*/ 1033462 w 1624012"/>
                <a:gd name="connsiteY111" fmla="*/ 519113 h 1533525"/>
                <a:gd name="connsiteX112" fmla="*/ 1019175 w 1624012"/>
                <a:gd name="connsiteY112" fmla="*/ 552450 h 1533525"/>
                <a:gd name="connsiteX113" fmla="*/ 1035843 w 1624012"/>
                <a:gd name="connsiteY113" fmla="*/ 590550 h 1533525"/>
                <a:gd name="connsiteX114" fmla="*/ 1035843 w 1624012"/>
                <a:gd name="connsiteY114" fmla="*/ 607219 h 1533525"/>
                <a:gd name="connsiteX115" fmla="*/ 1045368 w 1624012"/>
                <a:gd name="connsiteY115" fmla="*/ 645319 h 1533525"/>
                <a:gd name="connsiteX116" fmla="*/ 1064418 w 1624012"/>
                <a:gd name="connsiteY116" fmla="*/ 645319 h 1533525"/>
                <a:gd name="connsiteX117" fmla="*/ 1078706 w 1624012"/>
                <a:gd name="connsiteY117" fmla="*/ 666750 h 1533525"/>
                <a:gd name="connsiteX118" fmla="*/ 1085850 w 1624012"/>
                <a:gd name="connsiteY118" fmla="*/ 688181 h 1533525"/>
                <a:gd name="connsiteX119" fmla="*/ 1076325 w 1624012"/>
                <a:gd name="connsiteY119" fmla="*/ 719138 h 1533525"/>
                <a:gd name="connsiteX120" fmla="*/ 1021556 w 1624012"/>
                <a:gd name="connsiteY120" fmla="*/ 714375 h 1533525"/>
                <a:gd name="connsiteX121" fmla="*/ 1002506 w 1624012"/>
                <a:gd name="connsiteY121" fmla="*/ 721519 h 1533525"/>
                <a:gd name="connsiteX122" fmla="*/ 995362 w 1624012"/>
                <a:gd name="connsiteY122" fmla="*/ 726281 h 1533525"/>
                <a:gd name="connsiteX123" fmla="*/ 995362 w 1624012"/>
                <a:gd name="connsiteY123" fmla="*/ 726281 h 1533525"/>
                <a:gd name="connsiteX124" fmla="*/ 923925 w 1624012"/>
                <a:gd name="connsiteY124" fmla="*/ 721519 h 1533525"/>
                <a:gd name="connsiteX125" fmla="*/ 940593 w 1624012"/>
                <a:gd name="connsiteY125" fmla="*/ 778669 h 1533525"/>
                <a:gd name="connsiteX126" fmla="*/ 938212 w 1624012"/>
                <a:gd name="connsiteY126" fmla="*/ 847725 h 1533525"/>
                <a:gd name="connsiteX127" fmla="*/ 954881 w 1624012"/>
                <a:gd name="connsiteY127" fmla="*/ 871538 h 1533525"/>
                <a:gd name="connsiteX128" fmla="*/ 997743 w 1624012"/>
                <a:gd name="connsiteY128" fmla="*/ 919163 h 1533525"/>
                <a:gd name="connsiteX129" fmla="*/ 1012031 w 1624012"/>
                <a:gd name="connsiteY129" fmla="*/ 954881 h 1533525"/>
                <a:gd name="connsiteX130" fmla="*/ 1031081 w 1624012"/>
                <a:gd name="connsiteY130" fmla="*/ 954881 h 1533525"/>
                <a:gd name="connsiteX131" fmla="*/ 1071562 w 1624012"/>
                <a:gd name="connsiteY131" fmla="*/ 940594 h 1533525"/>
                <a:gd name="connsiteX132" fmla="*/ 1102518 w 1624012"/>
                <a:gd name="connsiteY132" fmla="*/ 933450 h 1533525"/>
                <a:gd name="connsiteX133" fmla="*/ 1159668 w 1624012"/>
                <a:gd name="connsiteY133" fmla="*/ 997744 h 1533525"/>
                <a:gd name="connsiteX134" fmla="*/ 1178718 w 1624012"/>
                <a:gd name="connsiteY134" fmla="*/ 1052513 h 1533525"/>
                <a:gd name="connsiteX135" fmla="*/ 1190625 w 1624012"/>
                <a:gd name="connsiteY135" fmla="*/ 1081088 h 1533525"/>
                <a:gd name="connsiteX136" fmla="*/ 1212056 w 1624012"/>
                <a:gd name="connsiteY136" fmla="*/ 1109663 h 1533525"/>
                <a:gd name="connsiteX137" fmla="*/ 1231106 w 1624012"/>
                <a:gd name="connsiteY137" fmla="*/ 1102519 h 1533525"/>
                <a:gd name="connsiteX138" fmla="*/ 1231106 w 1624012"/>
                <a:gd name="connsiteY138" fmla="*/ 1131094 h 1533525"/>
                <a:gd name="connsiteX139" fmla="*/ 1233487 w 1624012"/>
                <a:gd name="connsiteY139" fmla="*/ 1145381 h 1533525"/>
                <a:gd name="connsiteX140" fmla="*/ 1266825 w 1624012"/>
                <a:gd name="connsiteY140" fmla="*/ 1181100 h 1533525"/>
                <a:gd name="connsiteX141" fmla="*/ 1233487 w 1624012"/>
                <a:gd name="connsiteY141" fmla="*/ 1181100 h 1533525"/>
                <a:gd name="connsiteX142" fmla="*/ 1228725 w 1624012"/>
                <a:gd name="connsiteY142" fmla="*/ 1223963 h 1533525"/>
                <a:gd name="connsiteX143" fmla="*/ 1226343 w 1624012"/>
                <a:gd name="connsiteY143" fmla="*/ 1243013 h 1533525"/>
                <a:gd name="connsiteX144" fmla="*/ 1216818 w 1624012"/>
                <a:gd name="connsiteY144" fmla="*/ 1264444 h 1533525"/>
                <a:gd name="connsiteX145" fmla="*/ 1190625 w 1624012"/>
                <a:gd name="connsiteY145" fmla="*/ 1238250 h 1533525"/>
                <a:gd name="connsiteX146" fmla="*/ 1157287 w 1624012"/>
                <a:gd name="connsiteY146" fmla="*/ 1209675 h 1533525"/>
                <a:gd name="connsiteX147" fmla="*/ 1131093 w 1624012"/>
                <a:gd name="connsiteY147" fmla="*/ 1185863 h 1533525"/>
                <a:gd name="connsiteX148" fmla="*/ 1107281 w 1624012"/>
                <a:gd name="connsiteY148" fmla="*/ 1219200 h 1533525"/>
                <a:gd name="connsiteX149" fmla="*/ 1104900 w 1624012"/>
                <a:gd name="connsiteY149" fmla="*/ 1264444 h 1533525"/>
                <a:gd name="connsiteX150" fmla="*/ 1062037 w 1624012"/>
                <a:gd name="connsiteY150" fmla="*/ 1259681 h 1533525"/>
                <a:gd name="connsiteX151" fmla="*/ 1026318 w 1624012"/>
                <a:gd name="connsiteY151" fmla="*/ 1288256 h 1533525"/>
                <a:gd name="connsiteX152" fmla="*/ 1007268 w 1624012"/>
                <a:gd name="connsiteY152" fmla="*/ 1240631 h 1533525"/>
                <a:gd name="connsiteX153" fmla="*/ 947737 w 1624012"/>
                <a:gd name="connsiteY153" fmla="*/ 1231106 h 1533525"/>
                <a:gd name="connsiteX154" fmla="*/ 921543 w 1624012"/>
                <a:gd name="connsiteY154" fmla="*/ 1297781 h 1533525"/>
                <a:gd name="connsiteX155" fmla="*/ 885825 w 1624012"/>
                <a:gd name="connsiteY155" fmla="*/ 1278731 h 1533525"/>
                <a:gd name="connsiteX156" fmla="*/ 816768 w 1624012"/>
                <a:gd name="connsiteY156" fmla="*/ 1295400 h 1533525"/>
                <a:gd name="connsiteX157" fmla="*/ 757237 w 1624012"/>
                <a:gd name="connsiteY157" fmla="*/ 1259681 h 1533525"/>
                <a:gd name="connsiteX158" fmla="*/ 742950 w 1624012"/>
                <a:gd name="connsiteY158" fmla="*/ 1312069 h 1533525"/>
                <a:gd name="connsiteX159" fmla="*/ 704850 w 1624012"/>
                <a:gd name="connsiteY159" fmla="*/ 1345406 h 1533525"/>
                <a:gd name="connsiteX160" fmla="*/ 692943 w 1624012"/>
                <a:gd name="connsiteY160" fmla="*/ 1366838 h 1533525"/>
                <a:gd name="connsiteX161" fmla="*/ 671512 w 1624012"/>
                <a:gd name="connsiteY161" fmla="*/ 1509713 h 1533525"/>
                <a:gd name="connsiteX162" fmla="*/ 633412 w 1624012"/>
                <a:gd name="connsiteY162" fmla="*/ 1490663 h 1533525"/>
                <a:gd name="connsiteX163" fmla="*/ 614362 w 1624012"/>
                <a:gd name="connsiteY163" fmla="*/ 1504950 h 1533525"/>
                <a:gd name="connsiteX164" fmla="*/ 581025 w 1624012"/>
                <a:gd name="connsiteY164" fmla="*/ 1531144 h 1533525"/>
                <a:gd name="connsiteX165" fmla="*/ 523875 w 1624012"/>
                <a:gd name="connsiteY165" fmla="*/ 1502569 h 1533525"/>
                <a:gd name="connsiteX166" fmla="*/ 514350 w 1624012"/>
                <a:gd name="connsiteY166" fmla="*/ 1490663 h 1533525"/>
                <a:gd name="connsiteX167" fmla="*/ 483393 w 1624012"/>
                <a:gd name="connsiteY167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40656 w 1624012"/>
                <a:gd name="connsiteY97" fmla="*/ 104775 h 1533525"/>
                <a:gd name="connsiteX98" fmla="*/ 1490662 w 1624012"/>
                <a:gd name="connsiteY98" fmla="*/ 142875 h 1533525"/>
                <a:gd name="connsiteX99" fmla="*/ 1543050 w 1624012"/>
                <a:gd name="connsiteY99" fmla="*/ 147638 h 1533525"/>
                <a:gd name="connsiteX100" fmla="*/ 1547812 w 1624012"/>
                <a:gd name="connsiteY100" fmla="*/ 121444 h 1533525"/>
                <a:gd name="connsiteX101" fmla="*/ 1574006 w 1624012"/>
                <a:gd name="connsiteY101" fmla="*/ 121444 h 1533525"/>
                <a:gd name="connsiteX102" fmla="*/ 1624012 w 1624012"/>
                <a:gd name="connsiteY102" fmla="*/ 109538 h 1533525"/>
                <a:gd name="connsiteX103" fmla="*/ 1057275 w 1624012"/>
                <a:gd name="connsiteY103" fmla="*/ 264319 h 1533525"/>
                <a:gd name="connsiteX104" fmla="*/ 1062037 w 1624012"/>
                <a:gd name="connsiteY104" fmla="*/ 304800 h 1533525"/>
                <a:gd name="connsiteX105" fmla="*/ 995362 w 1624012"/>
                <a:gd name="connsiteY105" fmla="*/ 352425 h 1533525"/>
                <a:gd name="connsiteX106" fmla="*/ 973931 w 1624012"/>
                <a:gd name="connsiteY106" fmla="*/ 383381 h 1533525"/>
                <a:gd name="connsiteX107" fmla="*/ 1000125 w 1624012"/>
                <a:gd name="connsiteY107" fmla="*/ 428625 h 1533525"/>
                <a:gd name="connsiteX108" fmla="*/ 983456 w 1624012"/>
                <a:gd name="connsiteY108" fmla="*/ 466725 h 1533525"/>
                <a:gd name="connsiteX109" fmla="*/ 1000125 w 1624012"/>
                <a:gd name="connsiteY109" fmla="*/ 519113 h 1533525"/>
                <a:gd name="connsiteX110" fmla="*/ 1033462 w 1624012"/>
                <a:gd name="connsiteY110" fmla="*/ 519113 h 1533525"/>
                <a:gd name="connsiteX111" fmla="*/ 1019175 w 1624012"/>
                <a:gd name="connsiteY111" fmla="*/ 552450 h 1533525"/>
                <a:gd name="connsiteX112" fmla="*/ 1035843 w 1624012"/>
                <a:gd name="connsiteY112" fmla="*/ 590550 h 1533525"/>
                <a:gd name="connsiteX113" fmla="*/ 1035843 w 1624012"/>
                <a:gd name="connsiteY113" fmla="*/ 607219 h 1533525"/>
                <a:gd name="connsiteX114" fmla="*/ 1045368 w 1624012"/>
                <a:gd name="connsiteY114" fmla="*/ 645319 h 1533525"/>
                <a:gd name="connsiteX115" fmla="*/ 1064418 w 1624012"/>
                <a:gd name="connsiteY115" fmla="*/ 645319 h 1533525"/>
                <a:gd name="connsiteX116" fmla="*/ 1078706 w 1624012"/>
                <a:gd name="connsiteY116" fmla="*/ 666750 h 1533525"/>
                <a:gd name="connsiteX117" fmla="*/ 1085850 w 1624012"/>
                <a:gd name="connsiteY117" fmla="*/ 688181 h 1533525"/>
                <a:gd name="connsiteX118" fmla="*/ 1076325 w 1624012"/>
                <a:gd name="connsiteY118" fmla="*/ 719138 h 1533525"/>
                <a:gd name="connsiteX119" fmla="*/ 1021556 w 1624012"/>
                <a:gd name="connsiteY119" fmla="*/ 714375 h 1533525"/>
                <a:gd name="connsiteX120" fmla="*/ 1002506 w 1624012"/>
                <a:gd name="connsiteY120" fmla="*/ 721519 h 1533525"/>
                <a:gd name="connsiteX121" fmla="*/ 995362 w 1624012"/>
                <a:gd name="connsiteY121" fmla="*/ 726281 h 1533525"/>
                <a:gd name="connsiteX122" fmla="*/ 995362 w 1624012"/>
                <a:gd name="connsiteY122" fmla="*/ 726281 h 1533525"/>
                <a:gd name="connsiteX123" fmla="*/ 923925 w 1624012"/>
                <a:gd name="connsiteY123" fmla="*/ 721519 h 1533525"/>
                <a:gd name="connsiteX124" fmla="*/ 940593 w 1624012"/>
                <a:gd name="connsiteY124" fmla="*/ 778669 h 1533525"/>
                <a:gd name="connsiteX125" fmla="*/ 938212 w 1624012"/>
                <a:gd name="connsiteY125" fmla="*/ 847725 h 1533525"/>
                <a:gd name="connsiteX126" fmla="*/ 954881 w 1624012"/>
                <a:gd name="connsiteY126" fmla="*/ 871538 h 1533525"/>
                <a:gd name="connsiteX127" fmla="*/ 997743 w 1624012"/>
                <a:gd name="connsiteY127" fmla="*/ 919163 h 1533525"/>
                <a:gd name="connsiteX128" fmla="*/ 1012031 w 1624012"/>
                <a:gd name="connsiteY128" fmla="*/ 954881 h 1533525"/>
                <a:gd name="connsiteX129" fmla="*/ 1031081 w 1624012"/>
                <a:gd name="connsiteY129" fmla="*/ 954881 h 1533525"/>
                <a:gd name="connsiteX130" fmla="*/ 1071562 w 1624012"/>
                <a:gd name="connsiteY130" fmla="*/ 940594 h 1533525"/>
                <a:gd name="connsiteX131" fmla="*/ 1102518 w 1624012"/>
                <a:gd name="connsiteY131" fmla="*/ 933450 h 1533525"/>
                <a:gd name="connsiteX132" fmla="*/ 1159668 w 1624012"/>
                <a:gd name="connsiteY132" fmla="*/ 997744 h 1533525"/>
                <a:gd name="connsiteX133" fmla="*/ 1178718 w 1624012"/>
                <a:gd name="connsiteY133" fmla="*/ 1052513 h 1533525"/>
                <a:gd name="connsiteX134" fmla="*/ 1190625 w 1624012"/>
                <a:gd name="connsiteY134" fmla="*/ 1081088 h 1533525"/>
                <a:gd name="connsiteX135" fmla="*/ 1212056 w 1624012"/>
                <a:gd name="connsiteY135" fmla="*/ 1109663 h 1533525"/>
                <a:gd name="connsiteX136" fmla="*/ 1231106 w 1624012"/>
                <a:gd name="connsiteY136" fmla="*/ 1102519 h 1533525"/>
                <a:gd name="connsiteX137" fmla="*/ 1231106 w 1624012"/>
                <a:gd name="connsiteY137" fmla="*/ 1131094 h 1533525"/>
                <a:gd name="connsiteX138" fmla="*/ 1233487 w 1624012"/>
                <a:gd name="connsiteY138" fmla="*/ 1145381 h 1533525"/>
                <a:gd name="connsiteX139" fmla="*/ 1266825 w 1624012"/>
                <a:gd name="connsiteY139" fmla="*/ 1181100 h 1533525"/>
                <a:gd name="connsiteX140" fmla="*/ 1233487 w 1624012"/>
                <a:gd name="connsiteY140" fmla="*/ 1181100 h 1533525"/>
                <a:gd name="connsiteX141" fmla="*/ 1228725 w 1624012"/>
                <a:gd name="connsiteY141" fmla="*/ 1223963 h 1533525"/>
                <a:gd name="connsiteX142" fmla="*/ 1226343 w 1624012"/>
                <a:gd name="connsiteY142" fmla="*/ 1243013 h 1533525"/>
                <a:gd name="connsiteX143" fmla="*/ 1216818 w 1624012"/>
                <a:gd name="connsiteY143" fmla="*/ 1264444 h 1533525"/>
                <a:gd name="connsiteX144" fmla="*/ 1190625 w 1624012"/>
                <a:gd name="connsiteY144" fmla="*/ 1238250 h 1533525"/>
                <a:gd name="connsiteX145" fmla="*/ 1157287 w 1624012"/>
                <a:gd name="connsiteY145" fmla="*/ 1209675 h 1533525"/>
                <a:gd name="connsiteX146" fmla="*/ 1131093 w 1624012"/>
                <a:gd name="connsiteY146" fmla="*/ 1185863 h 1533525"/>
                <a:gd name="connsiteX147" fmla="*/ 1107281 w 1624012"/>
                <a:gd name="connsiteY147" fmla="*/ 1219200 h 1533525"/>
                <a:gd name="connsiteX148" fmla="*/ 1104900 w 1624012"/>
                <a:gd name="connsiteY148" fmla="*/ 1264444 h 1533525"/>
                <a:gd name="connsiteX149" fmla="*/ 1062037 w 1624012"/>
                <a:gd name="connsiteY149" fmla="*/ 1259681 h 1533525"/>
                <a:gd name="connsiteX150" fmla="*/ 1026318 w 1624012"/>
                <a:gd name="connsiteY150" fmla="*/ 1288256 h 1533525"/>
                <a:gd name="connsiteX151" fmla="*/ 1007268 w 1624012"/>
                <a:gd name="connsiteY151" fmla="*/ 1240631 h 1533525"/>
                <a:gd name="connsiteX152" fmla="*/ 947737 w 1624012"/>
                <a:gd name="connsiteY152" fmla="*/ 1231106 h 1533525"/>
                <a:gd name="connsiteX153" fmla="*/ 921543 w 1624012"/>
                <a:gd name="connsiteY153" fmla="*/ 1297781 h 1533525"/>
                <a:gd name="connsiteX154" fmla="*/ 885825 w 1624012"/>
                <a:gd name="connsiteY154" fmla="*/ 1278731 h 1533525"/>
                <a:gd name="connsiteX155" fmla="*/ 816768 w 1624012"/>
                <a:gd name="connsiteY155" fmla="*/ 1295400 h 1533525"/>
                <a:gd name="connsiteX156" fmla="*/ 757237 w 1624012"/>
                <a:gd name="connsiteY156" fmla="*/ 1259681 h 1533525"/>
                <a:gd name="connsiteX157" fmla="*/ 742950 w 1624012"/>
                <a:gd name="connsiteY157" fmla="*/ 1312069 h 1533525"/>
                <a:gd name="connsiteX158" fmla="*/ 704850 w 1624012"/>
                <a:gd name="connsiteY158" fmla="*/ 1345406 h 1533525"/>
                <a:gd name="connsiteX159" fmla="*/ 692943 w 1624012"/>
                <a:gd name="connsiteY159" fmla="*/ 1366838 h 1533525"/>
                <a:gd name="connsiteX160" fmla="*/ 671512 w 1624012"/>
                <a:gd name="connsiteY160" fmla="*/ 1509713 h 1533525"/>
                <a:gd name="connsiteX161" fmla="*/ 633412 w 1624012"/>
                <a:gd name="connsiteY161" fmla="*/ 1490663 h 1533525"/>
                <a:gd name="connsiteX162" fmla="*/ 614362 w 1624012"/>
                <a:gd name="connsiteY162" fmla="*/ 1504950 h 1533525"/>
                <a:gd name="connsiteX163" fmla="*/ 581025 w 1624012"/>
                <a:gd name="connsiteY163" fmla="*/ 1531144 h 1533525"/>
                <a:gd name="connsiteX164" fmla="*/ 523875 w 1624012"/>
                <a:gd name="connsiteY164" fmla="*/ 1502569 h 1533525"/>
                <a:gd name="connsiteX165" fmla="*/ 514350 w 1624012"/>
                <a:gd name="connsiteY165" fmla="*/ 1490663 h 1533525"/>
                <a:gd name="connsiteX166" fmla="*/ 483393 w 1624012"/>
                <a:gd name="connsiteY166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490662 w 1624012"/>
                <a:gd name="connsiteY97" fmla="*/ 142875 h 1533525"/>
                <a:gd name="connsiteX98" fmla="*/ 1543050 w 1624012"/>
                <a:gd name="connsiteY98" fmla="*/ 147638 h 1533525"/>
                <a:gd name="connsiteX99" fmla="*/ 1547812 w 1624012"/>
                <a:gd name="connsiteY99" fmla="*/ 121444 h 1533525"/>
                <a:gd name="connsiteX100" fmla="*/ 1574006 w 1624012"/>
                <a:gd name="connsiteY100" fmla="*/ 121444 h 1533525"/>
                <a:gd name="connsiteX101" fmla="*/ 1624012 w 1624012"/>
                <a:gd name="connsiteY101" fmla="*/ 109538 h 1533525"/>
                <a:gd name="connsiteX102" fmla="*/ 1057275 w 1624012"/>
                <a:gd name="connsiteY102" fmla="*/ 264319 h 1533525"/>
                <a:gd name="connsiteX103" fmla="*/ 1062037 w 1624012"/>
                <a:gd name="connsiteY103" fmla="*/ 304800 h 1533525"/>
                <a:gd name="connsiteX104" fmla="*/ 995362 w 1624012"/>
                <a:gd name="connsiteY104" fmla="*/ 352425 h 1533525"/>
                <a:gd name="connsiteX105" fmla="*/ 973931 w 1624012"/>
                <a:gd name="connsiteY105" fmla="*/ 383381 h 1533525"/>
                <a:gd name="connsiteX106" fmla="*/ 1000125 w 1624012"/>
                <a:gd name="connsiteY106" fmla="*/ 428625 h 1533525"/>
                <a:gd name="connsiteX107" fmla="*/ 983456 w 1624012"/>
                <a:gd name="connsiteY107" fmla="*/ 466725 h 1533525"/>
                <a:gd name="connsiteX108" fmla="*/ 1000125 w 1624012"/>
                <a:gd name="connsiteY108" fmla="*/ 519113 h 1533525"/>
                <a:gd name="connsiteX109" fmla="*/ 1033462 w 1624012"/>
                <a:gd name="connsiteY109" fmla="*/ 519113 h 1533525"/>
                <a:gd name="connsiteX110" fmla="*/ 1019175 w 1624012"/>
                <a:gd name="connsiteY110" fmla="*/ 552450 h 1533525"/>
                <a:gd name="connsiteX111" fmla="*/ 1035843 w 1624012"/>
                <a:gd name="connsiteY111" fmla="*/ 590550 h 1533525"/>
                <a:gd name="connsiteX112" fmla="*/ 1035843 w 1624012"/>
                <a:gd name="connsiteY112" fmla="*/ 607219 h 1533525"/>
                <a:gd name="connsiteX113" fmla="*/ 1045368 w 1624012"/>
                <a:gd name="connsiteY113" fmla="*/ 645319 h 1533525"/>
                <a:gd name="connsiteX114" fmla="*/ 1064418 w 1624012"/>
                <a:gd name="connsiteY114" fmla="*/ 645319 h 1533525"/>
                <a:gd name="connsiteX115" fmla="*/ 1078706 w 1624012"/>
                <a:gd name="connsiteY115" fmla="*/ 666750 h 1533525"/>
                <a:gd name="connsiteX116" fmla="*/ 1085850 w 1624012"/>
                <a:gd name="connsiteY116" fmla="*/ 688181 h 1533525"/>
                <a:gd name="connsiteX117" fmla="*/ 1076325 w 1624012"/>
                <a:gd name="connsiteY117" fmla="*/ 719138 h 1533525"/>
                <a:gd name="connsiteX118" fmla="*/ 1021556 w 1624012"/>
                <a:gd name="connsiteY118" fmla="*/ 714375 h 1533525"/>
                <a:gd name="connsiteX119" fmla="*/ 1002506 w 1624012"/>
                <a:gd name="connsiteY119" fmla="*/ 721519 h 1533525"/>
                <a:gd name="connsiteX120" fmla="*/ 995362 w 1624012"/>
                <a:gd name="connsiteY120" fmla="*/ 726281 h 1533525"/>
                <a:gd name="connsiteX121" fmla="*/ 995362 w 1624012"/>
                <a:gd name="connsiteY121" fmla="*/ 726281 h 1533525"/>
                <a:gd name="connsiteX122" fmla="*/ 923925 w 1624012"/>
                <a:gd name="connsiteY122" fmla="*/ 721519 h 1533525"/>
                <a:gd name="connsiteX123" fmla="*/ 940593 w 1624012"/>
                <a:gd name="connsiteY123" fmla="*/ 778669 h 1533525"/>
                <a:gd name="connsiteX124" fmla="*/ 938212 w 1624012"/>
                <a:gd name="connsiteY124" fmla="*/ 847725 h 1533525"/>
                <a:gd name="connsiteX125" fmla="*/ 954881 w 1624012"/>
                <a:gd name="connsiteY125" fmla="*/ 871538 h 1533525"/>
                <a:gd name="connsiteX126" fmla="*/ 997743 w 1624012"/>
                <a:gd name="connsiteY126" fmla="*/ 919163 h 1533525"/>
                <a:gd name="connsiteX127" fmla="*/ 1012031 w 1624012"/>
                <a:gd name="connsiteY127" fmla="*/ 954881 h 1533525"/>
                <a:gd name="connsiteX128" fmla="*/ 1031081 w 1624012"/>
                <a:gd name="connsiteY128" fmla="*/ 954881 h 1533525"/>
                <a:gd name="connsiteX129" fmla="*/ 1071562 w 1624012"/>
                <a:gd name="connsiteY129" fmla="*/ 940594 h 1533525"/>
                <a:gd name="connsiteX130" fmla="*/ 1102518 w 1624012"/>
                <a:gd name="connsiteY130" fmla="*/ 933450 h 1533525"/>
                <a:gd name="connsiteX131" fmla="*/ 1159668 w 1624012"/>
                <a:gd name="connsiteY131" fmla="*/ 997744 h 1533525"/>
                <a:gd name="connsiteX132" fmla="*/ 1178718 w 1624012"/>
                <a:gd name="connsiteY132" fmla="*/ 1052513 h 1533525"/>
                <a:gd name="connsiteX133" fmla="*/ 1190625 w 1624012"/>
                <a:gd name="connsiteY133" fmla="*/ 1081088 h 1533525"/>
                <a:gd name="connsiteX134" fmla="*/ 1212056 w 1624012"/>
                <a:gd name="connsiteY134" fmla="*/ 1109663 h 1533525"/>
                <a:gd name="connsiteX135" fmla="*/ 1231106 w 1624012"/>
                <a:gd name="connsiteY135" fmla="*/ 1102519 h 1533525"/>
                <a:gd name="connsiteX136" fmla="*/ 1231106 w 1624012"/>
                <a:gd name="connsiteY136" fmla="*/ 1131094 h 1533525"/>
                <a:gd name="connsiteX137" fmla="*/ 1233487 w 1624012"/>
                <a:gd name="connsiteY137" fmla="*/ 1145381 h 1533525"/>
                <a:gd name="connsiteX138" fmla="*/ 1266825 w 1624012"/>
                <a:gd name="connsiteY138" fmla="*/ 1181100 h 1533525"/>
                <a:gd name="connsiteX139" fmla="*/ 1233487 w 1624012"/>
                <a:gd name="connsiteY139" fmla="*/ 1181100 h 1533525"/>
                <a:gd name="connsiteX140" fmla="*/ 1228725 w 1624012"/>
                <a:gd name="connsiteY140" fmla="*/ 1223963 h 1533525"/>
                <a:gd name="connsiteX141" fmla="*/ 1226343 w 1624012"/>
                <a:gd name="connsiteY141" fmla="*/ 1243013 h 1533525"/>
                <a:gd name="connsiteX142" fmla="*/ 1216818 w 1624012"/>
                <a:gd name="connsiteY142" fmla="*/ 1264444 h 1533525"/>
                <a:gd name="connsiteX143" fmla="*/ 1190625 w 1624012"/>
                <a:gd name="connsiteY143" fmla="*/ 1238250 h 1533525"/>
                <a:gd name="connsiteX144" fmla="*/ 1157287 w 1624012"/>
                <a:gd name="connsiteY144" fmla="*/ 1209675 h 1533525"/>
                <a:gd name="connsiteX145" fmla="*/ 1131093 w 1624012"/>
                <a:gd name="connsiteY145" fmla="*/ 1185863 h 1533525"/>
                <a:gd name="connsiteX146" fmla="*/ 1107281 w 1624012"/>
                <a:gd name="connsiteY146" fmla="*/ 1219200 h 1533525"/>
                <a:gd name="connsiteX147" fmla="*/ 1104900 w 1624012"/>
                <a:gd name="connsiteY147" fmla="*/ 1264444 h 1533525"/>
                <a:gd name="connsiteX148" fmla="*/ 1062037 w 1624012"/>
                <a:gd name="connsiteY148" fmla="*/ 1259681 h 1533525"/>
                <a:gd name="connsiteX149" fmla="*/ 1026318 w 1624012"/>
                <a:gd name="connsiteY149" fmla="*/ 1288256 h 1533525"/>
                <a:gd name="connsiteX150" fmla="*/ 1007268 w 1624012"/>
                <a:gd name="connsiteY150" fmla="*/ 1240631 h 1533525"/>
                <a:gd name="connsiteX151" fmla="*/ 947737 w 1624012"/>
                <a:gd name="connsiteY151" fmla="*/ 1231106 h 1533525"/>
                <a:gd name="connsiteX152" fmla="*/ 921543 w 1624012"/>
                <a:gd name="connsiteY152" fmla="*/ 1297781 h 1533525"/>
                <a:gd name="connsiteX153" fmla="*/ 885825 w 1624012"/>
                <a:gd name="connsiteY153" fmla="*/ 1278731 h 1533525"/>
                <a:gd name="connsiteX154" fmla="*/ 816768 w 1624012"/>
                <a:gd name="connsiteY154" fmla="*/ 1295400 h 1533525"/>
                <a:gd name="connsiteX155" fmla="*/ 757237 w 1624012"/>
                <a:gd name="connsiteY155" fmla="*/ 1259681 h 1533525"/>
                <a:gd name="connsiteX156" fmla="*/ 742950 w 1624012"/>
                <a:gd name="connsiteY156" fmla="*/ 1312069 h 1533525"/>
                <a:gd name="connsiteX157" fmla="*/ 704850 w 1624012"/>
                <a:gd name="connsiteY157" fmla="*/ 1345406 h 1533525"/>
                <a:gd name="connsiteX158" fmla="*/ 692943 w 1624012"/>
                <a:gd name="connsiteY158" fmla="*/ 1366838 h 1533525"/>
                <a:gd name="connsiteX159" fmla="*/ 671512 w 1624012"/>
                <a:gd name="connsiteY159" fmla="*/ 1509713 h 1533525"/>
                <a:gd name="connsiteX160" fmla="*/ 633412 w 1624012"/>
                <a:gd name="connsiteY160" fmla="*/ 1490663 h 1533525"/>
                <a:gd name="connsiteX161" fmla="*/ 614362 w 1624012"/>
                <a:gd name="connsiteY161" fmla="*/ 1504950 h 1533525"/>
                <a:gd name="connsiteX162" fmla="*/ 581025 w 1624012"/>
                <a:gd name="connsiteY162" fmla="*/ 1531144 h 1533525"/>
                <a:gd name="connsiteX163" fmla="*/ 523875 w 1624012"/>
                <a:gd name="connsiteY163" fmla="*/ 1502569 h 1533525"/>
                <a:gd name="connsiteX164" fmla="*/ 514350 w 1624012"/>
                <a:gd name="connsiteY164" fmla="*/ 1490663 h 1533525"/>
                <a:gd name="connsiteX165" fmla="*/ 483393 w 1624012"/>
                <a:gd name="connsiteY165" fmla="*/ 1533525 h 1533525"/>
                <a:gd name="connsiteX0" fmla="*/ 483393 w 1624012"/>
                <a:gd name="connsiteY0" fmla="*/ 1533525 h 1533525"/>
                <a:gd name="connsiteX1" fmla="*/ 459581 w 1624012"/>
                <a:gd name="connsiteY1" fmla="*/ 1481138 h 1533525"/>
                <a:gd name="connsiteX2" fmla="*/ 438150 w 1624012"/>
                <a:gd name="connsiteY2" fmla="*/ 1471613 h 1533525"/>
                <a:gd name="connsiteX3" fmla="*/ 400050 w 1624012"/>
                <a:gd name="connsiteY3" fmla="*/ 1485900 h 1533525"/>
                <a:gd name="connsiteX4" fmla="*/ 338137 w 1624012"/>
                <a:gd name="connsiteY4" fmla="*/ 1490663 h 1533525"/>
                <a:gd name="connsiteX5" fmla="*/ 330993 w 1624012"/>
                <a:gd name="connsiteY5" fmla="*/ 1497806 h 1533525"/>
                <a:gd name="connsiteX6" fmla="*/ 271462 w 1624012"/>
                <a:gd name="connsiteY6" fmla="*/ 1471613 h 1533525"/>
                <a:gd name="connsiteX7" fmla="*/ 219075 w 1624012"/>
                <a:gd name="connsiteY7" fmla="*/ 1443038 h 1533525"/>
                <a:gd name="connsiteX8" fmla="*/ 138112 w 1624012"/>
                <a:gd name="connsiteY8" fmla="*/ 1402556 h 1533525"/>
                <a:gd name="connsiteX9" fmla="*/ 95250 w 1624012"/>
                <a:gd name="connsiteY9" fmla="*/ 1316831 h 1533525"/>
                <a:gd name="connsiteX10" fmla="*/ 80962 w 1624012"/>
                <a:gd name="connsiteY10" fmla="*/ 1288256 h 1533525"/>
                <a:gd name="connsiteX11" fmla="*/ 104775 w 1624012"/>
                <a:gd name="connsiteY11" fmla="*/ 1266825 h 1533525"/>
                <a:gd name="connsiteX12" fmla="*/ 76200 w 1624012"/>
                <a:gd name="connsiteY12" fmla="*/ 1212056 h 1533525"/>
                <a:gd name="connsiteX13" fmla="*/ 109537 w 1624012"/>
                <a:gd name="connsiteY13" fmla="*/ 1193006 h 1533525"/>
                <a:gd name="connsiteX14" fmla="*/ 140493 w 1624012"/>
                <a:gd name="connsiteY14" fmla="*/ 1143000 h 1533525"/>
                <a:gd name="connsiteX15" fmla="*/ 123825 w 1624012"/>
                <a:gd name="connsiteY15" fmla="*/ 1107281 h 1533525"/>
                <a:gd name="connsiteX16" fmla="*/ 178593 w 1624012"/>
                <a:gd name="connsiteY16" fmla="*/ 1107281 h 1533525"/>
                <a:gd name="connsiteX17" fmla="*/ 192881 w 1624012"/>
                <a:gd name="connsiteY17" fmla="*/ 1109663 h 1533525"/>
                <a:gd name="connsiteX18" fmla="*/ 159543 w 1624012"/>
                <a:gd name="connsiteY18" fmla="*/ 1064419 h 1533525"/>
                <a:gd name="connsiteX19" fmla="*/ 169068 w 1624012"/>
                <a:gd name="connsiteY19" fmla="*/ 1014413 h 1533525"/>
                <a:gd name="connsiteX20" fmla="*/ 123825 w 1624012"/>
                <a:gd name="connsiteY20" fmla="*/ 997744 h 1533525"/>
                <a:gd name="connsiteX21" fmla="*/ 61912 w 1624012"/>
                <a:gd name="connsiteY21" fmla="*/ 954881 h 1533525"/>
                <a:gd name="connsiteX22" fmla="*/ 45243 w 1624012"/>
                <a:gd name="connsiteY22" fmla="*/ 938213 h 1533525"/>
                <a:gd name="connsiteX23" fmla="*/ 64293 w 1624012"/>
                <a:gd name="connsiteY23" fmla="*/ 909638 h 1533525"/>
                <a:gd name="connsiteX24" fmla="*/ 47625 w 1624012"/>
                <a:gd name="connsiteY24" fmla="*/ 897731 h 1533525"/>
                <a:gd name="connsiteX25" fmla="*/ 47625 w 1624012"/>
                <a:gd name="connsiteY25" fmla="*/ 881063 h 1533525"/>
                <a:gd name="connsiteX26" fmla="*/ 26193 w 1624012"/>
                <a:gd name="connsiteY26" fmla="*/ 881063 h 1533525"/>
                <a:gd name="connsiteX27" fmla="*/ 7143 w 1624012"/>
                <a:gd name="connsiteY27" fmla="*/ 847725 h 1533525"/>
                <a:gd name="connsiteX28" fmla="*/ 0 w 1624012"/>
                <a:gd name="connsiteY28" fmla="*/ 816769 h 1533525"/>
                <a:gd name="connsiteX29" fmla="*/ 54768 w 1624012"/>
                <a:gd name="connsiteY29" fmla="*/ 800100 h 1533525"/>
                <a:gd name="connsiteX30" fmla="*/ 76200 w 1624012"/>
                <a:gd name="connsiteY30" fmla="*/ 788194 h 1533525"/>
                <a:gd name="connsiteX31" fmla="*/ 128587 w 1624012"/>
                <a:gd name="connsiteY31" fmla="*/ 821531 h 1533525"/>
                <a:gd name="connsiteX32" fmla="*/ 126206 w 1624012"/>
                <a:gd name="connsiteY32" fmla="*/ 800100 h 1533525"/>
                <a:gd name="connsiteX33" fmla="*/ 164306 w 1624012"/>
                <a:gd name="connsiteY33" fmla="*/ 795338 h 1533525"/>
                <a:gd name="connsiteX34" fmla="*/ 173831 w 1624012"/>
                <a:gd name="connsiteY34" fmla="*/ 759619 h 1533525"/>
                <a:gd name="connsiteX35" fmla="*/ 235743 w 1624012"/>
                <a:gd name="connsiteY35" fmla="*/ 764381 h 1533525"/>
                <a:gd name="connsiteX36" fmla="*/ 235743 w 1624012"/>
                <a:gd name="connsiteY36" fmla="*/ 764381 h 1533525"/>
                <a:gd name="connsiteX37" fmla="*/ 245268 w 1624012"/>
                <a:gd name="connsiteY37" fmla="*/ 704850 h 1533525"/>
                <a:gd name="connsiteX38" fmla="*/ 276225 w 1624012"/>
                <a:gd name="connsiteY38" fmla="*/ 666750 h 1533525"/>
                <a:gd name="connsiteX39" fmla="*/ 292893 w 1624012"/>
                <a:gd name="connsiteY39" fmla="*/ 638175 h 1533525"/>
                <a:gd name="connsiteX40" fmla="*/ 245268 w 1624012"/>
                <a:gd name="connsiteY40" fmla="*/ 602456 h 1533525"/>
                <a:gd name="connsiteX41" fmla="*/ 264318 w 1624012"/>
                <a:gd name="connsiteY41" fmla="*/ 585788 h 1533525"/>
                <a:gd name="connsiteX42" fmla="*/ 311943 w 1624012"/>
                <a:gd name="connsiteY42" fmla="*/ 602456 h 1533525"/>
                <a:gd name="connsiteX43" fmla="*/ 369093 w 1624012"/>
                <a:gd name="connsiteY43" fmla="*/ 573881 h 1533525"/>
                <a:gd name="connsiteX44" fmla="*/ 457200 w 1624012"/>
                <a:gd name="connsiteY44" fmla="*/ 545306 h 1533525"/>
                <a:gd name="connsiteX45" fmla="*/ 538162 w 1624012"/>
                <a:gd name="connsiteY45" fmla="*/ 578644 h 1533525"/>
                <a:gd name="connsiteX46" fmla="*/ 614362 w 1624012"/>
                <a:gd name="connsiteY46" fmla="*/ 550069 h 1533525"/>
                <a:gd name="connsiteX47" fmla="*/ 650081 w 1624012"/>
                <a:gd name="connsiteY47" fmla="*/ 552450 h 1533525"/>
                <a:gd name="connsiteX48" fmla="*/ 654843 w 1624012"/>
                <a:gd name="connsiteY48" fmla="*/ 523875 h 1533525"/>
                <a:gd name="connsiteX49" fmla="*/ 654843 w 1624012"/>
                <a:gd name="connsiteY49" fmla="*/ 490538 h 1533525"/>
                <a:gd name="connsiteX50" fmla="*/ 669131 w 1624012"/>
                <a:gd name="connsiteY50" fmla="*/ 469106 h 1533525"/>
                <a:gd name="connsiteX51" fmla="*/ 652462 w 1624012"/>
                <a:gd name="connsiteY51" fmla="*/ 450056 h 1533525"/>
                <a:gd name="connsiteX52" fmla="*/ 642937 w 1624012"/>
                <a:gd name="connsiteY52" fmla="*/ 411956 h 1533525"/>
                <a:gd name="connsiteX53" fmla="*/ 642937 w 1624012"/>
                <a:gd name="connsiteY53" fmla="*/ 330994 h 1533525"/>
                <a:gd name="connsiteX54" fmla="*/ 633412 w 1624012"/>
                <a:gd name="connsiteY54" fmla="*/ 319088 h 1533525"/>
                <a:gd name="connsiteX55" fmla="*/ 664368 w 1624012"/>
                <a:gd name="connsiteY55" fmla="*/ 285750 h 1533525"/>
                <a:gd name="connsiteX56" fmla="*/ 721518 w 1624012"/>
                <a:gd name="connsiteY56" fmla="*/ 292894 h 1533525"/>
                <a:gd name="connsiteX57" fmla="*/ 733425 w 1624012"/>
                <a:gd name="connsiteY57" fmla="*/ 264319 h 1533525"/>
                <a:gd name="connsiteX58" fmla="*/ 731043 w 1624012"/>
                <a:gd name="connsiteY58" fmla="*/ 228600 h 1533525"/>
                <a:gd name="connsiteX59" fmla="*/ 790575 w 1624012"/>
                <a:gd name="connsiteY59" fmla="*/ 192881 h 1533525"/>
                <a:gd name="connsiteX60" fmla="*/ 804862 w 1624012"/>
                <a:gd name="connsiteY60" fmla="*/ 166688 h 1533525"/>
                <a:gd name="connsiteX61" fmla="*/ 778668 w 1624012"/>
                <a:gd name="connsiteY61" fmla="*/ 128588 h 1533525"/>
                <a:gd name="connsiteX62" fmla="*/ 771525 w 1624012"/>
                <a:gd name="connsiteY62" fmla="*/ 104775 h 1533525"/>
                <a:gd name="connsiteX63" fmla="*/ 823912 w 1624012"/>
                <a:gd name="connsiteY63" fmla="*/ 97631 h 1533525"/>
                <a:gd name="connsiteX64" fmla="*/ 869156 w 1624012"/>
                <a:gd name="connsiteY64" fmla="*/ 52388 h 1533525"/>
                <a:gd name="connsiteX65" fmla="*/ 890587 w 1624012"/>
                <a:gd name="connsiteY65" fmla="*/ 23813 h 1533525"/>
                <a:gd name="connsiteX66" fmla="*/ 923925 w 1624012"/>
                <a:gd name="connsiteY66" fmla="*/ 9525 h 1533525"/>
                <a:gd name="connsiteX67" fmla="*/ 971550 w 1624012"/>
                <a:gd name="connsiteY67" fmla="*/ 0 h 1533525"/>
                <a:gd name="connsiteX68" fmla="*/ 971550 w 1624012"/>
                <a:gd name="connsiteY68" fmla="*/ 40481 h 1533525"/>
                <a:gd name="connsiteX69" fmla="*/ 950118 w 1624012"/>
                <a:gd name="connsiteY69" fmla="*/ 80963 h 1533525"/>
                <a:gd name="connsiteX70" fmla="*/ 950118 w 1624012"/>
                <a:gd name="connsiteY70" fmla="*/ 140494 h 1533525"/>
                <a:gd name="connsiteX71" fmla="*/ 969168 w 1624012"/>
                <a:gd name="connsiteY71" fmla="*/ 161925 h 1533525"/>
                <a:gd name="connsiteX72" fmla="*/ 1007268 w 1624012"/>
                <a:gd name="connsiteY72" fmla="*/ 188119 h 1533525"/>
                <a:gd name="connsiteX73" fmla="*/ 1019175 w 1624012"/>
                <a:gd name="connsiteY73" fmla="*/ 216694 h 1533525"/>
                <a:gd name="connsiteX74" fmla="*/ 1004887 w 1624012"/>
                <a:gd name="connsiteY74" fmla="*/ 226219 h 1533525"/>
                <a:gd name="connsiteX75" fmla="*/ 1057275 w 1624012"/>
                <a:gd name="connsiteY75" fmla="*/ 250031 h 1533525"/>
                <a:gd name="connsiteX76" fmla="*/ 1073943 w 1624012"/>
                <a:gd name="connsiteY76" fmla="*/ 228600 h 1533525"/>
                <a:gd name="connsiteX77" fmla="*/ 1083468 w 1624012"/>
                <a:gd name="connsiteY77" fmla="*/ 252413 h 1533525"/>
                <a:gd name="connsiteX78" fmla="*/ 1116806 w 1624012"/>
                <a:gd name="connsiteY78" fmla="*/ 252413 h 1533525"/>
                <a:gd name="connsiteX79" fmla="*/ 1123950 w 1624012"/>
                <a:gd name="connsiteY79" fmla="*/ 257175 h 1533525"/>
                <a:gd name="connsiteX80" fmla="*/ 1116806 w 1624012"/>
                <a:gd name="connsiteY80" fmla="*/ 276225 h 1533525"/>
                <a:gd name="connsiteX81" fmla="*/ 1088231 w 1624012"/>
                <a:gd name="connsiteY81" fmla="*/ 309563 h 1533525"/>
                <a:gd name="connsiteX82" fmla="*/ 1123950 w 1624012"/>
                <a:gd name="connsiteY82" fmla="*/ 333375 h 1533525"/>
                <a:gd name="connsiteX83" fmla="*/ 1135856 w 1624012"/>
                <a:gd name="connsiteY83" fmla="*/ 347663 h 1533525"/>
                <a:gd name="connsiteX84" fmla="*/ 1135856 w 1624012"/>
                <a:gd name="connsiteY84" fmla="*/ 376238 h 1533525"/>
                <a:gd name="connsiteX85" fmla="*/ 1119187 w 1624012"/>
                <a:gd name="connsiteY85" fmla="*/ 411956 h 1533525"/>
                <a:gd name="connsiteX86" fmla="*/ 1162050 w 1624012"/>
                <a:gd name="connsiteY86" fmla="*/ 423863 h 1533525"/>
                <a:gd name="connsiteX87" fmla="*/ 1233487 w 1624012"/>
                <a:gd name="connsiteY87" fmla="*/ 416719 h 1533525"/>
                <a:gd name="connsiteX88" fmla="*/ 1223962 w 1624012"/>
                <a:gd name="connsiteY88" fmla="*/ 385763 h 1533525"/>
                <a:gd name="connsiteX89" fmla="*/ 1188243 w 1624012"/>
                <a:gd name="connsiteY89" fmla="*/ 347663 h 1533525"/>
                <a:gd name="connsiteX90" fmla="*/ 1181100 w 1624012"/>
                <a:gd name="connsiteY90" fmla="*/ 333375 h 1533525"/>
                <a:gd name="connsiteX91" fmla="*/ 1207293 w 1624012"/>
                <a:gd name="connsiteY91" fmla="*/ 326231 h 1533525"/>
                <a:gd name="connsiteX92" fmla="*/ 1200150 w 1624012"/>
                <a:gd name="connsiteY92" fmla="*/ 302419 h 1533525"/>
                <a:gd name="connsiteX93" fmla="*/ 1223962 w 1624012"/>
                <a:gd name="connsiteY93" fmla="*/ 283369 h 1533525"/>
                <a:gd name="connsiteX94" fmla="*/ 1250156 w 1624012"/>
                <a:gd name="connsiteY94" fmla="*/ 242888 h 1533525"/>
                <a:gd name="connsiteX95" fmla="*/ 1302543 w 1624012"/>
                <a:gd name="connsiteY95" fmla="*/ 211931 h 1533525"/>
                <a:gd name="connsiteX96" fmla="*/ 1350168 w 1624012"/>
                <a:gd name="connsiteY96" fmla="*/ 123825 h 1533525"/>
                <a:gd name="connsiteX97" fmla="*/ 1543050 w 1624012"/>
                <a:gd name="connsiteY97" fmla="*/ 147638 h 1533525"/>
                <a:gd name="connsiteX98" fmla="*/ 1547812 w 1624012"/>
                <a:gd name="connsiteY98" fmla="*/ 121444 h 1533525"/>
                <a:gd name="connsiteX99" fmla="*/ 1574006 w 1624012"/>
                <a:gd name="connsiteY99" fmla="*/ 121444 h 1533525"/>
                <a:gd name="connsiteX100" fmla="*/ 1624012 w 1624012"/>
                <a:gd name="connsiteY100" fmla="*/ 109538 h 1533525"/>
                <a:gd name="connsiteX101" fmla="*/ 1057275 w 1624012"/>
                <a:gd name="connsiteY101" fmla="*/ 264319 h 1533525"/>
                <a:gd name="connsiteX102" fmla="*/ 1062037 w 1624012"/>
                <a:gd name="connsiteY102" fmla="*/ 304800 h 1533525"/>
                <a:gd name="connsiteX103" fmla="*/ 995362 w 1624012"/>
                <a:gd name="connsiteY103" fmla="*/ 352425 h 1533525"/>
                <a:gd name="connsiteX104" fmla="*/ 973931 w 1624012"/>
                <a:gd name="connsiteY104" fmla="*/ 383381 h 1533525"/>
                <a:gd name="connsiteX105" fmla="*/ 1000125 w 1624012"/>
                <a:gd name="connsiteY105" fmla="*/ 428625 h 1533525"/>
                <a:gd name="connsiteX106" fmla="*/ 983456 w 1624012"/>
                <a:gd name="connsiteY106" fmla="*/ 466725 h 1533525"/>
                <a:gd name="connsiteX107" fmla="*/ 1000125 w 1624012"/>
                <a:gd name="connsiteY107" fmla="*/ 519113 h 1533525"/>
                <a:gd name="connsiteX108" fmla="*/ 1033462 w 1624012"/>
                <a:gd name="connsiteY108" fmla="*/ 519113 h 1533525"/>
                <a:gd name="connsiteX109" fmla="*/ 1019175 w 1624012"/>
                <a:gd name="connsiteY109" fmla="*/ 552450 h 1533525"/>
                <a:gd name="connsiteX110" fmla="*/ 1035843 w 1624012"/>
                <a:gd name="connsiteY110" fmla="*/ 590550 h 1533525"/>
                <a:gd name="connsiteX111" fmla="*/ 1035843 w 1624012"/>
                <a:gd name="connsiteY111" fmla="*/ 607219 h 1533525"/>
                <a:gd name="connsiteX112" fmla="*/ 1045368 w 1624012"/>
                <a:gd name="connsiteY112" fmla="*/ 645319 h 1533525"/>
                <a:gd name="connsiteX113" fmla="*/ 1064418 w 1624012"/>
                <a:gd name="connsiteY113" fmla="*/ 645319 h 1533525"/>
                <a:gd name="connsiteX114" fmla="*/ 1078706 w 1624012"/>
                <a:gd name="connsiteY114" fmla="*/ 666750 h 1533525"/>
                <a:gd name="connsiteX115" fmla="*/ 1085850 w 1624012"/>
                <a:gd name="connsiteY115" fmla="*/ 688181 h 1533525"/>
                <a:gd name="connsiteX116" fmla="*/ 1076325 w 1624012"/>
                <a:gd name="connsiteY116" fmla="*/ 719138 h 1533525"/>
                <a:gd name="connsiteX117" fmla="*/ 1021556 w 1624012"/>
                <a:gd name="connsiteY117" fmla="*/ 714375 h 1533525"/>
                <a:gd name="connsiteX118" fmla="*/ 1002506 w 1624012"/>
                <a:gd name="connsiteY118" fmla="*/ 721519 h 1533525"/>
                <a:gd name="connsiteX119" fmla="*/ 995362 w 1624012"/>
                <a:gd name="connsiteY119" fmla="*/ 726281 h 1533525"/>
                <a:gd name="connsiteX120" fmla="*/ 995362 w 1624012"/>
                <a:gd name="connsiteY120" fmla="*/ 726281 h 1533525"/>
                <a:gd name="connsiteX121" fmla="*/ 923925 w 1624012"/>
                <a:gd name="connsiteY121" fmla="*/ 721519 h 1533525"/>
                <a:gd name="connsiteX122" fmla="*/ 940593 w 1624012"/>
                <a:gd name="connsiteY122" fmla="*/ 778669 h 1533525"/>
                <a:gd name="connsiteX123" fmla="*/ 938212 w 1624012"/>
                <a:gd name="connsiteY123" fmla="*/ 847725 h 1533525"/>
                <a:gd name="connsiteX124" fmla="*/ 954881 w 1624012"/>
                <a:gd name="connsiteY124" fmla="*/ 871538 h 1533525"/>
                <a:gd name="connsiteX125" fmla="*/ 997743 w 1624012"/>
                <a:gd name="connsiteY125" fmla="*/ 919163 h 1533525"/>
                <a:gd name="connsiteX126" fmla="*/ 1012031 w 1624012"/>
                <a:gd name="connsiteY126" fmla="*/ 954881 h 1533525"/>
                <a:gd name="connsiteX127" fmla="*/ 1031081 w 1624012"/>
                <a:gd name="connsiteY127" fmla="*/ 954881 h 1533525"/>
                <a:gd name="connsiteX128" fmla="*/ 1071562 w 1624012"/>
                <a:gd name="connsiteY128" fmla="*/ 940594 h 1533525"/>
                <a:gd name="connsiteX129" fmla="*/ 1102518 w 1624012"/>
                <a:gd name="connsiteY129" fmla="*/ 933450 h 1533525"/>
                <a:gd name="connsiteX130" fmla="*/ 1159668 w 1624012"/>
                <a:gd name="connsiteY130" fmla="*/ 997744 h 1533525"/>
                <a:gd name="connsiteX131" fmla="*/ 1178718 w 1624012"/>
                <a:gd name="connsiteY131" fmla="*/ 1052513 h 1533525"/>
                <a:gd name="connsiteX132" fmla="*/ 1190625 w 1624012"/>
                <a:gd name="connsiteY132" fmla="*/ 1081088 h 1533525"/>
                <a:gd name="connsiteX133" fmla="*/ 1212056 w 1624012"/>
                <a:gd name="connsiteY133" fmla="*/ 1109663 h 1533525"/>
                <a:gd name="connsiteX134" fmla="*/ 1231106 w 1624012"/>
                <a:gd name="connsiteY134" fmla="*/ 1102519 h 1533525"/>
                <a:gd name="connsiteX135" fmla="*/ 1231106 w 1624012"/>
                <a:gd name="connsiteY135" fmla="*/ 1131094 h 1533525"/>
                <a:gd name="connsiteX136" fmla="*/ 1233487 w 1624012"/>
                <a:gd name="connsiteY136" fmla="*/ 1145381 h 1533525"/>
                <a:gd name="connsiteX137" fmla="*/ 1266825 w 1624012"/>
                <a:gd name="connsiteY137" fmla="*/ 1181100 h 1533525"/>
                <a:gd name="connsiteX138" fmla="*/ 1233487 w 1624012"/>
                <a:gd name="connsiteY138" fmla="*/ 1181100 h 1533525"/>
                <a:gd name="connsiteX139" fmla="*/ 1228725 w 1624012"/>
                <a:gd name="connsiteY139" fmla="*/ 1223963 h 1533525"/>
                <a:gd name="connsiteX140" fmla="*/ 1226343 w 1624012"/>
                <a:gd name="connsiteY140" fmla="*/ 1243013 h 1533525"/>
                <a:gd name="connsiteX141" fmla="*/ 1216818 w 1624012"/>
                <a:gd name="connsiteY141" fmla="*/ 1264444 h 1533525"/>
                <a:gd name="connsiteX142" fmla="*/ 1190625 w 1624012"/>
                <a:gd name="connsiteY142" fmla="*/ 1238250 h 1533525"/>
                <a:gd name="connsiteX143" fmla="*/ 1157287 w 1624012"/>
                <a:gd name="connsiteY143" fmla="*/ 1209675 h 1533525"/>
                <a:gd name="connsiteX144" fmla="*/ 1131093 w 1624012"/>
                <a:gd name="connsiteY144" fmla="*/ 1185863 h 1533525"/>
                <a:gd name="connsiteX145" fmla="*/ 1107281 w 1624012"/>
                <a:gd name="connsiteY145" fmla="*/ 1219200 h 1533525"/>
                <a:gd name="connsiteX146" fmla="*/ 1104900 w 1624012"/>
                <a:gd name="connsiteY146" fmla="*/ 1264444 h 1533525"/>
                <a:gd name="connsiteX147" fmla="*/ 1062037 w 1624012"/>
                <a:gd name="connsiteY147" fmla="*/ 1259681 h 1533525"/>
                <a:gd name="connsiteX148" fmla="*/ 1026318 w 1624012"/>
                <a:gd name="connsiteY148" fmla="*/ 1288256 h 1533525"/>
                <a:gd name="connsiteX149" fmla="*/ 1007268 w 1624012"/>
                <a:gd name="connsiteY149" fmla="*/ 1240631 h 1533525"/>
                <a:gd name="connsiteX150" fmla="*/ 947737 w 1624012"/>
                <a:gd name="connsiteY150" fmla="*/ 1231106 h 1533525"/>
                <a:gd name="connsiteX151" fmla="*/ 921543 w 1624012"/>
                <a:gd name="connsiteY151" fmla="*/ 1297781 h 1533525"/>
                <a:gd name="connsiteX152" fmla="*/ 885825 w 1624012"/>
                <a:gd name="connsiteY152" fmla="*/ 1278731 h 1533525"/>
                <a:gd name="connsiteX153" fmla="*/ 816768 w 1624012"/>
                <a:gd name="connsiteY153" fmla="*/ 1295400 h 1533525"/>
                <a:gd name="connsiteX154" fmla="*/ 757237 w 1624012"/>
                <a:gd name="connsiteY154" fmla="*/ 1259681 h 1533525"/>
                <a:gd name="connsiteX155" fmla="*/ 742950 w 1624012"/>
                <a:gd name="connsiteY155" fmla="*/ 1312069 h 1533525"/>
                <a:gd name="connsiteX156" fmla="*/ 704850 w 1624012"/>
                <a:gd name="connsiteY156" fmla="*/ 1345406 h 1533525"/>
                <a:gd name="connsiteX157" fmla="*/ 692943 w 1624012"/>
                <a:gd name="connsiteY157" fmla="*/ 1366838 h 1533525"/>
                <a:gd name="connsiteX158" fmla="*/ 671512 w 1624012"/>
                <a:gd name="connsiteY158" fmla="*/ 1509713 h 1533525"/>
                <a:gd name="connsiteX159" fmla="*/ 633412 w 1624012"/>
                <a:gd name="connsiteY159" fmla="*/ 1490663 h 1533525"/>
                <a:gd name="connsiteX160" fmla="*/ 614362 w 1624012"/>
                <a:gd name="connsiteY160" fmla="*/ 1504950 h 1533525"/>
                <a:gd name="connsiteX161" fmla="*/ 581025 w 1624012"/>
                <a:gd name="connsiteY161" fmla="*/ 1531144 h 1533525"/>
                <a:gd name="connsiteX162" fmla="*/ 523875 w 1624012"/>
                <a:gd name="connsiteY162" fmla="*/ 1502569 h 1533525"/>
                <a:gd name="connsiteX163" fmla="*/ 514350 w 1624012"/>
                <a:gd name="connsiteY163" fmla="*/ 1490663 h 1533525"/>
                <a:gd name="connsiteX164" fmla="*/ 483393 w 1624012"/>
                <a:gd name="connsiteY164" fmla="*/ 1533525 h 1533525"/>
                <a:gd name="connsiteX0" fmla="*/ 483393 w 1574006"/>
                <a:gd name="connsiteY0" fmla="*/ 1533525 h 1533525"/>
                <a:gd name="connsiteX1" fmla="*/ 459581 w 1574006"/>
                <a:gd name="connsiteY1" fmla="*/ 1481138 h 1533525"/>
                <a:gd name="connsiteX2" fmla="*/ 438150 w 1574006"/>
                <a:gd name="connsiteY2" fmla="*/ 1471613 h 1533525"/>
                <a:gd name="connsiteX3" fmla="*/ 400050 w 1574006"/>
                <a:gd name="connsiteY3" fmla="*/ 1485900 h 1533525"/>
                <a:gd name="connsiteX4" fmla="*/ 338137 w 1574006"/>
                <a:gd name="connsiteY4" fmla="*/ 1490663 h 1533525"/>
                <a:gd name="connsiteX5" fmla="*/ 330993 w 1574006"/>
                <a:gd name="connsiteY5" fmla="*/ 1497806 h 1533525"/>
                <a:gd name="connsiteX6" fmla="*/ 271462 w 1574006"/>
                <a:gd name="connsiteY6" fmla="*/ 1471613 h 1533525"/>
                <a:gd name="connsiteX7" fmla="*/ 219075 w 1574006"/>
                <a:gd name="connsiteY7" fmla="*/ 1443038 h 1533525"/>
                <a:gd name="connsiteX8" fmla="*/ 138112 w 1574006"/>
                <a:gd name="connsiteY8" fmla="*/ 1402556 h 1533525"/>
                <a:gd name="connsiteX9" fmla="*/ 95250 w 1574006"/>
                <a:gd name="connsiteY9" fmla="*/ 1316831 h 1533525"/>
                <a:gd name="connsiteX10" fmla="*/ 80962 w 1574006"/>
                <a:gd name="connsiteY10" fmla="*/ 1288256 h 1533525"/>
                <a:gd name="connsiteX11" fmla="*/ 104775 w 1574006"/>
                <a:gd name="connsiteY11" fmla="*/ 1266825 h 1533525"/>
                <a:gd name="connsiteX12" fmla="*/ 76200 w 1574006"/>
                <a:gd name="connsiteY12" fmla="*/ 1212056 h 1533525"/>
                <a:gd name="connsiteX13" fmla="*/ 109537 w 1574006"/>
                <a:gd name="connsiteY13" fmla="*/ 1193006 h 1533525"/>
                <a:gd name="connsiteX14" fmla="*/ 140493 w 1574006"/>
                <a:gd name="connsiteY14" fmla="*/ 1143000 h 1533525"/>
                <a:gd name="connsiteX15" fmla="*/ 123825 w 1574006"/>
                <a:gd name="connsiteY15" fmla="*/ 1107281 h 1533525"/>
                <a:gd name="connsiteX16" fmla="*/ 178593 w 1574006"/>
                <a:gd name="connsiteY16" fmla="*/ 1107281 h 1533525"/>
                <a:gd name="connsiteX17" fmla="*/ 192881 w 1574006"/>
                <a:gd name="connsiteY17" fmla="*/ 1109663 h 1533525"/>
                <a:gd name="connsiteX18" fmla="*/ 159543 w 1574006"/>
                <a:gd name="connsiteY18" fmla="*/ 1064419 h 1533525"/>
                <a:gd name="connsiteX19" fmla="*/ 169068 w 1574006"/>
                <a:gd name="connsiteY19" fmla="*/ 1014413 h 1533525"/>
                <a:gd name="connsiteX20" fmla="*/ 123825 w 1574006"/>
                <a:gd name="connsiteY20" fmla="*/ 997744 h 1533525"/>
                <a:gd name="connsiteX21" fmla="*/ 61912 w 1574006"/>
                <a:gd name="connsiteY21" fmla="*/ 954881 h 1533525"/>
                <a:gd name="connsiteX22" fmla="*/ 45243 w 1574006"/>
                <a:gd name="connsiteY22" fmla="*/ 938213 h 1533525"/>
                <a:gd name="connsiteX23" fmla="*/ 64293 w 1574006"/>
                <a:gd name="connsiteY23" fmla="*/ 909638 h 1533525"/>
                <a:gd name="connsiteX24" fmla="*/ 47625 w 1574006"/>
                <a:gd name="connsiteY24" fmla="*/ 897731 h 1533525"/>
                <a:gd name="connsiteX25" fmla="*/ 47625 w 1574006"/>
                <a:gd name="connsiteY25" fmla="*/ 881063 h 1533525"/>
                <a:gd name="connsiteX26" fmla="*/ 26193 w 1574006"/>
                <a:gd name="connsiteY26" fmla="*/ 881063 h 1533525"/>
                <a:gd name="connsiteX27" fmla="*/ 7143 w 1574006"/>
                <a:gd name="connsiteY27" fmla="*/ 847725 h 1533525"/>
                <a:gd name="connsiteX28" fmla="*/ 0 w 1574006"/>
                <a:gd name="connsiteY28" fmla="*/ 816769 h 1533525"/>
                <a:gd name="connsiteX29" fmla="*/ 54768 w 1574006"/>
                <a:gd name="connsiteY29" fmla="*/ 800100 h 1533525"/>
                <a:gd name="connsiteX30" fmla="*/ 76200 w 1574006"/>
                <a:gd name="connsiteY30" fmla="*/ 788194 h 1533525"/>
                <a:gd name="connsiteX31" fmla="*/ 128587 w 1574006"/>
                <a:gd name="connsiteY31" fmla="*/ 821531 h 1533525"/>
                <a:gd name="connsiteX32" fmla="*/ 126206 w 1574006"/>
                <a:gd name="connsiteY32" fmla="*/ 800100 h 1533525"/>
                <a:gd name="connsiteX33" fmla="*/ 164306 w 1574006"/>
                <a:gd name="connsiteY33" fmla="*/ 795338 h 1533525"/>
                <a:gd name="connsiteX34" fmla="*/ 173831 w 1574006"/>
                <a:gd name="connsiteY34" fmla="*/ 759619 h 1533525"/>
                <a:gd name="connsiteX35" fmla="*/ 235743 w 1574006"/>
                <a:gd name="connsiteY35" fmla="*/ 764381 h 1533525"/>
                <a:gd name="connsiteX36" fmla="*/ 235743 w 1574006"/>
                <a:gd name="connsiteY36" fmla="*/ 764381 h 1533525"/>
                <a:gd name="connsiteX37" fmla="*/ 245268 w 1574006"/>
                <a:gd name="connsiteY37" fmla="*/ 704850 h 1533525"/>
                <a:gd name="connsiteX38" fmla="*/ 276225 w 1574006"/>
                <a:gd name="connsiteY38" fmla="*/ 666750 h 1533525"/>
                <a:gd name="connsiteX39" fmla="*/ 292893 w 1574006"/>
                <a:gd name="connsiteY39" fmla="*/ 638175 h 1533525"/>
                <a:gd name="connsiteX40" fmla="*/ 245268 w 1574006"/>
                <a:gd name="connsiteY40" fmla="*/ 602456 h 1533525"/>
                <a:gd name="connsiteX41" fmla="*/ 264318 w 1574006"/>
                <a:gd name="connsiteY41" fmla="*/ 585788 h 1533525"/>
                <a:gd name="connsiteX42" fmla="*/ 311943 w 1574006"/>
                <a:gd name="connsiteY42" fmla="*/ 602456 h 1533525"/>
                <a:gd name="connsiteX43" fmla="*/ 369093 w 1574006"/>
                <a:gd name="connsiteY43" fmla="*/ 573881 h 1533525"/>
                <a:gd name="connsiteX44" fmla="*/ 457200 w 1574006"/>
                <a:gd name="connsiteY44" fmla="*/ 545306 h 1533525"/>
                <a:gd name="connsiteX45" fmla="*/ 538162 w 1574006"/>
                <a:gd name="connsiteY45" fmla="*/ 578644 h 1533525"/>
                <a:gd name="connsiteX46" fmla="*/ 614362 w 1574006"/>
                <a:gd name="connsiteY46" fmla="*/ 550069 h 1533525"/>
                <a:gd name="connsiteX47" fmla="*/ 650081 w 1574006"/>
                <a:gd name="connsiteY47" fmla="*/ 552450 h 1533525"/>
                <a:gd name="connsiteX48" fmla="*/ 654843 w 1574006"/>
                <a:gd name="connsiteY48" fmla="*/ 523875 h 1533525"/>
                <a:gd name="connsiteX49" fmla="*/ 654843 w 1574006"/>
                <a:gd name="connsiteY49" fmla="*/ 490538 h 1533525"/>
                <a:gd name="connsiteX50" fmla="*/ 669131 w 1574006"/>
                <a:gd name="connsiteY50" fmla="*/ 469106 h 1533525"/>
                <a:gd name="connsiteX51" fmla="*/ 652462 w 1574006"/>
                <a:gd name="connsiteY51" fmla="*/ 450056 h 1533525"/>
                <a:gd name="connsiteX52" fmla="*/ 642937 w 1574006"/>
                <a:gd name="connsiteY52" fmla="*/ 411956 h 1533525"/>
                <a:gd name="connsiteX53" fmla="*/ 642937 w 1574006"/>
                <a:gd name="connsiteY53" fmla="*/ 330994 h 1533525"/>
                <a:gd name="connsiteX54" fmla="*/ 633412 w 1574006"/>
                <a:gd name="connsiteY54" fmla="*/ 319088 h 1533525"/>
                <a:gd name="connsiteX55" fmla="*/ 664368 w 1574006"/>
                <a:gd name="connsiteY55" fmla="*/ 285750 h 1533525"/>
                <a:gd name="connsiteX56" fmla="*/ 721518 w 1574006"/>
                <a:gd name="connsiteY56" fmla="*/ 292894 h 1533525"/>
                <a:gd name="connsiteX57" fmla="*/ 733425 w 1574006"/>
                <a:gd name="connsiteY57" fmla="*/ 264319 h 1533525"/>
                <a:gd name="connsiteX58" fmla="*/ 731043 w 1574006"/>
                <a:gd name="connsiteY58" fmla="*/ 228600 h 1533525"/>
                <a:gd name="connsiteX59" fmla="*/ 790575 w 1574006"/>
                <a:gd name="connsiteY59" fmla="*/ 192881 h 1533525"/>
                <a:gd name="connsiteX60" fmla="*/ 804862 w 1574006"/>
                <a:gd name="connsiteY60" fmla="*/ 166688 h 1533525"/>
                <a:gd name="connsiteX61" fmla="*/ 778668 w 1574006"/>
                <a:gd name="connsiteY61" fmla="*/ 128588 h 1533525"/>
                <a:gd name="connsiteX62" fmla="*/ 771525 w 1574006"/>
                <a:gd name="connsiteY62" fmla="*/ 104775 h 1533525"/>
                <a:gd name="connsiteX63" fmla="*/ 823912 w 1574006"/>
                <a:gd name="connsiteY63" fmla="*/ 97631 h 1533525"/>
                <a:gd name="connsiteX64" fmla="*/ 869156 w 1574006"/>
                <a:gd name="connsiteY64" fmla="*/ 52388 h 1533525"/>
                <a:gd name="connsiteX65" fmla="*/ 890587 w 1574006"/>
                <a:gd name="connsiteY65" fmla="*/ 23813 h 1533525"/>
                <a:gd name="connsiteX66" fmla="*/ 923925 w 1574006"/>
                <a:gd name="connsiteY66" fmla="*/ 9525 h 1533525"/>
                <a:gd name="connsiteX67" fmla="*/ 971550 w 1574006"/>
                <a:gd name="connsiteY67" fmla="*/ 0 h 1533525"/>
                <a:gd name="connsiteX68" fmla="*/ 971550 w 1574006"/>
                <a:gd name="connsiteY68" fmla="*/ 40481 h 1533525"/>
                <a:gd name="connsiteX69" fmla="*/ 950118 w 1574006"/>
                <a:gd name="connsiteY69" fmla="*/ 80963 h 1533525"/>
                <a:gd name="connsiteX70" fmla="*/ 950118 w 1574006"/>
                <a:gd name="connsiteY70" fmla="*/ 140494 h 1533525"/>
                <a:gd name="connsiteX71" fmla="*/ 969168 w 1574006"/>
                <a:gd name="connsiteY71" fmla="*/ 161925 h 1533525"/>
                <a:gd name="connsiteX72" fmla="*/ 1007268 w 1574006"/>
                <a:gd name="connsiteY72" fmla="*/ 188119 h 1533525"/>
                <a:gd name="connsiteX73" fmla="*/ 1019175 w 1574006"/>
                <a:gd name="connsiteY73" fmla="*/ 216694 h 1533525"/>
                <a:gd name="connsiteX74" fmla="*/ 1004887 w 1574006"/>
                <a:gd name="connsiteY74" fmla="*/ 226219 h 1533525"/>
                <a:gd name="connsiteX75" fmla="*/ 1057275 w 1574006"/>
                <a:gd name="connsiteY75" fmla="*/ 250031 h 1533525"/>
                <a:gd name="connsiteX76" fmla="*/ 1073943 w 1574006"/>
                <a:gd name="connsiteY76" fmla="*/ 228600 h 1533525"/>
                <a:gd name="connsiteX77" fmla="*/ 1083468 w 1574006"/>
                <a:gd name="connsiteY77" fmla="*/ 252413 h 1533525"/>
                <a:gd name="connsiteX78" fmla="*/ 1116806 w 1574006"/>
                <a:gd name="connsiteY78" fmla="*/ 252413 h 1533525"/>
                <a:gd name="connsiteX79" fmla="*/ 1123950 w 1574006"/>
                <a:gd name="connsiteY79" fmla="*/ 257175 h 1533525"/>
                <a:gd name="connsiteX80" fmla="*/ 1116806 w 1574006"/>
                <a:gd name="connsiteY80" fmla="*/ 276225 h 1533525"/>
                <a:gd name="connsiteX81" fmla="*/ 1088231 w 1574006"/>
                <a:gd name="connsiteY81" fmla="*/ 309563 h 1533525"/>
                <a:gd name="connsiteX82" fmla="*/ 1123950 w 1574006"/>
                <a:gd name="connsiteY82" fmla="*/ 333375 h 1533525"/>
                <a:gd name="connsiteX83" fmla="*/ 1135856 w 1574006"/>
                <a:gd name="connsiteY83" fmla="*/ 347663 h 1533525"/>
                <a:gd name="connsiteX84" fmla="*/ 1135856 w 1574006"/>
                <a:gd name="connsiteY84" fmla="*/ 376238 h 1533525"/>
                <a:gd name="connsiteX85" fmla="*/ 1119187 w 1574006"/>
                <a:gd name="connsiteY85" fmla="*/ 411956 h 1533525"/>
                <a:gd name="connsiteX86" fmla="*/ 1162050 w 1574006"/>
                <a:gd name="connsiteY86" fmla="*/ 423863 h 1533525"/>
                <a:gd name="connsiteX87" fmla="*/ 1233487 w 1574006"/>
                <a:gd name="connsiteY87" fmla="*/ 416719 h 1533525"/>
                <a:gd name="connsiteX88" fmla="*/ 1223962 w 1574006"/>
                <a:gd name="connsiteY88" fmla="*/ 385763 h 1533525"/>
                <a:gd name="connsiteX89" fmla="*/ 1188243 w 1574006"/>
                <a:gd name="connsiteY89" fmla="*/ 347663 h 1533525"/>
                <a:gd name="connsiteX90" fmla="*/ 1181100 w 1574006"/>
                <a:gd name="connsiteY90" fmla="*/ 333375 h 1533525"/>
                <a:gd name="connsiteX91" fmla="*/ 1207293 w 1574006"/>
                <a:gd name="connsiteY91" fmla="*/ 326231 h 1533525"/>
                <a:gd name="connsiteX92" fmla="*/ 1200150 w 1574006"/>
                <a:gd name="connsiteY92" fmla="*/ 302419 h 1533525"/>
                <a:gd name="connsiteX93" fmla="*/ 1223962 w 1574006"/>
                <a:gd name="connsiteY93" fmla="*/ 283369 h 1533525"/>
                <a:gd name="connsiteX94" fmla="*/ 1250156 w 1574006"/>
                <a:gd name="connsiteY94" fmla="*/ 242888 h 1533525"/>
                <a:gd name="connsiteX95" fmla="*/ 1302543 w 1574006"/>
                <a:gd name="connsiteY95" fmla="*/ 211931 h 1533525"/>
                <a:gd name="connsiteX96" fmla="*/ 1350168 w 1574006"/>
                <a:gd name="connsiteY96" fmla="*/ 123825 h 1533525"/>
                <a:gd name="connsiteX97" fmla="*/ 1543050 w 1574006"/>
                <a:gd name="connsiteY97" fmla="*/ 147638 h 1533525"/>
                <a:gd name="connsiteX98" fmla="*/ 1547812 w 1574006"/>
                <a:gd name="connsiteY98" fmla="*/ 121444 h 1533525"/>
                <a:gd name="connsiteX99" fmla="*/ 1574006 w 1574006"/>
                <a:gd name="connsiteY99" fmla="*/ 121444 h 1533525"/>
                <a:gd name="connsiteX100" fmla="*/ 1057275 w 1574006"/>
                <a:gd name="connsiteY100" fmla="*/ 264319 h 1533525"/>
                <a:gd name="connsiteX101" fmla="*/ 1062037 w 1574006"/>
                <a:gd name="connsiteY101" fmla="*/ 304800 h 1533525"/>
                <a:gd name="connsiteX102" fmla="*/ 995362 w 1574006"/>
                <a:gd name="connsiteY102" fmla="*/ 352425 h 1533525"/>
                <a:gd name="connsiteX103" fmla="*/ 973931 w 1574006"/>
                <a:gd name="connsiteY103" fmla="*/ 383381 h 1533525"/>
                <a:gd name="connsiteX104" fmla="*/ 1000125 w 1574006"/>
                <a:gd name="connsiteY104" fmla="*/ 428625 h 1533525"/>
                <a:gd name="connsiteX105" fmla="*/ 983456 w 1574006"/>
                <a:gd name="connsiteY105" fmla="*/ 466725 h 1533525"/>
                <a:gd name="connsiteX106" fmla="*/ 1000125 w 1574006"/>
                <a:gd name="connsiteY106" fmla="*/ 519113 h 1533525"/>
                <a:gd name="connsiteX107" fmla="*/ 1033462 w 1574006"/>
                <a:gd name="connsiteY107" fmla="*/ 519113 h 1533525"/>
                <a:gd name="connsiteX108" fmla="*/ 1019175 w 1574006"/>
                <a:gd name="connsiteY108" fmla="*/ 552450 h 1533525"/>
                <a:gd name="connsiteX109" fmla="*/ 1035843 w 1574006"/>
                <a:gd name="connsiteY109" fmla="*/ 590550 h 1533525"/>
                <a:gd name="connsiteX110" fmla="*/ 1035843 w 1574006"/>
                <a:gd name="connsiteY110" fmla="*/ 607219 h 1533525"/>
                <a:gd name="connsiteX111" fmla="*/ 1045368 w 1574006"/>
                <a:gd name="connsiteY111" fmla="*/ 645319 h 1533525"/>
                <a:gd name="connsiteX112" fmla="*/ 1064418 w 1574006"/>
                <a:gd name="connsiteY112" fmla="*/ 645319 h 1533525"/>
                <a:gd name="connsiteX113" fmla="*/ 1078706 w 1574006"/>
                <a:gd name="connsiteY113" fmla="*/ 666750 h 1533525"/>
                <a:gd name="connsiteX114" fmla="*/ 1085850 w 1574006"/>
                <a:gd name="connsiteY114" fmla="*/ 688181 h 1533525"/>
                <a:gd name="connsiteX115" fmla="*/ 1076325 w 1574006"/>
                <a:gd name="connsiteY115" fmla="*/ 719138 h 1533525"/>
                <a:gd name="connsiteX116" fmla="*/ 1021556 w 1574006"/>
                <a:gd name="connsiteY116" fmla="*/ 714375 h 1533525"/>
                <a:gd name="connsiteX117" fmla="*/ 1002506 w 1574006"/>
                <a:gd name="connsiteY117" fmla="*/ 721519 h 1533525"/>
                <a:gd name="connsiteX118" fmla="*/ 995362 w 1574006"/>
                <a:gd name="connsiteY118" fmla="*/ 726281 h 1533525"/>
                <a:gd name="connsiteX119" fmla="*/ 995362 w 1574006"/>
                <a:gd name="connsiteY119" fmla="*/ 726281 h 1533525"/>
                <a:gd name="connsiteX120" fmla="*/ 923925 w 1574006"/>
                <a:gd name="connsiteY120" fmla="*/ 721519 h 1533525"/>
                <a:gd name="connsiteX121" fmla="*/ 940593 w 1574006"/>
                <a:gd name="connsiteY121" fmla="*/ 778669 h 1533525"/>
                <a:gd name="connsiteX122" fmla="*/ 938212 w 1574006"/>
                <a:gd name="connsiteY122" fmla="*/ 847725 h 1533525"/>
                <a:gd name="connsiteX123" fmla="*/ 954881 w 1574006"/>
                <a:gd name="connsiteY123" fmla="*/ 871538 h 1533525"/>
                <a:gd name="connsiteX124" fmla="*/ 997743 w 1574006"/>
                <a:gd name="connsiteY124" fmla="*/ 919163 h 1533525"/>
                <a:gd name="connsiteX125" fmla="*/ 1012031 w 1574006"/>
                <a:gd name="connsiteY125" fmla="*/ 954881 h 1533525"/>
                <a:gd name="connsiteX126" fmla="*/ 1031081 w 1574006"/>
                <a:gd name="connsiteY126" fmla="*/ 954881 h 1533525"/>
                <a:gd name="connsiteX127" fmla="*/ 1071562 w 1574006"/>
                <a:gd name="connsiteY127" fmla="*/ 940594 h 1533525"/>
                <a:gd name="connsiteX128" fmla="*/ 1102518 w 1574006"/>
                <a:gd name="connsiteY128" fmla="*/ 933450 h 1533525"/>
                <a:gd name="connsiteX129" fmla="*/ 1159668 w 1574006"/>
                <a:gd name="connsiteY129" fmla="*/ 997744 h 1533525"/>
                <a:gd name="connsiteX130" fmla="*/ 1178718 w 1574006"/>
                <a:gd name="connsiteY130" fmla="*/ 1052513 h 1533525"/>
                <a:gd name="connsiteX131" fmla="*/ 1190625 w 1574006"/>
                <a:gd name="connsiteY131" fmla="*/ 1081088 h 1533525"/>
                <a:gd name="connsiteX132" fmla="*/ 1212056 w 1574006"/>
                <a:gd name="connsiteY132" fmla="*/ 1109663 h 1533525"/>
                <a:gd name="connsiteX133" fmla="*/ 1231106 w 1574006"/>
                <a:gd name="connsiteY133" fmla="*/ 1102519 h 1533525"/>
                <a:gd name="connsiteX134" fmla="*/ 1231106 w 1574006"/>
                <a:gd name="connsiteY134" fmla="*/ 1131094 h 1533525"/>
                <a:gd name="connsiteX135" fmla="*/ 1233487 w 1574006"/>
                <a:gd name="connsiteY135" fmla="*/ 1145381 h 1533525"/>
                <a:gd name="connsiteX136" fmla="*/ 1266825 w 1574006"/>
                <a:gd name="connsiteY136" fmla="*/ 1181100 h 1533525"/>
                <a:gd name="connsiteX137" fmla="*/ 1233487 w 1574006"/>
                <a:gd name="connsiteY137" fmla="*/ 1181100 h 1533525"/>
                <a:gd name="connsiteX138" fmla="*/ 1228725 w 1574006"/>
                <a:gd name="connsiteY138" fmla="*/ 1223963 h 1533525"/>
                <a:gd name="connsiteX139" fmla="*/ 1226343 w 1574006"/>
                <a:gd name="connsiteY139" fmla="*/ 1243013 h 1533525"/>
                <a:gd name="connsiteX140" fmla="*/ 1216818 w 1574006"/>
                <a:gd name="connsiteY140" fmla="*/ 1264444 h 1533525"/>
                <a:gd name="connsiteX141" fmla="*/ 1190625 w 1574006"/>
                <a:gd name="connsiteY141" fmla="*/ 1238250 h 1533525"/>
                <a:gd name="connsiteX142" fmla="*/ 1157287 w 1574006"/>
                <a:gd name="connsiteY142" fmla="*/ 1209675 h 1533525"/>
                <a:gd name="connsiteX143" fmla="*/ 1131093 w 1574006"/>
                <a:gd name="connsiteY143" fmla="*/ 1185863 h 1533525"/>
                <a:gd name="connsiteX144" fmla="*/ 1107281 w 1574006"/>
                <a:gd name="connsiteY144" fmla="*/ 1219200 h 1533525"/>
                <a:gd name="connsiteX145" fmla="*/ 1104900 w 1574006"/>
                <a:gd name="connsiteY145" fmla="*/ 1264444 h 1533525"/>
                <a:gd name="connsiteX146" fmla="*/ 1062037 w 1574006"/>
                <a:gd name="connsiteY146" fmla="*/ 1259681 h 1533525"/>
                <a:gd name="connsiteX147" fmla="*/ 1026318 w 1574006"/>
                <a:gd name="connsiteY147" fmla="*/ 1288256 h 1533525"/>
                <a:gd name="connsiteX148" fmla="*/ 1007268 w 1574006"/>
                <a:gd name="connsiteY148" fmla="*/ 1240631 h 1533525"/>
                <a:gd name="connsiteX149" fmla="*/ 947737 w 1574006"/>
                <a:gd name="connsiteY149" fmla="*/ 1231106 h 1533525"/>
                <a:gd name="connsiteX150" fmla="*/ 921543 w 1574006"/>
                <a:gd name="connsiteY150" fmla="*/ 1297781 h 1533525"/>
                <a:gd name="connsiteX151" fmla="*/ 885825 w 1574006"/>
                <a:gd name="connsiteY151" fmla="*/ 1278731 h 1533525"/>
                <a:gd name="connsiteX152" fmla="*/ 816768 w 1574006"/>
                <a:gd name="connsiteY152" fmla="*/ 1295400 h 1533525"/>
                <a:gd name="connsiteX153" fmla="*/ 757237 w 1574006"/>
                <a:gd name="connsiteY153" fmla="*/ 1259681 h 1533525"/>
                <a:gd name="connsiteX154" fmla="*/ 742950 w 1574006"/>
                <a:gd name="connsiteY154" fmla="*/ 1312069 h 1533525"/>
                <a:gd name="connsiteX155" fmla="*/ 704850 w 1574006"/>
                <a:gd name="connsiteY155" fmla="*/ 1345406 h 1533525"/>
                <a:gd name="connsiteX156" fmla="*/ 692943 w 1574006"/>
                <a:gd name="connsiteY156" fmla="*/ 1366838 h 1533525"/>
                <a:gd name="connsiteX157" fmla="*/ 671512 w 1574006"/>
                <a:gd name="connsiteY157" fmla="*/ 1509713 h 1533525"/>
                <a:gd name="connsiteX158" fmla="*/ 633412 w 1574006"/>
                <a:gd name="connsiteY158" fmla="*/ 1490663 h 1533525"/>
                <a:gd name="connsiteX159" fmla="*/ 614362 w 1574006"/>
                <a:gd name="connsiteY159" fmla="*/ 1504950 h 1533525"/>
                <a:gd name="connsiteX160" fmla="*/ 581025 w 1574006"/>
                <a:gd name="connsiteY160" fmla="*/ 1531144 h 1533525"/>
                <a:gd name="connsiteX161" fmla="*/ 523875 w 1574006"/>
                <a:gd name="connsiteY161" fmla="*/ 1502569 h 1533525"/>
                <a:gd name="connsiteX162" fmla="*/ 514350 w 1574006"/>
                <a:gd name="connsiteY162" fmla="*/ 1490663 h 1533525"/>
                <a:gd name="connsiteX163" fmla="*/ 483393 w 1574006"/>
                <a:gd name="connsiteY163" fmla="*/ 1533525 h 1533525"/>
                <a:gd name="connsiteX0" fmla="*/ 483393 w 1547812"/>
                <a:gd name="connsiteY0" fmla="*/ 1533525 h 1533525"/>
                <a:gd name="connsiteX1" fmla="*/ 459581 w 1547812"/>
                <a:gd name="connsiteY1" fmla="*/ 1481138 h 1533525"/>
                <a:gd name="connsiteX2" fmla="*/ 438150 w 1547812"/>
                <a:gd name="connsiteY2" fmla="*/ 1471613 h 1533525"/>
                <a:gd name="connsiteX3" fmla="*/ 400050 w 1547812"/>
                <a:gd name="connsiteY3" fmla="*/ 1485900 h 1533525"/>
                <a:gd name="connsiteX4" fmla="*/ 338137 w 1547812"/>
                <a:gd name="connsiteY4" fmla="*/ 1490663 h 1533525"/>
                <a:gd name="connsiteX5" fmla="*/ 330993 w 1547812"/>
                <a:gd name="connsiteY5" fmla="*/ 1497806 h 1533525"/>
                <a:gd name="connsiteX6" fmla="*/ 271462 w 1547812"/>
                <a:gd name="connsiteY6" fmla="*/ 1471613 h 1533525"/>
                <a:gd name="connsiteX7" fmla="*/ 219075 w 1547812"/>
                <a:gd name="connsiteY7" fmla="*/ 1443038 h 1533525"/>
                <a:gd name="connsiteX8" fmla="*/ 138112 w 1547812"/>
                <a:gd name="connsiteY8" fmla="*/ 1402556 h 1533525"/>
                <a:gd name="connsiteX9" fmla="*/ 95250 w 1547812"/>
                <a:gd name="connsiteY9" fmla="*/ 1316831 h 1533525"/>
                <a:gd name="connsiteX10" fmla="*/ 80962 w 1547812"/>
                <a:gd name="connsiteY10" fmla="*/ 1288256 h 1533525"/>
                <a:gd name="connsiteX11" fmla="*/ 104775 w 1547812"/>
                <a:gd name="connsiteY11" fmla="*/ 1266825 h 1533525"/>
                <a:gd name="connsiteX12" fmla="*/ 76200 w 1547812"/>
                <a:gd name="connsiteY12" fmla="*/ 1212056 h 1533525"/>
                <a:gd name="connsiteX13" fmla="*/ 109537 w 1547812"/>
                <a:gd name="connsiteY13" fmla="*/ 1193006 h 1533525"/>
                <a:gd name="connsiteX14" fmla="*/ 140493 w 1547812"/>
                <a:gd name="connsiteY14" fmla="*/ 1143000 h 1533525"/>
                <a:gd name="connsiteX15" fmla="*/ 123825 w 1547812"/>
                <a:gd name="connsiteY15" fmla="*/ 1107281 h 1533525"/>
                <a:gd name="connsiteX16" fmla="*/ 178593 w 1547812"/>
                <a:gd name="connsiteY16" fmla="*/ 1107281 h 1533525"/>
                <a:gd name="connsiteX17" fmla="*/ 192881 w 1547812"/>
                <a:gd name="connsiteY17" fmla="*/ 1109663 h 1533525"/>
                <a:gd name="connsiteX18" fmla="*/ 159543 w 1547812"/>
                <a:gd name="connsiteY18" fmla="*/ 1064419 h 1533525"/>
                <a:gd name="connsiteX19" fmla="*/ 169068 w 1547812"/>
                <a:gd name="connsiteY19" fmla="*/ 1014413 h 1533525"/>
                <a:gd name="connsiteX20" fmla="*/ 123825 w 1547812"/>
                <a:gd name="connsiteY20" fmla="*/ 997744 h 1533525"/>
                <a:gd name="connsiteX21" fmla="*/ 61912 w 1547812"/>
                <a:gd name="connsiteY21" fmla="*/ 954881 h 1533525"/>
                <a:gd name="connsiteX22" fmla="*/ 45243 w 1547812"/>
                <a:gd name="connsiteY22" fmla="*/ 938213 h 1533525"/>
                <a:gd name="connsiteX23" fmla="*/ 64293 w 1547812"/>
                <a:gd name="connsiteY23" fmla="*/ 909638 h 1533525"/>
                <a:gd name="connsiteX24" fmla="*/ 47625 w 1547812"/>
                <a:gd name="connsiteY24" fmla="*/ 897731 h 1533525"/>
                <a:gd name="connsiteX25" fmla="*/ 47625 w 1547812"/>
                <a:gd name="connsiteY25" fmla="*/ 881063 h 1533525"/>
                <a:gd name="connsiteX26" fmla="*/ 26193 w 1547812"/>
                <a:gd name="connsiteY26" fmla="*/ 881063 h 1533525"/>
                <a:gd name="connsiteX27" fmla="*/ 7143 w 1547812"/>
                <a:gd name="connsiteY27" fmla="*/ 847725 h 1533525"/>
                <a:gd name="connsiteX28" fmla="*/ 0 w 1547812"/>
                <a:gd name="connsiteY28" fmla="*/ 816769 h 1533525"/>
                <a:gd name="connsiteX29" fmla="*/ 54768 w 1547812"/>
                <a:gd name="connsiteY29" fmla="*/ 800100 h 1533525"/>
                <a:gd name="connsiteX30" fmla="*/ 76200 w 1547812"/>
                <a:gd name="connsiteY30" fmla="*/ 788194 h 1533525"/>
                <a:gd name="connsiteX31" fmla="*/ 128587 w 1547812"/>
                <a:gd name="connsiteY31" fmla="*/ 821531 h 1533525"/>
                <a:gd name="connsiteX32" fmla="*/ 126206 w 1547812"/>
                <a:gd name="connsiteY32" fmla="*/ 800100 h 1533525"/>
                <a:gd name="connsiteX33" fmla="*/ 164306 w 1547812"/>
                <a:gd name="connsiteY33" fmla="*/ 795338 h 1533525"/>
                <a:gd name="connsiteX34" fmla="*/ 173831 w 1547812"/>
                <a:gd name="connsiteY34" fmla="*/ 759619 h 1533525"/>
                <a:gd name="connsiteX35" fmla="*/ 235743 w 1547812"/>
                <a:gd name="connsiteY35" fmla="*/ 764381 h 1533525"/>
                <a:gd name="connsiteX36" fmla="*/ 235743 w 1547812"/>
                <a:gd name="connsiteY36" fmla="*/ 764381 h 1533525"/>
                <a:gd name="connsiteX37" fmla="*/ 245268 w 1547812"/>
                <a:gd name="connsiteY37" fmla="*/ 704850 h 1533525"/>
                <a:gd name="connsiteX38" fmla="*/ 276225 w 1547812"/>
                <a:gd name="connsiteY38" fmla="*/ 666750 h 1533525"/>
                <a:gd name="connsiteX39" fmla="*/ 292893 w 1547812"/>
                <a:gd name="connsiteY39" fmla="*/ 638175 h 1533525"/>
                <a:gd name="connsiteX40" fmla="*/ 245268 w 1547812"/>
                <a:gd name="connsiteY40" fmla="*/ 602456 h 1533525"/>
                <a:gd name="connsiteX41" fmla="*/ 264318 w 1547812"/>
                <a:gd name="connsiteY41" fmla="*/ 585788 h 1533525"/>
                <a:gd name="connsiteX42" fmla="*/ 311943 w 1547812"/>
                <a:gd name="connsiteY42" fmla="*/ 602456 h 1533525"/>
                <a:gd name="connsiteX43" fmla="*/ 369093 w 1547812"/>
                <a:gd name="connsiteY43" fmla="*/ 573881 h 1533525"/>
                <a:gd name="connsiteX44" fmla="*/ 457200 w 1547812"/>
                <a:gd name="connsiteY44" fmla="*/ 545306 h 1533525"/>
                <a:gd name="connsiteX45" fmla="*/ 538162 w 1547812"/>
                <a:gd name="connsiteY45" fmla="*/ 578644 h 1533525"/>
                <a:gd name="connsiteX46" fmla="*/ 614362 w 1547812"/>
                <a:gd name="connsiteY46" fmla="*/ 550069 h 1533525"/>
                <a:gd name="connsiteX47" fmla="*/ 650081 w 1547812"/>
                <a:gd name="connsiteY47" fmla="*/ 552450 h 1533525"/>
                <a:gd name="connsiteX48" fmla="*/ 654843 w 1547812"/>
                <a:gd name="connsiteY48" fmla="*/ 523875 h 1533525"/>
                <a:gd name="connsiteX49" fmla="*/ 654843 w 1547812"/>
                <a:gd name="connsiteY49" fmla="*/ 490538 h 1533525"/>
                <a:gd name="connsiteX50" fmla="*/ 669131 w 1547812"/>
                <a:gd name="connsiteY50" fmla="*/ 469106 h 1533525"/>
                <a:gd name="connsiteX51" fmla="*/ 652462 w 1547812"/>
                <a:gd name="connsiteY51" fmla="*/ 450056 h 1533525"/>
                <a:gd name="connsiteX52" fmla="*/ 642937 w 1547812"/>
                <a:gd name="connsiteY52" fmla="*/ 411956 h 1533525"/>
                <a:gd name="connsiteX53" fmla="*/ 642937 w 1547812"/>
                <a:gd name="connsiteY53" fmla="*/ 330994 h 1533525"/>
                <a:gd name="connsiteX54" fmla="*/ 633412 w 1547812"/>
                <a:gd name="connsiteY54" fmla="*/ 319088 h 1533525"/>
                <a:gd name="connsiteX55" fmla="*/ 664368 w 1547812"/>
                <a:gd name="connsiteY55" fmla="*/ 285750 h 1533525"/>
                <a:gd name="connsiteX56" fmla="*/ 721518 w 1547812"/>
                <a:gd name="connsiteY56" fmla="*/ 292894 h 1533525"/>
                <a:gd name="connsiteX57" fmla="*/ 733425 w 1547812"/>
                <a:gd name="connsiteY57" fmla="*/ 264319 h 1533525"/>
                <a:gd name="connsiteX58" fmla="*/ 731043 w 1547812"/>
                <a:gd name="connsiteY58" fmla="*/ 228600 h 1533525"/>
                <a:gd name="connsiteX59" fmla="*/ 790575 w 1547812"/>
                <a:gd name="connsiteY59" fmla="*/ 192881 h 1533525"/>
                <a:gd name="connsiteX60" fmla="*/ 804862 w 1547812"/>
                <a:gd name="connsiteY60" fmla="*/ 166688 h 1533525"/>
                <a:gd name="connsiteX61" fmla="*/ 778668 w 1547812"/>
                <a:gd name="connsiteY61" fmla="*/ 128588 h 1533525"/>
                <a:gd name="connsiteX62" fmla="*/ 771525 w 1547812"/>
                <a:gd name="connsiteY62" fmla="*/ 104775 h 1533525"/>
                <a:gd name="connsiteX63" fmla="*/ 823912 w 1547812"/>
                <a:gd name="connsiteY63" fmla="*/ 97631 h 1533525"/>
                <a:gd name="connsiteX64" fmla="*/ 869156 w 1547812"/>
                <a:gd name="connsiteY64" fmla="*/ 52388 h 1533525"/>
                <a:gd name="connsiteX65" fmla="*/ 890587 w 1547812"/>
                <a:gd name="connsiteY65" fmla="*/ 23813 h 1533525"/>
                <a:gd name="connsiteX66" fmla="*/ 923925 w 1547812"/>
                <a:gd name="connsiteY66" fmla="*/ 9525 h 1533525"/>
                <a:gd name="connsiteX67" fmla="*/ 971550 w 1547812"/>
                <a:gd name="connsiteY67" fmla="*/ 0 h 1533525"/>
                <a:gd name="connsiteX68" fmla="*/ 971550 w 1547812"/>
                <a:gd name="connsiteY68" fmla="*/ 40481 h 1533525"/>
                <a:gd name="connsiteX69" fmla="*/ 950118 w 1547812"/>
                <a:gd name="connsiteY69" fmla="*/ 80963 h 1533525"/>
                <a:gd name="connsiteX70" fmla="*/ 950118 w 1547812"/>
                <a:gd name="connsiteY70" fmla="*/ 140494 h 1533525"/>
                <a:gd name="connsiteX71" fmla="*/ 969168 w 1547812"/>
                <a:gd name="connsiteY71" fmla="*/ 161925 h 1533525"/>
                <a:gd name="connsiteX72" fmla="*/ 1007268 w 1547812"/>
                <a:gd name="connsiteY72" fmla="*/ 188119 h 1533525"/>
                <a:gd name="connsiteX73" fmla="*/ 1019175 w 1547812"/>
                <a:gd name="connsiteY73" fmla="*/ 216694 h 1533525"/>
                <a:gd name="connsiteX74" fmla="*/ 1004887 w 1547812"/>
                <a:gd name="connsiteY74" fmla="*/ 226219 h 1533525"/>
                <a:gd name="connsiteX75" fmla="*/ 1057275 w 1547812"/>
                <a:gd name="connsiteY75" fmla="*/ 250031 h 1533525"/>
                <a:gd name="connsiteX76" fmla="*/ 1073943 w 1547812"/>
                <a:gd name="connsiteY76" fmla="*/ 228600 h 1533525"/>
                <a:gd name="connsiteX77" fmla="*/ 1083468 w 1547812"/>
                <a:gd name="connsiteY77" fmla="*/ 252413 h 1533525"/>
                <a:gd name="connsiteX78" fmla="*/ 1116806 w 1547812"/>
                <a:gd name="connsiteY78" fmla="*/ 252413 h 1533525"/>
                <a:gd name="connsiteX79" fmla="*/ 1123950 w 1547812"/>
                <a:gd name="connsiteY79" fmla="*/ 257175 h 1533525"/>
                <a:gd name="connsiteX80" fmla="*/ 1116806 w 1547812"/>
                <a:gd name="connsiteY80" fmla="*/ 276225 h 1533525"/>
                <a:gd name="connsiteX81" fmla="*/ 1088231 w 1547812"/>
                <a:gd name="connsiteY81" fmla="*/ 309563 h 1533525"/>
                <a:gd name="connsiteX82" fmla="*/ 1123950 w 1547812"/>
                <a:gd name="connsiteY82" fmla="*/ 333375 h 1533525"/>
                <a:gd name="connsiteX83" fmla="*/ 1135856 w 1547812"/>
                <a:gd name="connsiteY83" fmla="*/ 347663 h 1533525"/>
                <a:gd name="connsiteX84" fmla="*/ 1135856 w 1547812"/>
                <a:gd name="connsiteY84" fmla="*/ 376238 h 1533525"/>
                <a:gd name="connsiteX85" fmla="*/ 1119187 w 1547812"/>
                <a:gd name="connsiteY85" fmla="*/ 411956 h 1533525"/>
                <a:gd name="connsiteX86" fmla="*/ 1162050 w 1547812"/>
                <a:gd name="connsiteY86" fmla="*/ 423863 h 1533525"/>
                <a:gd name="connsiteX87" fmla="*/ 1233487 w 1547812"/>
                <a:gd name="connsiteY87" fmla="*/ 416719 h 1533525"/>
                <a:gd name="connsiteX88" fmla="*/ 1223962 w 1547812"/>
                <a:gd name="connsiteY88" fmla="*/ 385763 h 1533525"/>
                <a:gd name="connsiteX89" fmla="*/ 1188243 w 1547812"/>
                <a:gd name="connsiteY89" fmla="*/ 347663 h 1533525"/>
                <a:gd name="connsiteX90" fmla="*/ 1181100 w 1547812"/>
                <a:gd name="connsiteY90" fmla="*/ 333375 h 1533525"/>
                <a:gd name="connsiteX91" fmla="*/ 1207293 w 1547812"/>
                <a:gd name="connsiteY91" fmla="*/ 326231 h 1533525"/>
                <a:gd name="connsiteX92" fmla="*/ 1200150 w 1547812"/>
                <a:gd name="connsiteY92" fmla="*/ 302419 h 1533525"/>
                <a:gd name="connsiteX93" fmla="*/ 1223962 w 1547812"/>
                <a:gd name="connsiteY93" fmla="*/ 283369 h 1533525"/>
                <a:gd name="connsiteX94" fmla="*/ 1250156 w 1547812"/>
                <a:gd name="connsiteY94" fmla="*/ 242888 h 1533525"/>
                <a:gd name="connsiteX95" fmla="*/ 1302543 w 1547812"/>
                <a:gd name="connsiteY95" fmla="*/ 211931 h 1533525"/>
                <a:gd name="connsiteX96" fmla="*/ 1350168 w 1547812"/>
                <a:gd name="connsiteY96" fmla="*/ 123825 h 1533525"/>
                <a:gd name="connsiteX97" fmla="*/ 1543050 w 1547812"/>
                <a:gd name="connsiteY97" fmla="*/ 147638 h 1533525"/>
                <a:gd name="connsiteX98" fmla="*/ 1547812 w 1547812"/>
                <a:gd name="connsiteY98" fmla="*/ 121444 h 1533525"/>
                <a:gd name="connsiteX99" fmla="*/ 1057275 w 1547812"/>
                <a:gd name="connsiteY99" fmla="*/ 264319 h 1533525"/>
                <a:gd name="connsiteX100" fmla="*/ 1062037 w 1547812"/>
                <a:gd name="connsiteY100" fmla="*/ 304800 h 1533525"/>
                <a:gd name="connsiteX101" fmla="*/ 995362 w 1547812"/>
                <a:gd name="connsiteY101" fmla="*/ 352425 h 1533525"/>
                <a:gd name="connsiteX102" fmla="*/ 973931 w 1547812"/>
                <a:gd name="connsiteY102" fmla="*/ 383381 h 1533525"/>
                <a:gd name="connsiteX103" fmla="*/ 1000125 w 1547812"/>
                <a:gd name="connsiteY103" fmla="*/ 428625 h 1533525"/>
                <a:gd name="connsiteX104" fmla="*/ 983456 w 1547812"/>
                <a:gd name="connsiteY104" fmla="*/ 466725 h 1533525"/>
                <a:gd name="connsiteX105" fmla="*/ 1000125 w 1547812"/>
                <a:gd name="connsiteY105" fmla="*/ 519113 h 1533525"/>
                <a:gd name="connsiteX106" fmla="*/ 1033462 w 1547812"/>
                <a:gd name="connsiteY106" fmla="*/ 519113 h 1533525"/>
                <a:gd name="connsiteX107" fmla="*/ 1019175 w 1547812"/>
                <a:gd name="connsiteY107" fmla="*/ 552450 h 1533525"/>
                <a:gd name="connsiteX108" fmla="*/ 1035843 w 1547812"/>
                <a:gd name="connsiteY108" fmla="*/ 590550 h 1533525"/>
                <a:gd name="connsiteX109" fmla="*/ 1035843 w 1547812"/>
                <a:gd name="connsiteY109" fmla="*/ 607219 h 1533525"/>
                <a:gd name="connsiteX110" fmla="*/ 1045368 w 1547812"/>
                <a:gd name="connsiteY110" fmla="*/ 645319 h 1533525"/>
                <a:gd name="connsiteX111" fmla="*/ 1064418 w 1547812"/>
                <a:gd name="connsiteY111" fmla="*/ 645319 h 1533525"/>
                <a:gd name="connsiteX112" fmla="*/ 1078706 w 1547812"/>
                <a:gd name="connsiteY112" fmla="*/ 666750 h 1533525"/>
                <a:gd name="connsiteX113" fmla="*/ 1085850 w 1547812"/>
                <a:gd name="connsiteY113" fmla="*/ 688181 h 1533525"/>
                <a:gd name="connsiteX114" fmla="*/ 1076325 w 1547812"/>
                <a:gd name="connsiteY114" fmla="*/ 719138 h 1533525"/>
                <a:gd name="connsiteX115" fmla="*/ 1021556 w 1547812"/>
                <a:gd name="connsiteY115" fmla="*/ 714375 h 1533525"/>
                <a:gd name="connsiteX116" fmla="*/ 1002506 w 1547812"/>
                <a:gd name="connsiteY116" fmla="*/ 721519 h 1533525"/>
                <a:gd name="connsiteX117" fmla="*/ 995362 w 1547812"/>
                <a:gd name="connsiteY117" fmla="*/ 726281 h 1533525"/>
                <a:gd name="connsiteX118" fmla="*/ 995362 w 1547812"/>
                <a:gd name="connsiteY118" fmla="*/ 726281 h 1533525"/>
                <a:gd name="connsiteX119" fmla="*/ 923925 w 1547812"/>
                <a:gd name="connsiteY119" fmla="*/ 721519 h 1533525"/>
                <a:gd name="connsiteX120" fmla="*/ 940593 w 1547812"/>
                <a:gd name="connsiteY120" fmla="*/ 778669 h 1533525"/>
                <a:gd name="connsiteX121" fmla="*/ 938212 w 1547812"/>
                <a:gd name="connsiteY121" fmla="*/ 847725 h 1533525"/>
                <a:gd name="connsiteX122" fmla="*/ 954881 w 1547812"/>
                <a:gd name="connsiteY122" fmla="*/ 871538 h 1533525"/>
                <a:gd name="connsiteX123" fmla="*/ 997743 w 1547812"/>
                <a:gd name="connsiteY123" fmla="*/ 919163 h 1533525"/>
                <a:gd name="connsiteX124" fmla="*/ 1012031 w 1547812"/>
                <a:gd name="connsiteY124" fmla="*/ 954881 h 1533525"/>
                <a:gd name="connsiteX125" fmla="*/ 1031081 w 1547812"/>
                <a:gd name="connsiteY125" fmla="*/ 954881 h 1533525"/>
                <a:gd name="connsiteX126" fmla="*/ 1071562 w 1547812"/>
                <a:gd name="connsiteY126" fmla="*/ 940594 h 1533525"/>
                <a:gd name="connsiteX127" fmla="*/ 1102518 w 1547812"/>
                <a:gd name="connsiteY127" fmla="*/ 933450 h 1533525"/>
                <a:gd name="connsiteX128" fmla="*/ 1159668 w 1547812"/>
                <a:gd name="connsiteY128" fmla="*/ 997744 h 1533525"/>
                <a:gd name="connsiteX129" fmla="*/ 1178718 w 1547812"/>
                <a:gd name="connsiteY129" fmla="*/ 1052513 h 1533525"/>
                <a:gd name="connsiteX130" fmla="*/ 1190625 w 1547812"/>
                <a:gd name="connsiteY130" fmla="*/ 1081088 h 1533525"/>
                <a:gd name="connsiteX131" fmla="*/ 1212056 w 1547812"/>
                <a:gd name="connsiteY131" fmla="*/ 1109663 h 1533525"/>
                <a:gd name="connsiteX132" fmla="*/ 1231106 w 1547812"/>
                <a:gd name="connsiteY132" fmla="*/ 1102519 h 1533525"/>
                <a:gd name="connsiteX133" fmla="*/ 1231106 w 1547812"/>
                <a:gd name="connsiteY133" fmla="*/ 1131094 h 1533525"/>
                <a:gd name="connsiteX134" fmla="*/ 1233487 w 1547812"/>
                <a:gd name="connsiteY134" fmla="*/ 1145381 h 1533525"/>
                <a:gd name="connsiteX135" fmla="*/ 1266825 w 1547812"/>
                <a:gd name="connsiteY135" fmla="*/ 1181100 h 1533525"/>
                <a:gd name="connsiteX136" fmla="*/ 1233487 w 1547812"/>
                <a:gd name="connsiteY136" fmla="*/ 1181100 h 1533525"/>
                <a:gd name="connsiteX137" fmla="*/ 1228725 w 1547812"/>
                <a:gd name="connsiteY137" fmla="*/ 1223963 h 1533525"/>
                <a:gd name="connsiteX138" fmla="*/ 1226343 w 1547812"/>
                <a:gd name="connsiteY138" fmla="*/ 1243013 h 1533525"/>
                <a:gd name="connsiteX139" fmla="*/ 1216818 w 1547812"/>
                <a:gd name="connsiteY139" fmla="*/ 1264444 h 1533525"/>
                <a:gd name="connsiteX140" fmla="*/ 1190625 w 1547812"/>
                <a:gd name="connsiteY140" fmla="*/ 1238250 h 1533525"/>
                <a:gd name="connsiteX141" fmla="*/ 1157287 w 1547812"/>
                <a:gd name="connsiteY141" fmla="*/ 1209675 h 1533525"/>
                <a:gd name="connsiteX142" fmla="*/ 1131093 w 1547812"/>
                <a:gd name="connsiteY142" fmla="*/ 1185863 h 1533525"/>
                <a:gd name="connsiteX143" fmla="*/ 1107281 w 1547812"/>
                <a:gd name="connsiteY143" fmla="*/ 1219200 h 1533525"/>
                <a:gd name="connsiteX144" fmla="*/ 1104900 w 1547812"/>
                <a:gd name="connsiteY144" fmla="*/ 1264444 h 1533525"/>
                <a:gd name="connsiteX145" fmla="*/ 1062037 w 1547812"/>
                <a:gd name="connsiteY145" fmla="*/ 1259681 h 1533525"/>
                <a:gd name="connsiteX146" fmla="*/ 1026318 w 1547812"/>
                <a:gd name="connsiteY146" fmla="*/ 1288256 h 1533525"/>
                <a:gd name="connsiteX147" fmla="*/ 1007268 w 1547812"/>
                <a:gd name="connsiteY147" fmla="*/ 1240631 h 1533525"/>
                <a:gd name="connsiteX148" fmla="*/ 947737 w 1547812"/>
                <a:gd name="connsiteY148" fmla="*/ 1231106 h 1533525"/>
                <a:gd name="connsiteX149" fmla="*/ 921543 w 1547812"/>
                <a:gd name="connsiteY149" fmla="*/ 1297781 h 1533525"/>
                <a:gd name="connsiteX150" fmla="*/ 885825 w 1547812"/>
                <a:gd name="connsiteY150" fmla="*/ 1278731 h 1533525"/>
                <a:gd name="connsiteX151" fmla="*/ 816768 w 1547812"/>
                <a:gd name="connsiteY151" fmla="*/ 1295400 h 1533525"/>
                <a:gd name="connsiteX152" fmla="*/ 757237 w 1547812"/>
                <a:gd name="connsiteY152" fmla="*/ 1259681 h 1533525"/>
                <a:gd name="connsiteX153" fmla="*/ 742950 w 1547812"/>
                <a:gd name="connsiteY153" fmla="*/ 1312069 h 1533525"/>
                <a:gd name="connsiteX154" fmla="*/ 704850 w 1547812"/>
                <a:gd name="connsiteY154" fmla="*/ 1345406 h 1533525"/>
                <a:gd name="connsiteX155" fmla="*/ 692943 w 1547812"/>
                <a:gd name="connsiteY155" fmla="*/ 1366838 h 1533525"/>
                <a:gd name="connsiteX156" fmla="*/ 671512 w 1547812"/>
                <a:gd name="connsiteY156" fmla="*/ 1509713 h 1533525"/>
                <a:gd name="connsiteX157" fmla="*/ 633412 w 1547812"/>
                <a:gd name="connsiteY157" fmla="*/ 1490663 h 1533525"/>
                <a:gd name="connsiteX158" fmla="*/ 614362 w 1547812"/>
                <a:gd name="connsiteY158" fmla="*/ 1504950 h 1533525"/>
                <a:gd name="connsiteX159" fmla="*/ 581025 w 1547812"/>
                <a:gd name="connsiteY159" fmla="*/ 1531144 h 1533525"/>
                <a:gd name="connsiteX160" fmla="*/ 523875 w 1547812"/>
                <a:gd name="connsiteY160" fmla="*/ 1502569 h 1533525"/>
                <a:gd name="connsiteX161" fmla="*/ 514350 w 1547812"/>
                <a:gd name="connsiteY161" fmla="*/ 1490663 h 1533525"/>
                <a:gd name="connsiteX162" fmla="*/ 483393 w 1547812"/>
                <a:gd name="connsiteY162" fmla="*/ 1533525 h 1533525"/>
                <a:gd name="connsiteX0" fmla="*/ 483393 w 1543050"/>
                <a:gd name="connsiteY0" fmla="*/ 1533525 h 1533525"/>
                <a:gd name="connsiteX1" fmla="*/ 459581 w 1543050"/>
                <a:gd name="connsiteY1" fmla="*/ 1481138 h 1533525"/>
                <a:gd name="connsiteX2" fmla="*/ 438150 w 1543050"/>
                <a:gd name="connsiteY2" fmla="*/ 1471613 h 1533525"/>
                <a:gd name="connsiteX3" fmla="*/ 400050 w 1543050"/>
                <a:gd name="connsiteY3" fmla="*/ 1485900 h 1533525"/>
                <a:gd name="connsiteX4" fmla="*/ 338137 w 1543050"/>
                <a:gd name="connsiteY4" fmla="*/ 1490663 h 1533525"/>
                <a:gd name="connsiteX5" fmla="*/ 330993 w 1543050"/>
                <a:gd name="connsiteY5" fmla="*/ 1497806 h 1533525"/>
                <a:gd name="connsiteX6" fmla="*/ 271462 w 1543050"/>
                <a:gd name="connsiteY6" fmla="*/ 1471613 h 1533525"/>
                <a:gd name="connsiteX7" fmla="*/ 219075 w 1543050"/>
                <a:gd name="connsiteY7" fmla="*/ 1443038 h 1533525"/>
                <a:gd name="connsiteX8" fmla="*/ 138112 w 1543050"/>
                <a:gd name="connsiteY8" fmla="*/ 1402556 h 1533525"/>
                <a:gd name="connsiteX9" fmla="*/ 95250 w 1543050"/>
                <a:gd name="connsiteY9" fmla="*/ 1316831 h 1533525"/>
                <a:gd name="connsiteX10" fmla="*/ 80962 w 1543050"/>
                <a:gd name="connsiteY10" fmla="*/ 1288256 h 1533525"/>
                <a:gd name="connsiteX11" fmla="*/ 104775 w 1543050"/>
                <a:gd name="connsiteY11" fmla="*/ 1266825 h 1533525"/>
                <a:gd name="connsiteX12" fmla="*/ 76200 w 1543050"/>
                <a:gd name="connsiteY12" fmla="*/ 1212056 h 1533525"/>
                <a:gd name="connsiteX13" fmla="*/ 109537 w 1543050"/>
                <a:gd name="connsiteY13" fmla="*/ 1193006 h 1533525"/>
                <a:gd name="connsiteX14" fmla="*/ 140493 w 1543050"/>
                <a:gd name="connsiteY14" fmla="*/ 1143000 h 1533525"/>
                <a:gd name="connsiteX15" fmla="*/ 123825 w 1543050"/>
                <a:gd name="connsiteY15" fmla="*/ 1107281 h 1533525"/>
                <a:gd name="connsiteX16" fmla="*/ 178593 w 1543050"/>
                <a:gd name="connsiteY16" fmla="*/ 1107281 h 1533525"/>
                <a:gd name="connsiteX17" fmla="*/ 192881 w 1543050"/>
                <a:gd name="connsiteY17" fmla="*/ 1109663 h 1533525"/>
                <a:gd name="connsiteX18" fmla="*/ 159543 w 1543050"/>
                <a:gd name="connsiteY18" fmla="*/ 1064419 h 1533525"/>
                <a:gd name="connsiteX19" fmla="*/ 169068 w 1543050"/>
                <a:gd name="connsiteY19" fmla="*/ 1014413 h 1533525"/>
                <a:gd name="connsiteX20" fmla="*/ 123825 w 1543050"/>
                <a:gd name="connsiteY20" fmla="*/ 997744 h 1533525"/>
                <a:gd name="connsiteX21" fmla="*/ 61912 w 1543050"/>
                <a:gd name="connsiteY21" fmla="*/ 954881 h 1533525"/>
                <a:gd name="connsiteX22" fmla="*/ 45243 w 1543050"/>
                <a:gd name="connsiteY22" fmla="*/ 938213 h 1533525"/>
                <a:gd name="connsiteX23" fmla="*/ 64293 w 1543050"/>
                <a:gd name="connsiteY23" fmla="*/ 909638 h 1533525"/>
                <a:gd name="connsiteX24" fmla="*/ 47625 w 1543050"/>
                <a:gd name="connsiteY24" fmla="*/ 897731 h 1533525"/>
                <a:gd name="connsiteX25" fmla="*/ 47625 w 1543050"/>
                <a:gd name="connsiteY25" fmla="*/ 881063 h 1533525"/>
                <a:gd name="connsiteX26" fmla="*/ 26193 w 1543050"/>
                <a:gd name="connsiteY26" fmla="*/ 881063 h 1533525"/>
                <a:gd name="connsiteX27" fmla="*/ 7143 w 1543050"/>
                <a:gd name="connsiteY27" fmla="*/ 847725 h 1533525"/>
                <a:gd name="connsiteX28" fmla="*/ 0 w 1543050"/>
                <a:gd name="connsiteY28" fmla="*/ 816769 h 1533525"/>
                <a:gd name="connsiteX29" fmla="*/ 54768 w 1543050"/>
                <a:gd name="connsiteY29" fmla="*/ 800100 h 1533525"/>
                <a:gd name="connsiteX30" fmla="*/ 76200 w 1543050"/>
                <a:gd name="connsiteY30" fmla="*/ 788194 h 1533525"/>
                <a:gd name="connsiteX31" fmla="*/ 128587 w 1543050"/>
                <a:gd name="connsiteY31" fmla="*/ 821531 h 1533525"/>
                <a:gd name="connsiteX32" fmla="*/ 126206 w 1543050"/>
                <a:gd name="connsiteY32" fmla="*/ 800100 h 1533525"/>
                <a:gd name="connsiteX33" fmla="*/ 164306 w 1543050"/>
                <a:gd name="connsiteY33" fmla="*/ 795338 h 1533525"/>
                <a:gd name="connsiteX34" fmla="*/ 173831 w 1543050"/>
                <a:gd name="connsiteY34" fmla="*/ 759619 h 1533525"/>
                <a:gd name="connsiteX35" fmla="*/ 235743 w 1543050"/>
                <a:gd name="connsiteY35" fmla="*/ 764381 h 1533525"/>
                <a:gd name="connsiteX36" fmla="*/ 235743 w 1543050"/>
                <a:gd name="connsiteY36" fmla="*/ 764381 h 1533525"/>
                <a:gd name="connsiteX37" fmla="*/ 245268 w 1543050"/>
                <a:gd name="connsiteY37" fmla="*/ 704850 h 1533525"/>
                <a:gd name="connsiteX38" fmla="*/ 276225 w 1543050"/>
                <a:gd name="connsiteY38" fmla="*/ 666750 h 1533525"/>
                <a:gd name="connsiteX39" fmla="*/ 292893 w 1543050"/>
                <a:gd name="connsiteY39" fmla="*/ 638175 h 1533525"/>
                <a:gd name="connsiteX40" fmla="*/ 245268 w 1543050"/>
                <a:gd name="connsiteY40" fmla="*/ 602456 h 1533525"/>
                <a:gd name="connsiteX41" fmla="*/ 264318 w 1543050"/>
                <a:gd name="connsiteY41" fmla="*/ 585788 h 1533525"/>
                <a:gd name="connsiteX42" fmla="*/ 311943 w 1543050"/>
                <a:gd name="connsiteY42" fmla="*/ 602456 h 1533525"/>
                <a:gd name="connsiteX43" fmla="*/ 369093 w 1543050"/>
                <a:gd name="connsiteY43" fmla="*/ 573881 h 1533525"/>
                <a:gd name="connsiteX44" fmla="*/ 457200 w 1543050"/>
                <a:gd name="connsiteY44" fmla="*/ 545306 h 1533525"/>
                <a:gd name="connsiteX45" fmla="*/ 538162 w 1543050"/>
                <a:gd name="connsiteY45" fmla="*/ 578644 h 1533525"/>
                <a:gd name="connsiteX46" fmla="*/ 614362 w 1543050"/>
                <a:gd name="connsiteY46" fmla="*/ 550069 h 1533525"/>
                <a:gd name="connsiteX47" fmla="*/ 650081 w 1543050"/>
                <a:gd name="connsiteY47" fmla="*/ 552450 h 1533525"/>
                <a:gd name="connsiteX48" fmla="*/ 654843 w 1543050"/>
                <a:gd name="connsiteY48" fmla="*/ 523875 h 1533525"/>
                <a:gd name="connsiteX49" fmla="*/ 654843 w 1543050"/>
                <a:gd name="connsiteY49" fmla="*/ 490538 h 1533525"/>
                <a:gd name="connsiteX50" fmla="*/ 669131 w 1543050"/>
                <a:gd name="connsiteY50" fmla="*/ 469106 h 1533525"/>
                <a:gd name="connsiteX51" fmla="*/ 652462 w 1543050"/>
                <a:gd name="connsiteY51" fmla="*/ 450056 h 1533525"/>
                <a:gd name="connsiteX52" fmla="*/ 642937 w 1543050"/>
                <a:gd name="connsiteY52" fmla="*/ 411956 h 1533525"/>
                <a:gd name="connsiteX53" fmla="*/ 642937 w 1543050"/>
                <a:gd name="connsiteY53" fmla="*/ 330994 h 1533525"/>
                <a:gd name="connsiteX54" fmla="*/ 633412 w 1543050"/>
                <a:gd name="connsiteY54" fmla="*/ 319088 h 1533525"/>
                <a:gd name="connsiteX55" fmla="*/ 664368 w 1543050"/>
                <a:gd name="connsiteY55" fmla="*/ 285750 h 1533525"/>
                <a:gd name="connsiteX56" fmla="*/ 721518 w 1543050"/>
                <a:gd name="connsiteY56" fmla="*/ 292894 h 1533525"/>
                <a:gd name="connsiteX57" fmla="*/ 733425 w 1543050"/>
                <a:gd name="connsiteY57" fmla="*/ 264319 h 1533525"/>
                <a:gd name="connsiteX58" fmla="*/ 731043 w 1543050"/>
                <a:gd name="connsiteY58" fmla="*/ 228600 h 1533525"/>
                <a:gd name="connsiteX59" fmla="*/ 790575 w 1543050"/>
                <a:gd name="connsiteY59" fmla="*/ 192881 h 1533525"/>
                <a:gd name="connsiteX60" fmla="*/ 804862 w 1543050"/>
                <a:gd name="connsiteY60" fmla="*/ 166688 h 1533525"/>
                <a:gd name="connsiteX61" fmla="*/ 778668 w 1543050"/>
                <a:gd name="connsiteY61" fmla="*/ 128588 h 1533525"/>
                <a:gd name="connsiteX62" fmla="*/ 771525 w 1543050"/>
                <a:gd name="connsiteY62" fmla="*/ 104775 h 1533525"/>
                <a:gd name="connsiteX63" fmla="*/ 823912 w 1543050"/>
                <a:gd name="connsiteY63" fmla="*/ 97631 h 1533525"/>
                <a:gd name="connsiteX64" fmla="*/ 869156 w 1543050"/>
                <a:gd name="connsiteY64" fmla="*/ 52388 h 1533525"/>
                <a:gd name="connsiteX65" fmla="*/ 890587 w 1543050"/>
                <a:gd name="connsiteY65" fmla="*/ 23813 h 1533525"/>
                <a:gd name="connsiteX66" fmla="*/ 923925 w 1543050"/>
                <a:gd name="connsiteY66" fmla="*/ 9525 h 1533525"/>
                <a:gd name="connsiteX67" fmla="*/ 971550 w 1543050"/>
                <a:gd name="connsiteY67" fmla="*/ 0 h 1533525"/>
                <a:gd name="connsiteX68" fmla="*/ 971550 w 1543050"/>
                <a:gd name="connsiteY68" fmla="*/ 40481 h 1533525"/>
                <a:gd name="connsiteX69" fmla="*/ 950118 w 1543050"/>
                <a:gd name="connsiteY69" fmla="*/ 80963 h 1533525"/>
                <a:gd name="connsiteX70" fmla="*/ 950118 w 1543050"/>
                <a:gd name="connsiteY70" fmla="*/ 140494 h 1533525"/>
                <a:gd name="connsiteX71" fmla="*/ 969168 w 1543050"/>
                <a:gd name="connsiteY71" fmla="*/ 161925 h 1533525"/>
                <a:gd name="connsiteX72" fmla="*/ 1007268 w 1543050"/>
                <a:gd name="connsiteY72" fmla="*/ 188119 h 1533525"/>
                <a:gd name="connsiteX73" fmla="*/ 1019175 w 1543050"/>
                <a:gd name="connsiteY73" fmla="*/ 216694 h 1533525"/>
                <a:gd name="connsiteX74" fmla="*/ 1004887 w 1543050"/>
                <a:gd name="connsiteY74" fmla="*/ 226219 h 1533525"/>
                <a:gd name="connsiteX75" fmla="*/ 1057275 w 1543050"/>
                <a:gd name="connsiteY75" fmla="*/ 250031 h 1533525"/>
                <a:gd name="connsiteX76" fmla="*/ 1073943 w 1543050"/>
                <a:gd name="connsiteY76" fmla="*/ 228600 h 1533525"/>
                <a:gd name="connsiteX77" fmla="*/ 1083468 w 1543050"/>
                <a:gd name="connsiteY77" fmla="*/ 252413 h 1533525"/>
                <a:gd name="connsiteX78" fmla="*/ 1116806 w 1543050"/>
                <a:gd name="connsiteY78" fmla="*/ 252413 h 1533525"/>
                <a:gd name="connsiteX79" fmla="*/ 1123950 w 1543050"/>
                <a:gd name="connsiteY79" fmla="*/ 257175 h 1533525"/>
                <a:gd name="connsiteX80" fmla="*/ 1116806 w 1543050"/>
                <a:gd name="connsiteY80" fmla="*/ 276225 h 1533525"/>
                <a:gd name="connsiteX81" fmla="*/ 1088231 w 1543050"/>
                <a:gd name="connsiteY81" fmla="*/ 309563 h 1533525"/>
                <a:gd name="connsiteX82" fmla="*/ 1123950 w 1543050"/>
                <a:gd name="connsiteY82" fmla="*/ 333375 h 1533525"/>
                <a:gd name="connsiteX83" fmla="*/ 1135856 w 1543050"/>
                <a:gd name="connsiteY83" fmla="*/ 347663 h 1533525"/>
                <a:gd name="connsiteX84" fmla="*/ 1135856 w 1543050"/>
                <a:gd name="connsiteY84" fmla="*/ 376238 h 1533525"/>
                <a:gd name="connsiteX85" fmla="*/ 1119187 w 1543050"/>
                <a:gd name="connsiteY85" fmla="*/ 411956 h 1533525"/>
                <a:gd name="connsiteX86" fmla="*/ 1162050 w 1543050"/>
                <a:gd name="connsiteY86" fmla="*/ 423863 h 1533525"/>
                <a:gd name="connsiteX87" fmla="*/ 1233487 w 1543050"/>
                <a:gd name="connsiteY87" fmla="*/ 416719 h 1533525"/>
                <a:gd name="connsiteX88" fmla="*/ 1223962 w 1543050"/>
                <a:gd name="connsiteY88" fmla="*/ 385763 h 1533525"/>
                <a:gd name="connsiteX89" fmla="*/ 1188243 w 1543050"/>
                <a:gd name="connsiteY89" fmla="*/ 347663 h 1533525"/>
                <a:gd name="connsiteX90" fmla="*/ 1181100 w 1543050"/>
                <a:gd name="connsiteY90" fmla="*/ 333375 h 1533525"/>
                <a:gd name="connsiteX91" fmla="*/ 1207293 w 1543050"/>
                <a:gd name="connsiteY91" fmla="*/ 326231 h 1533525"/>
                <a:gd name="connsiteX92" fmla="*/ 1200150 w 1543050"/>
                <a:gd name="connsiteY92" fmla="*/ 302419 h 1533525"/>
                <a:gd name="connsiteX93" fmla="*/ 1223962 w 1543050"/>
                <a:gd name="connsiteY93" fmla="*/ 283369 h 1533525"/>
                <a:gd name="connsiteX94" fmla="*/ 1250156 w 1543050"/>
                <a:gd name="connsiteY94" fmla="*/ 242888 h 1533525"/>
                <a:gd name="connsiteX95" fmla="*/ 1302543 w 1543050"/>
                <a:gd name="connsiteY95" fmla="*/ 211931 h 1533525"/>
                <a:gd name="connsiteX96" fmla="*/ 1350168 w 1543050"/>
                <a:gd name="connsiteY96" fmla="*/ 123825 h 1533525"/>
                <a:gd name="connsiteX97" fmla="*/ 1543050 w 1543050"/>
                <a:gd name="connsiteY97" fmla="*/ 147638 h 1533525"/>
                <a:gd name="connsiteX98" fmla="*/ 1057275 w 1543050"/>
                <a:gd name="connsiteY98" fmla="*/ 264319 h 1533525"/>
                <a:gd name="connsiteX99" fmla="*/ 1062037 w 1543050"/>
                <a:gd name="connsiteY99" fmla="*/ 304800 h 1533525"/>
                <a:gd name="connsiteX100" fmla="*/ 995362 w 1543050"/>
                <a:gd name="connsiteY100" fmla="*/ 352425 h 1533525"/>
                <a:gd name="connsiteX101" fmla="*/ 973931 w 1543050"/>
                <a:gd name="connsiteY101" fmla="*/ 383381 h 1533525"/>
                <a:gd name="connsiteX102" fmla="*/ 1000125 w 1543050"/>
                <a:gd name="connsiteY102" fmla="*/ 428625 h 1533525"/>
                <a:gd name="connsiteX103" fmla="*/ 983456 w 1543050"/>
                <a:gd name="connsiteY103" fmla="*/ 466725 h 1533525"/>
                <a:gd name="connsiteX104" fmla="*/ 1000125 w 1543050"/>
                <a:gd name="connsiteY104" fmla="*/ 519113 h 1533525"/>
                <a:gd name="connsiteX105" fmla="*/ 1033462 w 1543050"/>
                <a:gd name="connsiteY105" fmla="*/ 519113 h 1533525"/>
                <a:gd name="connsiteX106" fmla="*/ 1019175 w 1543050"/>
                <a:gd name="connsiteY106" fmla="*/ 552450 h 1533525"/>
                <a:gd name="connsiteX107" fmla="*/ 1035843 w 1543050"/>
                <a:gd name="connsiteY107" fmla="*/ 590550 h 1533525"/>
                <a:gd name="connsiteX108" fmla="*/ 1035843 w 1543050"/>
                <a:gd name="connsiteY108" fmla="*/ 607219 h 1533525"/>
                <a:gd name="connsiteX109" fmla="*/ 1045368 w 1543050"/>
                <a:gd name="connsiteY109" fmla="*/ 645319 h 1533525"/>
                <a:gd name="connsiteX110" fmla="*/ 1064418 w 1543050"/>
                <a:gd name="connsiteY110" fmla="*/ 645319 h 1533525"/>
                <a:gd name="connsiteX111" fmla="*/ 1078706 w 1543050"/>
                <a:gd name="connsiteY111" fmla="*/ 666750 h 1533525"/>
                <a:gd name="connsiteX112" fmla="*/ 1085850 w 1543050"/>
                <a:gd name="connsiteY112" fmla="*/ 688181 h 1533525"/>
                <a:gd name="connsiteX113" fmla="*/ 1076325 w 1543050"/>
                <a:gd name="connsiteY113" fmla="*/ 719138 h 1533525"/>
                <a:gd name="connsiteX114" fmla="*/ 1021556 w 1543050"/>
                <a:gd name="connsiteY114" fmla="*/ 714375 h 1533525"/>
                <a:gd name="connsiteX115" fmla="*/ 1002506 w 1543050"/>
                <a:gd name="connsiteY115" fmla="*/ 721519 h 1533525"/>
                <a:gd name="connsiteX116" fmla="*/ 995362 w 1543050"/>
                <a:gd name="connsiteY116" fmla="*/ 726281 h 1533525"/>
                <a:gd name="connsiteX117" fmla="*/ 995362 w 1543050"/>
                <a:gd name="connsiteY117" fmla="*/ 726281 h 1533525"/>
                <a:gd name="connsiteX118" fmla="*/ 923925 w 1543050"/>
                <a:gd name="connsiteY118" fmla="*/ 721519 h 1533525"/>
                <a:gd name="connsiteX119" fmla="*/ 940593 w 1543050"/>
                <a:gd name="connsiteY119" fmla="*/ 778669 h 1533525"/>
                <a:gd name="connsiteX120" fmla="*/ 938212 w 1543050"/>
                <a:gd name="connsiteY120" fmla="*/ 847725 h 1533525"/>
                <a:gd name="connsiteX121" fmla="*/ 954881 w 1543050"/>
                <a:gd name="connsiteY121" fmla="*/ 871538 h 1533525"/>
                <a:gd name="connsiteX122" fmla="*/ 997743 w 1543050"/>
                <a:gd name="connsiteY122" fmla="*/ 919163 h 1533525"/>
                <a:gd name="connsiteX123" fmla="*/ 1012031 w 1543050"/>
                <a:gd name="connsiteY123" fmla="*/ 954881 h 1533525"/>
                <a:gd name="connsiteX124" fmla="*/ 1031081 w 1543050"/>
                <a:gd name="connsiteY124" fmla="*/ 954881 h 1533525"/>
                <a:gd name="connsiteX125" fmla="*/ 1071562 w 1543050"/>
                <a:gd name="connsiteY125" fmla="*/ 940594 h 1533525"/>
                <a:gd name="connsiteX126" fmla="*/ 1102518 w 1543050"/>
                <a:gd name="connsiteY126" fmla="*/ 933450 h 1533525"/>
                <a:gd name="connsiteX127" fmla="*/ 1159668 w 1543050"/>
                <a:gd name="connsiteY127" fmla="*/ 997744 h 1533525"/>
                <a:gd name="connsiteX128" fmla="*/ 1178718 w 1543050"/>
                <a:gd name="connsiteY128" fmla="*/ 1052513 h 1533525"/>
                <a:gd name="connsiteX129" fmla="*/ 1190625 w 1543050"/>
                <a:gd name="connsiteY129" fmla="*/ 1081088 h 1533525"/>
                <a:gd name="connsiteX130" fmla="*/ 1212056 w 1543050"/>
                <a:gd name="connsiteY130" fmla="*/ 1109663 h 1533525"/>
                <a:gd name="connsiteX131" fmla="*/ 1231106 w 1543050"/>
                <a:gd name="connsiteY131" fmla="*/ 1102519 h 1533525"/>
                <a:gd name="connsiteX132" fmla="*/ 1231106 w 1543050"/>
                <a:gd name="connsiteY132" fmla="*/ 1131094 h 1533525"/>
                <a:gd name="connsiteX133" fmla="*/ 1233487 w 1543050"/>
                <a:gd name="connsiteY133" fmla="*/ 1145381 h 1533525"/>
                <a:gd name="connsiteX134" fmla="*/ 1266825 w 1543050"/>
                <a:gd name="connsiteY134" fmla="*/ 1181100 h 1533525"/>
                <a:gd name="connsiteX135" fmla="*/ 1233487 w 1543050"/>
                <a:gd name="connsiteY135" fmla="*/ 1181100 h 1533525"/>
                <a:gd name="connsiteX136" fmla="*/ 1228725 w 1543050"/>
                <a:gd name="connsiteY136" fmla="*/ 1223963 h 1533525"/>
                <a:gd name="connsiteX137" fmla="*/ 1226343 w 1543050"/>
                <a:gd name="connsiteY137" fmla="*/ 1243013 h 1533525"/>
                <a:gd name="connsiteX138" fmla="*/ 1216818 w 1543050"/>
                <a:gd name="connsiteY138" fmla="*/ 1264444 h 1533525"/>
                <a:gd name="connsiteX139" fmla="*/ 1190625 w 1543050"/>
                <a:gd name="connsiteY139" fmla="*/ 1238250 h 1533525"/>
                <a:gd name="connsiteX140" fmla="*/ 1157287 w 1543050"/>
                <a:gd name="connsiteY140" fmla="*/ 1209675 h 1533525"/>
                <a:gd name="connsiteX141" fmla="*/ 1131093 w 1543050"/>
                <a:gd name="connsiteY141" fmla="*/ 1185863 h 1533525"/>
                <a:gd name="connsiteX142" fmla="*/ 1107281 w 1543050"/>
                <a:gd name="connsiteY142" fmla="*/ 1219200 h 1533525"/>
                <a:gd name="connsiteX143" fmla="*/ 1104900 w 1543050"/>
                <a:gd name="connsiteY143" fmla="*/ 1264444 h 1533525"/>
                <a:gd name="connsiteX144" fmla="*/ 1062037 w 1543050"/>
                <a:gd name="connsiteY144" fmla="*/ 1259681 h 1533525"/>
                <a:gd name="connsiteX145" fmla="*/ 1026318 w 1543050"/>
                <a:gd name="connsiteY145" fmla="*/ 1288256 h 1533525"/>
                <a:gd name="connsiteX146" fmla="*/ 1007268 w 1543050"/>
                <a:gd name="connsiteY146" fmla="*/ 1240631 h 1533525"/>
                <a:gd name="connsiteX147" fmla="*/ 947737 w 1543050"/>
                <a:gd name="connsiteY147" fmla="*/ 1231106 h 1533525"/>
                <a:gd name="connsiteX148" fmla="*/ 921543 w 1543050"/>
                <a:gd name="connsiteY148" fmla="*/ 1297781 h 1533525"/>
                <a:gd name="connsiteX149" fmla="*/ 885825 w 1543050"/>
                <a:gd name="connsiteY149" fmla="*/ 1278731 h 1533525"/>
                <a:gd name="connsiteX150" fmla="*/ 816768 w 1543050"/>
                <a:gd name="connsiteY150" fmla="*/ 1295400 h 1533525"/>
                <a:gd name="connsiteX151" fmla="*/ 757237 w 1543050"/>
                <a:gd name="connsiteY151" fmla="*/ 1259681 h 1533525"/>
                <a:gd name="connsiteX152" fmla="*/ 742950 w 1543050"/>
                <a:gd name="connsiteY152" fmla="*/ 1312069 h 1533525"/>
                <a:gd name="connsiteX153" fmla="*/ 704850 w 1543050"/>
                <a:gd name="connsiteY153" fmla="*/ 1345406 h 1533525"/>
                <a:gd name="connsiteX154" fmla="*/ 692943 w 1543050"/>
                <a:gd name="connsiteY154" fmla="*/ 1366838 h 1533525"/>
                <a:gd name="connsiteX155" fmla="*/ 671512 w 1543050"/>
                <a:gd name="connsiteY155" fmla="*/ 1509713 h 1533525"/>
                <a:gd name="connsiteX156" fmla="*/ 633412 w 1543050"/>
                <a:gd name="connsiteY156" fmla="*/ 1490663 h 1533525"/>
                <a:gd name="connsiteX157" fmla="*/ 614362 w 1543050"/>
                <a:gd name="connsiteY157" fmla="*/ 1504950 h 1533525"/>
                <a:gd name="connsiteX158" fmla="*/ 581025 w 1543050"/>
                <a:gd name="connsiteY158" fmla="*/ 1531144 h 1533525"/>
                <a:gd name="connsiteX159" fmla="*/ 523875 w 1543050"/>
                <a:gd name="connsiteY159" fmla="*/ 1502569 h 1533525"/>
                <a:gd name="connsiteX160" fmla="*/ 514350 w 1543050"/>
                <a:gd name="connsiteY160" fmla="*/ 1490663 h 1533525"/>
                <a:gd name="connsiteX161" fmla="*/ 483393 w 1543050"/>
                <a:gd name="connsiteY161" fmla="*/ 1533525 h 1533525"/>
                <a:gd name="connsiteX0" fmla="*/ 483393 w 1350168"/>
                <a:gd name="connsiteY0" fmla="*/ 1533525 h 1533525"/>
                <a:gd name="connsiteX1" fmla="*/ 459581 w 1350168"/>
                <a:gd name="connsiteY1" fmla="*/ 1481138 h 1533525"/>
                <a:gd name="connsiteX2" fmla="*/ 438150 w 1350168"/>
                <a:gd name="connsiteY2" fmla="*/ 1471613 h 1533525"/>
                <a:gd name="connsiteX3" fmla="*/ 400050 w 1350168"/>
                <a:gd name="connsiteY3" fmla="*/ 1485900 h 1533525"/>
                <a:gd name="connsiteX4" fmla="*/ 338137 w 1350168"/>
                <a:gd name="connsiteY4" fmla="*/ 1490663 h 1533525"/>
                <a:gd name="connsiteX5" fmla="*/ 330993 w 1350168"/>
                <a:gd name="connsiteY5" fmla="*/ 1497806 h 1533525"/>
                <a:gd name="connsiteX6" fmla="*/ 271462 w 1350168"/>
                <a:gd name="connsiteY6" fmla="*/ 1471613 h 1533525"/>
                <a:gd name="connsiteX7" fmla="*/ 219075 w 1350168"/>
                <a:gd name="connsiteY7" fmla="*/ 1443038 h 1533525"/>
                <a:gd name="connsiteX8" fmla="*/ 138112 w 1350168"/>
                <a:gd name="connsiteY8" fmla="*/ 1402556 h 1533525"/>
                <a:gd name="connsiteX9" fmla="*/ 95250 w 1350168"/>
                <a:gd name="connsiteY9" fmla="*/ 1316831 h 1533525"/>
                <a:gd name="connsiteX10" fmla="*/ 80962 w 1350168"/>
                <a:gd name="connsiteY10" fmla="*/ 1288256 h 1533525"/>
                <a:gd name="connsiteX11" fmla="*/ 104775 w 1350168"/>
                <a:gd name="connsiteY11" fmla="*/ 1266825 h 1533525"/>
                <a:gd name="connsiteX12" fmla="*/ 76200 w 1350168"/>
                <a:gd name="connsiteY12" fmla="*/ 1212056 h 1533525"/>
                <a:gd name="connsiteX13" fmla="*/ 109537 w 1350168"/>
                <a:gd name="connsiteY13" fmla="*/ 1193006 h 1533525"/>
                <a:gd name="connsiteX14" fmla="*/ 140493 w 1350168"/>
                <a:gd name="connsiteY14" fmla="*/ 1143000 h 1533525"/>
                <a:gd name="connsiteX15" fmla="*/ 123825 w 1350168"/>
                <a:gd name="connsiteY15" fmla="*/ 1107281 h 1533525"/>
                <a:gd name="connsiteX16" fmla="*/ 178593 w 1350168"/>
                <a:gd name="connsiteY16" fmla="*/ 1107281 h 1533525"/>
                <a:gd name="connsiteX17" fmla="*/ 192881 w 1350168"/>
                <a:gd name="connsiteY17" fmla="*/ 1109663 h 1533525"/>
                <a:gd name="connsiteX18" fmla="*/ 159543 w 1350168"/>
                <a:gd name="connsiteY18" fmla="*/ 1064419 h 1533525"/>
                <a:gd name="connsiteX19" fmla="*/ 169068 w 1350168"/>
                <a:gd name="connsiteY19" fmla="*/ 1014413 h 1533525"/>
                <a:gd name="connsiteX20" fmla="*/ 123825 w 1350168"/>
                <a:gd name="connsiteY20" fmla="*/ 997744 h 1533525"/>
                <a:gd name="connsiteX21" fmla="*/ 61912 w 1350168"/>
                <a:gd name="connsiteY21" fmla="*/ 954881 h 1533525"/>
                <a:gd name="connsiteX22" fmla="*/ 45243 w 1350168"/>
                <a:gd name="connsiteY22" fmla="*/ 938213 h 1533525"/>
                <a:gd name="connsiteX23" fmla="*/ 64293 w 1350168"/>
                <a:gd name="connsiteY23" fmla="*/ 909638 h 1533525"/>
                <a:gd name="connsiteX24" fmla="*/ 47625 w 1350168"/>
                <a:gd name="connsiteY24" fmla="*/ 897731 h 1533525"/>
                <a:gd name="connsiteX25" fmla="*/ 47625 w 1350168"/>
                <a:gd name="connsiteY25" fmla="*/ 881063 h 1533525"/>
                <a:gd name="connsiteX26" fmla="*/ 26193 w 1350168"/>
                <a:gd name="connsiteY26" fmla="*/ 881063 h 1533525"/>
                <a:gd name="connsiteX27" fmla="*/ 7143 w 1350168"/>
                <a:gd name="connsiteY27" fmla="*/ 847725 h 1533525"/>
                <a:gd name="connsiteX28" fmla="*/ 0 w 1350168"/>
                <a:gd name="connsiteY28" fmla="*/ 816769 h 1533525"/>
                <a:gd name="connsiteX29" fmla="*/ 54768 w 1350168"/>
                <a:gd name="connsiteY29" fmla="*/ 800100 h 1533525"/>
                <a:gd name="connsiteX30" fmla="*/ 76200 w 1350168"/>
                <a:gd name="connsiteY30" fmla="*/ 788194 h 1533525"/>
                <a:gd name="connsiteX31" fmla="*/ 128587 w 1350168"/>
                <a:gd name="connsiteY31" fmla="*/ 821531 h 1533525"/>
                <a:gd name="connsiteX32" fmla="*/ 126206 w 1350168"/>
                <a:gd name="connsiteY32" fmla="*/ 800100 h 1533525"/>
                <a:gd name="connsiteX33" fmla="*/ 164306 w 1350168"/>
                <a:gd name="connsiteY33" fmla="*/ 795338 h 1533525"/>
                <a:gd name="connsiteX34" fmla="*/ 173831 w 1350168"/>
                <a:gd name="connsiteY34" fmla="*/ 759619 h 1533525"/>
                <a:gd name="connsiteX35" fmla="*/ 235743 w 1350168"/>
                <a:gd name="connsiteY35" fmla="*/ 764381 h 1533525"/>
                <a:gd name="connsiteX36" fmla="*/ 235743 w 1350168"/>
                <a:gd name="connsiteY36" fmla="*/ 764381 h 1533525"/>
                <a:gd name="connsiteX37" fmla="*/ 245268 w 1350168"/>
                <a:gd name="connsiteY37" fmla="*/ 704850 h 1533525"/>
                <a:gd name="connsiteX38" fmla="*/ 276225 w 1350168"/>
                <a:gd name="connsiteY38" fmla="*/ 666750 h 1533525"/>
                <a:gd name="connsiteX39" fmla="*/ 292893 w 1350168"/>
                <a:gd name="connsiteY39" fmla="*/ 638175 h 1533525"/>
                <a:gd name="connsiteX40" fmla="*/ 245268 w 1350168"/>
                <a:gd name="connsiteY40" fmla="*/ 602456 h 1533525"/>
                <a:gd name="connsiteX41" fmla="*/ 264318 w 1350168"/>
                <a:gd name="connsiteY41" fmla="*/ 585788 h 1533525"/>
                <a:gd name="connsiteX42" fmla="*/ 311943 w 1350168"/>
                <a:gd name="connsiteY42" fmla="*/ 602456 h 1533525"/>
                <a:gd name="connsiteX43" fmla="*/ 369093 w 1350168"/>
                <a:gd name="connsiteY43" fmla="*/ 573881 h 1533525"/>
                <a:gd name="connsiteX44" fmla="*/ 457200 w 1350168"/>
                <a:gd name="connsiteY44" fmla="*/ 545306 h 1533525"/>
                <a:gd name="connsiteX45" fmla="*/ 538162 w 1350168"/>
                <a:gd name="connsiteY45" fmla="*/ 578644 h 1533525"/>
                <a:gd name="connsiteX46" fmla="*/ 614362 w 1350168"/>
                <a:gd name="connsiteY46" fmla="*/ 550069 h 1533525"/>
                <a:gd name="connsiteX47" fmla="*/ 650081 w 1350168"/>
                <a:gd name="connsiteY47" fmla="*/ 552450 h 1533525"/>
                <a:gd name="connsiteX48" fmla="*/ 654843 w 1350168"/>
                <a:gd name="connsiteY48" fmla="*/ 523875 h 1533525"/>
                <a:gd name="connsiteX49" fmla="*/ 654843 w 1350168"/>
                <a:gd name="connsiteY49" fmla="*/ 490538 h 1533525"/>
                <a:gd name="connsiteX50" fmla="*/ 669131 w 1350168"/>
                <a:gd name="connsiteY50" fmla="*/ 469106 h 1533525"/>
                <a:gd name="connsiteX51" fmla="*/ 652462 w 1350168"/>
                <a:gd name="connsiteY51" fmla="*/ 450056 h 1533525"/>
                <a:gd name="connsiteX52" fmla="*/ 642937 w 1350168"/>
                <a:gd name="connsiteY52" fmla="*/ 411956 h 1533525"/>
                <a:gd name="connsiteX53" fmla="*/ 642937 w 1350168"/>
                <a:gd name="connsiteY53" fmla="*/ 330994 h 1533525"/>
                <a:gd name="connsiteX54" fmla="*/ 633412 w 1350168"/>
                <a:gd name="connsiteY54" fmla="*/ 319088 h 1533525"/>
                <a:gd name="connsiteX55" fmla="*/ 664368 w 1350168"/>
                <a:gd name="connsiteY55" fmla="*/ 285750 h 1533525"/>
                <a:gd name="connsiteX56" fmla="*/ 721518 w 1350168"/>
                <a:gd name="connsiteY56" fmla="*/ 292894 h 1533525"/>
                <a:gd name="connsiteX57" fmla="*/ 733425 w 1350168"/>
                <a:gd name="connsiteY57" fmla="*/ 264319 h 1533525"/>
                <a:gd name="connsiteX58" fmla="*/ 731043 w 1350168"/>
                <a:gd name="connsiteY58" fmla="*/ 228600 h 1533525"/>
                <a:gd name="connsiteX59" fmla="*/ 790575 w 1350168"/>
                <a:gd name="connsiteY59" fmla="*/ 192881 h 1533525"/>
                <a:gd name="connsiteX60" fmla="*/ 804862 w 1350168"/>
                <a:gd name="connsiteY60" fmla="*/ 166688 h 1533525"/>
                <a:gd name="connsiteX61" fmla="*/ 778668 w 1350168"/>
                <a:gd name="connsiteY61" fmla="*/ 128588 h 1533525"/>
                <a:gd name="connsiteX62" fmla="*/ 771525 w 1350168"/>
                <a:gd name="connsiteY62" fmla="*/ 104775 h 1533525"/>
                <a:gd name="connsiteX63" fmla="*/ 823912 w 1350168"/>
                <a:gd name="connsiteY63" fmla="*/ 97631 h 1533525"/>
                <a:gd name="connsiteX64" fmla="*/ 869156 w 1350168"/>
                <a:gd name="connsiteY64" fmla="*/ 52388 h 1533525"/>
                <a:gd name="connsiteX65" fmla="*/ 890587 w 1350168"/>
                <a:gd name="connsiteY65" fmla="*/ 23813 h 1533525"/>
                <a:gd name="connsiteX66" fmla="*/ 923925 w 1350168"/>
                <a:gd name="connsiteY66" fmla="*/ 9525 h 1533525"/>
                <a:gd name="connsiteX67" fmla="*/ 971550 w 1350168"/>
                <a:gd name="connsiteY67" fmla="*/ 0 h 1533525"/>
                <a:gd name="connsiteX68" fmla="*/ 971550 w 1350168"/>
                <a:gd name="connsiteY68" fmla="*/ 40481 h 1533525"/>
                <a:gd name="connsiteX69" fmla="*/ 950118 w 1350168"/>
                <a:gd name="connsiteY69" fmla="*/ 80963 h 1533525"/>
                <a:gd name="connsiteX70" fmla="*/ 950118 w 1350168"/>
                <a:gd name="connsiteY70" fmla="*/ 140494 h 1533525"/>
                <a:gd name="connsiteX71" fmla="*/ 969168 w 1350168"/>
                <a:gd name="connsiteY71" fmla="*/ 161925 h 1533525"/>
                <a:gd name="connsiteX72" fmla="*/ 1007268 w 1350168"/>
                <a:gd name="connsiteY72" fmla="*/ 188119 h 1533525"/>
                <a:gd name="connsiteX73" fmla="*/ 1019175 w 1350168"/>
                <a:gd name="connsiteY73" fmla="*/ 216694 h 1533525"/>
                <a:gd name="connsiteX74" fmla="*/ 1004887 w 1350168"/>
                <a:gd name="connsiteY74" fmla="*/ 226219 h 1533525"/>
                <a:gd name="connsiteX75" fmla="*/ 1057275 w 1350168"/>
                <a:gd name="connsiteY75" fmla="*/ 250031 h 1533525"/>
                <a:gd name="connsiteX76" fmla="*/ 1073943 w 1350168"/>
                <a:gd name="connsiteY76" fmla="*/ 228600 h 1533525"/>
                <a:gd name="connsiteX77" fmla="*/ 1083468 w 1350168"/>
                <a:gd name="connsiteY77" fmla="*/ 252413 h 1533525"/>
                <a:gd name="connsiteX78" fmla="*/ 1116806 w 1350168"/>
                <a:gd name="connsiteY78" fmla="*/ 252413 h 1533525"/>
                <a:gd name="connsiteX79" fmla="*/ 1123950 w 1350168"/>
                <a:gd name="connsiteY79" fmla="*/ 257175 h 1533525"/>
                <a:gd name="connsiteX80" fmla="*/ 1116806 w 1350168"/>
                <a:gd name="connsiteY80" fmla="*/ 276225 h 1533525"/>
                <a:gd name="connsiteX81" fmla="*/ 1088231 w 1350168"/>
                <a:gd name="connsiteY81" fmla="*/ 309563 h 1533525"/>
                <a:gd name="connsiteX82" fmla="*/ 1123950 w 1350168"/>
                <a:gd name="connsiteY82" fmla="*/ 333375 h 1533525"/>
                <a:gd name="connsiteX83" fmla="*/ 1135856 w 1350168"/>
                <a:gd name="connsiteY83" fmla="*/ 347663 h 1533525"/>
                <a:gd name="connsiteX84" fmla="*/ 1135856 w 1350168"/>
                <a:gd name="connsiteY84" fmla="*/ 376238 h 1533525"/>
                <a:gd name="connsiteX85" fmla="*/ 1119187 w 1350168"/>
                <a:gd name="connsiteY85" fmla="*/ 411956 h 1533525"/>
                <a:gd name="connsiteX86" fmla="*/ 1162050 w 1350168"/>
                <a:gd name="connsiteY86" fmla="*/ 423863 h 1533525"/>
                <a:gd name="connsiteX87" fmla="*/ 1233487 w 1350168"/>
                <a:gd name="connsiteY87" fmla="*/ 416719 h 1533525"/>
                <a:gd name="connsiteX88" fmla="*/ 1223962 w 1350168"/>
                <a:gd name="connsiteY88" fmla="*/ 385763 h 1533525"/>
                <a:gd name="connsiteX89" fmla="*/ 1188243 w 1350168"/>
                <a:gd name="connsiteY89" fmla="*/ 347663 h 1533525"/>
                <a:gd name="connsiteX90" fmla="*/ 1181100 w 1350168"/>
                <a:gd name="connsiteY90" fmla="*/ 333375 h 1533525"/>
                <a:gd name="connsiteX91" fmla="*/ 1207293 w 1350168"/>
                <a:gd name="connsiteY91" fmla="*/ 326231 h 1533525"/>
                <a:gd name="connsiteX92" fmla="*/ 1200150 w 1350168"/>
                <a:gd name="connsiteY92" fmla="*/ 302419 h 1533525"/>
                <a:gd name="connsiteX93" fmla="*/ 1223962 w 1350168"/>
                <a:gd name="connsiteY93" fmla="*/ 283369 h 1533525"/>
                <a:gd name="connsiteX94" fmla="*/ 1250156 w 1350168"/>
                <a:gd name="connsiteY94" fmla="*/ 242888 h 1533525"/>
                <a:gd name="connsiteX95" fmla="*/ 1302543 w 1350168"/>
                <a:gd name="connsiteY95" fmla="*/ 211931 h 1533525"/>
                <a:gd name="connsiteX96" fmla="*/ 1350168 w 1350168"/>
                <a:gd name="connsiteY96" fmla="*/ 123825 h 1533525"/>
                <a:gd name="connsiteX97" fmla="*/ 1057275 w 1350168"/>
                <a:gd name="connsiteY97" fmla="*/ 264319 h 1533525"/>
                <a:gd name="connsiteX98" fmla="*/ 1062037 w 1350168"/>
                <a:gd name="connsiteY98" fmla="*/ 304800 h 1533525"/>
                <a:gd name="connsiteX99" fmla="*/ 995362 w 1350168"/>
                <a:gd name="connsiteY99" fmla="*/ 352425 h 1533525"/>
                <a:gd name="connsiteX100" fmla="*/ 973931 w 1350168"/>
                <a:gd name="connsiteY100" fmla="*/ 383381 h 1533525"/>
                <a:gd name="connsiteX101" fmla="*/ 1000125 w 1350168"/>
                <a:gd name="connsiteY101" fmla="*/ 428625 h 1533525"/>
                <a:gd name="connsiteX102" fmla="*/ 983456 w 1350168"/>
                <a:gd name="connsiteY102" fmla="*/ 466725 h 1533525"/>
                <a:gd name="connsiteX103" fmla="*/ 1000125 w 1350168"/>
                <a:gd name="connsiteY103" fmla="*/ 519113 h 1533525"/>
                <a:gd name="connsiteX104" fmla="*/ 1033462 w 1350168"/>
                <a:gd name="connsiteY104" fmla="*/ 519113 h 1533525"/>
                <a:gd name="connsiteX105" fmla="*/ 1019175 w 1350168"/>
                <a:gd name="connsiteY105" fmla="*/ 552450 h 1533525"/>
                <a:gd name="connsiteX106" fmla="*/ 1035843 w 1350168"/>
                <a:gd name="connsiteY106" fmla="*/ 590550 h 1533525"/>
                <a:gd name="connsiteX107" fmla="*/ 1035843 w 1350168"/>
                <a:gd name="connsiteY107" fmla="*/ 607219 h 1533525"/>
                <a:gd name="connsiteX108" fmla="*/ 1045368 w 1350168"/>
                <a:gd name="connsiteY108" fmla="*/ 645319 h 1533525"/>
                <a:gd name="connsiteX109" fmla="*/ 1064418 w 1350168"/>
                <a:gd name="connsiteY109" fmla="*/ 645319 h 1533525"/>
                <a:gd name="connsiteX110" fmla="*/ 1078706 w 1350168"/>
                <a:gd name="connsiteY110" fmla="*/ 666750 h 1533525"/>
                <a:gd name="connsiteX111" fmla="*/ 1085850 w 1350168"/>
                <a:gd name="connsiteY111" fmla="*/ 688181 h 1533525"/>
                <a:gd name="connsiteX112" fmla="*/ 1076325 w 1350168"/>
                <a:gd name="connsiteY112" fmla="*/ 719138 h 1533525"/>
                <a:gd name="connsiteX113" fmla="*/ 1021556 w 1350168"/>
                <a:gd name="connsiteY113" fmla="*/ 714375 h 1533525"/>
                <a:gd name="connsiteX114" fmla="*/ 1002506 w 1350168"/>
                <a:gd name="connsiteY114" fmla="*/ 721519 h 1533525"/>
                <a:gd name="connsiteX115" fmla="*/ 995362 w 1350168"/>
                <a:gd name="connsiteY115" fmla="*/ 726281 h 1533525"/>
                <a:gd name="connsiteX116" fmla="*/ 995362 w 1350168"/>
                <a:gd name="connsiteY116" fmla="*/ 726281 h 1533525"/>
                <a:gd name="connsiteX117" fmla="*/ 923925 w 1350168"/>
                <a:gd name="connsiteY117" fmla="*/ 721519 h 1533525"/>
                <a:gd name="connsiteX118" fmla="*/ 940593 w 1350168"/>
                <a:gd name="connsiteY118" fmla="*/ 778669 h 1533525"/>
                <a:gd name="connsiteX119" fmla="*/ 938212 w 1350168"/>
                <a:gd name="connsiteY119" fmla="*/ 847725 h 1533525"/>
                <a:gd name="connsiteX120" fmla="*/ 954881 w 1350168"/>
                <a:gd name="connsiteY120" fmla="*/ 871538 h 1533525"/>
                <a:gd name="connsiteX121" fmla="*/ 997743 w 1350168"/>
                <a:gd name="connsiteY121" fmla="*/ 919163 h 1533525"/>
                <a:gd name="connsiteX122" fmla="*/ 1012031 w 1350168"/>
                <a:gd name="connsiteY122" fmla="*/ 954881 h 1533525"/>
                <a:gd name="connsiteX123" fmla="*/ 1031081 w 1350168"/>
                <a:gd name="connsiteY123" fmla="*/ 954881 h 1533525"/>
                <a:gd name="connsiteX124" fmla="*/ 1071562 w 1350168"/>
                <a:gd name="connsiteY124" fmla="*/ 940594 h 1533525"/>
                <a:gd name="connsiteX125" fmla="*/ 1102518 w 1350168"/>
                <a:gd name="connsiteY125" fmla="*/ 933450 h 1533525"/>
                <a:gd name="connsiteX126" fmla="*/ 1159668 w 1350168"/>
                <a:gd name="connsiteY126" fmla="*/ 997744 h 1533525"/>
                <a:gd name="connsiteX127" fmla="*/ 1178718 w 1350168"/>
                <a:gd name="connsiteY127" fmla="*/ 1052513 h 1533525"/>
                <a:gd name="connsiteX128" fmla="*/ 1190625 w 1350168"/>
                <a:gd name="connsiteY128" fmla="*/ 1081088 h 1533525"/>
                <a:gd name="connsiteX129" fmla="*/ 1212056 w 1350168"/>
                <a:gd name="connsiteY129" fmla="*/ 1109663 h 1533525"/>
                <a:gd name="connsiteX130" fmla="*/ 1231106 w 1350168"/>
                <a:gd name="connsiteY130" fmla="*/ 1102519 h 1533525"/>
                <a:gd name="connsiteX131" fmla="*/ 1231106 w 1350168"/>
                <a:gd name="connsiteY131" fmla="*/ 1131094 h 1533525"/>
                <a:gd name="connsiteX132" fmla="*/ 1233487 w 1350168"/>
                <a:gd name="connsiteY132" fmla="*/ 1145381 h 1533525"/>
                <a:gd name="connsiteX133" fmla="*/ 1266825 w 1350168"/>
                <a:gd name="connsiteY133" fmla="*/ 1181100 h 1533525"/>
                <a:gd name="connsiteX134" fmla="*/ 1233487 w 1350168"/>
                <a:gd name="connsiteY134" fmla="*/ 1181100 h 1533525"/>
                <a:gd name="connsiteX135" fmla="*/ 1228725 w 1350168"/>
                <a:gd name="connsiteY135" fmla="*/ 1223963 h 1533525"/>
                <a:gd name="connsiteX136" fmla="*/ 1226343 w 1350168"/>
                <a:gd name="connsiteY136" fmla="*/ 1243013 h 1533525"/>
                <a:gd name="connsiteX137" fmla="*/ 1216818 w 1350168"/>
                <a:gd name="connsiteY137" fmla="*/ 1264444 h 1533525"/>
                <a:gd name="connsiteX138" fmla="*/ 1190625 w 1350168"/>
                <a:gd name="connsiteY138" fmla="*/ 1238250 h 1533525"/>
                <a:gd name="connsiteX139" fmla="*/ 1157287 w 1350168"/>
                <a:gd name="connsiteY139" fmla="*/ 1209675 h 1533525"/>
                <a:gd name="connsiteX140" fmla="*/ 1131093 w 1350168"/>
                <a:gd name="connsiteY140" fmla="*/ 1185863 h 1533525"/>
                <a:gd name="connsiteX141" fmla="*/ 1107281 w 1350168"/>
                <a:gd name="connsiteY141" fmla="*/ 1219200 h 1533525"/>
                <a:gd name="connsiteX142" fmla="*/ 1104900 w 1350168"/>
                <a:gd name="connsiteY142" fmla="*/ 1264444 h 1533525"/>
                <a:gd name="connsiteX143" fmla="*/ 1062037 w 1350168"/>
                <a:gd name="connsiteY143" fmla="*/ 1259681 h 1533525"/>
                <a:gd name="connsiteX144" fmla="*/ 1026318 w 1350168"/>
                <a:gd name="connsiteY144" fmla="*/ 1288256 h 1533525"/>
                <a:gd name="connsiteX145" fmla="*/ 1007268 w 1350168"/>
                <a:gd name="connsiteY145" fmla="*/ 1240631 h 1533525"/>
                <a:gd name="connsiteX146" fmla="*/ 947737 w 1350168"/>
                <a:gd name="connsiteY146" fmla="*/ 1231106 h 1533525"/>
                <a:gd name="connsiteX147" fmla="*/ 921543 w 1350168"/>
                <a:gd name="connsiteY147" fmla="*/ 1297781 h 1533525"/>
                <a:gd name="connsiteX148" fmla="*/ 885825 w 1350168"/>
                <a:gd name="connsiteY148" fmla="*/ 1278731 h 1533525"/>
                <a:gd name="connsiteX149" fmla="*/ 816768 w 1350168"/>
                <a:gd name="connsiteY149" fmla="*/ 1295400 h 1533525"/>
                <a:gd name="connsiteX150" fmla="*/ 757237 w 1350168"/>
                <a:gd name="connsiteY150" fmla="*/ 1259681 h 1533525"/>
                <a:gd name="connsiteX151" fmla="*/ 742950 w 1350168"/>
                <a:gd name="connsiteY151" fmla="*/ 1312069 h 1533525"/>
                <a:gd name="connsiteX152" fmla="*/ 704850 w 1350168"/>
                <a:gd name="connsiteY152" fmla="*/ 1345406 h 1533525"/>
                <a:gd name="connsiteX153" fmla="*/ 692943 w 1350168"/>
                <a:gd name="connsiteY153" fmla="*/ 1366838 h 1533525"/>
                <a:gd name="connsiteX154" fmla="*/ 671512 w 1350168"/>
                <a:gd name="connsiteY154" fmla="*/ 1509713 h 1533525"/>
                <a:gd name="connsiteX155" fmla="*/ 633412 w 1350168"/>
                <a:gd name="connsiteY155" fmla="*/ 1490663 h 1533525"/>
                <a:gd name="connsiteX156" fmla="*/ 614362 w 1350168"/>
                <a:gd name="connsiteY156" fmla="*/ 1504950 h 1533525"/>
                <a:gd name="connsiteX157" fmla="*/ 581025 w 1350168"/>
                <a:gd name="connsiteY157" fmla="*/ 1531144 h 1533525"/>
                <a:gd name="connsiteX158" fmla="*/ 523875 w 1350168"/>
                <a:gd name="connsiteY158" fmla="*/ 1502569 h 1533525"/>
                <a:gd name="connsiteX159" fmla="*/ 514350 w 1350168"/>
                <a:gd name="connsiteY159" fmla="*/ 1490663 h 1533525"/>
                <a:gd name="connsiteX160" fmla="*/ 483393 w 1350168"/>
                <a:gd name="connsiteY160" fmla="*/ 1533525 h 1533525"/>
                <a:gd name="connsiteX0" fmla="*/ 483393 w 1302543"/>
                <a:gd name="connsiteY0" fmla="*/ 1533525 h 1533525"/>
                <a:gd name="connsiteX1" fmla="*/ 459581 w 1302543"/>
                <a:gd name="connsiteY1" fmla="*/ 1481138 h 1533525"/>
                <a:gd name="connsiteX2" fmla="*/ 438150 w 1302543"/>
                <a:gd name="connsiteY2" fmla="*/ 1471613 h 1533525"/>
                <a:gd name="connsiteX3" fmla="*/ 400050 w 1302543"/>
                <a:gd name="connsiteY3" fmla="*/ 1485900 h 1533525"/>
                <a:gd name="connsiteX4" fmla="*/ 338137 w 1302543"/>
                <a:gd name="connsiteY4" fmla="*/ 1490663 h 1533525"/>
                <a:gd name="connsiteX5" fmla="*/ 330993 w 1302543"/>
                <a:gd name="connsiteY5" fmla="*/ 1497806 h 1533525"/>
                <a:gd name="connsiteX6" fmla="*/ 271462 w 1302543"/>
                <a:gd name="connsiteY6" fmla="*/ 1471613 h 1533525"/>
                <a:gd name="connsiteX7" fmla="*/ 219075 w 1302543"/>
                <a:gd name="connsiteY7" fmla="*/ 1443038 h 1533525"/>
                <a:gd name="connsiteX8" fmla="*/ 138112 w 1302543"/>
                <a:gd name="connsiteY8" fmla="*/ 1402556 h 1533525"/>
                <a:gd name="connsiteX9" fmla="*/ 95250 w 1302543"/>
                <a:gd name="connsiteY9" fmla="*/ 1316831 h 1533525"/>
                <a:gd name="connsiteX10" fmla="*/ 80962 w 1302543"/>
                <a:gd name="connsiteY10" fmla="*/ 1288256 h 1533525"/>
                <a:gd name="connsiteX11" fmla="*/ 104775 w 1302543"/>
                <a:gd name="connsiteY11" fmla="*/ 1266825 h 1533525"/>
                <a:gd name="connsiteX12" fmla="*/ 76200 w 1302543"/>
                <a:gd name="connsiteY12" fmla="*/ 1212056 h 1533525"/>
                <a:gd name="connsiteX13" fmla="*/ 109537 w 1302543"/>
                <a:gd name="connsiteY13" fmla="*/ 1193006 h 1533525"/>
                <a:gd name="connsiteX14" fmla="*/ 140493 w 1302543"/>
                <a:gd name="connsiteY14" fmla="*/ 1143000 h 1533525"/>
                <a:gd name="connsiteX15" fmla="*/ 123825 w 1302543"/>
                <a:gd name="connsiteY15" fmla="*/ 1107281 h 1533525"/>
                <a:gd name="connsiteX16" fmla="*/ 178593 w 1302543"/>
                <a:gd name="connsiteY16" fmla="*/ 1107281 h 1533525"/>
                <a:gd name="connsiteX17" fmla="*/ 192881 w 1302543"/>
                <a:gd name="connsiteY17" fmla="*/ 1109663 h 1533525"/>
                <a:gd name="connsiteX18" fmla="*/ 159543 w 1302543"/>
                <a:gd name="connsiteY18" fmla="*/ 1064419 h 1533525"/>
                <a:gd name="connsiteX19" fmla="*/ 169068 w 1302543"/>
                <a:gd name="connsiteY19" fmla="*/ 1014413 h 1533525"/>
                <a:gd name="connsiteX20" fmla="*/ 123825 w 1302543"/>
                <a:gd name="connsiteY20" fmla="*/ 997744 h 1533525"/>
                <a:gd name="connsiteX21" fmla="*/ 61912 w 1302543"/>
                <a:gd name="connsiteY21" fmla="*/ 954881 h 1533525"/>
                <a:gd name="connsiteX22" fmla="*/ 45243 w 1302543"/>
                <a:gd name="connsiteY22" fmla="*/ 938213 h 1533525"/>
                <a:gd name="connsiteX23" fmla="*/ 64293 w 1302543"/>
                <a:gd name="connsiteY23" fmla="*/ 909638 h 1533525"/>
                <a:gd name="connsiteX24" fmla="*/ 47625 w 1302543"/>
                <a:gd name="connsiteY24" fmla="*/ 897731 h 1533525"/>
                <a:gd name="connsiteX25" fmla="*/ 47625 w 1302543"/>
                <a:gd name="connsiteY25" fmla="*/ 881063 h 1533525"/>
                <a:gd name="connsiteX26" fmla="*/ 26193 w 1302543"/>
                <a:gd name="connsiteY26" fmla="*/ 881063 h 1533525"/>
                <a:gd name="connsiteX27" fmla="*/ 7143 w 1302543"/>
                <a:gd name="connsiteY27" fmla="*/ 847725 h 1533525"/>
                <a:gd name="connsiteX28" fmla="*/ 0 w 1302543"/>
                <a:gd name="connsiteY28" fmla="*/ 816769 h 1533525"/>
                <a:gd name="connsiteX29" fmla="*/ 54768 w 1302543"/>
                <a:gd name="connsiteY29" fmla="*/ 800100 h 1533525"/>
                <a:gd name="connsiteX30" fmla="*/ 76200 w 1302543"/>
                <a:gd name="connsiteY30" fmla="*/ 788194 h 1533525"/>
                <a:gd name="connsiteX31" fmla="*/ 128587 w 1302543"/>
                <a:gd name="connsiteY31" fmla="*/ 821531 h 1533525"/>
                <a:gd name="connsiteX32" fmla="*/ 126206 w 1302543"/>
                <a:gd name="connsiteY32" fmla="*/ 800100 h 1533525"/>
                <a:gd name="connsiteX33" fmla="*/ 164306 w 1302543"/>
                <a:gd name="connsiteY33" fmla="*/ 795338 h 1533525"/>
                <a:gd name="connsiteX34" fmla="*/ 173831 w 1302543"/>
                <a:gd name="connsiteY34" fmla="*/ 759619 h 1533525"/>
                <a:gd name="connsiteX35" fmla="*/ 235743 w 1302543"/>
                <a:gd name="connsiteY35" fmla="*/ 764381 h 1533525"/>
                <a:gd name="connsiteX36" fmla="*/ 235743 w 1302543"/>
                <a:gd name="connsiteY36" fmla="*/ 764381 h 1533525"/>
                <a:gd name="connsiteX37" fmla="*/ 245268 w 1302543"/>
                <a:gd name="connsiteY37" fmla="*/ 704850 h 1533525"/>
                <a:gd name="connsiteX38" fmla="*/ 276225 w 1302543"/>
                <a:gd name="connsiteY38" fmla="*/ 666750 h 1533525"/>
                <a:gd name="connsiteX39" fmla="*/ 292893 w 1302543"/>
                <a:gd name="connsiteY39" fmla="*/ 638175 h 1533525"/>
                <a:gd name="connsiteX40" fmla="*/ 245268 w 1302543"/>
                <a:gd name="connsiteY40" fmla="*/ 602456 h 1533525"/>
                <a:gd name="connsiteX41" fmla="*/ 264318 w 1302543"/>
                <a:gd name="connsiteY41" fmla="*/ 585788 h 1533525"/>
                <a:gd name="connsiteX42" fmla="*/ 311943 w 1302543"/>
                <a:gd name="connsiteY42" fmla="*/ 602456 h 1533525"/>
                <a:gd name="connsiteX43" fmla="*/ 369093 w 1302543"/>
                <a:gd name="connsiteY43" fmla="*/ 573881 h 1533525"/>
                <a:gd name="connsiteX44" fmla="*/ 457200 w 1302543"/>
                <a:gd name="connsiteY44" fmla="*/ 545306 h 1533525"/>
                <a:gd name="connsiteX45" fmla="*/ 538162 w 1302543"/>
                <a:gd name="connsiteY45" fmla="*/ 578644 h 1533525"/>
                <a:gd name="connsiteX46" fmla="*/ 614362 w 1302543"/>
                <a:gd name="connsiteY46" fmla="*/ 550069 h 1533525"/>
                <a:gd name="connsiteX47" fmla="*/ 650081 w 1302543"/>
                <a:gd name="connsiteY47" fmla="*/ 552450 h 1533525"/>
                <a:gd name="connsiteX48" fmla="*/ 654843 w 1302543"/>
                <a:gd name="connsiteY48" fmla="*/ 523875 h 1533525"/>
                <a:gd name="connsiteX49" fmla="*/ 654843 w 1302543"/>
                <a:gd name="connsiteY49" fmla="*/ 490538 h 1533525"/>
                <a:gd name="connsiteX50" fmla="*/ 669131 w 1302543"/>
                <a:gd name="connsiteY50" fmla="*/ 469106 h 1533525"/>
                <a:gd name="connsiteX51" fmla="*/ 652462 w 1302543"/>
                <a:gd name="connsiteY51" fmla="*/ 450056 h 1533525"/>
                <a:gd name="connsiteX52" fmla="*/ 642937 w 1302543"/>
                <a:gd name="connsiteY52" fmla="*/ 411956 h 1533525"/>
                <a:gd name="connsiteX53" fmla="*/ 642937 w 1302543"/>
                <a:gd name="connsiteY53" fmla="*/ 330994 h 1533525"/>
                <a:gd name="connsiteX54" fmla="*/ 633412 w 1302543"/>
                <a:gd name="connsiteY54" fmla="*/ 319088 h 1533525"/>
                <a:gd name="connsiteX55" fmla="*/ 664368 w 1302543"/>
                <a:gd name="connsiteY55" fmla="*/ 285750 h 1533525"/>
                <a:gd name="connsiteX56" fmla="*/ 721518 w 1302543"/>
                <a:gd name="connsiteY56" fmla="*/ 292894 h 1533525"/>
                <a:gd name="connsiteX57" fmla="*/ 733425 w 1302543"/>
                <a:gd name="connsiteY57" fmla="*/ 264319 h 1533525"/>
                <a:gd name="connsiteX58" fmla="*/ 731043 w 1302543"/>
                <a:gd name="connsiteY58" fmla="*/ 228600 h 1533525"/>
                <a:gd name="connsiteX59" fmla="*/ 790575 w 1302543"/>
                <a:gd name="connsiteY59" fmla="*/ 192881 h 1533525"/>
                <a:gd name="connsiteX60" fmla="*/ 804862 w 1302543"/>
                <a:gd name="connsiteY60" fmla="*/ 166688 h 1533525"/>
                <a:gd name="connsiteX61" fmla="*/ 778668 w 1302543"/>
                <a:gd name="connsiteY61" fmla="*/ 128588 h 1533525"/>
                <a:gd name="connsiteX62" fmla="*/ 771525 w 1302543"/>
                <a:gd name="connsiteY62" fmla="*/ 104775 h 1533525"/>
                <a:gd name="connsiteX63" fmla="*/ 823912 w 1302543"/>
                <a:gd name="connsiteY63" fmla="*/ 97631 h 1533525"/>
                <a:gd name="connsiteX64" fmla="*/ 869156 w 1302543"/>
                <a:gd name="connsiteY64" fmla="*/ 52388 h 1533525"/>
                <a:gd name="connsiteX65" fmla="*/ 890587 w 1302543"/>
                <a:gd name="connsiteY65" fmla="*/ 23813 h 1533525"/>
                <a:gd name="connsiteX66" fmla="*/ 923925 w 1302543"/>
                <a:gd name="connsiteY66" fmla="*/ 9525 h 1533525"/>
                <a:gd name="connsiteX67" fmla="*/ 971550 w 1302543"/>
                <a:gd name="connsiteY67" fmla="*/ 0 h 1533525"/>
                <a:gd name="connsiteX68" fmla="*/ 971550 w 1302543"/>
                <a:gd name="connsiteY68" fmla="*/ 40481 h 1533525"/>
                <a:gd name="connsiteX69" fmla="*/ 950118 w 1302543"/>
                <a:gd name="connsiteY69" fmla="*/ 80963 h 1533525"/>
                <a:gd name="connsiteX70" fmla="*/ 950118 w 1302543"/>
                <a:gd name="connsiteY70" fmla="*/ 140494 h 1533525"/>
                <a:gd name="connsiteX71" fmla="*/ 969168 w 1302543"/>
                <a:gd name="connsiteY71" fmla="*/ 161925 h 1533525"/>
                <a:gd name="connsiteX72" fmla="*/ 1007268 w 1302543"/>
                <a:gd name="connsiteY72" fmla="*/ 188119 h 1533525"/>
                <a:gd name="connsiteX73" fmla="*/ 1019175 w 1302543"/>
                <a:gd name="connsiteY73" fmla="*/ 216694 h 1533525"/>
                <a:gd name="connsiteX74" fmla="*/ 1004887 w 1302543"/>
                <a:gd name="connsiteY74" fmla="*/ 226219 h 1533525"/>
                <a:gd name="connsiteX75" fmla="*/ 1057275 w 1302543"/>
                <a:gd name="connsiteY75" fmla="*/ 250031 h 1533525"/>
                <a:gd name="connsiteX76" fmla="*/ 1073943 w 1302543"/>
                <a:gd name="connsiteY76" fmla="*/ 228600 h 1533525"/>
                <a:gd name="connsiteX77" fmla="*/ 1083468 w 1302543"/>
                <a:gd name="connsiteY77" fmla="*/ 252413 h 1533525"/>
                <a:gd name="connsiteX78" fmla="*/ 1116806 w 1302543"/>
                <a:gd name="connsiteY78" fmla="*/ 252413 h 1533525"/>
                <a:gd name="connsiteX79" fmla="*/ 1123950 w 1302543"/>
                <a:gd name="connsiteY79" fmla="*/ 257175 h 1533525"/>
                <a:gd name="connsiteX80" fmla="*/ 1116806 w 1302543"/>
                <a:gd name="connsiteY80" fmla="*/ 276225 h 1533525"/>
                <a:gd name="connsiteX81" fmla="*/ 1088231 w 1302543"/>
                <a:gd name="connsiteY81" fmla="*/ 309563 h 1533525"/>
                <a:gd name="connsiteX82" fmla="*/ 1123950 w 1302543"/>
                <a:gd name="connsiteY82" fmla="*/ 333375 h 1533525"/>
                <a:gd name="connsiteX83" fmla="*/ 1135856 w 1302543"/>
                <a:gd name="connsiteY83" fmla="*/ 347663 h 1533525"/>
                <a:gd name="connsiteX84" fmla="*/ 1135856 w 1302543"/>
                <a:gd name="connsiteY84" fmla="*/ 376238 h 1533525"/>
                <a:gd name="connsiteX85" fmla="*/ 1119187 w 1302543"/>
                <a:gd name="connsiteY85" fmla="*/ 411956 h 1533525"/>
                <a:gd name="connsiteX86" fmla="*/ 1162050 w 1302543"/>
                <a:gd name="connsiteY86" fmla="*/ 423863 h 1533525"/>
                <a:gd name="connsiteX87" fmla="*/ 1233487 w 1302543"/>
                <a:gd name="connsiteY87" fmla="*/ 416719 h 1533525"/>
                <a:gd name="connsiteX88" fmla="*/ 1223962 w 1302543"/>
                <a:gd name="connsiteY88" fmla="*/ 385763 h 1533525"/>
                <a:gd name="connsiteX89" fmla="*/ 1188243 w 1302543"/>
                <a:gd name="connsiteY89" fmla="*/ 347663 h 1533525"/>
                <a:gd name="connsiteX90" fmla="*/ 1181100 w 1302543"/>
                <a:gd name="connsiteY90" fmla="*/ 333375 h 1533525"/>
                <a:gd name="connsiteX91" fmla="*/ 1207293 w 1302543"/>
                <a:gd name="connsiteY91" fmla="*/ 326231 h 1533525"/>
                <a:gd name="connsiteX92" fmla="*/ 1200150 w 1302543"/>
                <a:gd name="connsiteY92" fmla="*/ 302419 h 1533525"/>
                <a:gd name="connsiteX93" fmla="*/ 1223962 w 1302543"/>
                <a:gd name="connsiteY93" fmla="*/ 283369 h 1533525"/>
                <a:gd name="connsiteX94" fmla="*/ 1250156 w 1302543"/>
                <a:gd name="connsiteY94" fmla="*/ 242888 h 1533525"/>
                <a:gd name="connsiteX95" fmla="*/ 1302543 w 1302543"/>
                <a:gd name="connsiteY95" fmla="*/ 211931 h 1533525"/>
                <a:gd name="connsiteX96" fmla="*/ 1057275 w 1302543"/>
                <a:gd name="connsiteY96" fmla="*/ 264319 h 1533525"/>
                <a:gd name="connsiteX97" fmla="*/ 1062037 w 1302543"/>
                <a:gd name="connsiteY97" fmla="*/ 304800 h 1533525"/>
                <a:gd name="connsiteX98" fmla="*/ 995362 w 1302543"/>
                <a:gd name="connsiteY98" fmla="*/ 352425 h 1533525"/>
                <a:gd name="connsiteX99" fmla="*/ 973931 w 1302543"/>
                <a:gd name="connsiteY99" fmla="*/ 383381 h 1533525"/>
                <a:gd name="connsiteX100" fmla="*/ 1000125 w 1302543"/>
                <a:gd name="connsiteY100" fmla="*/ 428625 h 1533525"/>
                <a:gd name="connsiteX101" fmla="*/ 983456 w 1302543"/>
                <a:gd name="connsiteY101" fmla="*/ 466725 h 1533525"/>
                <a:gd name="connsiteX102" fmla="*/ 1000125 w 1302543"/>
                <a:gd name="connsiteY102" fmla="*/ 519113 h 1533525"/>
                <a:gd name="connsiteX103" fmla="*/ 1033462 w 1302543"/>
                <a:gd name="connsiteY103" fmla="*/ 519113 h 1533525"/>
                <a:gd name="connsiteX104" fmla="*/ 1019175 w 1302543"/>
                <a:gd name="connsiteY104" fmla="*/ 552450 h 1533525"/>
                <a:gd name="connsiteX105" fmla="*/ 1035843 w 1302543"/>
                <a:gd name="connsiteY105" fmla="*/ 590550 h 1533525"/>
                <a:gd name="connsiteX106" fmla="*/ 1035843 w 1302543"/>
                <a:gd name="connsiteY106" fmla="*/ 607219 h 1533525"/>
                <a:gd name="connsiteX107" fmla="*/ 1045368 w 1302543"/>
                <a:gd name="connsiteY107" fmla="*/ 645319 h 1533525"/>
                <a:gd name="connsiteX108" fmla="*/ 1064418 w 1302543"/>
                <a:gd name="connsiteY108" fmla="*/ 645319 h 1533525"/>
                <a:gd name="connsiteX109" fmla="*/ 1078706 w 1302543"/>
                <a:gd name="connsiteY109" fmla="*/ 666750 h 1533525"/>
                <a:gd name="connsiteX110" fmla="*/ 1085850 w 1302543"/>
                <a:gd name="connsiteY110" fmla="*/ 688181 h 1533525"/>
                <a:gd name="connsiteX111" fmla="*/ 1076325 w 1302543"/>
                <a:gd name="connsiteY111" fmla="*/ 719138 h 1533525"/>
                <a:gd name="connsiteX112" fmla="*/ 1021556 w 1302543"/>
                <a:gd name="connsiteY112" fmla="*/ 714375 h 1533525"/>
                <a:gd name="connsiteX113" fmla="*/ 1002506 w 1302543"/>
                <a:gd name="connsiteY113" fmla="*/ 721519 h 1533525"/>
                <a:gd name="connsiteX114" fmla="*/ 995362 w 1302543"/>
                <a:gd name="connsiteY114" fmla="*/ 726281 h 1533525"/>
                <a:gd name="connsiteX115" fmla="*/ 995362 w 1302543"/>
                <a:gd name="connsiteY115" fmla="*/ 726281 h 1533525"/>
                <a:gd name="connsiteX116" fmla="*/ 923925 w 1302543"/>
                <a:gd name="connsiteY116" fmla="*/ 721519 h 1533525"/>
                <a:gd name="connsiteX117" fmla="*/ 940593 w 1302543"/>
                <a:gd name="connsiteY117" fmla="*/ 778669 h 1533525"/>
                <a:gd name="connsiteX118" fmla="*/ 938212 w 1302543"/>
                <a:gd name="connsiteY118" fmla="*/ 847725 h 1533525"/>
                <a:gd name="connsiteX119" fmla="*/ 954881 w 1302543"/>
                <a:gd name="connsiteY119" fmla="*/ 871538 h 1533525"/>
                <a:gd name="connsiteX120" fmla="*/ 997743 w 1302543"/>
                <a:gd name="connsiteY120" fmla="*/ 919163 h 1533525"/>
                <a:gd name="connsiteX121" fmla="*/ 1012031 w 1302543"/>
                <a:gd name="connsiteY121" fmla="*/ 954881 h 1533525"/>
                <a:gd name="connsiteX122" fmla="*/ 1031081 w 1302543"/>
                <a:gd name="connsiteY122" fmla="*/ 954881 h 1533525"/>
                <a:gd name="connsiteX123" fmla="*/ 1071562 w 1302543"/>
                <a:gd name="connsiteY123" fmla="*/ 940594 h 1533525"/>
                <a:gd name="connsiteX124" fmla="*/ 1102518 w 1302543"/>
                <a:gd name="connsiteY124" fmla="*/ 933450 h 1533525"/>
                <a:gd name="connsiteX125" fmla="*/ 1159668 w 1302543"/>
                <a:gd name="connsiteY125" fmla="*/ 997744 h 1533525"/>
                <a:gd name="connsiteX126" fmla="*/ 1178718 w 1302543"/>
                <a:gd name="connsiteY126" fmla="*/ 1052513 h 1533525"/>
                <a:gd name="connsiteX127" fmla="*/ 1190625 w 1302543"/>
                <a:gd name="connsiteY127" fmla="*/ 1081088 h 1533525"/>
                <a:gd name="connsiteX128" fmla="*/ 1212056 w 1302543"/>
                <a:gd name="connsiteY128" fmla="*/ 1109663 h 1533525"/>
                <a:gd name="connsiteX129" fmla="*/ 1231106 w 1302543"/>
                <a:gd name="connsiteY129" fmla="*/ 1102519 h 1533525"/>
                <a:gd name="connsiteX130" fmla="*/ 1231106 w 1302543"/>
                <a:gd name="connsiteY130" fmla="*/ 1131094 h 1533525"/>
                <a:gd name="connsiteX131" fmla="*/ 1233487 w 1302543"/>
                <a:gd name="connsiteY131" fmla="*/ 1145381 h 1533525"/>
                <a:gd name="connsiteX132" fmla="*/ 1266825 w 1302543"/>
                <a:gd name="connsiteY132" fmla="*/ 1181100 h 1533525"/>
                <a:gd name="connsiteX133" fmla="*/ 1233487 w 1302543"/>
                <a:gd name="connsiteY133" fmla="*/ 1181100 h 1533525"/>
                <a:gd name="connsiteX134" fmla="*/ 1228725 w 1302543"/>
                <a:gd name="connsiteY134" fmla="*/ 1223963 h 1533525"/>
                <a:gd name="connsiteX135" fmla="*/ 1226343 w 1302543"/>
                <a:gd name="connsiteY135" fmla="*/ 1243013 h 1533525"/>
                <a:gd name="connsiteX136" fmla="*/ 1216818 w 1302543"/>
                <a:gd name="connsiteY136" fmla="*/ 1264444 h 1533525"/>
                <a:gd name="connsiteX137" fmla="*/ 1190625 w 1302543"/>
                <a:gd name="connsiteY137" fmla="*/ 1238250 h 1533525"/>
                <a:gd name="connsiteX138" fmla="*/ 1157287 w 1302543"/>
                <a:gd name="connsiteY138" fmla="*/ 1209675 h 1533525"/>
                <a:gd name="connsiteX139" fmla="*/ 1131093 w 1302543"/>
                <a:gd name="connsiteY139" fmla="*/ 1185863 h 1533525"/>
                <a:gd name="connsiteX140" fmla="*/ 1107281 w 1302543"/>
                <a:gd name="connsiteY140" fmla="*/ 1219200 h 1533525"/>
                <a:gd name="connsiteX141" fmla="*/ 1104900 w 1302543"/>
                <a:gd name="connsiteY141" fmla="*/ 1264444 h 1533525"/>
                <a:gd name="connsiteX142" fmla="*/ 1062037 w 1302543"/>
                <a:gd name="connsiteY142" fmla="*/ 1259681 h 1533525"/>
                <a:gd name="connsiteX143" fmla="*/ 1026318 w 1302543"/>
                <a:gd name="connsiteY143" fmla="*/ 1288256 h 1533525"/>
                <a:gd name="connsiteX144" fmla="*/ 1007268 w 1302543"/>
                <a:gd name="connsiteY144" fmla="*/ 1240631 h 1533525"/>
                <a:gd name="connsiteX145" fmla="*/ 947737 w 1302543"/>
                <a:gd name="connsiteY145" fmla="*/ 1231106 h 1533525"/>
                <a:gd name="connsiteX146" fmla="*/ 921543 w 1302543"/>
                <a:gd name="connsiteY146" fmla="*/ 1297781 h 1533525"/>
                <a:gd name="connsiteX147" fmla="*/ 885825 w 1302543"/>
                <a:gd name="connsiteY147" fmla="*/ 1278731 h 1533525"/>
                <a:gd name="connsiteX148" fmla="*/ 816768 w 1302543"/>
                <a:gd name="connsiteY148" fmla="*/ 1295400 h 1533525"/>
                <a:gd name="connsiteX149" fmla="*/ 757237 w 1302543"/>
                <a:gd name="connsiteY149" fmla="*/ 1259681 h 1533525"/>
                <a:gd name="connsiteX150" fmla="*/ 742950 w 1302543"/>
                <a:gd name="connsiteY150" fmla="*/ 1312069 h 1533525"/>
                <a:gd name="connsiteX151" fmla="*/ 704850 w 1302543"/>
                <a:gd name="connsiteY151" fmla="*/ 1345406 h 1533525"/>
                <a:gd name="connsiteX152" fmla="*/ 692943 w 1302543"/>
                <a:gd name="connsiteY152" fmla="*/ 1366838 h 1533525"/>
                <a:gd name="connsiteX153" fmla="*/ 671512 w 1302543"/>
                <a:gd name="connsiteY153" fmla="*/ 1509713 h 1533525"/>
                <a:gd name="connsiteX154" fmla="*/ 633412 w 1302543"/>
                <a:gd name="connsiteY154" fmla="*/ 1490663 h 1533525"/>
                <a:gd name="connsiteX155" fmla="*/ 614362 w 1302543"/>
                <a:gd name="connsiteY155" fmla="*/ 1504950 h 1533525"/>
                <a:gd name="connsiteX156" fmla="*/ 581025 w 1302543"/>
                <a:gd name="connsiteY156" fmla="*/ 1531144 h 1533525"/>
                <a:gd name="connsiteX157" fmla="*/ 523875 w 1302543"/>
                <a:gd name="connsiteY157" fmla="*/ 1502569 h 1533525"/>
                <a:gd name="connsiteX158" fmla="*/ 514350 w 1302543"/>
                <a:gd name="connsiteY158" fmla="*/ 1490663 h 1533525"/>
                <a:gd name="connsiteX159" fmla="*/ 483393 w 1302543"/>
                <a:gd name="connsiteY159" fmla="*/ 1533525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250156 w 1393983"/>
                <a:gd name="connsiteY157" fmla="*/ 242888 h 1533525"/>
                <a:gd name="connsiteX158" fmla="*/ 1393983 w 1393983"/>
                <a:gd name="connsiteY158" fmla="*/ 303371 h 1533525"/>
                <a:gd name="connsiteX0" fmla="*/ 1057275 w 1393983"/>
                <a:gd name="connsiteY0" fmla="*/ 264319 h 1533525"/>
                <a:gd name="connsiteX1" fmla="*/ 1062037 w 1393983"/>
                <a:gd name="connsiteY1" fmla="*/ 304800 h 1533525"/>
                <a:gd name="connsiteX2" fmla="*/ 995362 w 1393983"/>
                <a:gd name="connsiteY2" fmla="*/ 352425 h 1533525"/>
                <a:gd name="connsiteX3" fmla="*/ 973931 w 1393983"/>
                <a:gd name="connsiteY3" fmla="*/ 383381 h 1533525"/>
                <a:gd name="connsiteX4" fmla="*/ 1000125 w 1393983"/>
                <a:gd name="connsiteY4" fmla="*/ 428625 h 1533525"/>
                <a:gd name="connsiteX5" fmla="*/ 983456 w 1393983"/>
                <a:gd name="connsiteY5" fmla="*/ 466725 h 1533525"/>
                <a:gd name="connsiteX6" fmla="*/ 1000125 w 1393983"/>
                <a:gd name="connsiteY6" fmla="*/ 519113 h 1533525"/>
                <a:gd name="connsiteX7" fmla="*/ 1033462 w 1393983"/>
                <a:gd name="connsiteY7" fmla="*/ 519113 h 1533525"/>
                <a:gd name="connsiteX8" fmla="*/ 1019175 w 1393983"/>
                <a:gd name="connsiteY8" fmla="*/ 552450 h 1533525"/>
                <a:gd name="connsiteX9" fmla="*/ 1035843 w 1393983"/>
                <a:gd name="connsiteY9" fmla="*/ 590550 h 1533525"/>
                <a:gd name="connsiteX10" fmla="*/ 1035843 w 1393983"/>
                <a:gd name="connsiteY10" fmla="*/ 607219 h 1533525"/>
                <a:gd name="connsiteX11" fmla="*/ 1045368 w 1393983"/>
                <a:gd name="connsiteY11" fmla="*/ 645319 h 1533525"/>
                <a:gd name="connsiteX12" fmla="*/ 1064418 w 1393983"/>
                <a:gd name="connsiteY12" fmla="*/ 645319 h 1533525"/>
                <a:gd name="connsiteX13" fmla="*/ 1078706 w 1393983"/>
                <a:gd name="connsiteY13" fmla="*/ 666750 h 1533525"/>
                <a:gd name="connsiteX14" fmla="*/ 1085850 w 1393983"/>
                <a:gd name="connsiteY14" fmla="*/ 688181 h 1533525"/>
                <a:gd name="connsiteX15" fmla="*/ 1076325 w 1393983"/>
                <a:gd name="connsiteY15" fmla="*/ 719138 h 1533525"/>
                <a:gd name="connsiteX16" fmla="*/ 1021556 w 1393983"/>
                <a:gd name="connsiteY16" fmla="*/ 714375 h 1533525"/>
                <a:gd name="connsiteX17" fmla="*/ 1002506 w 1393983"/>
                <a:gd name="connsiteY17" fmla="*/ 721519 h 1533525"/>
                <a:gd name="connsiteX18" fmla="*/ 995362 w 1393983"/>
                <a:gd name="connsiteY18" fmla="*/ 726281 h 1533525"/>
                <a:gd name="connsiteX19" fmla="*/ 995362 w 1393983"/>
                <a:gd name="connsiteY19" fmla="*/ 726281 h 1533525"/>
                <a:gd name="connsiteX20" fmla="*/ 923925 w 1393983"/>
                <a:gd name="connsiteY20" fmla="*/ 721519 h 1533525"/>
                <a:gd name="connsiteX21" fmla="*/ 940593 w 1393983"/>
                <a:gd name="connsiteY21" fmla="*/ 778669 h 1533525"/>
                <a:gd name="connsiteX22" fmla="*/ 938212 w 1393983"/>
                <a:gd name="connsiteY22" fmla="*/ 847725 h 1533525"/>
                <a:gd name="connsiteX23" fmla="*/ 954881 w 1393983"/>
                <a:gd name="connsiteY23" fmla="*/ 871538 h 1533525"/>
                <a:gd name="connsiteX24" fmla="*/ 997743 w 1393983"/>
                <a:gd name="connsiteY24" fmla="*/ 919163 h 1533525"/>
                <a:gd name="connsiteX25" fmla="*/ 1012031 w 1393983"/>
                <a:gd name="connsiteY25" fmla="*/ 954881 h 1533525"/>
                <a:gd name="connsiteX26" fmla="*/ 1031081 w 1393983"/>
                <a:gd name="connsiteY26" fmla="*/ 954881 h 1533525"/>
                <a:gd name="connsiteX27" fmla="*/ 1071562 w 1393983"/>
                <a:gd name="connsiteY27" fmla="*/ 940594 h 1533525"/>
                <a:gd name="connsiteX28" fmla="*/ 1102518 w 1393983"/>
                <a:gd name="connsiteY28" fmla="*/ 933450 h 1533525"/>
                <a:gd name="connsiteX29" fmla="*/ 1159668 w 1393983"/>
                <a:gd name="connsiteY29" fmla="*/ 997744 h 1533525"/>
                <a:gd name="connsiteX30" fmla="*/ 1178718 w 1393983"/>
                <a:gd name="connsiteY30" fmla="*/ 1052513 h 1533525"/>
                <a:gd name="connsiteX31" fmla="*/ 1190625 w 1393983"/>
                <a:gd name="connsiteY31" fmla="*/ 1081088 h 1533525"/>
                <a:gd name="connsiteX32" fmla="*/ 1212056 w 1393983"/>
                <a:gd name="connsiteY32" fmla="*/ 1109663 h 1533525"/>
                <a:gd name="connsiteX33" fmla="*/ 1231106 w 1393983"/>
                <a:gd name="connsiteY33" fmla="*/ 1102519 h 1533525"/>
                <a:gd name="connsiteX34" fmla="*/ 1231106 w 1393983"/>
                <a:gd name="connsiteY34" fmla="*/ 1131094 h 1533525"/>
                <a:gd name="connsiteX35" fmla="*/ 1233487 w 1393983"/>
                <a:gd name="connsiteY35" fmla="*/ 1145381 h 1533525"/>
                <a:gd name="connsiteX36" fmla="*/ 1266825 w 1393983"/>
                <a:gd name="connsiteY36" fmla="*/ 1181100 h 1533525"/>
                <a:gd name="connsiteX37" fmla="*/ 1233487 w 1393983"/>
                <a:gd name="connsiteY37" fmla="*/ 1181100 h 1533525"/>
                <a:gd name="connsiteX38" fmla="*/ 1228725 w 1393983"/>
                <a:gd name="connsiteY38" fmla="*/ 1223963 h 1533525"/>
                <a:gd name="connsiteX39" fmla="*/ 1226343 w 1393983"/>
                <a:gd name="connsiteY39" fmla="*/ 1243013 h 1533525"/>
                <a:gd name="connsiteX40" fmla="*/ 1216818 w 1393983"/>
                <a:gd name="connsiteY40" fmla="*/ 1264444 h 1533525"/>
                <a:gd name="connsiteX41" fmla="*/ 1190625 w 1393983"/>
                <a:gd name="connsiteY41" fmla="*/ 1238250 h 1533525"/>
                <a:gd name="connsiteX42" fmla="*/ 1157287 w 1393983"/>
                <a:gd name="connsiteY42" fmla="*/ 1209675 h 1533525"/>
                <a:gd name="connsiteX43" fmla="*/ 1131093 w 1393983"/>
                <a:gd name="connsiteY43" fmla="*/ 1185863 h 1533525"/>
                <a:gd name="connsiteX44" fmla="*/ 1107281 w 1393983"/>
                <a:gd name="connsiteY44" fmla="*/ 1219200 h 1533525"/>
                <a:gd name="connsiteX45" fmla="*/ 1104900 w 1393983"/>
                <a:gd name="connsiteY45" fmla="*/ 1264444 h 1533525"/>
                <a:gd name="connsiteX46" fmla="*/ 1062037 w 1393983"/>
                <a:gd name="connsiteY46" fmla="*/ 1259681 h 1533525"/>
                <a:gd name="connsiteX47" fmla="*/ 1026318 w 1393983"/>
                <a:gd name="connsiteY47" fmla="*/ 1288256 h 1533525"/>
                <a:gd name="connsiteX48" fmla="*/ 1007268 w 1393983"/>
                <a:gd name="connsiteY48" fmla="*/ 1240631 h 1533525"/>
                <a:gd name="connsiteX49" fmla="*/ 947737 w 1393983"/>
                <a:gd name="connsiteY49" fmla="*/ 1231106 h 1533525"/>
                <a:gd name="connsiteX50" fmla="*/ 921543 w 1393983"/>
                <a:gd name="connsiteY50" fmla="*/ 1297781 h 1533525"/>
                <a:gd name="connsiteX51" fmla="*/ 885825 w 1393983"/>
                <a:gd name="connsiteY51" fmla="*/ 1278731 h 1533525"/>
                <a:gd name="connsiteX52" fmla="*/ 816768 w 1393983"/>
                <a:gd name="connsiteY52" fmla="*/ 1295400 h 1533525"/>
                <a:gd name="connsiteX53" fmla="*/ 757237 w 1393983"/>
                <a:gd name="connsiteY53" fmla="*/ 1259681 h 1533525"/>
                <a:gd name="connsiteX54" fmla="*/ 742950 w 1393983"/>
                <a:gd name="connsiteY54" fmla="*/ 1312069 h 1533525"/>
                <a:gd name="connsiteX55" fmla="*/ 704850 w 1393983"/>
                <a:gd name="connsiteY55" fmla="*/ 1345406 h 1533525"/>
                <a:gd name="connsiteX56" fmla="*/ 692943 w 1393983"/>
                <a:gd name="connsiteY56" fmla="*/ 1366838 h 1533525"/>
                <a:gd name="connsiteX57" fmla="*/ 671512 w 1393983"/>
                <a:gd name="connsiteY57" fmla="*/ 1509713 h 1533525"/>
                <a:gd name="connsiteX58" fmla="*/ 633412 w 1393983"/>
                <a:gd name="connsiteY58" fmla="*/ 1490663 h 1533525"/>
                <a:gd name="connsiteX59" fmla="*/ 614362 w 1393983"/>
                <a:gd name="connsiteY59" fmla="*/ 1504950 h 1533525"/>
                <a:gd name="connsiteX60" fmla="*/ 581025 w 1393983"/>
                <a:gd name="connsiteY60" fmla="*/ 1531144 h 1533525"/>
                <a:gd name="connsiteX61" fmla="*/ 523875 w 1393983"/>
                <a:gd name="connsiteY61" fmla="*/ 1502569 h 1533525"/>
                <a:gd name="connsiteX62" fmla="*/ 514350 w 1393983"/>
                <a:gd name="connsiteY62" fmla="*/ 1490663 h 1533525"/>
                <a:gd name="connsiteX63" fmla="*/ 483393 w 1393983"/>
                <a:gd name="connsiteY63" fmla="*/ 1533525 h 1533525"/>
                <a:gd name="connsiteX64" fmla="*/ 459581 w 1393983"/>
                <a:gd name="connsiteY64" fmla="*/ 1481138 h 1533525"/>
                <a:gd name="connsiteX65" fmla="*/ 438150 w 1393983"/>
                <a:gd name="connsiteY65" fmla="*/ 1471613 h 1533525"/>
                <a:gd name="connsiteX66" fmla="*/ 400050 w 1393983"/>
                <a:gd name="connsiteY66" fmla="*/ 1485900 h 1533525"/>
                <a:gd name="connsiteX67" fmla="*/ 338137 w 1393983"/>
                <a:gd name="connsiteY67" fmla="*/ 1490663 h 1533525"/>
                <a:gd name="connsiteX68" fmla="*/ 330993 w 1393983"/>
                <a:gd name="connsiteY68" fmla="*/ 1497806 h 1533525"/>
                <a:gd name="connsiteX69" fmla="*/ 271462 w 1393983"/>
                <a:gd name="connsiteY69" fmla="*/ 1471613 h 1533525"/>
                <a:gd name="connsiteX70" fmla="*/ 219075 w 1393983"/>
                <a:gd name="connsiteY70" fmla="*/ 1443038 h 1533525"/>
                <a:gd name="connsiteX71" fmla="*/ 138112 w 1393983"/>
                <a:gd name="connsiteY71" fmla="*/ 1402556 h 1533525"/>
                <a:gd name="connsiteX72" fmla="*/ 95250 w 1393983"/>
                <a:gd name="connsiteY72" fmla="*/ 1316831 h 1533525"/>
                <a:gd name="connsiteX73" fmla="*/ 80962 w 1393983"/>
                <a:gd name="connsiteY73" fmla="*/ 1288256 h 1533525"/>
                <a:gd name="connsiteX74" fmla="*/ 104775 w 1393983"/>
                <a:gd name="connsiteY74" fmla="*/ 1266825 h 1533525"/>
                <a:gd name="connsiteX75" fmla="*/ 76200 w 1393983"/>
                <a:gd name="connsiteY75" fmla="*/ 1212056 h 1533525"/>
                <a:gd name="connsiteX76" fmla="*/ 109537 w 1393983"/>
                <a:gd name="connsiteY76" fmla="*/ 1193006 h 1533525"/>
                <a:gd name="connsiteX77" fmla="*/ 140493 w 1393983"/>
                <a:gd name="connsiteY77" fmla="*/ 1143000 h 1533525"/>
                <a:gd name="connsiteX78" fmla="*/ 123825 w 1393983"/>
                <a:gd name="connsiteY78" fmla="*/ 1107281 h 1533525"/>
                <a:gd name="connsiteX79" fmla="*/ 178593 w 1393983"/>
                <a:gd name="connsiteY79" fmla="*/ 1107281 h 1533525"/>
                <a:gd name="connsiteX80" fmla="*/ 192881 w 1393983"/>
                <a:gd name="connsiteY80" fmla="*/ 1109663 h 1533525"/>
                <a:gd name="connsiteX81" fmla="*/ 159543 w 1393983"/>
                <a:gd name="connsiteY81" fmla="*/ 1064419 h 1533525"/>
                <a:gd name="connsiteX82" fmla="*/ 169068 w 1393983"/>
                <a:gd name="connsiteY82" fmla="*/ 1014413 h 1533525"/>
                <a:gd name="connsiteX83" fmla="*/ 123825 w 1393983"/>
                <a:gd name="connsiteY83" fmla="*/ 997744 h 1533525"/>
                <a:gd name="connsiteX84" fmla="*/ 61912 w 1393983"/>
                <a:gd name="connsiteY84" fmla="*/ 954881 h 1533525"/>
                <a:gd name="connsiteX85" fmla="*/ 45243 w 1393983"/>
                <a:gd name="connsiteY85" fmla="*/ 938213 h 1533525"/>
                <a:gd name="connsiteX86" fmla="*/ 64293 w 1393983"/>
                <a:gd name="connsiteY86" fmla="*/ 909638 h 1533525"/>
                <a:gd name="connsiteX87" fmla="*/ 47625 w 1393983"/>
                <a:gd name="connsiteY87" fmla="*/ 897731 h 1533525"/>
                <a:gd name="connsiteX88" fmla="*/ 47625 w 1393983"/>
                <a:gd name="connsiteY88" fmla="*/ 881063 h 1533525"/>
                <a:gd name="connsiteX89" fmla="*/ 26193 w 1393983"/>
                <a:gd name="connsiteY89" fmla="*/ 881063 h 1533525"/>
                <a:gd name="connsiteX90" fmla="*/ 7143 w 1393983"/>
                <a:gd name="connsiteY90" fmla="*/ 847725 h 1533525"/>
                <a:gd name="connsiteX91" fmla="*/ 0 w 1393983"/>
                <a:gd name="connsiteY91" fmla="*/ 816769 h 1533525"/>
                <a:gd name="connsiteX92" fmla="*/ 54768 w 1393983"/>
                <a:gd name="connsiteY92" fmla="*/ 800100 h 1533525"/>
                <a:gd name="connsiteX93" fmla="*/ 76200 w 1393983"/>
                <a:gd name="connsiteY93" fmla="*/ 788194 h 1533525"/>
                <a:gd name="connsiteX94" fmla="*/ 128587 w 1393983"/>
                <a:gd name="connsiteY94" fmla="*/ 821531 h 1533525"/>
                <a:gd name="connsiteX95" fmla="*/ 126206 w 1393983"/>
                <a:gd name="connsiteY95" fmla="*/ 800100 h 1533525"/>
                <a:gd name="connsiteX96" fmla="*/ 164306 w 1393983"/>
                <a:gd name="connsiteY96" fmla="*/ 795338 h 1533525"/>
                <a:gd name="connsiteX97" fmla="*/ 173831 w 1393983"/>
                <a:gd name="connsiteY97" fmla="*/ 759619 h 1533525"/>
                <a:gd name="connsiteX98" fmla="*/ 235743 w 1393983"/>
                <a:gd name="connsiteY98" fmla="*/ 764381 h 1533525"/>
                <a:gd name="connsiteX99" fmla="*/ 235743 w 1393983"/>
                <a:gd name="connsiteY99" fmla="*/ 764381 h 1533525"/>
                <a:gd name="connsiteX100" fmla="*/ 245268 w 1393983"/>
                <a:gd name="connsiteY100" fmla="*/ 704850 h 1533525"/>
                <a:gd name="connsiteX101" fmla="*/ 276225 w 1393983"/>
                <a:gd name="connsiteY101" fmla="*/ 666750 h 1533525"/>
                <a:gd name="connsiteX102" fmla="*/ 292893 w 1393983"/>
                <a:gd name="connsiteY102" fmla="*/ 638175 h 1533525"/>
                <a:gd name="connsiteX103" fmla="*/ 245268 w 1393983"/>
                <a:gd name="connsiteY103" fmla="*/ 602456 h 1533525"/>
                <a:gd name="connsiteX104" fmla="*/ 264318 w 1393983"/>
                <a:gd name="connsiteY104" fmla="*/ 585788 h 1533525"/>
                <a:gd name="connsiteX105" fmla="*/ 311943 w 1393983"/>
                <a:gd name="connsiteY105" fmla="*/ 602456 h 1533525"/>
                <a:gd name="connsiteX106" fmla="*/ 369093 w 1393983"/>
                <a:gd name="connsiteY106" fmla="*/ 573881 h 1533525"/>
                <a:gd name="connsiteX107" fmla="*/ 457200 w 1393983"/>
                <a:gd name="connsiteY107" fmla="*/ 545306 h 1533525"/>
                <a:gd name="connsiteX108" fmla="*/ 538162 w 1393983"/>
                <a:gd name="connsiteY108" fmla="*/ 578644 h 1533525"/>
                <a:gd name="connsiteX109" fmla="*/ 614362 w 1393983"/>
                <a:gd name="connsiteY109" fmla="*/ 550069 h 1533525"/>
                <a:gd name="connsiteX110" fmla="*/ 650081 w 1393983"/>
                <a:gd name="connsiteY110" fmla="*/ 552450 h 1533525"/>
                <a:gd name="connsiteX111" fmla="*/ 654843 w 1393983"/>
                <a:gd name="connsiteY111" fmla="*/ 523875 h 1533525"/>
                <a:gd name="connsiteX112" fmla="*/ 654843 w 1393983"/>
                <a:gd name="connsiteY112" fmla="*/ 490538 h 1533525"/>
                <a:gd name="connsiteX113" fmla="*/ 669131 w 1393983"/>
                <a:gd name="connsiteY113" fmla="*/ 469106 h 1533525"/>
                <a:gd name="connsiteX114" fmla="*/ 652462 w 1393983"/>
                <a:gd name="connsiteY114" fmla="*/ 450056 h 1533525"/>
                <a:gd name="connsiteX115" fmla="*/ 642937 w 1393983"/>
                <a:gd name="connsiteY115" fmla="*/ 411956 h 1533525"/>
                <a:gd name="connsiteX116" fmla="*/ 642937 w 1393983"/>
                <a:gd name="connsiteY116" fmla="*/ 330994 h 1533525"/>
                <a:gd name="connsiteX117" fmla="*/ 633412 w 1393983"/>
                <a:gd name="connsiteY117" fmla="*/ 319088 h 1533525"/>
                <a:gd name="connsiteX118" fmla="*/ 664368 w 1393983"/>
                <a:gd name="connsiteY118" fmla="*/ 285750 h 1533525"/>
                <a:gd name="connsiteX119" fmla="*/ 721518 w 1393983"/>
                <a:gd name="connsiteY119" fmla="*/ 292894 h 1533525"/>
                <a:gd name="connsiteX120" fmla="*/ 733425 w 1393983"/>
                <a:gd name="connsiteY120" fmla="*/ 264319 h 1533525"/>
                <a:gd name="connsiteX121" fmla="*/ 731043 w 1393983"/>
                <a:gd name="connsiteY121" fmla="*/ 228600 h 1533525"/>
                <a:gd name="connsiteX122" fmla="*/ 790575 w 1393983"/>
                <a:gd name="connsiteY122" fmla="*/ 192881 h 1533525"/>
                <a:gd name="connsiteX123" fmla="*/ 804862 w 1393983"/>
                <a:gd name="connsiteY123" fmla="*/ 166688 h 1533525"/>
                <a:gd name="connsiteX124" fmla="*/ 778668 w 1393983"/>
                <a:gd name="connsiteY124" fmla="*/ 128588 h 1533525"/>
                <a:gd name="connsiteX125" fmla="*/ 771525 w 1393983"/>
                <a:gd name="connsiteY125" fmla="*/ 104775 h 1533525"/>
                <a:gd name="connsiteX126" fmla="*/ 823912 w 1393983"/>
                <a:gd name="connsiteY126" fmla="*/ 97631 h 1533525"/>
                <a:gd name="connsiteX127" fmla="*/ 869156 w 1393983"/>
                <a:gd name="connsiteY127" fmla="*/ 52388 h 1533525"/>
                <a:gd name="connsiteX128" fmla="*/ 890587 w 1393983"/>
                <a:gd name="connsiteY128" fmla="*/ 23813 h 1533525"/>
                <a:gd name="connsiteX129" fmla="*/ 923925 w 1393983"/>
                <a:gd name="connsiteY129" fmla="*/ 9525 h 1533525"/>
                <a:gd name="connsiteX130" fmla="*/ 971550 w 1393983"/>
                <a:gd name="connsiteY130" fmla="*/ 0 h 1533525"/>
                <a:gd name="connsiteX131" fmla="*/ 971550 w 1393983"/>
                <a:gd name="connsiteY131" fmla="*/ 40481 h 1533525"/>
                <a:gd name="connsiteX132" fmla="*/ 950118 w 1393983"/>
                <a:gd name="connsiteY132" fmla="*/ 80963 h 1533525"/>
                <a:gd name="connsiteX133" fmla="*/ 950118 w 1393983"/>
                <a:gd name="connsiteY133" fmla="*/ 140494 h 1533525"/>
                <a:gd name="connsiteX134" fmla="*/ 969168 w 1393983"/>
                <a:gd name="connsiteY134" fmla="*/ 161925 h 1533525"/>
                <a:gd name="connsiteX135" fmla="*/ 1007268 w 1393983"/>
                <a:gd name="connsiteY135" fmla="*/ 188119 h 1533525"/>
                <a:gd name="connsiteX136" fmla="*/ 1019175 w 1393983"/>
                <a:gd name="connsiteY136" fmla="*/ 216694 h 1533525"/>
                <a:gd name="connsiteX137" fmla="*/ 1004887 w 1393983"/>
                <a:gd name="connsiteY137" fmla="*/ 226219 h 1533525"/>
                <a:gd name="connsiteX138" fmla="*/ 1057275 w 1393983"/>
                <a:gd name="connsiteY138" fmla="*/ 250031 h 1533525"/>
                <a:gd name="connsiteX139" fmla="*/ 1073943 w 1393983"/>
                <a:gd name="connsiteY139" fmla="*/ 228600 h 1533525"/>
                <a:gd name="connsiteX140" fmla="*/ 1083468 w 1393983"/>
                <a:gd name="connsiteY140" fmla="*/ 252413 h 1533525"/>
                <a:gd name="connsiteX141" fmla="*/ 1116806 w 1393983"/>
                <a:gd name="connsiteY141" fmla="*/ 252413 h 1533525"/>
                <a:gd name="connsiteX142" fmla="*/ 1123950 w 1393983"/>
                <a:gd name="connsiteY142" fmla="*/ 257175 h 1533525"/>
                <a:gd name="connsiteX143" fmla="*/ 1116806 w 1393983"/>
                <a:gd name="connsiteY143" fmla="*/ 276225 h 1533525"/>
                <a:gd name="connsiteX144" fmla="*/ 1088231 w 1393983"/>
                <a:gd name="connsiteY144" fmla="*/ 309563 h 1533525"/>
                <a:gd name="connsiteX145" fmla="*/ 1123950 w 1393983"/>
                <a:gd name="connsiteY145" fmla="*/ 333375 h 1533525"/>
                <a:gd name="connsiteX146" fmla="*/ 1135856 w 1393983"/>
                <a:gd name="connsiteY146" fmla="*/ 347663 h 1533525"/>
                <a:gd name="connsiteX147" fmla="*/ 1135856 w 1393983"/>
                <a:gd name="connsiteY147" fmla="*/ 376238 h 1533525"/>
                <a:gd name="connsiteX148" fmla="*/ 1119187 w 1393983"/>
                <a:gd name="connsiteY148" fmla="*/ 411956 h 1533525"/>
                <a:gd name="connsiteX149" fmla="*/ 1162050 w 1393983"/>
                <a:gd name="connsiteY149" fmla="*/ 423863 h 1533525"/>
                <a:gd name="connsiteX150" fmla="*/ 1233487 w 1393983"/>
                <a:gd name="connsiteY150" fmla="*/ 416719 h 1533525"/>
                <a:gd name="connsiteX151" fmla="*/ 1223962 w 1393983"/>
                <a:gd name="connsiteY151" fmla="*/ 385763 h 1533525"/>
                <a:gd name="connsiteX152" fmla="*/ 1188243 w 1393983"/>
                <a:gd name="connsiteY152" fmla="*/ 347663 h 1533525"/>
                <a:gd name="connsiteX153" fmla="*/ 1181100 w 1393983"/>
                <a:gd name="connsiteY153" fmla="*/ 333375 h 1533525"/>
                <a:gd name="connsiteX154" fmla="*/ 1207293 w 1393983"/>
                <a:gd name="connsiteY154" fmla="*/ 326231 h 1533525"/>
                <a:gd name="connsiteX155" fmla="*/ 1200150 w 1393983"/>
                <a:gd name="connsiteY155" fmla="*/ 302419 h 1533525"/>
                <a:gd name="connsiteX156" fmla="*/ 1223962 w 1393983"/>
                <a:gd name="connsiteY156" fmla="*/ 283369 h 1533525"/>
                <a:gd name="connsiteX157" fmla="*/ 1393983 w 1393983"/>
                <a:gd name="connsiteY157" fmla="*/ 30337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156" fmla="*/ 1223962 w 1266825"/>
                <a:gd name="connsiteY156" fmla="*/ 28336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155" fmla="*/ 1200150 w 1266825"/>
                <a:gd name="connsiteY155" fmla="*/ 3024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154" fmla="*/ 1207293 w 1266825"/>
                <a:gd name="connsiteY154" fmla="*/ 326231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153" fmla="*/ 1181100 w 1266825"/>
                <a:gd name="connsiteY153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152" fmla="*/ 1188243 w 1266825"/>
                <a:gd name="connsiteY152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151" fmla="*/ 1223962 w 1266825"/>
                <a:gd name="connsiteY151" fmla="*/ 3857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150" fmla="*/ 1233487 w 1266825"/>
                <a:gd name="connsiteY150" fmla="*/ 416719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149" fmla="*/ 1162050 w 1266825"/>
                <a:gd name="connsiteY149" fmla="*/ 4238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148" fmla="*/ 1119187 w 1266825"/>
                <a:gd name="connsiteY148" fmla="*/ 411956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147" fmla="*/ 1135856 w 1266825"/>
                <a:gd name="connsiteY147" fmla="*/ 376238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146" fmla="*/ 1135856 w 1266825"/>
                <a:gd name="connsiteY146" fmla="*/ 3476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145" fmla="*/ 1123950 w 1266825"/>
                <a:gd name="connsiteY145" fmla="*/ 3333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144" fmla="*/ 1088231 w 1266825"/>
                <a:gd name="connsiteY144" fmla="*/ 30956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143" fmla="*/ 1116806 w 1266825"/>
                <a:gd name="connsiteY143" fmla="*/ 27622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142" fmla="*/ 1123950 w 1266825"/>
                <a:gd name="connsiteY142" fmla="*/ 257175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141" fmla="*/ 1116806 w 1266825"/>
                <a:gd name="connsiteY141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140" fmla="*/ 1083468 w 1266825"/>
                <a:gd name="connsiteY140" fmla="*/ 252413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  <a:gd name="connsiteX139" fmla="*/ 1073943 w 1266825"/>
                <a:gd name="connsiteY139" fmla="*/ 228600 h 1533525"/>
                <a:gd name="connsiteX0" fmla="*/ 1057275 w 1266825"/>
                <a:gd name="connsiteY0" fmla="*/ 264319 h 1533525"/>
                <a:gd name="connsiteX1" fmla="*/ 1062037 w 1266825"/>
                <a:gd name="connsiteY1" fmla="*/ 304800 h 1533525"/>
                <a:gd name="connsiteX2" fmla="*/ 995362 w 1266825"/>
                <a:gd name="connsiteY2" fmla="*/ 352425 h 1533525"/>
                <a:gd name="connsiteX3" fmla="*/ 973931 w 1266825"/>
                <a:gd name="connsiteY3" fmla="*/ 383381 h 1533525"/>
                <a:gd name="connsiteX4" fmla="*/ 1000125 w 1266825"/>
                <a:gd name="connsiteY4" fmla="*/ 428625 h 1533525"/>
                <a:gd name="connsiteX5" fmla="*/ 983456 w 1266825"/>
                <a:gd name="connsiteY5" fmla="*/ 466725 h 1533525"/>
                <a:gd name="connsiteX6" fmla="*/ 1000125 w 1266825"/>
                <a:gd name="connsiteY6" fmla="*/ 519113 h 1533525"/>
                <a:gd name="connsiteX7" fmla="*/ 1033462 w 1266825"/>
                <a:gd name="connsiteY7" fmla="*/ 519113 h 1533525"/>
                <a:gd name="connsiteX8" fmla="*/ 1019175 w 1266825"/>
                <a:gd name="connsiteY8" fmla="*/ 552450 h 1533525"/>
                <a:gd name="connsiteX9" fmla="*/ 1035843 w 1266825"/>
                <a:gd name="connsiteY9" fmla="*/ 590550 h 1533525"/>
                <a:gd name="connsiteX10" fmla="*/ 1035843 w 1266825"/>
                <a:gd name="connsiteY10" fmla="*/ 607219 h 1533525"/>
                <a:gd name="connsiteX11" fmla="*/ 1045368 w 1266825"/>
                <a:gd name="connsiteY11" fmla="*/ 645319 h 1533525"/>
                <a:gd name="connsiteX12" fmla="*/ 1064418 w 1266825"/>
                <a:gd name="connsiteY12" fmla="*/ 645319 h 1533525"/>
                <a:gd name="connsiteX13" fmla="*/ 1078706 w 1266825"/>
                <a:gd name="connsiteY13" fmla="*/ 666750 h 1533525"/>
                <a:gd name="connsiteX14" fmla="*/ 1085850 w 1266825"/>
                <a:gd name="connsiteY14" fmla="*/ 688181 h 1533525"/>
                <a:gd name="connsiteX15" fmla="*/ 1076325 w 1266825"/>
                <a:gd name="connsiteY15" fmla="*/ 719138 h 1533525"/>
                <a:gd name="connsiteX16" fmla="*/ 1021556 w 1266825"/>
                <a:gd name="connsiteY16" fmla="*/ 714375 h 1533525"/>
                <a:gd name="connsiteX17" fmla="*/ 1002506 w 1266825"/>
                <a:gd name="connsiteY17" fmla="*/ 721519 h 1533525"/>
                <a:gd name="connsiteX18" fmla="*/ 995362 w 1266825"/>
                <a:gd name="connsiteY18" fmla="*/ 726281 h 1533525"/>
                <a:gd name="connsiteX19" fmla="*/ 995362 w 1266825"/>
                <a:gd name="connsiteY19" fmla="*/ 726281 h 1533525"/>
                <a:gd name="connsiteX20" fmla="*/ 923925 w 1266825"/>
                <a:gd name="connsiteY20" fmla="*/ 721519 h 1533525"/>
                <a:gd name="connsiteX21" fmla="*/ 940593 w 1266825"/>
                <a:gd name="connsiteY21" fmla="*/ 778669 h 1533525"/>
                <a:gd name="connsiteX22" fmla="*/ 938212 w 1266825"/>
                <a:gd name="connsiteY22" fmla="*/ 847725 h 1533525"/>
                <a:gd name="connsiteX23" fmla="*/ 954881 w 1266825"/>
                <a:gd name="connsiteY23" fmla="*/ 871538 h 1533525"/>
                <a:gd name="connsiteX24" fmla="*/ 997743 w 1266825"/>
                <a:gd name="connsiteY24" fmla="*/ 919163 h 1533525"/>
                <a:gd name="connsiteX25" fmla="*/ 1012031 w 1266825"/>
                <a:gd name="connsiteY25" fmla="*/ 954881 h 1533525"/>
                <a:gd name="connsiteX26" fmla="*/ 1031081 w 1266825"/>
                <a:gd name="connsiteY26" fmla="*/ 954881 h 1533525"/>
                <a:gd name="connsiteX27" fmla="*/ 1071562 w 1266825"/>
                <a:gd name="connsiteY27" fmla="*/ 940594 h 1533525"/>
                <a:gd name="connsiteX28" fmla="*/ 1102518 w 1266825"/>
                <a:gd name="connsiteY28" fmla="*/ 933450 h 1533525"/>
                <a:gd name="connsiteX29" fmla="*/ 1159668 w 1266825"/>
                <a:gd name="connsiteY29" fmla="*/ 997744 h 1533525"/>
                <a:gd name="connsiteX30" fmla="*/ 1178718 w 1266825"/>
                <a:gd name="connsiteY30" fmla="*/ 1052513 h 1533525"/>
                <a:gd name="connsiteX31" fmla="*/ 1190625 w 1266825"/>
                <a:gd name="connsiteY31" fmla="*/ 1081088 h 1533525"/>
                <a:gd name="connsiteX32" fmla="*/ 1212056 w 1266825"/>
                <a:gd name="connsiteY32" fmla="*/ 1109663 h 1533525"/>
                <a:gd name="connsiteX33" fmla="*/ 1231106 w 1266825"/>
                <a:gd name="connsiteY33" fmla="*/ 1102519 h 1533525"/>
                <a:gd name="connsiteX34" fmla="*/ 1231106 w 1266825"/>
                <a:gd name="connsiteY34" fmla="*/ 1131094 h 1533525"/>
                <a:gd name="connsiteX35" fmla="*/ 1233487 w 1266825"/>
                <a:gd name="connsiteY35" fmla="*/ 1145381 h 1533525"/>
                <a:gd name="connsiteX36" fmla="*/ 1266825 w 1266825"/>
                <a:gd name="connsiteY36" fmla="*/ 1181100 h 1533525"/>
                <a:gd name="connsiteX37" fmla="*/ 1233487 w 1266825"/>
                <a:gd name="connsiteY37" fmla="*/ 1181100 h 1533525"/>
                <a:gd name="connsiteX38" fmla="*/ 1228725 w 1266825"/>
                <a:gd name="connsiteY38" fmla="*/ 1223963 h 1533525"/>
                <a:gd name="connsiteX39" fmla="*/ 1226343 w 1266825"/>
                <a:gd name="connsiteY39" fmla="*/ 1243013 h 1533525"/>
                <a:gd name="connsiteX40" fmla="*/ 1216818 w 1266825"/>
                <a:gd name="connsiteY40" fmla="*/ 1264444 h 1533525"/>
                <a:gd name="connsiteX41" fmla="*/ 1190625 w 1266825"/>
                <a:gd name="connsiteY41" fmla="*/ 1238250 h 1533525"/>
                <a:gd name="connsiteX42" fmla="*/ 1157287 w 1266825"/>
                <a:gd name="connsiteY42" fmla="*/ 1209675 h 1533525"/>
                <a:gd name="connsiteX43" fmla="*/ 1131093 w 1266825"/>
                <a:gd name="connsiteY43" fmla="*/ 1185863 h 1533525"/>
                <a:gd name="connsiteX44" fmla="*/ 1107281 w 1266825"/>
                <a:gd name="connsiteY44" fmla="*/ 1219200 h 1533525"/>
                <a:gd name="connsiteX45" fmla="*/ 1104900 w 1266825"/>
                <a:gd name="connsiteY45" fmla="*/ 1264444 h 1533525"/>
                <a:gd name="connsiteX46" fmla="*/ 1062037 w 1266825"/>
                <a:gd name="connsiteY46" fmla="*/ 1259681 h 1533525"/>
                <a:gd name="connsiteX47" fmla="*/ 1026318 w 1266825"/>
                <a:gd name="connsiteY47" fmla="*/ 1288256 h 1533525"/>
                <a:gd name="connsiteX48" fmla="*/ 1007268 w 1266825"/>
                <a:gd name="connsiteY48" fmla="*/ 1240631 h 1533525"/>
                <a:gd name="connsiteX49" fmla="*/ 947737 w 1266825"/>
                <a:gd name="connsiteY49" fmla="*/ 1231106 h 1533525"/>
                <a:gd name="connsiteX50" fmla="*/ 921543 w 1266825"/>
                <a:gd name="connsiteY50" fmla="*/ 1297781 h 1533525"/>
                <a:gd name="connsiteX51" fmla="*/ 885825 w 1266825"/>
                <a:gd name="connsiteY51" fmla="*/ 1278731 h 1533525"/>
                <a:gd name="connsiteX52" fmla="*/ 816768 w 1266825"/>
                <a:gd name="connsiteY52" fmla="*/ 1295400 h 1533525"/>
                <a:gd name="connsiteX53" fmla="*/ 757237 w 1266825"/>
                <a:gd name="connsiteY53" fmla="*/ 1259681 h 1533525"/>
                <a:gd name="connsiteX54" fmla="*/ 742950 w 1266825"/>
                <a:gd name="connsiteY54" fmla="*/ 1312069 h 1533525"/>
                <a:gd name="connsiteX55" fmla="*/ 704850 w 1266825"/>
                <a:gd name="connsiteY55" fmla="*/ 1345406 h 1533525"/>
                <a:gd name="connsiteX56" fmla="*/ 692943 w 1266825"/>
                <a:gd name="connsiteY56" fmla="*/ 1366838 h 1533525"/>
                <a:gd name="connsiteX57" fmla="*/ 671512 w 1266825"/>
                <a:gd name="connsiteY57" fmla="*/ 1509713 h 1533525"/>
                <a:gd name="connsiteX58" fmla="*/ 633412 w 1266825"/>
                <a:gd name="connsiteY58" fmla="*/ 1490663 h 1533525"/>
                <a:gd name="connsiteX59" fmla="*/ 614362 w 1266825"/>
                <a:gd name="connsiteY59" fmla="*/ 1504950 h 1533525"/>
                <a:gd name="connsiteX60" fmla="*/ 581025 w 1266825"/>
                <a:gd name="connsiteY60" fmla="*/ 1531144 h 1533525"/>
                <a:gd name="connsiteX61" fmla="*/ 523875 w 1266825"/>
                <a:gd name="connsiteY61" fmla="*/ 1502569 h 1533525"/>
                <a:gd name="connsiteX62" fmla="*/ 514350 w 1266825"/>
                <a:gd name="connsiteY62" fmla="*/ 1490663 h 1533525"/>
                <a:gd name="connsiteX63" fmla="*/ 483393 w 1266825"/>
                <a:gd name="connsiteY63" fmla="*/ 1533525 h 1533525"/>
                <a:gd name="connsiteX64" fmla="*/ 459581 w 1266825"/>
                <a:gd name="connsiteY64" fmla="*/ 1481138 h 1533525"/>
                <a:gd name="connsiteX65" fmla="*/ 438150 w 1266825"/>
                <a:gd name="connsiteY65" fmla="*/ 1471613 h 1533525"/>
                <a:gd name="connsiteX66" fmla="*/ 400050 w 1266825"/>
                <a:gd name="connsiteY66" fmla="*/ 1485900 h 1533525"/>
                <a:gd name="connsiteX67" fmla="*/ 338137 w 1266825"/>
                <a:gd name="connsiteY67" fmla="*/ 1490663 h 1533525"/>
                <a:gd name="connsiteX68" fmla="*/ 330993 w 1266825"/>
                <a:gd name="connsiteY68" fmla="*/ 1497806 h 1533525"/>
                <a:gd name="connsiteX69" fmla="*/ 271462 w 1266825"/>
                <a:gd name="connsiteY69" fmla="*/ 1471613 h 1533525"/>
                <a:gd name="connsiteX70" fmla="*/ 219075 w 1266825"/>
                <a:gd name="connsiteY70" fmla="*/ 1443038 h 1533525"/>
                <a:gd name="connsiteX71" fmla="*/ 138112 w 1266825"/>
                <a:gd name="connsiteY71" fmla="*/ 1402556 h 1533525"/>
                <a:gd name="connsiteX72" fmla="*/ 95250 w 1266825"/>
                <a:gd name="connsiteY72" fmla="*/ 1316831 h 1533525"/>
                <a:gd name="connsiteX73" fmla="*/ 80962 w 1266825"/>
                <a:gd name="connsiteY73" fmla="*/ 1288256 h 1533525"/>
                <a:gd name="connsiteX74" fmla="*/ 104775 w 1266825"/>
                <a:gd name="connsiteY74" fmla="*/ 1266825 h 1533525"/>
                <a:gd name="connsiteX75" fmla="*/ 76200 w 1266825"/>
                <a:gd name="connsiteY75" fmla="*/ 1212056 h 1533525"/>
                <a:gd name="connsiteX76" fmla="*/ 109537 w 1266825"/>
                <a:gd name="connsiteY76" fmla="*/ 1193006 h 1533525"/>
                <a:gd name="connsiteX77" fmla="*/ 140493 w 1266825"/>
                <a:gd name="connsiteY77" fmla="*/ 1143000 h 1533525"/>
                <a:gd name="connsiteX78" fmla="*/ 123825 w 1266825"/>
                <a:gd name="connsiteY78" fmla="*/ 1107281 h 1533525"/>
                <a:gd name="connsiteX79" fmla="*/ 178593 w 1266825"/>
                <a:gd name="connsiteY79" fmla="*/ 1107281 h 1533525"/>
                <a:gd name="connsiteX80" fmla="*/ 192881 w 1266825"/>
                <a:gd name="connsiteY80" fmla="*/ 1109663 h 1533525"/>
                <a:gd name="connsiteX81" fmla="*/ 159543 w 1266825"/>
                <a:gd name="connsiteY81" fmla="*/ 1064419 h 1533525"/>
                <a:gd name="connsiteX82" fmla="*/ 169068 w 1266825"/>
                <a:gd name="connsiteY82" fmla="*/ 1014413 h 1533525"/>
                <a:gd name="connsiteX83" fmla="*/ 123825 w 1266825"/>
                <a:gd name="connsiteY83" fmla="*/ 997744 h 1533525"/>
                <a:gd name="connsiteX84" fmla="*/ 61912 w 1266825"/>
                <a:gd name="connsiteY84" fmla="*/ 954881 h 1533525"/>
                <a:gd name="connsiteX85" fmla="*/ 45243 w 1266825"/>
                <a:gd name="connsiteY85" fmla="*/ 938213 h 1533525"/>
                <a:gd name="connsiteX86" fmla="*/ 64293 w 1266825"/>
                <a:gd name="connsiteY86" fmla="*/ 909638 h 1533525"/>
                <a:gd name="connsiteX87" fmla="*/ 47625 w 1266825"/>
                <a:gd name="connsiteY87" fmla="*/ 897731 h 1533525"/>
                <a:gd name="connsiteX88" fmla="*/ 47625 w 1266825"/>
                <a:gd name="connsiteY88" fmla="*/ 881063 h 1533525"/>
                <a:gd name="connsiteX89" fmla="*/ 26193 w 1266825"/>
                <a:gd name="connsiteY89" fmla="*/ 881063 h 1533525"/>
                <a:gd name="connsiteX90" fmla="*/ 7143 w 1266825"/>
                <a:gd name="connsiteY90" fmla="*/ 847725 h 1533525"/>
                <a:gd name="connsiteX91" fmla="*/ 0 w 1266825"/>
                <a:gd name="connsiteY91" fmla="*/ 816769 h 1533525"/>
                <a:gd name="connsiteX92" fmla="*/ 54768 w 1266825"/>
                <a:gd name="connsiteY92" fmla="*/ 800100 h 1533525"/>
                <a:gd name="connsiteX93" fmla="*/ 76200 w 1266825"/>
                <a:gd name="connsiteY93" fmla="*/ 788194 h 1533525"/>
                <a:gd name="connsiteX94" fmla="*/ 128587 w 1266825"/>
                <a:gd name="connsiteY94" fmla="*/ 821531 h 1533525"/>
                <a:gd name="connsiteX95" fmla="*/ 126206 w 1266825"/>
                <a:gd name="connsiteY95" fmla="*/ 800100 h 1533525"/>
                <a:gd name="connsiteX96" fmla="*/ 164306 w 1266825"/>
                <a:gd name="connsiteY96" fmla="*/ 795338 h 1533525"/>
                <a:gd name="connsiteX97" fmla="*/ 173831 w 1266825"/>
                <a:gd name="connsiteY97" fmla="*/ 759619 h 1533525"/>
                <a:gd name="connsiteX98" fmla="*/ 235743 w 1266825"/>
                <a:gd name="connsiteY98" fmla="*/ 764381 h 1533525"/>
                <a:gd name="connsiteX99" fmla="*/ 235743 w 1266825"/>
                <a:gd name="connsiteY99" fmla="*/ 764381 h 1533525"/>
                <a:gd name="connsiteX100" fmla="*/ 245268 w 1266825"/>
                <a:gd name="connsiteY100" fmla="*/ 704850 h 1533525"/>
                <a:gd name="connsiteX101" fmla="*/ 276225 w 1266825"/>
                <a:gd name="connsiteY101" fmla="*/ 666750 h 1533525"/>
                <a:gd name="connsiteX102" fmla="*/ 292893 w 1266825"/>
                <a:gd name="connsiteY102" fmla="*/ 638175 h 1533525"/>
                <a:gd name="connsiteX103" fmla="*/ 245268 w 1266825"/>
                <a:gd name="connsiteY103" fmla="*/ 602456 h 1533525"/>
                <a:gd name="connsiteX104" fmla="*/ 264318 w 1266825"/>
                <a:gd name="connsiteY104" fmla="*/ 585788 h 1533525"/>
                <a:gd name="connsiteX105" fmla="*/ 311943 w 1266825"/>
                <a:gd name="connsiteY105" fmla="*/ 602456 h 1533525"/>
                <a:gd name="connsiteX106" fmla="*/ 369093 w 1266825"/>
                <a:gd name="connsiteY106" fmla="*/ 573881 h 1533525"/>
                <a:gd name="connsiteX107" fmla="*/ 457200 w 1266825"/>
                <a:gd name="connsiteY107" fmla="*/ 545306 h 1533525"/>
                <a:gd name="connsiteX108" fmla="*/ 538162 w 1266825"/>
                <a:gd name="connsiteY108" fmla="*/ 578644 h 1533525"/>
                <a:gd name="connsiteX109" fmla="*/ 614362 w 1266825"/>
                <a:gd name="connsiteY109" fmla="*/ 550069 h 1533525"/>
                <a:gd name="connsiteX110" fmla="*/ 650081 w 1266825"/>
                <a:gd name="connsiteY110" fmla="*/ 552450 h 1533525"/>
                <a:gd name="connsiteX111" fmla="*/ 654843 w 1266825"/>
                <a:gd name="connsiteY111" fmla="*/ 523875 h 1533525"/>
                <a:gd name="connsiteX112" fmla="*/ 654843 w 1266825"/>
                <a:gd name="connsiteY112" fmla="*/ 490538 h 1533525"/>
                <a:gd name="connsiteX113" fmla="*/ 669131 w 1266825"/>
                <a:gd name="connsiteY113" fmla="*/ 469106 h 1533525"/>
                <a:gd name="connsiteX114" fmla="*/ 652462 w 1266825"/>
                <a:gd name="connsiteY114" fmla="*/ 450056 h 1533525"/>
                <a:gd name="connsiteX115" fmla="*/ 642937 w 1266825"/>
                <a:gd name="connsiteY115" fmla="*/ 411956 h 1533525"/>
                <a:gd name="connsiteX116" fmla="*/ 642937 w 1266825"/>
                <a:gd name="connsiteY116" fmla="*/ 330994 h 1533525"/>
                <a:gd name="connsiteX117" fmla="*/ 633412 w 1266825"/>
                <a:gd name="connsiteY117" fmla="*/ 319088 h 1533525"/>
                <a:gd name="connsiteX118" fmla="*/ 664368 w 1266825"/>
                <a:gd name="connsiteY118" fmla="*/ 285750 h 1533525"/>
                <a:gd name="connsiteX119" fmla="*/ 721518 w 1266825"/>
                <a:gd name="connsiteY119" fmla="*/ 292894 h 1533525"/>
                <a:gd name="connsiteX120" fmla="*/ 733425 w 1266825"/>
                <a:gd name="connsiteY120" fmla="*/ 264319 h 1533525"/>
                <a:gd name="connsiteX121" fmla="*/ 731043 w 1266825"/>
                <a:gd name="connsiteY121" fmla="*/ 228600 h 1533525"/>
                <a:gd name="connsiteX122" fmla="*/ 790575 w 1266825"/>
                <a:gd name="connsiteY122" fmla="*/ 192881 h 1533525"/>
                <a:gd name="connsiteX123" fmla="*/ 804862 w 1266825"/>
                <a:gd name="connsiteY123" fmla="*/ 166688 h 1533525"/>
                <a:gd name="connsiteX124" fmla="*/ 778668 w 1266825"/>
                <a:gd name="connsiteY124" fmla="*/ 128588 h 1533525"/>
                <a:gd name="connsiteX125" fmla="*/ 771525 w 1266825"/>
                <a:gd name="connsiteY125" fmla="*/ 104775 h 1533525"/>
                <a:gd name="connsiteX126" fmla="*/ 823912 w 1266825"/>
                <a:gd name="connsiteY126" fmla="*/ 97631 h 1533525"/>
                <a:gd name="connsiteX127" fmla="*/ 869156 w 1266825"/>
                <a:gd name="connsiteY127" fmla="*/ 52388 h 1533525"/>
                <a:gd name="connsiteX128" fmla="*/ 890587 w 1266825"/>
                <a:gd name="connsiteY128" fmla="*/ 23813 h 1533525"/>
                <a:gd name="connsiteX129" fmla="*/ 923925 w 1266825"/>
                <a:gd name="connsiteY129" fmla="*/ 9525 h 1533525"/>
                <a:gd name="connsiteX130" fmla="*/ 971550 w 1266825"/>
                <a:gd name="connsiteY130" fmla="*/ 0 h 1533525"/>
                <a:gd name="connsiteX131" fmla="*/ 971550 w 1266825"/>
                <a:gd name="connsiteY131" fmla="*/ 40481 h 1533525"/>
                <a:gd name="connsiteX132" fmla="*/ 950118 w 1266825"/>
                <a:gd name="connsiteY132" fmla="*/ 80963 h 1533525"/>
                <a:gd name="connsiteX133" fmla="*/ 950118 w 1266825"/>
                <a:gd name="connsiteY133" fmla="*/ 140494 h 1533525"/>
                <a:gd name="connsiteX134" fmla="*/ 969168 w 1266825"/>
                <a:gd name="connsiteY134" fmla="*/ 161925 h 1533525"/>
                <a:gd name="connsiteX135" fmla="*/ 1007268 w 1266825"/>
                <a:gd name="connsiteY135" fmla="*/ 188119 h 1533525"/>
                <a:gd name="connsiteX136" fmla="*/ 1019175 w 1266825"/>
                <a:gd name="connsiteY136" fmla="*/ 216694 h 1533525"/>
                <a:gd name="connsiteX137" fmla="*/ 1004887 w 1266825"/>
                <a:gd name="connsiteY137" fmla="*/ 226219 h 1533525"/>
                <a:gd name="connsiteX138" fmla="*/ 1057275 w 1266825"/>
                <a:gd name="connsiteY138" fmla="*/ 250031 h 1533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</a:cxnLst>
              <a:rect l="l" t="t" r="r" b="b"/>
              <a:pathLst>
                <a:path w="1266825" h="1533525">
                  <a:moveTo>
                    <a:pt x="1057275" y="264319"/>
                  </a:moveTo>
                  <a:lnTo>
                    <a:pt x="1062037" y="304800"/>
                  </a:lnTo>
                  <a:lnTo>
                    <a:pt x="995362" y="352425"/>
                  </a:lnTo>
                  <a:lnTo>
                    <a:pt x="973931" y="383381"/>
                  </a:lnTo>
                  <a:lnTo>
                    <a:pt x="1000125" y="428625"/>
                  </a:lnTo>
                  <a:lnTo>
                    <a:pt x="983456" y="466725"/>
                  </a:lnTo>
                  <a:lnTo>
                    <a:pt x="1000125" y="519113"/>
                  </a:lnTo>
                  <a:lnTo>
                    <a:pt x="1033462" y="519113"/>
                  </a:lnTo>
                  <a:lnTo>
                    <a:pt x="1019175" y="552450"/>
                  </a:lnTo>
                  <a:lnTo>
                    <a:pt x="1035843" y="590550"/>
                  </a:lnTo>
                  <a:lnTo>
                    <a:pt x="1035843" y="607219"/>
                  </a:lnTo>
                  <a:lnTo>
                    <a:pt x="1045368" y="645319"/>
                  </a:lnTo>
                  <a:lnTo>
                    <a:pt x="1064418" y="645319"/>
                  </a:lnTo>
                  <a:lnTo>
                    <a:pt x="1078706" y="666750"/>
                  </a:lnTo>
                  <a:lnTo>
                    <a:pt x="1085850" y="688181"/>
                  </a:lnTo>
                  <a:lnTo>
                    <a:pt x="1076325" y="719138"/>
                  </a:lnTo>
                  <a:lnTo>
                    <a:pt x="1021556" y="714375"/>
                  </a:lnTo>
                  <a:cubicBezTo>
                    <a:pt x="1015206" y="716756"/>
                    <a:pt x="1008680" y="718713"/>
                    <a:pt x="1002506" y="721519"/>
                  </a:cubicBezTo>
                  <a:cubicBezTo>
                    <a:pt x="999901" y="722703"/>
                    <a:pt x="995362" y="726281"/>
                    <a:pt x="995362" y="726281"/>
                  </a:cubicBezTo>
                  <a:lnTo>
                    <a:pt x="995362" y="726281"/>
                  </a:lnTo>
                  <a:lnTo>
                    <a:pt x="923925" y="721519"/>
                  </a:lnTo>
                  <a:lnTo>
                    <a:pt x="940593" y="778669"/>
                  </a:lnTo>
                  <a:cubicBezTo>
                    <a:pt x="939799" y="801688"/>
                    <a:pt x="939006" y="824706"/>
                    <a:pt x="938212" y="847725"/>
                  </a:cubicBezTo>
                  <a:lnTo>
                    <a:pt x="954881" y="871538"/>
                  </a:lnTo>
                  <a:lnTo>
                    <a:pt x="997743" y="919163"/>
                  </a:lnTo>
                  <a:lnTo>
                    <a:pt x="1012031" y="954881"/>
                  </a:lnTo>
                  <a:lnTo>
                    <a:pt x="1031081" y="954881"/>
                  </a:lnTo>
                  <a:lnTo>
                    <a:pt x="1071562" y="940594"/>
                  </a:lnTo>
                  <a:lnTo>
                    <a:pt x="1102518" y="933450"/>
                  </a:lnTo>
                  <a:lnTo>
                    <a:pt x="1159668" y="997744"/>
                  </a:lnTo>
                  <a:lnTo>
                    <a:pt x="1178718" y="1052513"/>
                  </a:lnTo>
                  <a:lnTo>
                    <a:pt x="1190625" y="1081088"/>
                  </a:lnTo>
                  <a:lnTo>
                    <a:pt x="1212056" y="1109663"/>
                  </a:lnTo>
                  <a:lnTo>
                    <a:pt x="1231106" y="1102519"/>
                  </a:lnTo>
                  <a:lnTo>
                    <a:pt x="1231106" y="1131094"/>
                  </a:lnTo>
                  <a:lnTo>
                    <a:pt x="1233487" y="1145381"/>
                  </a:lnTo>
                  <a:lnTo>
                    <a:pt x="1266825" y="1181100"/>
                  </a:lnTo>
                  <a:lnTo>
                    <a:pt x="1233487" y="1181100"/>
                  </a:lnTo>
                  <a:lnTo>
                    <a:pt x="1228725" y="1223963"/>
                  </a:lnTo>
                  <a:lnTo>
                    <a:pt x="1226343" y="1243013"/>
                  </a:lnTo>
                  <a:lnTo>
                    <a:pt x="1216818" y="1264444"/>
                  </a:lnTo>
                  <a:lnTo>
                    <a:pt x="1190625" y="1238250"/>
                  </a:lnTo>
                  <a:lnTo>
                    <a:pt x="1157287" y="1209675"/>
                  </a:lnTo>
                  <a:lnTo>
                    <a:pt x="1131093" y="1185863"/>
                  </a:lnTo>
                  <a:lnTo>
                    <a:pt x="1107281" y="1219200"/>
                  </a:lnTo>
                  <a:lnTo>
                    <a:pt x="1104900" y="1264444"/>
                  </a:lnTo>
                  <a:lnTo>
                    <a:pt x="1062037" y="1259681"/>
                  </a:lnTo>
                  <a:lnTo>
                    <a:pt x="1026318" y="1288256"/>
                  </a:lnTo>
                  <a:lnTo>
                    <a:pt x="1007268" y="1240631"/>
                  </a:lnTo>
                  <a:lnTo>
                    <a:pt x="947737" y="1231106"/>
                  </a:lnTo>
                  <a:lnTo>
                    <a:pt x="921543" y="1297781"/>
                  </a:lnTo>
                  <a:lnTo>
                    <a:pt x="885825" y="1278731"/>
                  </a:lnTo>
                  <a:lnTo>
                    <a:pt x="816768" y="1295400"/>
                  </a:lnTo>
                  <a:lnTo>
                    <a:pt x="757237" y="1259681"/>
                  </a:lnTo>
                  <a:lnTo>
                    <a:pt x="742950" y="1312069"/>
                  </a:lnTo>
                  <a:lnTo>
                    <a:pt x="704850" y="1345406"/>
                  </a:lnTo>
                  <a:lnTo>
                    <a:pt x="692943" y="1366838"/>
                  </a:lnTo>
                  <a:lnTo>
                    <a:pt x="671512" y="1509713"/>
                  </a:lnTo>
                  <a:lnTo>
                    <a:pt x="633412" y="1490663"/>
                  </a:lnTo>
                  <a:lnTo>
                    <a:pt x="614362" y="1504950"/>
                  </a:lnTo>
                  <a:lnTo>
                    <a:pt x="581025" y="1531144"/>
                  </a:lnTo>
                  <a:lnTo>
                    <a:pt x="523875" y="1502569"/>
                  </a:lnTo>
                  <a:lnTo>
                    <a:pt x="514350" y="1490663"/>
                  </a:lnTo>
                  <a:lnTo>
                    <a:pt x="483393" y="1533525"/>
                  </a:lnTo>
                  <a:lnTo>
                    <a:pt x="459581" y="1481138"/>
                  </a:lnTo>
                  <a:lnTo>
                    <a:pt x="438150" y="1471613"/>
                  </a:lnTo>
                  <a:lnTo>
                    <a:pt x="400050" y="1485900"/>
                  </a:lnTo>
                  <a:lnTo>
                    <a:pt x="338137" y="1490663"/>
                  </a:lnTo>
                  <a:lnTo>
                    <a:pt x="330993" y="1497806"/>
                  </a:lnTo>
                  <a:lnTo>
                    <a:pt x="271462" y="1471613"/>
                  </a:lnTo>
                  <a:lnTo>
                    <a:pt x="219075" y="1443038"/>
                  </a:lnTo>
                  <a:lnTo>
                    <a:pt x="138112" y="1402556"/>
                  </a:lnTo>
                  <a:lnTo>
                    <a:pt x="95250" y="1316831"/>
                  </a:lnTo>
                  <a:lnTo>
                    <a:pt x="80962" y="1288256"/>
                  </a:lnTo>
                  <a:lnTo>
                    <a:pt x="104775" y="1266825"/>
                  </a:lnTo>
                  <a:lnTo>
                    <a:pt x="76200" y="1212056"/>
                  </a:lnTo>
                  <a:lnTo>
                    <a:pt x="109537" y="1193006"/>
                  </a:lnTo>
                  <a:lnTo>
                    <a:pt x="140493" y="1143000"/>
                  </a:lnTo>
                  <a:lnTo>
                    <a:pt x="123825" y="1107281"/>
                  </a:lnTo>
                  <a:lnTo>
                    <a:pt x="178593" y="1107281"/>
                  </a:lnTo>
                  <a:lnTo>
                    <a:pt x="192881" y="1109663"/>
                  </a:lnTo>
                  <a:lnTo>
                    <a:pt x="159543" y="1064419"/>
                  </a:lnTo>
                  <a:lnTo>
                    <a:pt x="169068" y="1014413"/>
                  </a:lnTo>
                  <a:lnTo>
                    <a:pt x="123825" y="997744"/>
                  </a:lnTo>
                  <a:lnTo>
                    <a:pt x="61912" y="954881"/>
                  </a:lnTo>
                  <a:lnTo>
                    <a:pt x="45243" y="938213"/>
                  </a:lnTo>
                  <a:lnTo>
                    <a:pt x="64293" y="909638"/>
                  </a:lnTo>
                  <a:lnTo>
                    <a:pt x="47625" y="897731"/>
                  </a:lnTo>
                  <a:lnTo>
                    <a:pt x="47625" y="881063"/>
                  </a:lnTo>
                  <a:lnTo>
                    <a:pt x="26193" y="881063"/>
                  </a:lnTo>
                  <a:lnTo>
                    <a:pt x="7143" y="847725"/>
                  </a:lnTo>
                  <a:lnTo>
                    <a:pt x="0" y="816769"/>
                  </a:lnTo>
                  <a:lnTo>
                    <a:pt x="54768" y="800100"/>
                  </a:lnTo>
                  <a:lnTo>
                    <a:pt x="76200" y="788194"/>
                  </a:lnTo>
                  <a:lnTo>
                    <a:pt x="128587" y="821531"/>
                  </a:lnTo>
                  <a:lnTo>
                    <a:pt x="126206" y="800100"/>
                  </a:lnTo>
                  <a:lnTo>
                    <a:pt x="164306" y="795338"/>
                  </a:lnTo>
                  <a:lnTo>
                    <a:pt x="173831" y="759619"/>
                  </a:lnTo>
                  <a:lnTo>
                    <a:pt x="235743" y="764381"/>
                  </a:lnTo>
                  <a:lnTo>
                    <a:pt x="235743" y="764381"/>
                  </a:lnTo>
                  <a:lnTo>
                    <a:pt x="245268" y="704850"/>
                  </a:lnTo>
                  <a:lnTo>
                    <a:pt x="276225" y="666750"/>
                  </a:lnTo>
                  <a:lnTo>
                    <a:pt x="292893" y="638175"/>
                  </a:lnTo>
                  <a:lnTo>
                    <a:pt x="245268" y="602456"/>
                  </a:lnTo>
                  <a:lnTo>
                    <a:pt x="264318" y="585788"/>
                  </a:lnTo>
                  <a:lnTo>
                    <a:pt x="311943" y="602456"/>
                  </a:lnTo>
                  <a:lnTo>
                    <a:pt x="369093" y="573881"/>
                  </a:lnTo>
                  <a:lnTo>
                    <a:pt x="457200" y="545306"/>
                  </a:lnTo>
                  <a:lnTo>
                    <a:pt x="538162" y="578644"/>
                  </a:lnTo>
                  <a:lnTo>
                    <a:pt x="614362" y="550069"/>
                  </a:lnTo>
                  <a:lnTo>
                    <a:pt x="650081" y="552450"/>
                  </a:lnTo>
                  <a:lnTo>
                    <a:pt x="654843" y="523875"/>
                  </a:lnTo>
                  <a:lnTo>
                    <a:pt x="654843" y="490538"/>
                  </a:lnTo>
                  <a:lnTo>
                    <a:pt x="669131" y="469106"/>
                  </a:lnTo>
                  <a:lnTo>
                    <a:pt x="652462" y="450056"/>
                  </a:lnTo>
                  <a:lnTo>
                    <a:pt x="642937" y="411956"/>
                  </a:lnTo>
                  <a:lnTo>
                    <a:pt x="642937" y="330994"/>
                  </a:lnTo>
                  <a:lnTo>
                    <a:pt x="633412" y="319088"/>
                  </a:lnTo>
                  <a:lnTo>
                    <a:pt x="664368" y="285750"/>
                  </a:lnTo>
                  <a:lnTo>
                    <a:pt x="721518" y="292894"/>
                  </a:lnTo>
                  <a:lnTo>
                    <a:pt x="733425" y="264319"/>
                  </a:lnTo>
                  <a:lnTo>
                    <a:pt x="731043" y="228600"/>
                  </a:lnTo>
                  <a:lnTo>
                    <a:pt x="790575" y="192881"/>
                  </a:lnTo>
                  <a:lnTo>
                    <a:pt x="804862" y="166688"/>
                  </a:lnTo>
                  <a:lnTo>
                    <a:pt x="778668" y="128588"/>
                  </a:lnTo>
                  <a:lnTo>
                    <a:pt x="771525" y="104775"/>
                  </a:lnTo>
                  <a:lnTo>
                    <a:pt x="823912" y="97631"/>
                  </a:lnTo>
                  <a:lnTo>
                    <a:pt x="869156" y="52388"/>
                  </a:lnTo>
                  <a:lnTo>
                    <a:pt x="890587" y="23813"/>
                  </a:lnTo>
                  <a:lnTo>
                    <a:pt x="923925" y="9525"/>
                  </a:lnTo>
                  <a:lnTo>
                    <a:pt x="971550" y="0"/>
                  </a:lnTo>
                  <a:lnTo>
                    <a:pt x="971550" y="40481"/>
                  </a:lnTo>
                  <a:lnTo>
                    <a:pt x="950118" y="80963"/>
                  </a:lnTo>
                  <a:lnTo>
                    <a:pt x="950118" y="140494"/>
                  </a:lnTo>
                  <a:lnTo>
                    <a:pt x="969168" y="161925"/>
                  </a:lnTo>
                  <a:lnTo>
                    <a:pt x="1007268" y="188119"/>
                  </a:lnTo>
                  <a:lnTo>
                    <a:pt x="1019175" y="216694"/>
                  </a:lnTo>
                  <a:lnTo>
                    <a:pt x="1004887" y="226219"/>
                  </a:lnTo>
                  <a:lnTo>
                    <a:pt x="1057275" y="250031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head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igura a mano libera 250">
              <a:extLst>
                <a:ext uri="{FF2B5EF4-FFF2-40B4-BE49-F238E27FC236}">
                  <a16:creationId xmlns:a16="http://schemas.microsoft.com/office/drawing/2014/main" id="{89B255D8-2EED-4FED-AC6B-8AFA81FDA91C}"/>
                </a:ext>
              </a:extLst>
            </p:cNvPr>
            <p:cNvSpPr/>
            <p:nvPr/>
          </p:nvSpPr>
          <p:spPr bwMode="auto">
            <a:xfrm>
              <a:off x="6819760" y="1207430"/>
              <a:ext cx="1200173" cy="1055475"/>
            </a:xfrm>
            <a:custGeom>
              <a:avLst/>
              <a:gdLst>
                <a:gd name="connsiteX0" fmla="*/ 147638 w 1395413"/>
                <a:gd name="connsiteY0" fmla="*/ 302419 h 1247775"/>
                <a:gd name="connsiteX1" fmla="*/ 204788 w 1395413"/>
                <a:gd name="connsiteY1" fmla="*/ 314325 h 1247775"/>
                <a:gd name="connsiteX2" fmla="*/ 216694 w 1395413"/>
                <a:gd name="connsiteY2" fmla="*/ 335756 h 1247775"/>
                <a:gd name="connsiteX3" fmla="*/ 180975 w 1395413"/>
                <a:gd name="connsiteY3" fmla="*/ 369094 h 1247775"/>
                <a:gd name="connsiteX4" fmla="*/ 233363 w 1395413"/>
                <a:gd name="connsiteY4" fmla="*/ 402431 h 1247775"/>
                <a:gd name="connsiteX5" fmla="*/ 221456 w 1395413"/>
                <a:gd name="connsiteY5" fmla="*/ 431006 h 1247775"/>
                <a:gd name="connsiteX6" fmla="*/ 202406 w 1395413"/>
                <a:gd name="connsiteY6" fmla="*/ 461963 h 1247775"/>
                <a:gd name="connsiteX7" fmla="*/ 252413 w 1395413"/>
                <a:gd name="connsiteY7" fmla="*/ 488156 h 1247775"/>
                <a:gd name="connsiteX8" fmla="*/ 304800 w 1395413"/>
                <a:gd name="connsiteY8" fmla="*/ 471488 h 1247775"/>
                <a:gd name="connsiteX9" fmla="*/ 307181 w 1395413"/>
                <a:gd name="connsiteY9" fmla="*/ 450056 h 1247775"/>
                <a:gd name="connsiteX10" fmla="*/ 290513 w 1395413"/>
                <a:gd name="connsiteY10" fmla="*/ 421481 h 1247775"/>
                <a:gd name="connsiteX11" fmla="*/ 257175 w 1395413"/>
                <a:gd name="connsiteY11" fmla="*/ 400050 h 1247775"/>
                <a:gd name="connsiteX12" fmla="*/ 292894 w 1395413"/>
                <a:gd name="connsiteY12" fmla="*/ 383381 h 1247775"/>
                <a:gd name="connsiteX13" fmla="*/ 271463 w 1395413"/>
                <a:gd name="connsiteY13" fmla="*/ 342900 h 1247775"/>
                <a:gd name="connsiteX14" fmla="*/ 321469 w 1395413"/>
                <a:gd name="connsiteY14" fmla="*/ 338138 h 1247775"/>
                <a:gd name="connsiteX15" fmla="*/ 321469 w 1395413"/>
                <a:gd name="connsiteY15" fmla="*/ 297656 h 1247775"/>
                <a:gd name="connsiteX16" fmla="*/ 411956 w 1395413"/>
                <a:gd name="connsiteY16" fmla="*/ 219075 h 1247775"/>
                <a:gd name="connsiteX17" fmla="*/ 423863 w 1395413"/>
                <a:gd name="connsiteY17" fmla="*/ 147638 h 1247775"/>
                <a:gd name="connsiteX18" fmla="*/ 433388 w 1395413"/>
                <a:gd name="connsiteY18" fmla="*/ 109538 h 1247775"/>
                <a:gd name="connsiteX19" fmla="*/ 414338 w 1395413"/>
                <a:gd name="connsiteY19" fmla="*/ 92869 h 1247775"/>
                <a:gd name="connsiteX20" fmla="*/ 433388 w 1395413"/>
                <a:gd name="connsiteY20" fmla="*/ 71438 h 1247775"/>
                <a:gd name="connsiteX21" fmla="*/ 440531 w 1395413"/>
                <a:gd name="connsiteY21" fmla="*/ 54769 h 1247775"/>
                <a:gd name="connsiteX22" fmla="*/ 483394 w 1395413"/>
                <a:gd name="connsiteY22" fmla="*/ 61913 h 1247775"/>
                <a:gd name="connsiteX23" fmla="*/ 483394 w 1395413"/>
                <a:gd name="connsiteY23" fmla="*/ 80963 h 1247775"/>
                <a:gd name="connsiteX24" fmla="*/ 521494 w 1395413"/>
                <a:gd name="connsiteY24" fmla="*/ 71438 h 1247775"/>
                <a:gd name="connsiteX25" fmla="*/ 526256 w 1395413"/>
                <a:gd name="connsiteY25" fmla="*/ 100013 h 1247775"/>
                <a:gd name="connsiteX26" fmla="*/ 507206 w 1395413"/>
                <a:gd name="connsiteY26" fmla="*/ 128588 h 1247775"/>
                <a:gd name="connsiteX27" fmla="*/ 564356 w 1395413"/>
                <a:gd name="connsiteY27" fmla="*/ 190500 h 1247775"/>
                <a:gd name="connsiteX28" fmla="*/ 626269 w 1395413"/>
                <a:gd name="connsiteY28" fmla="*/ 204788 h 1247775"/>
                <a:gd name="connsiteX29" fmla="*/ 635794 w 1395413"/>
                <a:gd name="connsiteY29" fmla="*/ 173831 h 1247775"/>
                <a:gd name="connsiteX30" fmla="*/ 671513 w 1395413"/>
                <a:gd name="connsiteY30" fmla="*/ 173831 h 1247775"/>
                <a:gd name="connsiteX31" fmla="*/ 726281 w 1395413"/>
                <a:gd name="connsiteY31" fmla="*/ 164306 h 1247775"/>
                <a:gd name="connsiteX32" fmla="*/ 738188 w 1395413"/>
                <a:gd name="connsiteY32" fmla="*/ 157163 h 1247775"/>
                <a:gd name="connsiteX33" fmla="*/ 738188 w 1395413"/>
                <a:gd name="connsiteY33" fmla="*/ 157163 h 1247775"/>
                <a:gd name="connsiteX34" fmla="*/ 766763 w 1395413"/>
                <a:gd name="connsiteY34" fmla="*/ 183356 h 1247775"/>
                <a:gd name="connsiteX35" fmla="*/ 752475 w 1395413"/>
                <a:gd name="connsiteY35" fmla="*/ 207169 h 1247775"/>
                <a:gd name="connsiteX36" fmla="*/ 778669 w 1395413"/>
                <a:gd name="connsiteY36" fmla="*/ 233363 h 1247775"/>
                <a:gd name="connsiteX37" fmla="*/ 778669 w 1395413"/>
                <a:gd name="connsiteY37" fmla="*/ 252413 h 1247775"/>
                <a:gd name="connsiteX38" fmla="*/ 778669 w 1395413"/>
                <a:gd name="connsiteY38" fmla="*/ 252413 h 1247775"/>
                <a:gd name="connsiteX39" fmla="*/ 862013 w 1395413"/>
                <a:gd name="connsiteY39" fmla="*/ 257175 h 1247775"/>
                <a:gd name="connsiteX40" fmla="*/ 826294 w 1395413"/>
                <a:gd name="connsiteY40" fmla="*/ 197644 h 1247775"/>
                <a:gd name="connsiteX41" fmla="*/ 833438 w 1395413"/>
                <a:gd name="connsiteY41" fmla="*/ 169069 h 1247775"/>
                <a:gd name="connsiteX42" fmla="*/ 845344 w 1395413"/>
                <a:gd name="connsiteY42" fmla="*/ 130969 h 1247775"/>
                <a:gd name="connsiteX43" fmla="*/ 788194 w 1395413"/>
                <a:gd name="connsiteY43" fmla="*/ 123825 h 1247775"/>
                <a:gd name="connsiteX44" fmla="*/ 792956 w 1395413"/>
                <a:gd name="connsiteY44" fmla="*/ 57150 h 1247775"/>
                <a:gd name="connsiteX45" fmla="*/ 812006 w 1395413"/>
                <a:gd name="connsiteY45" fmla="*/ 26194 h 1247775"/>
                <a:gd name="connsiteX46" fmla="*/ 866775 w 1395413"/>
                <a:gd name="connsiteY46" fmla="*/ 0 h 1247775"/>
                <a:gd name="connsiteX47" fmla="*/ 892969 w 1395413"/>
                <a:gd name="connsiteY47" fmla="*/ 0 h 1247775"/>
                <a:gd name="connsiteX48" fmla="*/ 895350 w 1395413"/>
                <a:gd name="connsiteY48" fmla="*/ 40481 h 1247775"/>
                <a:gd name="connsiteX49" fmla="*/ 976313 w 1395413"/>
                <a:gd name="connsiteY49" fmla="*/ 66675 h 1247775"/>
                <a:gd name="connsiteX50" fmla="*/ 1004888 w 1395413"/>
                <a:gd name="connsiteY50" fmla="*/ 69056 h 1247775"/>
                <a:gd name="connsiteX51" fmla="*/ 1019175 w 1395413"/>
                <a:gd name="connsiteY51" fmla="*/ 102394 h 1247775"/>
                <a:gd name="connsiteX52" fmla="*/ 1057275 w 1395413"/>
                <a:gd name="connsiteY52" fmla="*/ 109538 h 1247775"/>
                <a:gd name="connsiteX53" fmla="*/ 1064419 w 1395413"/>
                <a:gd name="connsiteY53" fmla="*/ 161925 h 1247775"/>
                <a:gd name="connsiteX54" fmla="*/ 1014413 w 1395413"/>
                <a:gd name="connsiteY54" fmla="*/ 185738 h 1247775"/>
                <a:gd name="connsiteX55" fmla="*/ 1040606 w 1395413"/>
                <a:gd name="connsiteY55" fmla="*/ 240506 h 1247775"/>
                <a:gd name="connsiteX56" fmla="*/ 1040606 w 1395413"/>
                <a:gd name="connsiteY56" fmla="*/ 271463 h 1247775"/>
                <a:gd name="connsiteX57" fmla="*/ 1031081 w 1395413"/>
                <a:gd name="connsiteY57" fmla="*/ 304800 h 1247775"/>
                <a:gd name="connsiteX58" fmla="*/ 1007269 w 1395413"/>
                <a:gd name="connsiteY58" fmla="*/ 354806 h 1247775"/>
                <a:gd name="connsiteX59" fmla="*/ 978694 w 1395413"/>
                <a:gd name="connsiteY59" fmla="*/ 397669 h 1247775"/>
                <a:gd name="connsiteX60" fmla="*/ 976313 w 1395413"/>
                <a:gd name="connsiteY60" fmla="*/ 435769 h 1247775"/>
                <a:gd name="connsiteX61" fmla="*/ 985838 w 1395413"/>
                <a:gd name="connsiteY61" fmla="*/ 445294 h 1247775"/>
                <a:gd name="connsiteX62" fmla="*/ 997744 w 1395413"/>
                <a:gd name="connsiteY62" fmla="*/ 497681 h 1247775"/>
                <a:gd name="connsiteX63" fmla="*/ 1028700 w 1395413"/>
                <a:gd name="connsiteY63" fmla="*/ 545306 h 1247775"/>
                <a:gd name="connsiteX64" fmla="*/ 1078706 w 1395413"/>
                <a:gd name="connsiteY64" fmla="*/ 528638 h 1247775"/>
                <a:gd name="connsiteX65" fmla="*/ 1178719 w 1395413"/>
                <a:gd name="connsiteY65" fmla="*/ 538163 h 1247775"/>
                <a:gd name="connsiteX66" fmla="*/ 1143000 w 1395413"/>
                <a:gd name="connsiteY66" fmla="*/ 559594 h 1247775"/>
                <a:gd name="connsiteX67" fmla="*/ 1102519 w 1395413"/>
                <a:gd name="connsiteY67" fmla="*/ 609600 h 1247775"/>
                <a:gd name="connsiteX68" fmla="*/ 1081088 w 1395413"/>
                <a:gd name="connsiteY68" fmla="*/ 638175 h 1247775"/>
                <a:gd name="connsiteX69" fmla="*/ 1050131 w 1395413"/>
                <a:gd name="connsiteY69" fmla="*/ 683419 h 1247775"/>
                <a:gd name="connsiteX70" fmla="*/ 1050131 w 1395413"/>
                <a:gd name="connsiteY70" fmla="*/ 745331 h 1247775"/>
                <a:gd name="connsiteX71" fmla="*/ 1057275 w 1395413"/>
                <a:gd name="connsiteY71" fmla="*/ 783431 h 1247775"/>
                <a:gd name="connsiteX72" fmla="*/ 1090613 w 1395413"/>
                <a:gd name="connsiteY72" fmla="*/ 781050 h 1247775"/>
                <a:gd name="connsiteX73" fmla="*/ 1069181 w 1395413"/>
                <a:gd name="connsiteY73" fmla="*/ 828675 h 1247775"/>
                <a:gd name="connsiteX74" fmla="*/ 1071563 w 1395413"/>
                <a:gd name="connsiteY74" fmla="*/ 881063 h 1247775"/>
                <a:gd name="connsiteX75" fmla="*/ 1092994 w 1395413"/>
                <a:gd name="connsiteY75" fmla="*/ 881063 h 1247775"/>
                <a:gd name="connsiteX76" fmla="*/ 1097756 w 1395413"/>
                <a:gd name="connsiteY76" fmla="*/ 850106 h 1247775"/>
                <a:gd name="connsiteX77" fmla="*/ 1171575 w 1395413"/>
                <a:gd name="connsiteY77" fmla="*/ 928688 h 1247775"/>
                <a:gd name="connsiteX78" fmla="*/ 1228725 w 1395413"/>
                <a:gd name="connsiteY78" fmla="*/ 976313 h 1247775"/>
                <a:gd name="connsiteX79" fmla="*/ 1223963 w 1395413"/>
                <a:gd name="connsiteY79" fmla="*/ 1000125 h 1247775"/>
                <a:gd name="connsiteX80" fmla="*/ 1252538 w 1395413"/>
                <a:gd name="connsiteY80" fmla="*/ 1019175 h 1247775"/>
                <a:gd name="connsiteX81" fmla="*/ 1288256 w 1395413"/>
                <a:gd name="connsiteY81" fmla="*/ 1007269 h 1247775"/>
                <a:gd name="connsiteX82" fmla="*/ 1307306 w 1395413"/>
                <a:gd name="connsiteY82" fmla="*/ 1007269 h 1247775"/>
                <a:gd name="connsiteX83" fmla="*/ 1321594 w 1395413"/>
                <a:gd name="connsiteY83" fmla="*/ 1059656 h 1247775"/>
                <a:gd name="connsiteX84" fmla="*/ 1395413 w 1395413"/>
                <a:gd name="connsiteY84" fmla="*/ 1102519 h 1247775"/>
                <a:gd name="connsiteX85" fmla="*/ 1364456 w 1395413"/>
                <a:gd name="connsiteY85" fmla="*/ 1114425 h 1247775"/>
                <a:gd name="connsiteX86" fmla="*/ 1314450 w 1395413"/>
                <a:gd name="connsiteY86" fmla="*/ 1114425 h 1247775"/>
                <a:gd name="connsiteX87" fmla="*/ 1254919 w 1395413"/>
                <a:gd name="connsiteY87" fmla="*/ 1107281 h 1247775"/>
                <a:gd name="connsiteX88" fmla="*/ 1216819 w 1395413"/>
                <a:gd name="connsiteY88" fmla="*/ 1112044 h 1247775"/>
                <a:gd name="connsiteX89" fmla="*/ 1181100 w 1395413"/>
                <a:gd name="connsiteY89" fmla="*/ 1138238 h 1247775"/>
                <a:gd name="connsiteX90" fmla="*/ 1116806 w 1395413"/>
                <a:gd name="connsiteY90" fmla="*/ 1123950 h 1247775"/>
                <a:gd name="connsiteX91" fmla="*/ 1071563 w 1395413"/>
                <a:gd name="connsiteY91" fmla="*/ 1081088 h 1247775"/>
                <a:gd name="connsiteX92" fmla="*/ 1012031 w 1395413"/>
                <a:gd name="connsiteY92" fmla="*/ 1140619 h 1247775"/>
                <a:gd name="connsiteX93" fmla="*/ 847725 w 1395413"/>
                <a:gd name="connsiteY93" fmla="*/ 1066800 h 1247775"/>
                <a:gd name="connsiteX94" fmla="*/ 823913 w 1395413"/>
                <a:gd name="connsiteY94" fmla="*/ 1054894 h 1247775"/>
                <a:gd name="connsiteX95" fmla="*/ 823913 w 1395413"/>
                <a:gd name="connsiteY95" fmla="*/ 1038225 h 1247775"/>
                <a:gd name="connsiteX96" fmla="*/ 776288 w 1395413"/>
                <a:gd name="connsiteY96" fmla="*/ 1040606 h 1247775"/>
                <a:gd name="connsiteX97" fmla="*/ 747713 w 1395413"/>
                <a:gd name="connsiteY97" fmla="*/ 1023938 h 1247775"/>
                <a:gd name="connsiteX98" fmla="*/ 752475 w 1395413"/>
                <a:gd name="connsiteY98" fmla="*/ 997744 h 1247775"/>
                <a:gd name="connsiteX99" fmla="*/ 740569 w 1395413"/>
                <a:gd name="connsiteY99" fmla="*/ 971550 h 1247775"/>
                <a:gd name="connsiteX100" fmla="*/ 678656 w 1395413"/>
                <a:gd name="connsiteY100" fmla="*/ 1000125 h 1247775"/>
                <a:gd name="connsiteX101" fmla="*/ 678656 w 1395413"/>
                <a:gd name="connsiteY101" fmla="*/ 976313 h 1247775"/>
                <a:gd name="connsiteX102" fmla="*/ 650081 w 1395413"/>
                <a:gd name="connsiteY102" fmla="*/ 997744 h 1247775"/>
                <a:gd name="connsiteX103" fmla="*/ 621506 w 1395413"/>
                <a:gd name="connsiteY103" fmla="*/ 1000125 h 1247775"/>
                <a:gd name="connsiteX104" fmla="*/ 602456 w 1395413"/>
                <a:gd name="connsiteY104" fmla="*/ 997744 h 1247775"/>
                <a:gd name="connsiteX105" fmla="*/ 600075 w 1395413"/>
                <a:gd name="connsiteY105" fmla="*/ 978694 h 1247775"/>
                <a:gd name="connsiteX106" fmla="*/ 578644 w 1395413"/>
                <a:gd name="connsiteY106" fmla="*/ 1009650 h 1247775"/>
                <a:gd name="connsiteX107" fmla="*/ 533400 w 1395413"/>
                <a:gd name="connsiteY107" fmla="*/ 1012031 h 1247775"/>
                <a:gd name="connsiteX108" fmla="*/ 490538 w 1395413"/>
                <a:gd name="connsiteY108" fmla="*/ 1004888 h 1247775"/>
                <a:gd name="connsiteX109" fmla="*/ 485775 w 1395413"/>
                <a:gd name="connsiteY109" fmla="*/ 971550 h 1247775"/>
                <a:gd name="connsiteX110" fmla="*/ 461963 w 1395413"/>
                <a:gd name="connsiteY110" fmla="*/ 971550 h 1247775"/>
                <a:gd name="connsiteX111" fmla="*/ 381000 w 1395413"/>
                <a:gd name="connsiteY111" fmla="*/ 1047750 h 1247775"/>
                <a:gd name="connsiteX112" fmla="*/ 381000 w 1395413"/>
                <a:gd name="connsiteY112" fmla="*/ 1112044 h 1247775"/>
                <a:gd name="connsiteX113" fmla="*/ 407194 w 1395413"/>
                <a:gd name="connsiteY113" fmla="*/ 1126331 h 1247775"/>
                <a:gd name="connsiteX114" fmla="*/ 383381 w 1395413"/>
                <a:gd name="connsiteY114" fmla="*/ 1152525 h 1247775"/>
                <a:gd name="connsiteX115" fmla="*/ 359569 w 1395413"/>
                <a:gd name="connsiteY115" fmla="*/ 1188244 h 1247775"/>
                <a:gd name="connsiteX116" fmla="*/ 392906 w 1395413"/>
                <a:gd name="connsiteY116" fmla="*/ 1216819 h 1247775"/>
                <a:gd name="connsiteX117" fmla="*/ 366713 w 1395413"/>
                <a:gd name="connsiteY117" fmla="*/ 1247775 h 1247775"/>
                <a:gd name="connsiteX118" fmla="*/ 314325 w 1395413"/>
                <a:gd name="connsiteY118" fmla="*/ 1214438 h 1247775"/>
                <a:gd name="connsiteX119" fmla="*/ 309563 w 1395413"/>
                <a:gd name="connsiteY119" fmla="*/ 1152525 h 1247775"/>
                <a:gd name="connsiteX120" fmla="*/ 280988 w 1395413"/>
                <a:gd name="connsiteY120" fmla="*/ 1166813 h 1247775"/>
                <a:gd name="connsiteX121" fmla="*/ 250031 w 1395413"/>
                <a:gd name="connsiteY121" fmla="*/ 1054894 h 1247775"/>
                <a:gd name="connsiteX122" fmla="*/ 190500 w 1395413"/>
                <a:gd name="connsiteY122" fmla="*/ 978694 h 1247775"/>
                <a:gd name="connsiteX123" fmla="*/ 92869 w 1395413"/>
                <a:gd name="connsiteY123" fmla="*/ 1009650 h 1247775"/>
                <a:gd name="connsiteX124" fmla="*/ 71438 w 1395413"/>
                <a:gd name="connsiteY124" fmla="*/ 962025 h 1247775"/>
                <a:gd name="connsiteX125" fmla="*/ 28575 w 1395413"/>
                <a:gd name="connsiteY125" fmla="*/ 914400 h 1247775"/>
                <a:gd name="connsiteX126" fmla="*/ 23813 w 1395413"/>
                <a:gd name="connsiteY126" fmla="*/ 845344 h 1247775"/>
                <a:gd name="connsiteX127" fmla="*/ 0 w 1395413"/>
                <a:gd name="connsiteY127" fmla="*/ 776288 h 1247775"/>
                <a:gd name="connsiteX128" fmla="*/ 71438 w 1395413"/>
                <a:gd name="connsiteY128" fmla="*/ 783431 h 1247775"/>
                <a:gd name="connsiteX129" fmla="*/ 121444 w 1395413"/>
                <a:gd name="connsiteY129" fmla="*/ 776288 h 1247775"/>
                <a:gd name="connsiteX130" fmla="*/ 159544 w 1395413"/>
                <a:gd name="connsiteY130" fmla="*/ 776288 h 1247775"/>
                <a:gd name="connsiteX131" fmla="*/ 173831 w 1395413"/>
                <a:gd name="connsiteY131" fmla="*/ 745331 h 1247775"/>
                <a:gd name="connsiteX132" fmla="*/ 154781 w 1395413"/>
                <a:gd name="connsiteY132" fmla="*/ 704850 h 1247775"/>
                <a:gd name="connsiteX133" fmla="*/ 133350 w 1395413"/>
                <a:gd name="connsiteY133" fmla="*/ 704850 h 1247775"/>
                <a:gd name="connsiteX134" fmla="*/ 123825 w 1395413"/>
                <a:gd name="connsiteY134" fmla="*/ 642938 h 1247775"/>
                <a:gd name="connsiteX135" fmla="*/ 95250 w 1395413"/>
                <a:gd name="connsiteY135" fmla="*/ 621506 h 1247775"/>
                <a:gd name="connsiteX136" fmla="*/ 133350 w 1395413"/>
                <a:gd name="connsiteY136" fmla="*/ 573881 h 1247775"/>
                <a:gd name="connsiteX137" fmla="*/ 83344 w 1395413"/>
                <a:gd name="connsiteY137" fmla="*/ 573881 h 1247775"/>
                <a:gd name="connsiteX138" fmla="*/ 59531 w 1395413"/>
                <a:gd name="connsiteY138" fmla="*/ 550069 h 1247775"/>
                <a:gd name="connsiteX139" fmla="*/ 83344 w 1395413"/>
                <a:gd name="connsiteY139" fmla="*/ 478631 h 1247775"/>
                <a:gd name="connsiteX140" fmla="*/ 54769 w 1395413"/>
                <a:gd name="connsiteY140" fmla="*/ 440531 h 1247775"/>
                <a:gd name="connsiteX141" fmla="*/ 97631 w 1395413"/>
                <a:gd name="connsiteY141" fmla="*/ 395288 h 1247775"/>
                <a:gd name="connsiteX142" fmla="*/ 147638 w 1395413"/>
                <a:gd name="connsiteY142" fmla="*/ 373856 h 1247775"/>
                <a:gd name="connsiteX143" fmla="*/ 147638 w 1395413"/>
                <a:gd name="connsiteY143" fmla="*/ 302419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395413" h="1247775">
                  <a:moveTo>
                    <a:pt x="147638" y="302419"/>
                  </a:moveTo>
                  <a:lnTo>
                    <a:pt x="204788" y="314325"/>
                  </a:lnTo>
                  <a:lnTo>
                    <a:pt x="216694" y="335756"/>
                  </a:lnTo>
                  <a:lnTo>
                    <a:pt x="180975" y="369094"/>
                  </a:lnTo>
                  <a:lnTo>
                    <a:pt x="233363" y="402431"/>
                  </a:lnTo>
                  <a:lnTo>
                    <a:pt x="221456" y="431006"/>
                  </a:lnTo>
                  <a:lnTo>
                    <a:pt x="202406" y="461963"/>
                  </a:lnTo>
                  <a:lnTo>
                    <a:pt x="252413" y="488156"/>
                  </a:lnTo>
                  <a:lnTo>
                    <a:pt x="304800" y="471488"/>
                  </a:lnTo>
                  <a:lnTo>
                    <a:pt x="307181" y="450056"/>
                  </a:lnTo>
                  <a:lnTo>
                    <a:pt x="290513" y="421481"/>
                  </a:lnTo>
                  <a:lnTo>
                    <a:pt x="257175" y="400050"/>
                  </a:lnTo>
                  <a:lnTo>
                    <a:pt x="292894" y="383381"/>
                  </a:lnTo>
                  <a:lnTo>
                    <a:pt x="271463" y="342900"/>
                  </a:lnTo>
                  <a:lnTo>
                    <a:pt x="321469" y="338138"/>
                  </a:lnTo>
                  <a:lnTo>
                    <a:pt x="321469" y="297656"/>
                  </a:lnTo>
                  <a:lnTo>
                    <a:pt x="411956" y="219075"/>
                  </a:lnTo>
                  <a:lnTo>
                    <a:pt x="423863" y="147638"/>
                  </a:lnTo>
                  <a:lnTo>
                    <a:pt x="433388" y="109538"/>
                  </a:lnTo>
                  <a:lnTo>
                    <a:pt x="414338" y="92869"/>
                  </a:lnTo>
                  <a:lnTo>
                    <a:pt x="433388" y="71438"/>
                  </a:lnTo>
                  <a:lnTo>
                    <a:pt x="440531" y="54769"/>
                  </a:lnTo>
                  <a:lnTo>
                    <a:pt x="483394" y="61913"/>
                  </a:lnTo>
                  <a:lnTo>
                    <a:pt x="483394" y="80963"/>
                  </a:lnTo>
                  <a:lnTo>
                    <a:pt x="521494" y="71438"/>
                  </a:lnTo>
                  <a:lnTo>
                    <a:pt x="526256" y="100013"/>
                  </a:lnTo>
                  <a:lnTo>
                    <a:pt x="507206" y="128588"/>
                  </a:lnTo>
                  <a:lnTo>
                    <a:pt x="564356" y="190500"/>
                  </a:lnTo>
                  <a:lnTo>
                    <a:pt x="626269" y="204788"/>
                  </a:lnTo>
                  <a:lnTo>
                    <a:pt x="635794" y="173831"/>
                  </a:lnTo>
                  <a:lnTo>
                    <a:pt x="671513" y="173831"/>
                  </a:lnTo>
                  <a:lnTo>
                    <a:pt x="726281" y="164306"/>
                  </a:lnTo>
                  <a:lnTo>
                    <a:pt x="738188" y="157163"/>
                  </a:lnTo>
                  <a:lnTo>
                    <a:pt x="738188" y="157163"/>
                  </a:lnTo>
                  <a:lnTo>
                    <a:pt x="766763" y="183356"/>
                  </a:lnTo>
                  <a:lnTo>
                    <a:pt x="752475" y="207169"/>
                  </a:lnTo>
                  <a:lnTo>
                    <a:pt x="778669" y="233363"/>
                  </a:lnTo>
                  <a:lnTo>
                    <a:pt x="778669" y="252413"/>
                  </a:lnTo>
                  <a:lnTo>
                    <a:pt x="778669" y="252413"/>
                  </a:lnTo>
                  <a:lnTo>
                    <a:pt x="862013" y="257175"/>
                  </a:lnTo>
                  <a:lnTo>
                    <a:pt x="826294" y="197644"/>
                  </a:lnTo>
                  <a:lnTo>
                    <a:pt x="833438" y="169069"/>
                  </a:lnTo>
                  <a:lnTo>
                    <a:pt x="845344" y="130969"/>
                  </a:lnTo>
                  <a:lnTo>
                    <a:pt x="788194" y="123825"/>
                  </a:lnTo>
                  <a:lnTo>
                    <a:pt x="792956" y="57150"/>
                  </a:lnTo>
                  <a:lnTo>
                    <a:pt x="812006" y="26194"/>
                  </a:lnTo>
                  <a:lnTo>
                    <a:pt x="866775" y="0"/>
                  </a:lnTo>
                  <a:lnTo>
                    <a:pt x="892969" y="0"/>
                  </a:lnTo>
                  <a:lnTo>
                    <a:pt x="895350" y="40481"/>
                  </a:lnTo>
                  <a:lnTo>
                    <a:pt x="976313" y="66675"/>
                  </a:lnTo>
                  <a:lnTo>
                    <a:pt x="1004888" y="69056"/>
                  </a:lnTo>
                  <a:lnTo>
                    <a:pt x="1019175" y="102394"/>
                  </a:lnTo>
                  <a:lnTo>
                    <a:pt x="1057275" y="109538"/>
                  </a:lnTo>
                  <a:lnTo>
                    <a:pt x="1064419" y="161925"/>
                  </a:lnTo>
                  <a:lnTo>
                    <a:pt x="1014413" y="185738"/>
                  </a:lnTo>
                  <a:lnTo>
                    <a:pt x="1040606" y="240506"/>
                  </a:lnTo>
                  <a:lnTo>
                    <a:pt x="1040606" y="271463"/>
                  </a:lnTo>
                  <a:lnTo>
                    <a:pt x="1031081" y="304800"/>
                  </a:lnTo>
                  <a:lnTo>
                    <a:pt x="1007269" y="354806"/>
                  </a:lnTo>
                  <a:lnTo>
                    <a:pt x="978694" y="397669"/>
                  </a:lnTo>
                  <a:lnTo>
                    <a:pt x="976313" y="435769"/>
                  </a:lnTo>
                  <a:lnTo>
                    <a:pt x="985838" y="445294"/>
                  </a:lnTo>
                  <a:lnTo>
                    <a:pt x="997744" y="497681"/>
                  </a:lnTo>
                  <a:lnTo>
                    <a:pt x="1028700" y="545306"/>
                  </a:lnTo>
                  <a:lnTo>
                    <a:pt x="1078706" y="528638"/>
                  </a:lnTo>
                  <a:lnTo>
                    <a:pt x="1178719" y="538163"/>
                  </a:lnTo>
                  <a:lnTo>
                    <a:pt x="1143000" y="559594"/>
                  </a:lnTo>
                  <a:lnTo>
                    <a:pt x="1102519" y="609600"/>
                  </a:lnTo>
                  <a:lnTo>
                    <a:pt x="1081088" y="638175"/>
                  </a:lnTo>
                  <a:lnTo>
                    <a:pt x="1050131" y="683419"/>
                  </a:lnTo>
                  <a:lnTo>
                    <a:pt x="1050131" y="745331"/>
                  </a:lnTo>
                  <a:lnTo>
                    <a:pt x="1057275" y="783431"/>
                  </a:lnTo>
                  <a:lnTo>
                    <a:pt x="1090613" y="781050"/>
                  </a:lnTo>
                  <a:lnTo>
                    <a:pt x="1069181" y="828675"/>
                  </a:lnTo>
                  <a:lnTo>
                    <a:pt x="1071563" y="881063"/>
                  </a:lnTo>
                  <a:lnTo>
                    <a:pt x="1092994" y="881063"/>
                  </a:lnTo>
                  <a:lnTo>
                    <a:pt x="1097756" y="850106"/>
                  </a:lnTo>
                  <a:lnTo>
                    <a:pt x="1171575" y="928688"/>
                  </a:lnTo>
                  <a:lnTo>
                    <a:pt x="1228725" y="976313"/>
                  </a:lnTo>
                  <a:lnTo>
                    <a:pt x="1223963" y="1000125"/>
                  </a:lnTo>
                  <a:lnTo>
                    <a:pt x="1252538" y="1019175"/>
                  </a:lnTo>
                  <a:lnTo>
                    <a:pt x="1288256" y="1007269"/>
                  </a:lnTo>
                  <a:lnTo>
                    <a:pt x="1307306" y="1007269"/>
                  </a:lnTo>
                  <a:lnTo>
                    <a:pt x="1321594" y="1059656"/>
                  </a:lnTo>
                  <a:lnTo>
                    <a:pt x="1395413" y="1102519"/>
                  </a:lnTo>
                  <a:lnTo>
                    <a:pt x="1364456" y="1114425"/>
                  </a:lnTo>
                  <a:lnTo>
                    <a:pt x="1314450" y="1114425"/>
                  </a:lnTo>
                  <a:lnTo>
                    <a:pt x="1254919" y="1107281"/>
                  </a:lnTo>
                  <a:lnTo>
                    <a:pt x="1216819" y="1112044"/>
                  </a:lnTo>
                  <a:lnTo>
                    <a:pt x="1181100" y="1138238"/>
                  </a:lnTo>
                  <a:lnTo>
                    <a:pt x="1116806" y="1123950"/>
                  </a:lnTo>
                  <a:lnTo>
                    <a:pt x="1071563" y="1081088"/>
                  </a:lnTo>
                  <a:lnTo>
                    <a:pt x="1012031" y="1140619"/>
                  </a:lnTo>
                  <a:lnTo>
                    <a:pt x="847725" y="1066800"/>
                  </a:lnTo>
                  <a:lnTo>
                    <a:pt x="823913" y="1054894"/>
                  </a:lnTo>
                  <a:lnTo>
                    <a:pt x="823913" y="1038225"/>
                  </a:lnTo>
                  <a:lnTo>
                    <a:pt x="776288" y="1040606"/>
                  </a:lnTo>
                  <a:lnTo>
                    <a:pt x="747713" y="1023938"/>
                  </a:lnTo>
                  <a:lnTo>
                    <a:pt x="752475" y="997744"/>
                  </a:lnTo>
                  <a:lnTo>
                    <a:pt x="740569" y="971550"/>
                  </a:lnTo>
                  <a:lnTo>
                    <a:pt x="678656" y="1000125"/>
                  </a:lnTo>
                  <a:lnTo>
                    <a:pt x="678656" y="976313"/>
                  </a:lnTo>
                  <a:lnTo>
                    <a:pt x="650081" y="997744"/>
                  </a:lnTo>
                  <a:lnTo>
                    <a:pt x="621506" y="1000125"/>
                  </a:lnTo>
                  <a:lnTo>
                    <a:pt x="602456" y="997744"/>
                  </a:lnTo>
                  <a:lnTo>
                    <a:pt x="600075" y="978694"/>
                  </a:lnTo>
                  <a:lnTo>
                    <a:pt x="578644" y="1009650"/>
                  </a:lnTo>
                  <a:lnTo>
                    <a:pt x="533400" y="1012031"/>
                  </a:lnTo>
                  <a:lnTo>
                    <a:pt x="490538" y="1004888"/>
                  </a:lnTo>
                  <a:lnTo>
                    <a:pt x="485775" y="971550"/>
                  </a:lnTo>
                  <a:lnTo>
                    <a:pt x="461963" y="971550"/>
                  </a:lnTo>
                  <a:lnTo>
                    <a:pt x="381000" y="1047750"/>
                  </a:lnTo>
                  <a:lnTo>
                    <a:pt x="381000" y="1112044"/>
                  </a:lnTo>
                  <a:lnTo>
                    <a:pt x="407194" y="1126331"/>
                  </a:lnTo>
                  <a:lnTo>
                    <a:pt x="383381" y="1152525"/>
                  </a:lnTo>
                  <a:lnTo>
                    <a:pt x="359569" y="1188244"/>
                  </a:lnTo>
                  <a:lnTo>
                    <a:pt x="392906" y="1216819"/>
                  </a:lnTo>
                  <a:lnTo>
                    <a:pt x="366713" y="1247775"/>
                  </a:lnTo>
                  <a:lnTo>
                    <a:pt x="314325" y="1214438"/>
                  </a:lnTo>
                  <a:lnTo>
                    <a:pt x="309563" y="1152525"/>
                  </a:lnTo>
                  <a:lnTo>
                    <a:pt x="280988" y="1166813"/>
                  </a:lnTo>
                  <a:lnTo>
                    <a:pt x="250031" y="1054894"/>
                  </a:lnTo>
                  <a:lnTo>
                    <a:pt x="190500" y="978694"/>
                  </a:lnTo>
                  <a:lnTo>
                    <a:pt x="92869" y="1009650"/>
                  </a:lnTo>
                  <a:lnTo>
                    <a:pt x="71438" y="962025"/>
                  </a:lnTo>
                  <a:lnTo>
                    <a:pt x="28575" y="914400"/>
                  </a:lnTo>
                  <a:lnTo>
                    <a:pt x="23813" y="845344"/>
                  </a:lnTo>
                  <a:lnTo>
                    <a:pt x="0" y="776288"/>
                  </a:lnTo>
                  <a:lnTo>
                    <a:pt x="71438" y="783431"/>
                  </a:lnTo>
                  <a:lnTo>
                    <a:pt x="121444" y="776288"/>
                  </a:lnTo>
                  <a:lnTo>
                    <a:pt x="159544" y="776288"/>
                  </a:lnTo>
                  <a:lnTo>
                    <a:pt x="173831" y="745331"/>
                  </a:lnTo>
                  <a:lnTo>
                    <a:pt x="154781" y="704850"/>
                  </a:lnTo>
                  <a:lnTo>
                    <a:pt x="133350" y="704850"/>
                  </a:lnTo>
                  <a:lnTo>
                    <a:pt x="123825" y="642938"/>
                  </a:lnTo>
                  <a:lnTo>
                    <a:pt x="95250" y="621506"/>
                  </a:lnTo>
                  <a:lnTo>
                    <a:pt x="133350" y="573881"/>
                  </a:lnTo>
                  <a:lnTo>
                    <a:pt x="83344" y="573881"/>
                  </a:lnTo>
                  <a:lnTo>
                    <a:pt x="59531" y="550069"/>
                  </a:lnTo>
                  <a:lnTo>
                    <a:pt x="83344" y="478631"/>
                  </a:lnTo>
                  <a:lnTo>
                    <a:pt x="54769" y="440531"/>
                  </a:lnTo>
                  <a:lnTo>
                    <a:pt x="97631" y="395288"/>
                  </a:lnTo>
                  <a:lnTo>
                    <a:pt x="147638" y="373856"/>
                  </a:lnTo>
                  <a:lnTo>
                    <a:pt x="147638" y="30241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igura a mano libera 251">
              <a:extLst>
                <a:ext uri="{FF2B5EF4-FFF2-40B4-BE49-F238E27FC236}">
                  <a16:creationId xmlns:a16="http://schemas.microsoft.com/office/drawing/2014/main" id="{2FFF5A91-AAB3-41F1-B0A8-22DC2BC0C45E}"/>
                </a:ext>
              </a:extLst>
            </p:cNvPr>
            <p:cNvSpPr/>
            <p:nvPr/>
          </p:nvSpPr>
          <p:spPr bwMode="auto">
            <a:xfrm>
              <a:off x="7654801" y="980464"/>
              <a:ext cx="850916" cy="758672"/>
            </a:xfrm>
            <a:custGeom>
              <a:avLst/>
              <a:gdLst>
                <a:gd name="connsiteX0" fmla="*/ 28575 w 990600"/>
                <a:gd name="connsiteY0" fmla="*/ 326231 h 895350"/>
                <a:gd name="connsiteX1" fmla="*/ 23812 w 990600"/>
                <a:gd name="connsiteY1" fmla="*/ 264319 h 895350"/>
                <a:gd name="connsiteX2" fmla="*/ 0 w 990600"/>
                <a:gd name="connsiteY2" fmla="*/ 264319 h 895350"/>
                <a:gd name="connsiteX3" fmla="*/ 0 w 990600"/>
                <a:gd name="connsiteY3" fmla="*/ 230981 h 895350"/>
                <a:gd name="connsiteX4" fmla="*/ 30956 w 990600"/>
                <a:gd name="connsiteY4" fmla="*/ 180975 h 895350"/>
                <a:gd name="connsiteX5" fmla="*/ 26194 w 990600"/>
                <a:gd name="connsiteY5" fmla="*/ 145256 h 895350"/>
                <a:gd name="connsiteX6" fmla="*/ 85725 w 990600"/>
                <a:gd name="connsiteY6" fmla="*/ 123825 h 895350"/>
                <a:gd name="connsiteX7" fmla="*/ 133350 w 990600"/>
                <a:gd name="connsiteY7" fmla="*/ 119063 h 895350"/>
                <a:gd name="connsiteX8" fmla="*/ 176212 w 990600"/>
                <a:gd name="connsiteY8" fmla="*/ 157163 h 895350"/>
                <a:gd name="connsiteX9" fmla="*/ 207169 w 990600"/>
                <a:gd name="connsiteY9" fmla="*/ 192881 h 895350"/>
                <a:gd name="connsiteX10" fmla="*/ 238125 w 990600"/>
                <a:gd name="connsiteY10" fmla="*/ 192881 h 895350"/>
                <a:gd name="connsiteX11" fmla="*/ 264319 w 990600"/>
                <a:gd name="connsiteY11" fmla="*/ 173831 h 895350"/>
                <a:gd name="connsiteX12" fmla="*/ 285750 w 990600"/>
                <a:gd name="connsiteY12" fmla="*/ 197644 h 895350"/>
                <a:gd name="connsiteX13" fmla="*/ 316706 w 990600"/>
                <a:gd name="connsiteY13" fmla="*/ 154781 h 895350"/>
                <a:gd name="connsiteX14" fmla="*/ 345281 w 990600"/>
                <a:gd name="connsiteY14" fmla="*/ 109538 h 895350"/>
                <a:gd name="connsiteX15" fmla="*/ 354806 w 990600"/>
                <a:gd name="connsiteY15" fmla="*/ 88106 h 895350"/>
                <a:gd name="connsiteX16" fmla="*/ 416719 w 990600"/>
                <a:gd name="connsiteY16" fmla="*/ 54769 h 895350"/>
                <a:gd name="connsiteX17" fmla="*/ 461962 w 990600"/>
                <a:gd name="connsiteY17" fmla="*/ 54769 h 895350"/>
                <a:gd name="connsiteX18" fmla="*/ 564356 w 990600"/>
                <a:gd name="connsiteY18" fmla="*/ 61913 h 895350"/>
                <a:gd name="connsiteX19" fmla="*/ 590550 w 990600"/>
                <a:gd name="connsiteY19" fmla="*/ 33338 h 895350"/>
                <a:gd name="connsiteX20" fmla="*/ 642937 w 990600"/>
                <a:gd name="connsiteY20" fmla="*/ 69056 h 895350"/>
                <a:gd name="connsiteX21" fmla="*/ 683419 w 990600"/>
                <a:gd name="connsiteY21" fmla="*/ 61913 h 895350"/>
                <a:gd name="connsiteX22" fmla="*/ 719137 w 990600"/>
                <a:gd name="connsiteY22" fmla="*/ 40481 h 895350"/>
                <a:gd name="connsiteX23" fmla="*/ 754856 w 990600"/>
                <a:gd name="connsiteY23" fmla="*/ 21431 h 895350"/>
                <a:gd name="connsiteX24" fmla="*/ 854869 w 990600"/>
                <a:gd name="connsiteY24" fmla="*/ 11906 h 895350"/>
                <a:gd name="connsiteX25" fmla="*/ 892969 w 990600"/>
                <a:gd name="connsiteY25" fmla="*/ 0 h 895350"/>
                <a:gd name="connsiteX26" fmla="*/ 873919 w 990600"/>
                <a:gd name="connsiteY26" fmla="*/ 28575 h 895350"/>
                <a:gd name="connsiteX27" fmla="*/ 835819 w 990600"/>
                <a:gd name="connsiteY27" fmla="*/ 47625 h 895350"/>
                <a:gd name="connsiteX28" fmla="*/ 850106 w 990600"/>
                <a:gd name="connsiteY28" fmla="*/ 97631 h 895350"/>
                <a:gd name="connsiteX29" fmla="*/ 852487 w 990600"/>
                <a:gd name="connsiteY29" fmla="*/ 121444 h 895350"/>
                <a:gd name="connsiteX30" fmla="*/ 897731 w 990600"/>
                <a:gd name="connsiteY30" fmla="*/ 145256 h 895350"/>
                <a:gd name="connsiteX31" fmla="*/ 916781 w 990600"/>
                <a:gd name="connsiteY31" fmla="*/ 166688 h 895350"/>
                <a:gd name="connsiteX32" fmla="*/ 916781 w 990600"/>
                <a:gd name="connsiteY32" fmla="*/ 202406 h 895350"/>
                <a:gd name="connsiteX33" fmla="*/ 966787 w 990600"/>
                <a:gd name="connsiteY33" fmla="*/ 230981 h 895350"/>
                <a:gd name="connsiteX34" fmla="*/ 990600 w 990600"/>
                <a:gd name="connsiteY34" fmla="*/ 273844 h 895350"/>
                <a:gd name="connsiteX35" fmla="*/ 966787 w 990600"/>
                <a:gd name="connsiteY35" fmla="*/ 295275 h 895350"/>
                <a:gd name="connsiteX36" fmla="*/ 890587 w 990600"/>
                <a:gd name="connsiteY36" fmla="*/ 311944 h 895350"/>
                <a:gd name="connsiteX37" fmla="*/ 819150 w 990600"/>
                <a:gd name="connsiteY37" fmla="*/ 316706 h 895350"/>
                <a:gd name="connsiteX38" fmla="*/ 816769 w 990600"/>
                <a:gd name="connsiteY38" fmla="*/ 283369 h 895350"/>
                <a:gd name="connsiteX39" fmla="*/ 773906 w 990600"/>
                <a:gd name="connsiteY39" fmla="*/ 326231 h 895350"/>
                <a:gd name="connsiteX40" fmla="*/ 773906 w 990600"/>
                <a:gd name="connsiteY40" fmla="*/ 342900 h 895350"/>
                <a:gd name="connsiteX41" fmla="*/ 714375 w 990600"/>
                <a:gd name="connsiteY41" fmla="*/ 366713 h 895350"/>
                <a:gd name="connsiteX42" fmla="*/ 664369 w 990600"/>
                <a:gd name="connsiteY42" fmla="*/ 390525 h 895350"/>
                <a:gd name="connsiteX43" fmla="*/ 692944 w 990600"/>
                <a:gd name="connsiteY43" fmla="*/ 407194 h 895350"/>
                <a:gd name="connsiteX44" fmla="*/ 695325 w 990600"/>
                <a:gd name="connsiteY44" fmla="*/ 442913 h 895350"/>
                <a:gd name="connsiteX45" fmla="*/ 652462 w 990600"/>
                <a:gd name="connsiteY45" fmla="*/ 490538 h 895350"/>
                <a:gd name="connsiteX46" fmla="*/ 676275 w 990600"/>
                <a:gd name="connsiteY46" fmla="*/ 528638 h 895350"/>
                <a:gd name="connsiteX47" fmla="*/ 721519 w 990600"/>
                <a:gd name="connsiteY47" fmla="*/ 550069 h 895350"/>
                <a:gd name="connsiteX48" fmla="*/ 726281 w 990600"/>
                <a:gd name="connsiteY48" fmla="*/ 595313 h 895350"/>
                <a:gd name="connsiteX49" fmla="*/ 697706 w 990600"/>
                <a:gd name="connsiteY49" fmla="*/ 626269 h 895350"/>
                <a:gd name="connsiteX50" fmla="*/ 642937 w 990600"/>
                <a:gd name="connsiteY50" fmla="*/ 635794 h 895350"/>
                <a:gd name="connsiteX51" fmla="*/ 616744 w 990600"/>
                <a:gd name="connsiteY51" fmla="*/ 642938 h 895350"/>
                <a:gd name="connsiteX52" fmla="*/ 623887 w 990600"/>
                <a:gd name="connsiteY52" fmla="*/ 673894 h 895350"/>
                <a:gd name="connsiteX53" fmla="*/ 597694 w 990600"/>
                <a:gd name="connsiteY53" fmla="*/ 714375 h 895350"/>
                <a:gd name="connsiteX54" fmla="*/ 573881 w 990600"/>
                <a:gd name="connsiteY54" fmla="*/ 728663 h 895350"/>
                <a:gd name="connsiteX55" fmla="*/ 557212 w 990600"/>
                <a:gd name="connsiteY55" fmla="*/ 740569 h 895350"/>
                <a:gd name="connsiteX56" fmla="*/ 550069 w 990600"/>
                <a:gd name="connsiteY56" fmla="*/ 697706 h 895350"/>
                <a:gd name="connsiteX57" fmla="*/ 507206 w 990600"/>
                <a:gd name="connsiteY57" fmla="*/ 688181 h 895350"/>
                <a:gd name="connsiteX58" fmla="*/ 504825 w 990600"/>
                <a:gd name="connsiteY58" fmla="*/ 709613 h 895350"/>
                <a:gd name="connsiteX59" fmla="*/ 464344 w 990600"/>
                <a:gd name="connsiteY59" fmla="*/ 711994 h 895350"/>
                <a:gd name="connsiteX60" fmla="*/ 452437 w 990600"/>
                <a:gd name="connsiteY60" fmla="*/ 695325 h 895350"/>
                <a:gd name="connsiteX61" fmla="*/ 447675 w 990600"/>
                <a:gd name="connsiteY61" fmla="*/ 740569 h 895350"/>
                <a:gd name="connsiteX62" fmla="*/ 426244 w 990600"/>
                <a:gd name="connsiteY62" fmla="*/ 764381 h 895350"/>
                <a:gd name="connsiteX63" fmla="*/ 404812 w 990600"/>
                <a:gd name="connsiteY63" fmla="*/ 745331 h 895350"/>
                <a:gd name="connsiteX64" fmla="*/ 371475 w 990600"/>
                <a:gd name="connsiteY64" fmla="*/ 785813 h 895350"/>
                <a:gd name="connsiteX65" fmla="*/ 371475 w 990600"/>
                <a:gd name="connsiteY65" fmla="*/ 850106 h 895350"/>
                <a:gd name="connsiteX66" fmla="*/ 347662 w 990600"/>
                <a:gd name="connsiteY66" fmla="*/ 871538 h 895350"/>
                <a:gd name="connsiteX67" fmla="*/ 323850 w 990600"/>
                <a:gd name="connsiteY67" fmla="*/ 895350 h 895350"/>
                <a:gd name="connsiteX68" fmla="*/ 278606 w 990600"/>
                <a:gd name="connsiteY68" fmla="*/ 883444 h 895350"/>
                <a:gd name="connsiteX69" fmla="*/ 235744 w 990600"/>
                <a:gd name="connsiteY69" fmla="*/ 892969 h 895350"/>
                <a:gd name="connsiteX70" fmla="*/ 183356 w 990600"/>
                <a:gd name="connsiteY70" fmla="*/ 871538 h 895350"/>
                <a:gd name="connsiteX71" fmla="*/ 183356 w 990600"/>
                <a:gd name="connsiteY71" fmla="*/ 842963 h 895350"/>
                <a:gd name="connsiteX72" fmla="*/ 202406 w 990600"/>
                <a:gd name="connsiteY72" fmla="*/ 826294 h 895350"/>
                <a:gd name="connsiteX73" fmla="*/ 221456 w 990600"/>
                <a:gd name="connsiteY73" fmla="*/ 804863 h 895350"/>
                <a:gd name="connsiteX74" fmla="*/ 114300 w 990600"/>
                <a:gd name="connsiteY74" fmla="*/ 792956 h 895350"/>
                <a:gd name="connsiteX75" fmla="*/ 64294 w 990600"/>
                <a:gd name="connsiteY75" fmla="*/ 812006 h 895350"/>
                <a:gd name="connsiteX76" fmla="*/ 33337 w 990600"/>
                <a:gd name="connsiteY76" fmla="*/ 764381 h 895350"/>
                <a:gd name="connsiteX77" fmla="*/ 26194 w 990600"/>
                <a:gd name="connsiteY77" fmla="*/ 726281 h 895350"/>
                <a:gd name="connsiteX78" fmla="*/ 7144 w 990600"/>
                <a:gd name="connsiteY78" fmla="*/ 692944 h 895350"/>
                <a:gd name="connsiteX79" fmla="*/ 16669 w 990600"/>
                <a:gd name="connsiteY79" fmla="*/ 635794 h 895350"/>
                <a:gd name="connsiteX80" fmla="*/ 66675 w 990600"/>
                <a:gd name="connsiteY80" fmla="*/ 569119 h 895350"/>
                <a:gd name="connsiteX81" fmla="*/ 71437 w 990600"/>
                <a:gd name="connsiteY81" fmla="*/ 504825 h 895350"/>
                <a:gd name="connsiteX82" fmla="*/ 64294 w 990600"/>
                <a:gd name="connsiteY82" fmla="*/ 473869 h 895350"/>
                <a:gd name="connsiteX83" fmla="*/ 50006 w 990600"/>
                <a:gd name="connsiteY83" fmla="*/ 459581 h 895350"/>
                <a:gd name="connsiteX84" fmla="*/ 85725 w 990600"/>
                <a:gd name="connsiteY84" fmla="*/ 428625 h 895350"/>
                <a:gd name="connsiteX85" fmla="*/ 100012 w 990600"/>
                <a:gd name="connsiteY85" fmla="*/ 378619 h 895350"/>
                <a:gd name="connsiteX86" fmla="*/ 85725 w 990600"/>
                <a:gd name="connsiteY86" fmla="*/ 369094 h 895350"/>
                <a:gd name="connsiteX87" fmla="*/ 64294 w 990600"/>
                <a:gd name="connsiteY87" fmla="*/ 364331 h 895350"/>
                <a:gd name="connsiteX88" fmla="*/ 28575 w 990600"/>
                <a:gd name="connsiteY88" fmla="*/ 326231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90600" h="895350">
                  <a:moveTo>
                    <a:pt x="28575" y="326231"/>
                  </a:moveTo>
                  <a:lnTo>
                    <a:pt x="23812" y="264319"/>
                  </a:lnTo>
                  <a:lnTo>
                    <a:pt x="0" y="264319"/>
                  </a:lnTo>
                  <a:lnTo>
                    <a:pt x="0" y="230981"/>
                  </a:lnTo>
                  <a:lnTo>
                    <a:pt x="30956" y="180975"/>
                  </a:lnTo>
                  <a:lnTo>
                    <a:pt x="26194" y="145256"/>
                  </a:lnTo>
                  <a:lnTo>
                    <a:pt x="85725" y="123825"/>
                  </a:lnTo>
                  <a:lnTo>
                    <a:pt x="133350" y="119063"/>
                  </a:lnTo>
                  <a:lnTo>
                    <a:pt x="176212" y="157163"/>
                  </a:lnTo>
                  <a:lnTo>
                    <a:pt x="207169" y="192881"/>
                  </a:lnTo>
                  <a:lnTo>
                    <a:pt x="238125" y="192881"/>
                  </a:lnTo>
                  <a:lnTo>
                    <a:pt x="264319" y="173831"/>
                  </a:lnTo>
                  <a:lnTo>
                    <a:pt x="285750" y="197644"/>
                  </a:lnTo>
                  <a:lnTo>
                    <a:pt x="316706" y="154781"/>
                  </a:lnTo>
                  <a:lnTo>
                    <a:pt x="345281" y="109538"/>
                  </a:lnTo>
                  <a:lnTo>
                    <a:pt x="354806" y="88106"/>
                  </a:lnTo>
                  <a:lnTo>
                    <a:pt x="416719" y="54769"/>
                  </a:lnTo>
                  <a:lnTo>
                    <a:pt x="461962" y="54769"/>
                  </a:lnTo>
                  <a:lnTo>
                    <a:pt x="564356" y="61913"/>
                  </a:lnTo>
                  <a:lnTo>
                    <a:pt x="590550" y="33338"/>
                  </a:lnTo>
                  <a:lnTo>
                    <a:pt x="642937" y="69056"/>
                  </a:lnTo>
                  <a:lnTo>
                    <a:pt x="683419" y="61913"/>
                  </a:lnTo>
                  <a:lnTo>
                    <a:pt x="719137" y="40481"/>
                  </a:lnTo>
                  <a:lnTo>
                    <a:pt x="754856" y="21431"/>
                  </a:lnTo>
                  <a:lnTo>
                    <a:pt x="854869" y="11906"/>
                  </a:lnTo>
                  <a:lnTo>
                    <a:pt x="892969" y="0"/>
                  </a:lnTo>
                  <a:lnTo>
                    <a:pt x="873919" y="28575"/>
                  </a:lnTo>
                  <a:lnTo>
                    <a:pt x="835819" y="47625"/>
                  </a:lnTo>
                  <a:lnTo>
                    <a:pt x="850106" y="97631"/>
                  </a:lnTo>
                  <a:lnTo>
                    <a:pt x="852487" y="121444"/>
                  </a:lnTo>
                  <a:lnTo>
                    <a:pt x="897731" y="145256"/>
                  </a:lnTo>
                  <a:lnTo>
                    <a:pt x="916781" y="166688"/>
                  </a:lnTo>
                  <a:lnTo>
                    <a:pt x="916781" y="202406"/>
                  </a:lnTo>
                  <a:lnTo>
                    <a:pt x="966787" y="230981"/>
                  </a:lnTo>
                  <a:lnTo>
                    <a:pt x="990600" y="273844"/>
                  </a:lnTo>
                  <a:lnTo>
                    <a:pt x="966787" y="295275"/>
                  </a:lnTo>
                  <a:lnTo>
                    <a:pt x="890587" y="311944"/>
                  </a:lnTo>
                  <a:lnTo>
                    <a:pt x="819150" y="316706"/>
                  </a:lnTo>
                  <a:lnTo>
                    <a:pt x="816769" y="283369"/>
                  </a:lnTo>
                  <a:lnTo>
                    <a:pt x="773906" y="326231"/>
                  </a:lnTo>
                  <a:lnTo>
                    <a:pt x="773906" y="342900"/>
                  </a:lnTo>
                  <a:lnTo>
                    <a:pt x="714375" y="366713"/>
                  </a:lnTo>
                  <a:lnTo>
                    <a:pt x="664369" y="390525"/>
                  </a:lnTo>
                  <a:lnTo>
                    <a:pt x="692944" y="407194"/>
                  </a:lnTo>
                  <a:lnTo>
                    <a:pt x="695325" y="442913"/>
                  </a:lnTo>
                  <a:lnTo>
                    <a:pt x="652462" y="490538"/>
                  </a:lnTo>
                  <a:lnTo>
                    <a:pt x="676275" y="528638"/>
                  </a:lnTo>
                  <a:lnTo>
                    <a:pt x="721519" y="550069"/>
                  </a:lnTo>
                  <a:lnTo>
                    <a:pt x="726281" y="595313"/>
                  </a:lnTo>
                  <a:lnTo>
                    <a:pt x="697706" y="626269"/>
                  </a:lnTo>
                  <a:lnTo>
                    <a:pt x="642937" y="635794"/>
                  </a:lnTo>
                  <a:lnTo>
                    <a:pt x="616744" y="642938"/>
                  </a:lnTo>
                  <a:lnTo>
                    <a:pt x="623887" y="673894"/>
                  </a:lnTo>
                  <a:lnTo>
                    <a:pt x="597694" y="714375"/>
                  </a:lnTo>
                  <a:cubicBezTo>
                    <a:pt x="576636" y="724904"/>
                    <a:pt x="583664" y="718880"/>
                    <a:pt x="573881" y="728663"/>
                  </a:cubicBezTo>
                  <a:lnTo>
                    <a:pt x="557212" y="740569"/>
                  </a:lnTo>
                  <a:lnTo>
                    <a:pt x="550069" y="697706"/>
                  </a:lnTo>
                  <a:lnTo>
                    <a:pt x="507206" y="688181"/>
                  </a:lnTo>
                  <a:lnTo>
                    <a:pt x="504825" y="709613"/>
                  </a:lnTo>
                  <a:lnTo>
                    <a:pt x="464344" y="711994"/>
                  </a:lnTo>
                  <a:lnTo>
                    <a:pt x="452437" y="695325"/>
                  </a:lnTo>
                  <a:lnTo>
                    <a:pt x="447675" y="740569"/>
                  </a:lnTo>
                  <a:lnTo>
                    <a:pt x="426244" y="764381"/>
                  </a:lnTo>
                  <a:lnTo>
                    <a:pt x="404812" y="745331"/>
                  </a:lnTo>
                  <a:lnTo>
                    <a:pt x="371475" y="785813"/>
                  </a:lnTo>
                  <a:lnTo>
                    <a:pt x="371475" y="850106"/>
                  </a:lnTo>
                  <a:cubicBezTo>
                    <a:pt x="351170" y="870411"/>
                    <a:pt x="360457" y="865139"/>
                    <a:pt x="347662" y="871538"/>
                  </a:cubicBezTo>
                  <a:lnTo>
                    <a:pt x="323850" y="895350"/>
                  </a:lnTo>
                  <a:lnTo>
                    <a:pt x="278606" y="883444"/>
                  </a:lnTo>
                  <a:lnTo>
                    <a:pt x="235744" y="892969"/>
                  </a:lnTo>
                  <a:lnTo>
                    <a:pt x="183356" y="871538"/>
                  </a:lnTo>
                  <a:lnTo>
                    <a:pt x="183356" y="842963"/>
                  </a:lnTo>
                  <a:lnTo>
                    <a:pt x="202406" y="826294"/>
                  </a:lnTo>
                  <a:lnTo>
                    <a:pt x="221456" y="804863"/>
                  </a:lnTo>
                  <a:lnTo>
                    <a:pt x="114300" y="792956"/>
                  </a:lnTo>
                  <a:lnTo>
                    <a:pt x="64294" y="812006"/>
                  </a:lnTo>
                  <a:lnTo>
                    <a:pt x="33337" y="764381"/>
                  </a:lnTo>
                  <a:lnTo>
                    <a:pt x="26194" y="726281"/>
                  </a:lnTo>
                  <a:lnTo>
                    <a:pt x="7144" y="692944"/>
                  </a:lnTo>
                  <a:lnTo>
                    <a:pt x="16669" y="635794"/>
                  </a:lnTo>
                  <a:lnTo>
                    <a:pt x="66675" y="569119"/>
                  </a:lnTo>
                  <a:lnTo>
                    <a:pt x="71437" y="504825"/>
                  </a:lnTo>
                  <a:lnTo>
                    <a:pt x="64294" y="473869"/>
                  </a:lnTo>
                  <a:lnTo>
                    <a:pt x="50006" y="459581"/>
                  </a:lnTo>
                  <a:lnTo>
                    <a:pt x="85725" y="428625"/>
                  </a:lnTo>
                  <a:lnTo>
                    <a:pt x="100012" y="378619"/>
                  </a:lnTo>
                  <a:lnTo>
                    <a:pt x="85725" y="369094"/>
                  </a:lnTo>
                  <a:lnTo>
                    <a:pt x="64294" y="364331"/>
                  </a:lnTo>
                  <a:lnTo>
                    <a:pt x="28575" y="32623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igura a mano libera 252">
              <a:extLst>
                <a:ext uri="{FF2B5EF4-FFF2-40B4-BE49-F238E27FC236}">
                  <a16:creationId xmlns:a16="http://schemas.microsoft.com/office/drawing/2014/main" id="{77DE278B-0EFD-4134-B90D-AED7EBA556F3}"/>
                </a:ext>
              </a:extLst>
            </p:cNvPr>
            <p:cNvSpPr/>
            <p:nvPr/>
          </p:nvSpPr>
          <p:spPr bwMode="auto">
            <a:xfrm>
              <a:off x="8437453" y="1229651"/>
              <a:ext cx="657237" cy="604716"/>
            </a:xfrm>
            <a:custGeom>
              <a:avLst/>
              <a:gdLst>
                <a:gd name="connsiteX0" fmla="*/ 216693 w 764381"/>
                <a:gd name="connsiteY0" fmla="*/ 0 h 714375"/>
                <a:gd name="connsiteX1" fmla="*/ 180975 w 764381"/>
                <a:gd name="connsiteY1" fmla="*/ 80963 h 714375"/>
                <a:gd name="connsiteX2" fmla="*/ 164306 w 764381"/>
                <a:gd name="connsiteY2" fmla="*/ 114300 h 714375"/>
                <a:gd name="connsiteX3" fmla="*/ 123825 w 764381"/>
                <a:gd name="connsiteY3" fmla="*/ 109538 h 714375"/>
                <a:gd name="connsiteX4" fmla="*/ 102393 w 764381"/>
                <a:gd name="connsiteY4" fmla="*/ 147638 h 714375"/>
                <a:gd name="connsiteX5" fmla="*/ 73818 w 764381"/>
                <a:gd name="connsiteY5" fmla="*/ 202406 h 714375"/>
                <a:gd name="connsiteX6" fmla="*/ 38100 w 764381"/>
                <a:gd name="connsiteY6" fmla="*/ 211931 h 714375"/>
                <a:gd name="connsiteX7" fmla="*/ 7143 w 764381"/>
                <a:gd name="connsiteY7" fmla="*/ 209550 h 714375"/>
                <a:gd name="connsiteX8" fmla="*/ 26193 w 764381"/>
                <a:gd name="connsiteY8" fmla="*/ 235744 h 714375"/>
                <a:gd name="connsiteX9" fmla="*/ 0 w 764381"/>
                <a:gd name="connsiteY9" fmla="*/ 254794 h 714375"/>
                <a:gd name="connsiteX10" fmla="*/ 21431 w 764381"/>
                <a:gd name="connsiteY10" fmla="*/ 266700 h 714375"/>
                <a:gd name="connsiteX11" fmla="*/ 59531 w 764381"/>
                <a:gd name="connsiteY11" fmla="*/ 280988 h 714375"/>
                <a:gd name="connsiteX12" fmla="*/ 78581 w 764381"/>
                <a:gd name="connsiteY12" fmla="*/ 311944 h 714375"/>
                <a:gd name="connsiteX13" fmla="*/ 88106 w 764381"/>
                <a:gd name="connsiteY13" fmla="*/ 354806 h 714375"/>
                <a:gd name="connsiteX14" fmla="*/ 35718 w 764381"/>
                <a:gd name="connsiteY14" fmla="*/ 395288 h 714375"/>
                <a:gd name="connsiteX15" fmla="*/ 85725 w 764381"/>
                <a:gd name="connsiteY15" fmla="*/ 464344 h 714375"/>
                <a:gd name="connsiteX16" fmla="*/ 92868 w 764381"/>
                <a:gd name="connsiteY16" fmla="*/ 519113 h 714375"/>
                <a:gd name="connsiteX17" fmla="*/ 130968 w 764381"/>
                <a:gd name="connsiteY17" fmla="*/ 535781 h 714375"/>
                <a:gd name="connsiteX18" fmla="*/ 138112 w 764381"/>
                <a:gd name="connsiteY18" fmla="*/ 557213 h 714375"/>
                <a:gd name="connsiteX19" fmla="*/ 183356 w 764381"/>
                <a:gd name="connsiteY19" fmla="*/ 535781 h 714375"/>
                <a:gd name="connsiteX20" fmla="*/ 214312 w 764381"/>
                <a:gd name="connsiteY20" fmla="*/ 511969 h 714375"/>
                <a:gd name="connsiteX21" fmla="*/ 261937 w 764381"/>
                <a:gd name="connsiteY21" fmla="*/ 533400 h 714375"/>
                <a:gd name="connsiteX22" fmla="*/ 297656 w 764381"/>
                <a:gd name="connsiteY22" fmla="*/ 521494 h 714375"/>
                <a:gd name="connsiteX23" fmla="*/ 311943 w 764381"/>
                <a:gd name="connsiteY23" fmla="*/ 547688 h 714375"/>
                <a:gd name="connsiteX24" fmla="*/ 333375 w 764381"/>
                <a:gd name="connsiteY24" fmla="*/ 585788 h 714375"/>
                <a:gd name="connsiteX25" fmla="*/ 335756 w 764381"/>
                <a:gd name="connsiteY25" fmla="*/ 616744 h 714375"/>
                <a:gd name="connsiteX26" fmla="*/ 345281 w 764381"/>
                <a:gd name="connsiteY26" fmla="*/ 654844 h 714375"/>
                <a:gd name="connsiteX27" fmla="*/ 345281 w 764381"/>
                <a:gd name="connsiteY27" fmla="*/ 611981 h 714375"/>
                <a:gd name="connsiteX28" fmla="*/ 385762 w 764381"/>
                <a:gd name="connsiteY28" fmla="*/ 595313 h 714375"/>
                <a:gd name="connsiteX29" fmla="*/ 395287 w 764381"/>
                <a:gd name="connsiteY29" fmla="*/ 569119 h 714375"/>
                <a:gd name="connsiteX30" fmla="*/ 435768 w 764381"/>
                <a:gd name="connsiteY30" fmla="*/ 588169 h 714375"/>
                <a:gd name="connsiteX31" fmla="*/ 502443 w 764381"/>
                <a:gd name="connsiteY31" fmla="*/ 607219 h 714375"/>
                <a:gd name="connsiteX32" fmla="*/ 509587 w 764381"/>
                <a:gd name="connsiteY32" fmla="*/ 642938 h 714375"/>
                <a:gd name="connsiteX33" fmla="*/ 542925 w 764381"/>
                <a:gd name="connsiteY33" fmla="*/ 623888 h 714375"/>
                <a:gd name="connsiteX34" fmla="*/ 585787 w 764381"/>
                <a:gd name="connsiteY34" fmla="*/ 607219 h 714375"/>
                <a:gd name="connsiteX35" fmla="*/ 592931 w 764381"/>
                <a:gd name="connsiteY35" fmla="*/ 557213 h 714375"/>
                <a:gd name="connsiteX36" fmla="*/ 628650 w 764381"/>
                <a:gd name="connsiteY36" fmla="*/ 600075 h 714375"/>
                <a:gd name="connsiteX37" fmla="*/ 635793 w 764381"/>
                <a:gd name="connsiteY37" fmla="*/ 619125 h 714375"/>
                <a:gd name="connsiteX38" fmla="*/ 659606 w 764381"/>
                <a:gd name="connsiteY38" fmla="*/ 642938 h 714375"/>
                <a:gd name="connsiteX39" fmla="*/ 664368 w 764381"/>
                <a:gd name="connsiteY39" fmla="*/ 666750 h 714375"/>
                <a:gd name="connsiteX40" fmla="*/ 669131 w 764381"/>
                <a:gd name="connsiteY40" fmla="*/ 676275 h 714375"/>
                <a:gd name="connsiteX41" fmla="*/ 678656 w 764381"/>
                <a:gd name="connsiteY41" fmla="*/ 692944 h 714375"/>
                <a:gd name="connsiteX42" fmla="*/ 731043 w 764381"/>
                <a:gd name="connsiteY42" fmla="*/ 714375 h 714375"/>
                <a:gd name="connsiteX43" fmla="*/ 764381 w 764381"/>
                <a:gd name="connsiteY43" fmla="*/ 678656 h 714375"/>
                <a:gd name="connsiteX44" fmla="*/ 709612 w 764381"/>
                <a:gd name="connsiteY44" fmla="*/ 614363 h 714375"/>
                <a:gd name="connsiteX45" fmla="*/ 688181 w 764381"/>
                <a:gd name="connsiteY45" fmla="*/ 583406 h 714375"/>
                <a:gd name="connsiteX46" fmla="*/ 635793 w 764381"/>
                <a:gd name="connsiteY46" fmla="*/ 561975 h 714375"/>
                <a:gd name="connsiteX47" fmla="*/ 602456 w 764381"/>
                <a:gd name="connsiteY47" fmla="*/ 561975 h 714375"/>
                <a:gd name="connsiteX48" fmla="*/ 595312 w 764381"/>
                <a:gd name="connsiteY48" fmla="*/ 509588 h 714375"/>
                <a:gd name="connsiteX49" fmla="*/ 631031 w 764381"/>
                <a:gd name="connsiteY49" fmla="*/ 485775 h 714375"/>
                <a:gd name="connsiteX50" fmla="*/ 628650 w 764381"/>
                <a:gd name="connsiteY50" fmla="*/ 438150 h 714375"/>
                <a:gd name="connsiteX51" fmla="*/ 628650 w 764381"/>
                <a:gd name="connsiteY51" fmla="*/ 433388 h 714375"/>
                <a:gd name="connsiteX52" fmla="*/ 581025 w 764381"/>
                <a:gd name="connsiteY52" fmla="*/ 450056 h 714375"/>
                <a:gd name="connsiteX53" fmla="*/ 559593 w 764381"/>
                <a:gd name="connsiteY53" fmla="*/ 431006 h 714375"/>
                <a:gd name="connsiteX54" fmla="*/ 573881 w 764381"/>
                <a:gd name="connsiteY54" fmla="*/ 402431 h 714375"/>
                <a:gd name="connsiteX55" fmla="*/ 564356 w 764381"/>
                <a:gd name="connsiteY55" fmla="*/ 378619 h 714375"/>
                <a:gd name="connsiteX56" fmla="*/ 654843 w 764381"/>
                <a:gd name="connsiteY56" fmla="*/ 323850 h 714375"/>
                <a:gd name="connsiteX57" fmla="*/ 642937 w 764381"/>
                <a:gd name="connsiteY57" fmla="*/ 307181 h 714375"/>
                <a:gd name="connsiteX58" fmla="*/ 592931 w 764381"/>
                <a:gd name="connsiteY58" fmla="*/ 307181 h 714375"/>
                <a:gd name="connsiteX59" fmla="*/ 578643 w 764381"/>
                <a:gd name="connsiteY59" fmla="*/ 280988 h 714375"/>
                <a:gd name="connsiteX60" fmla="*/ 540543 w 764381"/>
                <a:gd name="connsiteY60" fmla="*/ 292894 h 714375"/>
                <a:gd name="connsiteX61" fmla="*/ 528637 w 764381"/>
                <a:gd name="connsiteY61" fmla="*/ 278606 h 714375"/>
                <a:gd name="connsiteX62" fmla="*/ 509587 w 764381"/>
                <a:gd name="connsiteY62" fmla="*/ 247650 h 714375"/>
                <a:gd name="connsiteX63" fmla="*/ 545306 w 764381"/>
                <a:gd name="connsiteY63" fmla="*/ 209550 h 714375"/>
                <a:gd name="connsiteX64" fmla="*/ 547687 w 764381"/>
                <a:gd name="connsiteY64" fmla="*/ 185738 h 714375"/>
                <a:gd name="connsiteX65" fmla="*/ 621506 w 764381"/>
                <a:gd name="connsiteY65" fmla="*/ 157163 h 714375"/>
                <a:gd name="connsiteX66" fmla="*/ 638175 w 764381"/>
                <a:gd name="connsiteY66" fmla="*/ 142875 h 714375"/>
                <a:gd name="connsiteX67" fmla="*/ 657225 w 764381"/>
                <a:gd name="connsiteY67" fmla="*/ 135731 h 714375"/>
                <a:gd name="connsiteX68" fmla="*/ 669131 w 764381"/>
                <a:gd name="connsiteY68" fmla="*/ 90488 h 714375"/>
                <a:gd name="connsiteX69" fmla="*/ 569118 w 764381"/>
                <a:gd name="connsiteY69" fmla="*/ 76200 h 714375"/>
                <a:gd name="connsiteX70" fmla="*/ 502443 w 764381"/>
                <a:gd name="connsiteY70" fmla="*/ 54769 h 714375"/>
                <a:gd name="connsiteX71" fmla="*/ 478631 w 764381"/>
                <a:gd name="connsiteY71" fmla="*/ 69056 h 714375"/>
                <a:gd name="connsiteX72" fmla="*/ 450056 w 764381"/>
                <a:gd name="connsiteY72" fmla="*/ 78581 h 714375"/>
                <a:gd name="connsiteX73" fmla="*/ 400050 w 764381"/>
                <a:gd name="connsiteY73" fmla="*/ 35719 h 714375"/>
                <a:gd name="connsiteX74" fmla="*/ 354806 w 764381"/>
                <a:gd name="connsiteY74" fmla="*/ 40481 h 714375"/>
                <a:gd name="connsiteX75" fmla="*/ 290512 w 764381"/>
                <a:gd name="connsiteY75" fmla="*/ 28575 h 714375"/>
                <a:gd name="connsiteX76" fmla="*/ 269081 w 764381"/>
                <a:gd name="connsiteY76" fmla="*/ 38100 h 714375"/>
                <a:gd name="connsiteX77" fmla="*/ 216693 w 764381"/>
                <a:gd name="connsiteY77" fmla="*/ 0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64381" h="714375">
                  <a:moveTo>
                    <a:pt x="216693" y="0"/>
                  </a:moveTo>
                  <a:lnTo>
                    <a:pt x="180975" y="80963"/>
                  </a:lnTo>
                  <a:lnTo>
                    <a:pt x="164306" y="114300"/>
                  </a:lnTo>
                  <a:lnTo>
                    <a:pt x="123825" y="109538"/>
                  </a:lnTo>
                  <a:lnTo>
                    <a:pt x="102393" y="147638"/>
                  </a:lnTo>
                  <a:lnTo>
                    <a:pt x="73818" y="202406"/>
                  </a:lnTo>
                  <a:lnTo>
                    <a:pt x="38100" y="211931"/>
                  </a:lnTo>
                  <a:lnTo>
                    <a:pt x="7143" y="209550"/>
                  </a:lnTo>
                  <a:lnTo>
                    <a:pt x="26193" y="235744"/>
                  </a:lnTo>
                  <a:lnTo>
                    <a:pt x="0" y="254794"/>
                  </a:lnTo>
                  <a:lnTo>
                    <a:pt x="21431" y="266700"/>
                  </a:lnTo>
                  <a:lnTo>
                    <a:pt x="59531" y="280988"/>
                  </a:lnTo>
                  <a:lnTo>
                    <a:pt x="78581" y="311944"/>
                  </a:lnTo>
                  <a:lnTo>
                    <a:pt x="88106" y="354806"/>
                  </a:lnTo>
                  <a:lnTo>
                    <a:pt x="35718" y="395288"/>
                  </a:lnTo>
                  <a:lnTo>
                    <a:pt x="85725" y="464344"/>
                  </a:lnTo>
                  <a:lnTo>
                    <a:pt x="92868" y="519113"/>
                  </a:lnTo>
                  <a:lnTo>
                    <a:pt x="130968" y="535781"/>
                  </a:lnTo>
                  <a:lnTo>
                    <a:pt x="138112" y="557213"/>
                  </a:lnTo>
                  <a:lnTo>
                    <a:pt x="183356" y="535781"/>
                  </a:lnTo>
                  <a:lnTo>
                    <a:pt x="214312" y="511969"/>
                  </a:lnTo>
                  <a:lnTo>
                    <a:pt x="261937" y="533400"/>
                  </a:lnTo>
                  <a:lnTo>
                    <a:pt x="297656" y="521494"/>
                  </a:lnTo>
                  <a:lnTo>
                    <a:pt x="311943" y="547688"/>
                  </a:lnTo>
                  <a:lnTo>
                    <a:pt x="333375" y="585788"/>
                  </a:lnTo>
                  <a:lnTo>
                    <a:pt x="335756" y="616744"/>
                  </a:lnTo>
                  <a:lnTo>
                    <a:pt x="345281" y="654844"/>
                  </a:lnTo>
                  <a:lnTo>
                    <a:pt x="345281" y="611981"/>
                  </a:lnTo>
                  <a:lnTo>
                    <a:pt x="385762" y="595313"/>
                  </a:lnTo>
                  <a:lnTo>
                    <a:pt x="395287" y="569119"/>
                  </a:lnTo>
                  <a:lnTo>
                    <a:pt x="435768" y="588169"/>
                  </a:lnTo>
                  <a:lnTo>
                    <a:pt x="502443" y="607219"/>
                  </a:lnTo>
                  <a:lnTo>
                    <a:pt x="509587" y="642938"/>
                  </a:lnTo>
                  <a:lnTo>
                    <a:pt x="542925" y="623888"/>
                  </a:lnTo>
                  <a:lnTo>
                    <a:pt x="585787" y="607219"/>
                  </a:lnTo>
                  <a:lnTo>
                    <a:pt x="592931" y="557213"/>
                  </a:lnTo>
                  <a:lnTo>
                    <a:pt x="628650" y="600075"/>
                  </a:lnTo>
                  <a:lnTo>
                    <a:pt x="635793" y="619125"/>
                  </a:lnTo>
                  <a:lnTo>
                    <a:pt x="659606" y="642938"/>
                  </a:lnTo>
                  <a:cubicBezTo>
                    <a:pt x="661193" y="650875"/>
                    <a:pt x="662144" y="658967"/>
                    <a:pt x="664368" y="666750"/>
                  </a:cubicBezTo>
                  <a:cubicBezTo>
                    <a:pt x="665343" y="670163"/>
                    <a:pt x="669131" y="676275"/>
                    <a:pt x="669131" y="676275"/>
                  </a:cubicBezTo>
                  <a:lnTo>
                    <a:pt x="678656" y="692944"/>
                  </a:lnTo>
                  <a:lnTo>
                    <a:pt x="731043" y="714375"/>
                  </a:lnTo>
                  <a:lnTo>
                    <a:pt x="764381" y="678656"/>
                  </a:lnTo>
                  <a:lnTo>
                    <a:pt x="709612" y="614363"/>
                  </a:lnTo>
                  <a:lnTo>
                    <a:pt x="688181" y="583406"/>
                  </a:lnTo>
                  <a:lnTo>
                    <a:pt x="635793" y="561975"/>
                  </a:lnTo>
                  <a:lnTo>
                    <a:pt x="602456" y="561975"/>
                  </a:lnTo>
                  <a:lnTo>
                    <a:pt x="595312" y="509588"/>
                  </a:lnTo>
                  <a:lnTo>
                    <a:pt x="631031" y="485775"/>
                  </a:lnTo>
                  <a:lnTo>
                    <a:pt x="628650" y="438150"/>
                  </a:lnTo>
                  <a:lnTo>
                    <a:pt x="628650" y="433388"/>
                  </a:lnTo>
                  <a:lnTo>
                    <a:pt x="581025" y="450056"/>
                  </a:lnTo>
                  <a:lnTo>
                    <a:pt x="559593" y="431006"/>
                  </a:lnTo>
                  <a:lnTo>
                    <a:pt x="573881" y="402431"/>
                  </a:lnTo>
                  <a:lnTo>
                    <a:pt x="564356" y="378619"/>
                  </a:lnTo>
                  <a:lnTo>
                    <a:pt x="654843" y="323850"/>
                  </a:lnTo>
                  <a:lnTo>
                    <a:pt x="642937" y="307181"/>
                  </a:lnTo>
                  <a:lnTo>
                    <a:pt x="592931" y="307181"/>
                  </a:lnTo>
                  <a:lnTo>
                    <a:pt x="578643" y="280988"/>
                  </a:lnTo>
                  <a:lnTo>
                    <a:pt x="540543" y="292894"/>
                  </a:lnTo>
                  <a:lnTo>
                    <a:pt x="528637" y="278606"/>
                  </a:lnTo>
                  <a:lnTo>
                    <a:pt x="509587" y="247650"/>
                  </a:lnTo>
                  <a:lnTo>
                    <a:pt x="545306" y="209550"/>
                  </a:lnTo>
                  <a:lnTo>
                    <a:pt x="547687" y="185738"/>
                  </a:lnTo>
                  <a:lnTo>
                    <a:pt x="621506" y="157163"/>
                  </a:lnTo>
                  <a:lnTo>
                    <a:pt x="638175" y="142875"/>
                  </a:lnTo>
                  <a:lnTo>
                    <a:pt x="657225" y="135731"/>
                  </a:lnTo>
                  <a:lnTo>
                    <a:pt x="669131" y="90488"/>
                  </a:lnTo>
                  <a:lnTo>
                    <a:pt x="569118" y="76200"/>
                  </a:lnTo>
                  <a:lnTo>
                    <a:pt x="502443" y="54769"/>
                  </a:lnTo>
                  <a:lnTo>
                    <a:pt x="478631" y="69056"/>
                  </a:lnTo>
                  <a:lnTo>
                    <a:pt x="450056" y="78581"/>
                  </a:lnTo>
                  <a:lnTo>
                    <a:pt x="400050" y="35719"/>
                  </a:lnTo>
                  <a:lnTo>
                    <a:pt x="354806" y="40481"/>
                  </a:lnTo>
                  <a:lnTo>
                    <a:pt x="290512" y="28575"/>
                  </a:lnTo>
                  <a:lnTo>
                    <a:pt x="269081" y="38100"/>
                  </a:lnTo>
                  <a:lnTo>
                    <a:pt x="216693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igura a mano libera 253">
              <a:extLst>
                <a:ext uri="{FF2B5EF4-FFF2-40B4-BE49-F238E27FC236}">
                  <a16:creationId xmlns:a16="http://schemas.microsoft.com/office/drawing/2014/main" id="{6AF84CDB-C501-4FEF-85F3-74A0B3D5A857}"/>
                </a:ext>
              </a:extLst>
            </p:cNvPr>
            <p:cNvSpPr/>
            <p:nvPr/>
          </p:nvSpPr>
          <p:spPr bwMode="auto">
            <a:xfrm>
              <a:off x="7719890" y="1212192"/>
              <a:ext cx="1012844" cy="1050713"/>
            </a:xfrm>
            <a:custGeom>
              <a:avLst/>
              <a:gdLst>
                <a:gd name="connsiteX0" fmla="*/ 812006 w 1176338"/>
                <a:gd name="connsiteY0" fmla="*/ 1188244 h 1240631"/>
                <a:gd name="connsiteX1" fmla="*/ 850106 w 1176338"/>
                <a:gd name="connsiteY1" fmla="*/ 1240631 h 1240631"/>
                <a:gd name="connsiteX2" fmla="*/ 900113 w 1176338"/>
                <a:gd name="connsiteY2" fmla="*/ 1188244 h 1240631"/>
                <a:gd name="connsiteX3" fmla="*/ 921544 w 1176338"/>
                <a:gd name="connsiteY3" fmla="*/ 1112044 h 1240631"/>
                <a:gd name="connsiteX4" fmla="*/ 885825 w 1176338"/>
                <a:gd name="connsiteY4" fmla="*/ 1100137 h 1240631"/>
                <a:gd name="connsiteX5" fmla="*/ 845344 w 1176338"/>
                <a:gd name="connsiteY5" fmla="*/ 1064419 h 1240631"/>
                <a:gd name="connsiteX6" fmla="*/ 833438 w 1176338"/>
                <a:gd name="connsiteY6" fmla="*/ 1028700 h 1240631"/>
                <a:gd name="connsiteX7" fmla="*/ 819150 w 1176338"/>
                <a:gd name="connsiteY7" fmla="*/ 995362 h 1240631"/>
                <a:gd name="connsiteX8" fmla="*/ 816769 w 1176338"/>
                <a:gd name="connsiteY8" fmla="*/ 947737 h 1240631"/>
                <a:gd name="connsiteX9" fmla="*/ 804863 w 1176338"/>
                <a:gd name="connsiteY9" fmla="*/ 933450 h 1240631"/>
                <a:gd name="connsiteX10" fmla="*/ 783431 w 1176338"/>
                <a:gd name="connsiteY10" fmla="*/ 971550 h 1240631"/>
                <a:gd name="connsiteX11" fmla="*/ 762000 w 1176338"/>
                <a:gd name="connsiteY11" fmla="*/ 933450 h 1240631"/>
                <a:gd name="connsiteX12" fmla="*/ 771525 w 1176338"/>
                <a:gd name="connsiteY12" fmla="*/ 888206 h 1240631"/>
                <a:gd name="connsiteX13" fmla="*/ 804863 w 1176338"/>
                <a:gd name="connsiteY13" fmla="*/ 852487 h 1240631"/>
                <a:gd name="connsiteX14" fmla="*/ 797719 w 1176338"/>
                <a:gd name="connsiteY14" fmla="*/ 835819 h 1240631"/>
                <a:gd name="connsiteX15" fmla="*/ 828675 w 1176338"/>
                <a:gd name="connsiteY15" fmla="*/ 776287 h 1240631"/>
                <a:gd name="connsiteX16" fmla="*/ 852488 w 1176338"/>
                <a:gd name="connsiteY16" fmla="*/ 771525 h 1240631"/>
                <a:gd name="connsiteX17" fmla="*/ 902494 w 1176338"/>
                <a:gd name="connsiteY17" fmla="*/ 776287 h 1240631"/>
                <a:gd name="connsiteX18" fmla="*/ 892969 w 1176338"/>
                <a:gd name="connsiteY18" fmla="*/ 802481 h 1240631"/>
                <a:gd name="connsiteX19" fmla="*/ 959644 w 1176338"/>
                <a:gd name="connsiteY19" fmla="*/ 785812 h 1240631"/>
                <a:gd name="connsiteX20" fmla="*/ 1076325 w 1176338"/>
                <a:gd name="connsiteY20" fmla="*/ 740569 h 1240631"/>
                <a:gd name="connsiteX21" fmla="*/ 1107281 w 1176338"/>
                <a:gd name="connsiteY21" fmla="*/ 695325 h 1240631"/>
                <a:gd name="connsiteX22" fmla="*/ 1176338 w 1176338"/>
                <a:gd name="connsiteY22" fmla="*/ 695325 h 1240631"/>
                <a:gd name="connsiteX23" fmla="*/ 1171575 w 1176338"/>
                <a:gd name="connsiteY23" fmla="*/ 671512 h 1240631"/>
                <a:gd name="connsiteX24" fmla="*/ 1173956 w 1176338"/>
                <a:gd name="connsiteY24" fmla="*/ 600075 h 1240631"/>
                <a:gd name="connsiteX25" fmla="*/ 1138238 w 1176338"/>
                <a:gd name="connsiteY25" fmla="*/ 547687 h 1240631"/>
                <a:gd name="connsiteX26" fmla="*/ 1100138 w 1176338"/>
                <a:gd name="connsiteY26" fmla="*/ 557212 h 1240631"/>
                <a:gd name="connsiteX27" fmla="*/ 1050131 w 1176338"/>
                <a:gd name="connsiteY27" fmla="*/ 533400 h 1240631"/>
                <a:gd name="connsiteX28" fmla="*/ 978694 w 1176338"/>
                <a:gd name="connsiteY28" fmla="*/ 576262 h 1240631"/>
                <a:gd name="connsiteX29" fmla="*/ 964406 w 1176338"/>
                <a:gd name="connsiteY29" fmla="*/ 557212 h 1240631"/>
                <a:gd name="connsiteX30" fmla="*/ 923925 w 1176338"/>
                <a:gd name="connsiteY30" fmla="*/ 542925 h 1240631"/>
                <a:gd name="connsiteX31" fmla="*/ 923925 w 1176338"/>
                <a:gd name="connsiteY31" fmla="*/ 492919 h 1240631"/>
                <a:gd name="connsiteX32" fmla="*/ 866775 w 1176338"/>
                <a:gd name="connsiteY32" fmla="*/ 419100 h 1240631"/>
                <a:gd name="connsiteX33" fmla="*/ 935831 w 1176338"/>
                <a:gd name="connsiteY33" fmla="*/ 373856 h 1240631"/>
                <a:gd name="connsiteX34" fmla="*/ 907256 w 1176338"/>
                <a:gd name="connsiteY34" fmla="*/ 314325 h 1240631"/>
                <a:gd name="connsiteX35" fmla="*/ 878681 w 1176338"/>
                <a:gd name="connsiteY35" fmla="*/ 297656 h 1240631"/>
                <a:gd name="connsiteX36" fmla="*/ 831056 w 1176338"/>
                <a:gd name="connsiteY36" fmla="*/ 283369 h 1240631"/>
                <a:gd name="connsiteX37" fmla="*/ 852488 w 1176338"/>
                <a:gd name="connsiteY37" fmla="*/ 264319 h 1240631"/>
                <a:gd name="connsiteX38" fmla="*/ 838200 w 1176338"/>
                <a:gd name="connsiteY38" fmla="*/ 228600 h 1240631"/>
                <a:gd name="connsiteX39" fmla="*/ 919163 w 1176338"/>
                <a:gd name="connsiteY39" fmla="*/ 230981 h 1240631"/>
                <a:gd name="connsiteX40" fmla="*/ 957263 w 1176338"/>
                <a:gd name="connsiteY40" fmla="*/ 128587 h 1240631"/>
                <a:gd name="connsiteX41" fmla="*/ 1007269 w 1176338"/>
                <a:gd name="connsiteY41" fmla="*/ 133350 h 1240631"/>
                <a:gd name="connsiteX42" fmla="*/ 1059656 w 1176338"/>
                <a:gd name="connsiteY42" fmla="*/ 26194 h 1240631"/>
                <a:gd name="connsiteX43" fmla="*/ 1023938 w 1176338"/>
                <a:gd name="connsiteY43" fmla="*/ 19050 h 1240631"/>
                <a:gd name="connsiteX44" fmla="*/ 1002506 w 1176338"/>
                <a:gd name="connsiteY44" fmla="*/ 0 h 1240631"/>
                <a:gd name="connsiteX45" fmla="*/ 983456 w 1176338"/>
                <a:gd name="connsiteY45" fmla="*/ 11906 h 1240631"/>
                <a:gd name="connsiteX46" fmla="*/ 952500 w 1176338"/>
                <a:gd name="connsiteY46" fmla="*/ 16669 h 1240631"/>
                <a:gd name="connsiteX47" fmla="*/ 928688 w 1176338"/>
                <a:gd name="connsiteY47" fmla="*/ 4762 h 1240631"/>
                <a:gd name="connsiteX48" fmla="*/ 902494 w 1176338"/>
                <a:gd name="connsiteY48" fmla="*/ 2381 h 1240631"/>
                <a:gd name="connsiteX49" fmla="*/ 885825 w 1176338"/>
                <a:gd name="connsiteY49" fmla="*/ 28575 h 1240631"/>
                <a:gd name="connsiteX50" fmla="*/ 740569 w 1176338"/>
                <a:gd name="connsiteY50" fmla="*/ 45244 h 1240631"/>
                <a:gd name="connsiteX51" fmla="*/ 740569 w 1176338"/>
                <a:gd name="connsiteY51" fmla="*/ 11906 h 1240631"/>
                <a:gd name="connsiteX52" fmla="*/ 704850 w 1176338"/>
                <a:gd name="connsiteY52" fmla="*/ 52387 h 1240631"/>
                <a:gd name="connsiteX53" fmla="*/ 704850 w 1176338"/>
                <a:gd name="connsiteY53" fmla="*/ 71437 h 1240631"/>
                <a:gd name="connsiteX54" fmla="*/ 583406 w 1176338"/>
                <a:gd name="connsiteY54" fmla="*/ 111919 h 1240631"/>
                <a:gd name="connsiteX55" fmla="*/ 614363 w 1176338"/>
                <a:gd name="connsiteY55" fmla="*/ 140494 h 1240631"/>
                <a:gd name="connsiteX56" fmla="*/ 616744 w 1176338"/>
                <a:gd name="connsiteY56" fmla="*/ 178594 h 1240631"/>
                <a:gd name="connsiteX57" fmla="*/ 573881 w 1176338"/>
                <a:gd name="connsiteY57" fmla="*/ 211931 h 1240631"/>
                <a:gd name="connsiteX58" fmla="*/ 600075 w 1176338"/>
                <a:gd name="connsiteY58" fmla="*/ 259556 h 1240631"/>
                <a:gd name="connsiteX59" fmla="*/ 647700 w 1176338"/>
                <a:gd name="connsiteY59" fmla="*/ 276225 h 1240631"/>
                <a:gd name="connsiteX60" fmla="*/ 645319 w 1176338"/>
                <a:gd name="connsiteY60" fmla="*/ 323850 h 1240631"/>
                <a:gd name="connsiteX61" fmla="*/ 619125 w 1176338"/>
                <a:gd name="connsiteY61" fmla="*/ 357187 h 1240631"/>
                <a:gd name="connsiteX62" fmla="*/ 542925 w 1176338"/>
                <a:gd name="connsiteY62" fmla="*/ 366712 h 1240631"/>
                <a:gd name="connsiteX63" fmla="*/ 545306 w 1176338"/>
                <a:gd name="connsiteY63" fmla="*/ 400050 h 1240631"/>
                <a:gd name="connsiteX64" fmla="*/ 528638 w 1176338"/>
                <a:gd name="connsiteY64" fmla="*/ 440531 h 1240631"/>
                <a:gd name="connsiteX65" fmla="*/ 476250 w 1176338"/>
                <a:gd name="connsiteY65" fmla="*/ 457200 h 1240631"/>
                <a:gd name="connsiteX66" fmla="*/ 471488 w 1176338"/>
                <a:gd name="connsiteY66" fmla="*/ 414337 h 1240631"/>
                <a:gd name="connsiteX67" fmla="*/ 440531 w 1176338"/>
                <a:gd name="connsiteY67" fmla="*/ 411956 h 1240631"/>
                <a:gd name="connsiteX68" fmla="*/ 426244 w 1176338"/>
                <a:gd name="connsiteY68" fmla="*/ 440531 h 1240631"/>
                <a:gd name="connsiteX69" fmla="*/ 383381 w 1176338"/>
                <a:gd name="connsiteY69" fmla="*/ 438150 h 1240631"/>
                <a:gd name="connsiteX70" fmla="*/ 381000 w 1176338"/>
                <a:gd name="connsiteY70" fmla="*/ 416719 h 1240631"/>
                <a:gd name="connsiteX71" fmla="*/ 373856 w 1176338"/>
                <a:gd name="connsiteY71" fmla="*/ 459581 h 1240631"/>
                <a:gd name="connsiteX72" fmla="*/ 369094 w 1176338"/>
                <a:gd name="connsiteY72" fmla="*/ 481012 h 1240631"/>
                <a:gd name="connsiteX73" fmla="*/ 342900 w 1176338"/>
                <a:gd name="connsiteY73" fmla="*/ 490537 h 1240631"/>
                <a:gd name="connsiteX74" fmla="*/ 340519 w 1176338"/>
                <a:gd name="connsiteY74" fmla="*/ 471487 h 1240631"/>
                <a:gd name="connsiteX75" fmla="*/ 288131 w 1176338"/>
                <a:gd name="connsiteY75" fmla="*/ 509587 h 1240631"/>
                <a:gd name="connsiteX76" fmla="*/ 295275 w 1176338"/>
                <a:gd name="connsiteY76" fmla="*/ 576262 h 1240631"/>
                <a:gd name="connsiteX77" fmla="*/ 252413 w 1176338"/>
                <a:gd name="connsiteY77" fmla="*/ 614362 h 1240631"/>
                <a:gd name="connsiteX78" fmla="*/ 192881 w 1176338"/>
                <a:gd name="connsiteY78" fmla="*/ 604837 h 1240631"/>
                <a:gd name="connsiteX79" fmla="*/ 152400 w 1176338"/>
                <a:gd name="connsiteY79" fmla="*/ 611981 h 1240631"/>
                <a:gd name="connsiteX80" fmla="*/ 114300 w 1176338"/>
                <a:gd name="connsiteY80" fmla="*/ 611981 h 1240631"/>
                <a:gd name="connsiteX81" fmla="*/ 109538 w 1176338"/>
                <a:gd name="connsiteY81" fmla="*/ 590550 h 1240631"/>
                <a:gd name="connsiteX82" fmla="*/ 116681 w 1176338"/>
                <a:gd name="connsiteY82" fmla="*/ 559594 h 1240631"/>
                <a:gd name="connsiteX83" fmla="*/ 121444 w 1176338"/>
                <a:gd name="connsiteY83" fmla="*/ 540544 h 1240631"/>
                <a:gd name="connsiteX84" fmla="*/ 0 w 1176338"/>
                <a:gd name="connsiteY84" fmla="*/ 671512 h 1240631"/>
                <a:gd name="connsiteX85" fmla="*/ 11906 w 1176338"/>
                <a:gd name="connsiteY85" fmla="*/ 781050 h 1240631"/>
                <a:gd name="connsiteX86" fmla="*/ 45244 w 1176338"/>
                <a:gd name="connsiteY86" fmla="*/ 781050 h 1240631"/>
                <a:gd name="connsiteX87" fmla="*/ 28575 w 1176338"/>
                <a:gd name="connsiteY87" fmla="*/ 838200 h 1240631"/>
                <a:gd name="connsiteX88" fmla="*/ 16669 w 1176338"/>
                <a:gd name="connsiteY88" fmla="*/ 876300 h 1240631"/>
                <a:gd name="connsiteX89" fmla="*/ 40481 w 1176338"/>
                <a:gd name="connsiteY89" fmla="*/ 876300 h 1240631"/>
                <a:gd name="connsiteX90" fmla="*/ 42863 w 1176338"/>
                <a:gd name="connsiteY90" fmla="*/ 845344 h 1240631"/>
                <a:gd name="connsiteX91" fmla="*/ 164306 w 1176338"/>
                <a:gd name="connsiteY91" fmla="*/ 962025 h 1240631"/>
                <a:gd name="connsiteX92" fmla="*/ 180975 w 1176338"/>
                <a:gd name="connsiteY92" fmla="*/ 964406 h 1240631"/>
                <a:gd name="connsiteX93" fmla="*/ 188119 w 1176338"/>
                <a:gd name="connsiteY93" fmla="*/ 992981 h 1240631"/>
                <a:gd name="connsiteX94" fmla="*/ 197644 w 1176338"/>
                <a:gd name="connsiteY94" fmla="*/ 1019175 h 1240631"/>
                <a:gd name="connsiteX95" fmla="*/ 271463 w 1176338"/>
                <a:gd name="connsiteY95" fmla="*/ 1000125 h 1240631"/>
                <a:gd name="connsiteX96" fmla="*/ 269081 w 1176338"/>
                <a:gd name="connsiteY96" fmla="*/ 1047750 h 1240631"/>
                <a:gd name="connsiteX97" fmla="*/ 354806 w 1176338"/>
                <a:gd name="connsiteY97" fmla="*/ 1092994 h 1240631"/>
                <a:gd name="connsiteX98" fmla="*/ 409575 w 1176338"/>
                <a:gd name="connsiteY98" fmla="*/ 1119187 h 1240631"/>
                <a:gd name="connsiteX99" fmla="*/ 447675 w 1176338"/>
                <a:gd name="connsiteY99" fmla="*/ 1143000 h 1240631"/>
                <a:gd name="connsiteX100" fmla="*/ 452438 w 1176338"/>
                <a:gd name="connsiteY100" fmla="*/ 1166812 h 1240631"/>
                <a:gd name="connsiteX101" fmla="*/ 504825 w 1176338"/>
                <a:gd name="connsiteY101" fmla="*/ 1123950 h 1240631"/>
                <a:gd name="connsiteX102" fmla="*/ 588169 w 1176338"/>
                <a:gd name="connsiteY102" fmla="*/ 1100137 h 1240631"/>
                <a:gd name="connsiteX103" fmla="*/ 678656 w 1176338"/>
                <a:gd name="connsiteY103" fmla="*/ 1107281 h 1240631"/>
                <a:gd name="connsiteX104" fmla="*/ 728663 w 1176338"/>
                <a:gd name="connsiteY104" fmla="*/ 1131094 h 1240631"/>
                <a:gd name="connsiteX105" fmla="*/ 747713 w 1176338"/>
                <a:gd name="connsiteY105" fmla="*/ 1152525 h 1240631"/>
                <a:gd name="connsiteX106" fmla="*/ 785813 w 1176338"/>
                <a:gd name="connsiteY106" fmla="*/ 1128712 h 1240631"/>
                <a:gd name="connsiteX107" fmla="*/ 812006 w 1176338"/>
                <a:gd name="connsiteY107" fmla="*/ 1188244 h 1240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1176338" h="1240631">
                  <a:moveTo>
                    <a:pt x="812006" y="1188244"/>
                  </a:moveTo>
                  <a:lnTo>
                    <a:pt x="850106" y="1240631"/>
                  </a:lnTo>
                  <a:lnTo>
                    <a:pt x="900113" y="1188244"/>
                  </a:lnTo>
                  <a:lnTo>
                    <a:pt x="921544" y="1112044"/>
                  </a:lnTo>
                  <a:lnTo>
                    <a:pt x="885825" y="1100137"/>
                  </a:lnTo>
                  <a:lnTo>
                    <a:pt x="845344" y="1064419"/>
                  </a:lnTo>
                  <a:lnTo>
                    <a:pt x="833438" y="1028700"/>
                  </a:lnTo>
                  <a:lnTo>
                    <a:pt x="819150" y="995362"/>
                  </a:lnTo>
                  <a:lnTo>
                    <a:pt x="816769" y="947737"/>
                  </a:lnTo>
                  <a:lnTo>
                    <a:pt x="804863" y="933450"/>
                  </a:lnTo>
                  <a:lnTo>
                    <a:pt x="783431" y="971550"/>
                  </a:lnTo>
                  <a:lnTo>
                    <a:pt x="762000" y="933450"/>
                  </a:lnTo>
                  <a:lnTo>
                    <a:pt x="771525" y="888206"/>
                  </a:lnTo>
                  <a:lnTo>
                    <a:pt x="804863" y="852487"/>
                  </a:lnTo>
                  <a:lnTo>
                    <a:pt x="797719" y="835819"/>
                  </a:lnTo>
                  <a:lnTo>
                    <a:pt x="828675" y="776287"/>
                  </a:lnTo>
                  <a:lnTo>
                    <a:pt x="852488" y="771525"/>
                  </a:lnTo>
                  <a:lnTo>
                    <a:pt x="902494" y="776287"/>
                  </a:lnTo>
                  <a:lnTo>
                    <a:pt x="892969" y="802481"/>
                  </a:lnTo>
                  <a:lnTo>
                    <a:pt x="959644" y="785812"/>
                  </a:lnTo>
                  <a:lnTo>
                    <a:pt x="1076325" y="740569"/>
                  </a:lnTo>
                  <a:lnTo>
                    <a:pt x="1107281" y="695325"/>
                  </a:lnTo>
                  <a:lnTo>
                    <a:pt x="1176338" y="695325"/>
                  </a:lnTo>
                  <a:lnTo>
                    <a:pt x="1171575" y="671512"/>
                  </a:lnTo>
                  <a:cubicBezTo>
                    <a:pt x="1172369" y="647700"/>
                    <a:pt x="1173162" y="623887"/>
                    <a:pt x="1173956" y="600075"/>
                  </a:cubicBezTo>
                  <a:lnTo>
                    <a:pt x="1138238" y="547687"/>
                  </a:lnTo>
                  <a:lnTo>
                    <a:pt x="1100138" y="557212"/>
                  </a:lnTo>
                  <a:lnTo>
                    <a:pt x="1050131" y="533400"/>
                  </a:lnTo>
                  <a:lnTo>
                    <a:pt x="978694" y="576262"/>
                  </a:lnTo>
                  <a:lnTo>
                    <a:pt x="964406" y="557212"/>
                  </a:lnTo>
                  <a:lnTo>
                    <a:pt x="923925" y="542925"/>
                  </a:lnTo>
                  <a:lnTo>
                    <a:pt x="923925" y="492919"/>
                  </a:lnTo>
                  <a:lnTo>
                    <a:pt x="866775" y="419100"/>
                  </a:lnTo>
                  <a:lnTo>
                    <a:pt x="935831" y="373856"/>
                  </a:lnTo>
                  <a:lnTo>
                    <a:pt x="907256" y="314325"/>
                  </a:lnTo>
                  <a:lnTo>
                    <a:pt x="878681" y="297656"/>
                  </a:lnTo>
                  <a:lnTo>
                    <a:pt x="831056" y="283369"/>
                  </a:lnTo>
                  <a:lnTo>
                    <a:pt x="852488" y="264319"/>
                  </a:lnTo>
                  <a:lnTo>
                    <a:pt x="838200" y="228600"/>
                  </a:lnTo>
                  <a:lnTo>
                    <a:pt x="919163" y="230981"/>
                  </a:lnTo>
                  <a:lnTo>
                    <a:pt x="957263" y="128587"/>
                  </a:lnTo>
                  <a:lnTo>
                    <a:pt x="1007269" y="133350"/>
                  </a:lnTo>
                  <a:lnTo>
                    <a:pt x="1059656" y="26194"/>
                  </a:lnTo>
                  <a:lnTo>
                    <a:pt x="1023938" y="19050"/>
                  </a:lnTo>
                  <a:lnTo>
                    <a:pt x="1002506" y="0"/>
                  </a:lnTo>
                  <a:lnTo>
                    <a:pt x="983456" y="11906"/>
                  </a:lnTo>
                  <a:lnTo>
                    <a:pt x="952500" y="16669"/>
                  </a:lnTo>
                  <a:lnTo>
                    <a:pt x="928688" y="4762"/>
                  </a:lnTo>
                  <a:lnTo>
                    <a:pt x="902494" y="2381"/>
                  </a:lnTo>
                  <a:lnTo>
                    <a:pt x="885825" y="28575"/>
                  </a:lnTo>
                  <a:lnTo>
                    <a:pt x="740569" y="45244"/>
                  </a:lnTo>
                  <a:lnTo>
                    <a:pt x="740569" y="11906"/>
                  </a:lnTo>
                  <a:lnTo>
                    <a:pt x="704850" y="52387"/>
                  </a:lnTo>
                  <a:lnTo>
                    <a:pt x="704850" y="71437"/>
                  </a:lnTo>
                  <a:lnTo>
                    <a:pt x="583406" y="111919"/>
                  </a:lnTo>
                  <a:lnTo>
                    <a:pt x="614363" y="140494"/>
                  </a:lnTo>
                  <a:lnTo>
                    <a:pt x="616744" y="178594"/>
                  </a:lnTo>
                  <a:lnTo>
                    <a:pt x="573881" y="211931"/>
                  </a:lnTo>
                  <a:lnTo>
                    <a:pt x="600075" y="259556"/>
                  </a:lnTo>
                  <a:lnTo>
                    <a:pt x="647700" y="276225"/>
                  </a:lnTo>
                  <a:lnTo>
                    <a:pt x="645319" y="323850"/>
                  </a:lnTo>
                  <a:lnTo>
                    <a:pt x="619125" y="357187"/>
                  </a:lnTo>
                  <a:lnTo>
                    <a:pt x="542925" y="366712"/>
                  </a:lnTo>
                  <a:lnTo>
                    <a:pt x="545306" y="400050"/>
                  </a:lnTo>
                  <a:lnTo>
                    <a:pt x="528638" y="440531"/>
                  </a:lnTo>
                  <a:lnTo>
                    <a:pt x="476250" y="457200"/>
                  </a:lnTo>
                  <a:lnTo>
                    <a:pt x="471488" y="414337"/>
                  </a:lnTo>
                  <a:lnTo>
                    <a:pt x="440531" y="411956"/>
                  </a:lnTo>
                  <a:lnTo>
                    <a:pt x="426244" y="440531"/>
                  </a:lnTo>
                  <a:lnTo>
                    <a:pt x="383381" y="438150"/>
                  </a:lnTo>
                  <a:lnTo>
                    <a:pt x="381000" y="416719"/>
                  </a:lnTo>
                  <a:lnTo>
                    <a:pt x="373856" y="459581"/>
                  </a:lnTo>
                  <a:lnTo>
                    <a:pt x="369094" y="481012"/>
                  </a:lnTo>
                  <a:lnTo>
                    <a:pt x="342900" y="490537"/>
                  </a:lnTo>
                  <a:lnTo>
                    <a:pt x="340519" y="471487"/>
                  </a:lnTo>
                  <a:lnTo>
                    <a:pt x="288131" y="509587"/>
                  </a:lnTo>
                  <a:lnTo>
                    <a:pt x="295275" y="576262"/>
                  </a:lnTo>
                  <a:lnTo>
                    <a:pt x="252413" y="614362"/>
                  </a:lnTo>
                  <a:lnTo>
                    <a:pt x="192881" y="604837"/>
                  </a:lnTo>
                  <a:lnTo>
                    <a:pt x="152400" y="611981"/>
                  </a:lnTo>
                  <a:lnTo>
                    <a:pt x="114300" y="611981"/>
                  </a:lnTo>
                  <a:lnTo>
                    <a:pt x="109538" y="590550"/>
                  </a:lnTo>
                  <a:lnTo>
                    <a:pt x="116681" y="559594"/>
                  </a:lnTo>
                  <a:lnTo>
                    <a:pt x="121444" y="540544"/>
                  </a:lnTo>
                  <a:lnTo>
                    <a:pt x="0" y="671512"/>
                  </a:lnTo>
                  <a:lnTo>
                    <a:pt x="11906" y="781050"/>
                  </a:lnTo>
                  <a:lnTo>
                    <a:pt x="45244" y="781050"/>
                  </a:lnTo>
                  <a:lnTo>
                    <a:pt x="28575" y="838200"/>
                  </a:lnTo>
                  <a:lnTo>
                    <a:pt x="16669" y="876300"/>
                  </a:lnTo>
                  <a:lnTo>
                    <a:pt x="40481" y="876300"/>
                  </a:lnTo>
                  <a:lnTo>
                    <a:pt x="42863" y="845344"/>
                  </a:lnTo>
                  <a:lnTo>
                    <a:pt x="164306" y="962025"/>
                  </a:lnTo>
                  <a:lnTo>
                    <a:pt x="180975" y="964406"/>
                  </a:lnTo>
                  <a:lnTo>
                    <a:pt x="188119" y="992981"/>
                  </a:lnTo>
                  <a:lnTo>
                    <a:pt x="197644" y="1019175"/>
                  </a:lnTo>
                  <a:lnTo>
                    <a:pt x="271463" y="1000125"/>
                  </a:lnTo>
                  <a:lnTo>
                    <a:pt x="269081" y="1047750"/>
                  </a:lnTo>
                  <a:lnTo>
                    <a:pt x="354806" y="1092994"/>
                  </a:lnTo>
                  <a:lnTo>
                    <a:pt x="409575" y="1119187"/>
                  </a:lnTo>
                  <a:lnTo>
                    <a:pt x="447675" y="1143000"/>
                  </a:lnTo>
                  <a:lnTo>
                    <a:pt x="452438" y="1166812"/>
                  </a:lnTo>
                  <a:lnTo>
                    <a:pt x="504825" y="1123950"/>
                  </a:lnTo>
                  <a:lnTo>
                    <a:pt x="588169" y="1100137"/>
                  </a:lnTo>
                  <a:lnTo>
                    <a:pt x="678656" y="1107281"/>
                  </a:lnTo>
                  <a:lnTo>
                    <a:pt x="728663" y="1131094"/>
                  </a:lnTo>
                  <a:lnTo>
                    <a:pt x="747713" y="1152525"/>
                  </a:lnTo>
                  <a:lnTo>
                    <a:pt x="785813" y="1128712"/>
                  </a:lnTo>
                  <a:lnTo>
                    <a:pt x="812006" y="118824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igura a mano libera 254">
              <a:extLst>
                <a:ext uri="{FF2B5EF4-FFF2-40B4-BE49-F238E27FC236}">
                  <a16:creationId xmlns:a16="http://schemas.microsoft.com/office/drawing/2014/main" id="{8681CBF7-DF35-40BC-B9CF-EFAAA15017F3}"/>
                </a:ext>
              </a:extLst>
            </p:cNvPr>
            <p:cNvSpPr/>
            <p:nvPr/>
          </p:nvSpPr>
          <p:spPr>
            <a:xfrm>
              <a:off x="7294432" y="2391466"/>
              <a:ext cx="1133496" cy="1198321"/>
            </a:xfrm>
            <a:custGeom>
              <a:avLst/>
              <a:gdLst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59531 w 1316831"/>
                <a:gd name="connsiteY38" fmla="*/ 230981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  <a:gd name="connsiteX0" fmla="*/ 788193 w 1316831"/>
                <a:gd name="connsiteY0" fmla="*/ 1402556 h 1414462"/>
                <a:gd name="connsiteX1" fmla="*/ 738187 w 1316831"/>
                <a:gd name="connsiteY1" fmla="*/ 1373981 h 1414462"/>
                <a:gd name="connsiteX2" fmla="*/ 704850 w 1316831"/>
                <a:gd name="connsiteY2" fmla="*/ 1390650 h 1414462"/>
                <a:gd name="connsiteX3" fmla="*/ 685800 w 1316831"/>
                <a:gd name="connsiteY3" fmla="*/ 1409700 h 1414462"/>
                <a:gd name="connsiteX4" fmla="*/ 657225 w 1316831"/>
                <a:gd name="connsiteY4" fmla="*/ 1414462 h 1414462"/>
                <a:gd name="connsiteX5" fmla="*/ 638175 w 1316831"/>
                <a:gd name="connsiteY5" fmla="*/ 1385887 h 1414462"/>
                <a:gd name="connsiteX6" fmla="*/ 650081 w 1316831"/>
                <a:gd name="connsiteY6" fmla="*/ 1354931 h 1414462"/>
                <a:gd name="connsiteX7" fmla="*/ 664368 w 1316831"/>
                <a:gd name="connsiteY7" fmla="*/ 1371600 h 1414462"/>
                <a:gd name="connsiteX8" fmla="*/ 690562 w 1316831"/>
                <a:gd name="connsiteY8" fmla="*/ 1359694 h 1414462"/>
                <a:gd name="connsiteX9" fmla="*/ 690562 w 1316831"/>
                <a:gd name="connsiteY9" fmla="*/ 1331119 h 1414462"/>
                <a:gd name="connsiteX10" fmla="*/ 673893 w 1316831"/>
                <a:gd name="connsiteY10" fmla="*/ 1281112 h 1414462"/>
                <a:gd name="connsiteX11" fmla="*/ 631031 w 1316831"/>
                <a:gd name="connsiteY11" fmla="*/ 1238250 h 1414462"/>
                <a:gd name="connsiteX12" fmla="*/ 595312 w 1316831"/>
                <a:gd name="connsiteY12" fmla="*/ 1223962 h 1414462"/>
                <a:gd name="connsiteX13" fmla="*/ 559593 w 1316831"/>
                <a:gd name="connsiteY13" fmla="*/ 1159669 h 1414462"/>
                <a:gd name="connsiteX14" fmla="*/ 471487 w 1316831"/>
                <a:gd name="connsiteY14" fmla="*/ 1126331 h 1414462"/>
                <a:gd name="connsiteX15" fmla="*/ 471487 w 1316831"/>
                <a:gd name="connsiteY15" fmla="*/ 1085850 h 1414462"/>
                <a:gd name="connsiteX16" fmla="*/ 485775 w 1316831"/>
                <a:gd name="connsiteY16" fmla="*/ 1031081 h 1414462"/>
                <a:gd name="connsiteX17" fmla="*/ 431006 w 1316831"/>
                <a:gd name="connsiteY17" fmla="*/ 1021556 h 1414462"/>
                <a:gd name="connsiteX18" fmla="*/ 376237 w 1316831"/>
                <a:gd name="connsiteY18" fmla="*/ 1021556 h 1414462"/>
                <a:gd name="connsiteX19" fmla="*/ 371475 w 1316831"/>
                <a:gd name="connsiteY19" fmla="*/ 1045369 h 1414462"/>
                <a:gd name="connsiteX20" fmla="*/ 347662 w 1316831"/>
                <a:gd name="connsiteY20" fmla="*/ 1023937 h 1414462"/>
                <a:gd name="connsiteX21" fmla="*/ 354806 w 1316831"/>
                <a:gd name="connsiteY21" fmla="*/ 992981 h 1414462"/>
                <a:gd name="connsiteX22" fmla="*/ 347662 w 1316831"/>
                <a:gd name="connsiteY22" fmla="*/ 938212 h 1414462"/>
                <a:gd name="connsiteX23" fmla="*/ 371475 w 1316831"/>
                <a:gd name="connsiteY23" fmla="*/ 912019 h 1414462"/>
                <a:gd name="connsiteX24" fmla="*/ 371475 w 1316831"/>
                <a:gd name="connsiteY24" fmla="*/ 888206 h 1414462"/>
                <a:gd name="connsiteX25" fmla="*/ 381000 w 1316831"/>
                <a:gd name="connsiteY25" fmla="*/ 821531 h 1414462"/>
                <a:gd name="connsiteX26" fmla="*/ 364331 w 1316831"/>
                <a:gd name="connsiteY26" fmla="*/ 771525 h 1414462"/>
                <a:gd name="connsiteX27" fmla="*/ 314325 w 1316831"/>
                <a:gd name="connsiteY27" fmla="*/ 692944 h 1414462"/>
                <a:gd name="connsiteX28" fmla="*/ 280987 w 1316831"/>
                <a:gd name="connsiteY28" fmla="*/ 654844 h 1414462"/>
                <a:gd name="connsiteX29" fmla="*/ 257175 w 1316831"/>
                <a:gd name="connsiteY29" fmla="*/ 585787 h 1414462"/>
                <a:gd name="connsiteX30" fmla="*/ 264318 w 1316831"/>
                <a:gd name="connsiteY30" fmla="*/ 419100 h 1414462"/>
                <a:gd name="connsiteX31" fmla="*/ 235743 w 1316831"/>
                <a:gd name="connsiteY31" fmla="*/ 371475 h 1414462"/>
                <a:gd name="connsiteX32" fmla="*/ 204787 w 1316831"/>
                <a:gd name="connsiteY32" fmla="*/ 350044 h 1414462"/>
                <a:gd name="connsiteX33" fmla="*/ 190500 w 1316831"/>
                <a:gd name="connsiteY33" fmla="*/ 304800 h 1414462"/>
                <a:gd name="connsiteX34" fmla="*/ 164306 w 1316831"/>
                <a:gd name="connsiteY34" fmla="*/ 280987 h 1414462"/>
                <a:gd name="connsiteX35" fmla="*/ 138112 w 1316831"/>
                <a:gd name="connsiteY35" fmla="*/ 264319 h 1414462"/>
                <a:gd name="connsiteX36" fmla="*/ 116681 w 1316831"/>
                <a:gd name="connsiteY36" fmla="*/ 273844 h 1414462"/>
                <a:gd name="connsiteX37" fmla="*/ 88106 w 1316831"/>
                <a:gd name="connsiteY37" fmla="*/ 264319 h 1414462"/>
                <a:gd name="connsiteX38" fmla="*/ 95250 w 1316831"/>
                <a:gd name="connsiteY38" fmla="*/ 223837 h 1414462"/>
                <a:gd name="connsiteX39" fmla="*/ 130968 w 1316831"/>
                <a:gd name="connsiteY39" fmla="*/ 216694 h 1414462"/>
                <a:gd name="connsiteX40" fmla="*/ 109537 w 1316831"/>
                <a:gd name="connsiteY40" fmla="*/ 178594 h 1414462"/>
                <a:gd name="connsiteX41" fmla="*/ 69056 w 1316831"/>
                <a:gd name="connsiteY41" fmla="*/ 178594 h 1414462"/>
                <a:gd name="connsiteX42" fmla="*/ 61912 w 1316831"/>
                <a:gd name="connsiteY42" fmla="*/ 133350 h 1414462"/>
                <a:gd name="connsiteX43" fmla="*/ 21431 w 1316831"/>
                <a:gd name="connsiteY43" fmla="*/ 100012 h 1414462"/>
                <a:gd name="connsiteX44" fmla="*/ 0 w 1316831"/>
                <a:gd name="connsiteY44" fmla="*/ 61912 h 1414462"/>
                <a:gd name="connsiteX45" fmla="*/ 42862 w 1316831"/>
                <a:gd name="connsiteY45" fmla="*/ 40481 h 1414462"/>
                <a:gd name="connsiteX46" fmla="*/ 64293 w 1316831"/>
                <a:gd name="connsiteY46" fmla="*/ 0 h 1414462"/>
                <a:gd name="connsiteX47" fmla="*/ 147637 w 1316831"/>
                <a:gd name="connsiteY47" fmla="*/ 7144 h 1414462"/>
                <a:gd name="connsiteX48" fmla="*/ 152400 w 1316831"/>
                <a:gd name="connsiteY48" fmla="*/ 45244 h 1414462"/>
                <a:gd name="connsiteX49" fmla="*/ 171450 w 1316831"/>
                <a:gd name="connsiteY49" fmla="*/ 83344 h 1414462"/>
                <a:gd name="connsiteX50" fmla="*/ 276225 w 1316831"/>
                <a:gd name="connsiteY50" fmla="*/ 130969 h 1414462"/>
                <a:gd name="connsiteX51" fmla="*/ 316706 w 1316831"/>
                <a:gd name="connsiteY51" fmla="*/ 140494 h 1414462"/>
                <a:gd name="connsiteX52" fmla="*/ 350043 w 1316831"/>
                <a:gd name="connsiteY52" fmla="*/ 169069 h 1414462"/>
                <a:gd name="connsiteX53" fmla="*/ 390525 w 1316831"/>
                <a:gd name="connsiteY53" fmla="*/ 192881 h 1414462"/>
                <a:gd name="connsiteX54" fmla="*/ 411956 w 1316831"/>
                <a:gd name="connsiteY54" fmla="*/ 223837 h 1414462"/>
                <a:gd name="connsiteX55" fmla="*/ 416718 w 1316831"/>
                <a:gd name="connsiteY55" fmla="*/ 230981 h 1414462"/>
                <a:gd name="connsiteX56" fmla="*/ 423862 w 1316831"/>
                <a:gd name="connsiteY56" fmla="*/ 240506 h 1414462"/>
                <a:gd name="connsiteX57" fmla="*/ 431006 w 1316831"/>
                <a:gd name="connsiteY57" fmla="*/ 247650 h 1414462"/>
                <a:gd name="connsiteX58" fmla="*/ 431006 w 1316831"/>
                <a:gd name="connsiteY58" fmla="*/ 247650 h 1414462"/>
                <a:gd name="connsiteX59" fmla="*/ 490537 w 1316831"/>
                <a:gd name="connsiteY59" fmla="*/ 233362 h 1414462"/>
                <a:gd name="connsiteX60" fmla="*/ 540543 w 1316831"/>
                <a:gd name="connsiteY60" fmla="*/ 259556 h 1414462"/>
                <a:gd name="connsiteX61" fmla="*/ 588168 w 1316831"/>
                <a:gd name="connsiteY61" fmla="*/ 292894 h 1414462"/>
                <a:gd name="connsiteX62" fmla="*/ 602456 w 1316831"/>
                <a:gd name="connsiteY62" fmla="*/ 297656 h 1414462"/>
                <a:gd name="connsiteX63" fmla="*/ 635793 w 1316831"/>
                <a:gd name="connsiteY63" fmla="*/ 245269 h 1414462"/>
                <a:gd name="connsiteX64" fmla="*/ 685800 w 1316831"/>
                <a:gd name="connsiteY64" fmla="*/ 280987 h 1414462"/>
                <a:gd name="connsiteX65" fmla="*/ 733425 w 1316831"/>
                <a:gd name="connsiteY65" fmla="*/ 271462 h 1414462"/>
                <a:gd name="connsiteX66" fmla="*/ 766762 w 1316831"/>
                <a:gd name="connsiteY66" fmla="*/ 280987 h 1414462"/>
                <a:gd name="connsiteX67" fmla="*/ 750093 w 1316831"/>
                <a:gd name="connsiteY67" fmla="*/ 250031 h 1414462"/>
                <a:gd name="connsiteX68" fmla="*/ 790575 w 1316831"/>
                <a:gd name="connsiteY68" fmla="*/ 228600 h 1414462"/>
                <a:gd name="connsiteX69" fmla="*/ 826293 w 1316831"/>
                <a:gd name="connsiteY69" fmla="*/ 192881 h 1414462"/>
                <a:gd name="connsiteX70" fmla="*/ 862012 w 1316831"/>
                <a:gd name="connsiteY70" fmla="*/ 209550 h 1414462"/>
                <a:gd name="connsiteX71" fmla="*/ 885825 w 1316831"/>
                <a:gd name="connsiteY71" fmla="*/ 245269 h 1414462"/>
                <a:gd name="connsiteX72" fmla="*/ 945356 w 1316831"/>
                <a:gd name="connsiteY72" fmla="*/ 240506 h 1414462"/>
                <a:gd name="connsiteX73" fmla="*/ 938212 w 1316831"/>
                <a:gd name="connsiteY73" fmla="*/ 280987 h 1414462"/>
                <a:gd name="connsiteX74" fmla="*/ 1012031 w 1316831"/>
                <a:gd name="connsiteY74" fmla="*/ 278606 h 1414462"/>
                <a:gd name="connsiteX75" fmla="*/ 981075 w 1316831"/>
                <a:gd name="connsiteY75" fmla="*/ 347662 h 1414462"/>
                <a:gd name="connsiteX76" fmla="*/ 966787 w 1316831"/>
                <a:gd name="connsiteY76" fmla="*/ 378619 h 1414462"/>
                <a:gd name="connsiteX77" fmla="*/ 988218 w 1316831"/>
                <a:gd name="connsiteY77" fmla="*/ 400050 h 1414462"/>
                <a:gd name="connsiteX78" fmla="*/ 985837 w 1316831"/>
                <a:gd name="connsiteY78" fmla="*/ 442912 h 1414462"/>
                <a:gd name="connsiteX79" fmla="*/ 1085850 w 1316831"/>
                <a:gd name="connsiteY79" fmla="*/ 488156 h 1414462"/>
                <a:gd name="connsiteX80" fmla="*/ 1143000 w 1316831"/>
                <a:gd name="connsiteY80" fmla="*/ 523875 h 1414462"/>
                <a:gd name="connsiteX81" fmla="*/ 1181100 w 1316831"/>
                <a:gd name="connsiteY81" fmla="*/ 528637 h 1414462"/>
                <a:gd name="connsiteX82" fmla="*/ 1281112 w 1316831"/>
                <a:gd name="connsiteY82" fmla="*/ 516731 h 1414462"/>
                <a:gd name="connsiteX83" fmla="*/ 1316831 w 1316831"/>
                <a:gd name="connsiteY83" fmla="*/ 545306 h 1414462"/>
                <a:gd name="connsiteX84" fmla="*/ 1202531 w 1316831"/>
                <a:gd name="connsiteY84" fmla="*/ 609600 h 1414462"/>
                <a:gd name="connsiteX85" fmla="*/ 1221581 w 1316831"/>
                <a:gd name="connsiteY85" fmla="*/ 633412 h 1414462"/>
                <a:gd name="connsiteX86" fmla="*/ 1183481 w 1316831"/>
                <a:gd name="connsiteY86" fmla="*/ 683419 h 1414462"/>
                <a:gd name="connsiteX87" fmla="*/ 1166812 w 1316831"/>
                <a:gd name="connsiteY87" fmla="*/ 683419 h 1414462"/>
                <a:gd name="connsiteX88" fmla="*/ 1195387 w 1316831"/>
                <a:gd name="connsiteY88" fmla="*/ 711994 h 1414462"/>
                <a:gd name="connsiteX89" fmla="*/ 1150143 w 1316831"/>
                <a:gd name="connsiteY89" fmla="*/ 723900 h 1414462"/>
                <a:gd name="connsiteX90" fmla="*/ 1123950 w 1316831"/>
                <a:gd name="connsiteY90" fmla="*/ 745331 h 1414462"/>
                <a:gd name="connsiteX91" fmla="*/ 1154906 w 1316831"/>
                <a:gd name="connsiteY91" fmla="*/ 745331 h 1414462"/>
                <a:gd name="connsiteX92" fmla="*/ 1183481 w 1316831"/>
                <a:gd name="connsiteY92" fmla="*/ 790575 h 1414462"/>
                <a:gd name="connsiteX93" fmla="*/ 1223962 w 1316831"/>
                <a:gd name="connsiteY93" fmla="*/ 828675 h 1414462"/>
                <a:gd name="connsiteX94" fmla="*/ 1216818 w 1316831"/>
                <a:gd name="connsiteY94" fmla="*/ 840581 h 1414462"/>
                <a:gd name="connsiteX95" fmla="*/ 1154906 w 1316831"/>
                <a:gd name="connsiteY95" fmla="*/ 864394 h 1414462"/>
                <a:gd name="connsiteX96" fmla="*/ 1147762 w 1316831"/>
                <a:gd name="connsiteY96" fmla="*/ 847725 h 1414462"/>
                <a:gd name="connsiteX97" fmla="*/ 1102518 w 1316831"/>
                <a:gd name="connsiteY97" fmla="*/ 895350 h 1414462"/>
                <a:gd name="connsiteX98" fmla="*/ 1052512 w 1316831"/>
                <a:gd name="connsiteY98" fmla="*/ 945356 h 1414462"/>
                <a:gd name="connsiteX99" fmla="*/ 1071562 w 1316831"/>
                <a:gd name="connsiteY99" fmla="*/ 990600 h 1414462"/>
                <a:gd name="connsiteX100" fmla="*/ 1100137 w 1316831"/>
                <a:gd name="connsiteY100" fmla="*/ 1000125 h 1414462"/>
                <a:gd name="connsiteX101" fmla="*/ 1092993 w 1316831"/>
                <a:gd name="connsiteY101" fmla="*/ 1062037 h 1414462"/>
                <a:gd name="connsiteX102" fmla="*/ 1071562 w 1316831"/>
                <a:gd name="connsiteY102" fmla="*/ 1112044 h 1414462"/>
                <a:gd name="connsiteX103" fmla="*/ 1057275 w 1316831"/>
                <a:gd name="connsiteY103" fmla="*/ 1116806 h 1414462"/>
                <a:gd name="connsiteX104" fmla="*/ 992981 w 1316831"/>
                <a:gd name="connsiteY104" fmla="*/ 1131094 h 1414462"/>
                <a:gd name="connsiteX105" fmla="*/ 1002506 w 1316831"/>
                <a:gd name="connsiteY105" fmla="*/ 1243012 h 1414462"/>
                <a:gd name="connsiteX106" fmla="*/ 966787 w 1316831"/>
                <a:gd name="connsiteY106" fmla="*/ 1250156 h 1414462"/>
                <a:gd name="connsiteX107" fmla="*/ 928687 w 1316831"/>
                <a:gd name="connsiteY107" fmla="*/ 1278731 h 1414462"/>
                <a:gd name="connsiteX108" fmla="*/ 890587 w 1316831"/>
                <a:gd name="connsiteY108" fmla="*/ 1271587 h 1414462"/>
                <a:gd name="connsiteX109" fmla="*/ 873918 w 1316831"/>
                <a:gd name="connsiteY109" fmla="*/ 1328737 h 1414462"/>
                <a:gd name="connsiteX110" fmla="*/ 909637 w 1316831"/>
                <a:gd name="connsiteY110" fmla="*/ 1345406 h 1414462"/>
                <a:gd name="connsiteX111" fmla="*/ 897731 w 1316831"/>
                <a:gd name="connsiteY111" fmla="*/ 1369219 h 1414462"/>
                <a:gd name="connsiteX112" fmla="*/ 788193 w 1316831"/>
                <a:gd name="connsiteY112" fmla="*/ 1402556 h 141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316831" h="1414462">
                  <a:moveTo>
                    <a:pt x="788193" y="1402556"/>
                  </a:moveTo>
                  <a:lnTo>
                    <a:pt x="738187" y="1373981"/>
                  </a:lnTo>
                  <a:lnTo>
                    <a:pt x="704850" y="1390650"/>
                  </a:lnTo>
                  <a:lnTo>
                    <a:pt x="685800" y="1409700"/>
                  </a:lnTo>
                  <a:lnTo>
                    <a:pt x="657225" y="1414462"/>
                  </a:lnTo>
                  <a:lnTo>
                    <a:pt x="638175" y="1385887"/>
                  </a:lnTo>
                  <a:lnTo>
                    <a:pt x="650081" y="1354931"/>
                  </a:lnTo>
                  <a:lnTo>
                    <a:pt x="664368" y="1371600"/>
                  </a:lnTo>
                  <a:lnTo>
                    <a:pt x="690562" y="1359694"/>
                  </a:lnTo>
                  <a:lnTo>
                    <a:pt x="690562" y="1331119"/>
                  </a:lnTo>
                  <a:lnTo>
                    <a:pt x="673893" y="1281112"/>
                  </a:lnTo>
                  <a:lnTo>
                    <a:pt x="631031" y="1238250"/>
                  </a:lnTo>
                  <a:lnTo>
                    <a:pt x="595312" y="1223962"/>
                  </a:lnTo>
                  <a:lnTo>
                    <a:pt x="559593" y="1159669"/>
                  </a:lnTo>
                  <a:lnTo>
                    <a:pt x="471487" y="1126331"/>
                  </a:lnTo>
                  <a:lnTo>
                    <a:pt x="471487" y="1085850"/>
                  </a:lnTo>
                  <a:lnTo>
                    <a:pt x="485775" y="1031081"/>
                  </a:lnTo>
                  <a:lnTo>
                    <a:pt x="431006" y="1021556"/>
                  </a:lnTo>
                  <a:lnTo>
                    <a:pt x="376237" y="1021556"/>
                  </a:lnTo>
                  <a:lnTo>
                    <a:pt x="371475" y="1045369"/>
                  </a:lnTo>
                  <a:lnTo>
                    <a:pt x="347662" y="1023937"/>
                  </a:lnTo>
                  <a:lnTo>
                    <a:pt x="354806" y="992981"/>
                  </a:lnTo>
                  <a:lnTo>
                    <a:pt x="347662" y="938212"/>
                  </a:lnTo>
                  <a:lnTo>
                    <a:pt x="371475" y="912019"/>
                  </a:lnTo>
                  <a:lnTo>
                    <a:pt x="371475" y="888206"/>
                  </a:lnTo>
                  <a:lnTo>
                    <a:pt x="381000" y="821531"/>
                  </a:lnTo>
                  <a:lnTo>
                    <a:pt x="364331" y="771525"/>
                  </a:lnTo>
                  <a:lnTo>
                    <a:pt x="314325" y="692944"/>
                  </a:lnTo>
                  <a:lnTo>
                    <a:pt x="280987" y="654844"/>
                  </a:lnTo>
                  <a:lnTo>
                    <a:pt x="257175" y="585787"/>
                  </a:lnTo>
                  <a:lnTo>
                    <a:pt x="264318" y="419100"/>
                  </a:lnTo>
                  <a:lnTo>
                    <a:pt x="235743" y="371475"/>
                  </a:lnTo>
                  <a:lnTo>
                    <a:pt x="204787" y="350044"/>
                  </a:lnTo>
                  <a:lnTo>
                    <a:pt x="190500" y="304800"/>
                  </a:lnTo>
                  <a:lnTo>
                    <a:pt x="164306" y="280987"/>
                  </a:lnTo>
                  <a:lnTo>
                    <a:pt x="138112" y="264319"/>
                  </a:lnTo>
                  <a:lnTo>
                    <a:pt x="116681" y="273844"/>
                  </a:lnTo>
                  <a:lnTo>
                    <a:pt x="88106" y="264319"/>
                  </a:lnTo>
                  <a:lnTo>
                    <a:pt x="95250" y="223837"/>
                  </a:lnTo>
                  <a:lnTo>
                    <a:pt x="130968" y="216694"/>
                  </a:lnTo>
                  <a:lnTo>
                    <a:pt x="109537" y="178594"/>
                  </a:lnTo>
                  <a:lnTo>
                    <a:pt x="69056" y="178594"/>
                  </a:lnTo>
                  <a:lnTo>
                    <a:pt x="61912" y="133350"/>
                  </a:lnTo>
                  <a:lnTo>
                    <a:pt x="21431" y="100012"/>
                  </a:lnTo>
                  <a:lnTo>
                    <a:pt x="0" y="61912"/>
                  </a:lnTo>
                  <a:lnTo>
                    <a:pt x="42862" y="40481"/>
                  </a:lnTo>
                  <a:lnTo>
                    <a:pt x="64293" y="0"/>
                  </a:lnTo>
                  <a:lnTo>
                    <a:pt x="147637" y="7144"/>
                  </a:lnTo>
                  <a:lnTo>
                    <a:pt x="152400" y="45244"/>
                  </a:lnTo>
                  <a:lnTo>
                    <a:pt x="171450" y="83344"/>
                  </a:lnTo>
                  <a:lnTo>
                    <a:pt x="276225" y="130969"/>
                  </a:lnTo>
                  <a:lnTo>
                    <a:pt x="316706" y="140494"/>
                  </a:lnTo>
                  <a:lnTo>
                    <a:pt x="350043" y="169069"/>
                  </a:lnTo>
                  <a:lnTo>
                    <a:pt x="390525" y="192881"/>
                  </a:lnTo>
                  <a:lnTo>
                    <a:pt x="411956" y="223837"/>
                  </a:lnTo>
                  <a:cubicBezTo>
                    <a:pt x="413577" y="226195"/>
                    <a:pt x="415001" y="228692"/>
                    <a:pt x="416718" y="230981"/>
                  </a:cubicBezTo>
                  <a:cubicBezTo>
                    <a:pt x="419099" y="234156"/>
                    <a:pt x="421279" y="237493"/>
                    <a:pt x="423862" y="240506"/>
                  </a:cubicBezTo>
                  <a:cubicBezTo>
                    <a:pt x="426054" y="243063"/>
                    <a:pt x="431006" y="247650"/>
                    <a:pt x="431006" y="247650"/>
                  </a:cubicBezTo>
                  <a:lnTo>
                    <a:pt x="431006" y="247650"/>
                  </a:lnTo>
                  <a:lnTo>
                    <a:pt x="490537" y="233362"/>
                  </a:lnTo>
                  <a:lnTo>
                    <a:pt x="540543" y="259556"/>
                  </a:lnTo>
                  <a:lnTo>
                    <a:pt x="588168" y="292894"/>
                  </a:lnTo>
                  <a:lnTo>
                    <a:pt x="602456" y="297656"/>
                  </a:lnTo>
                  <a:lnTo>
                    <a:pt x="635793" y="245269"/>
                  </a:lnTo>
                  <a:lnTo>
                    <a:pt x="685800" y="280987"/>
                  </a:lnTo>
                  <a:lnTo>
                    <a:pt x="733425" y="271462"/>
                  </a:lnTo>
                  <a:lnTo>
                    <a:pt x="766762" y="280987"/>
                  </a:lnTo>
                  <a:lnTo>
                    <a:pt x="750093" y="250031"/>
                  </a:lnTo>
                  <a:lnTo>
                    <a:pt x="790575" y="228600"/>
                  </a:lnTo>
                  <a:lnTo>
                    <a:pt x="826293" y="192881"/>
                  </a:lnTo>
                  <a:lnTo>
                    <a:pt x="862012" y="209550"/>
                  </a:lnTo>
                  <a:lnTo>
                    <a:pt x="885825" y="245269"/>
                  </a:lnTo>
                  <a:lnTo>
                    <a:pt x="945356" y="240506"/>
                  </a:lnTo>
                  <a:lnTo>
                    <a:pt x="938212" y="280987"/>
                  </a:lnTo>
                  <a:lnTo>
                    <a:pt x="1012031" y="278606"/>
                  </a:lnTo>
                  <a:lnTo>
                    <a:pt x="981075" y="347662"/>
                  </a:lnTo>
                  <a:lnTo>
                    <a:pt x="966787" y="378619"/>
                  </a:lnTo>
                  <a:lnTo>
                    <a:pt x="988218" y="400050"/>
                  </a:lnTo>
                  <a:lnTo>
                    <a:pt x="985837" y="442912"/>
                  </a:lnTo>
                  <a:lnTo>
                    <a:pt x="1085850" y="488156"/>
                  </a:lnTo>
                  <a:lnTo>
                    <a:pt x="1143000" y="523875"/>
                  </a:lnTo>
                  <a:lnTo>
                    <a:pt x="1181100" y="528637"/>
                  </a:lnTo>
                  <a:lnTo>
                    <a:pt x="1281112" y="516731"/>
                  </a:lnTo>
                  <a:lnTo>
                    <a:pt x="1316831" y="545306"/>
                  </a:lnTo>
                  <a:lnTo>
                    <a:pt x="1202531" y="609600"/>
                  </a:lnTo>
                  <a:lnTo>
                    <a:pt x="1221581" y="633412"/>
                  </a:lnTo>
                  <a:lnTo>
                    <a:pt x="1183481" y="683419"/>
                  </a:lnTo>
                  <a:lnTo>
                    <a:pt x="1166812" y="683419"/>
                  </a:lnTo>
                  <a:lnTo>
                    <a:pt x="1195387" y="711994"/>
                  </a:lnTo>
                  <a:lnTo>
                    <a:pt x="1150143" y="723900"/>
                  </a:lnTo>
                  <a:lnTo>
                    <a:pt x="1123950" y="745331"/>
                  </a:lnTo>
                  <a:lnTo>
                    <a:pt x="1154906" y="745331"/>
                  </a:lnTo>
                  <a:lnTo>
                    <a:pt x="1183481" y="790575"/>
                  </a:lnTo>
                  <a:lnTo>
                    <a:pt x="1223962" y="828675"/>
                  </a:lnTo>
                  <a:lnTo>
                    <a:pt x="1216818" y="840581"/>
                  </a:lnTo>
                  <a:lnTo>
                    <a:pt x="1154906" y="864394"/>
                  </a:lnTo>
                  <a:lnTo>
                    <a:pt x="1147762" y="847725"/>
                  </a:lnTo>
                  <a:lnTo>
                    <a:pt x="1102518" y="895350"/>
                  </a:lnTo>
                  <a:lnTo>
                    <a:pt x="1052512" y="945356"/>
                  </a:lnTo>
                  <a:lnTo>
                    <a:pt x="1071562" y="990600"/>
                  </a:lnTo>
                  <a:lnTo>
                    <a:pt x="1100137" y="1000125"/>
                  </a:lnTo>
                  <a:lnTo>
                    <a:pt x="1092993" y="1062037"/>
                  </a:lnTo>
                  <a:lnTo>
                    <a:pt x="1071562" y="1112044"/>
                  </a:lnTo>
                  <a:lnTo>
                    <a:pt x="1057275" y="1116806"/>
                  </a:lnTo>
                  <a:lnTo>
                    <a:pt x="992981" y="1131094"/>
                  </a:lnTo>
                  <a:lnTo>
                    <a:pt x="1002506" y="1243012"/>
                  </a:lnTo>
                  <a:lnTo>
                    <a:pt x="966787" y="1250156"/>
                  </a:lnTo>
                  <a:lnTo>
                    <a:pt x="928687" y="1278731"/>
                  </a:lnTo>
                  <a:lnTo>
                    <a:pt x="890587" y="1271587"/>
                  </a:lnTo>
                  <a:lnTo>
                    <a:pt x="873918" y="1328737"/>
                  </a:lnTo>
                  <a:lnTo>
                    <a:pt x="909637" y="1345406"/>
                  </a:lnTo>
                  <a:lnTo>
                    <a:pt x="897731" y="1369219"/>
                  </a:lnTo>
                  <a:lnTo>
                    <a:pt x="788193" y="140255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igura a mano libera 255">
              <a:extLst>
                <a:ext uri="{FF2B5EF4-FFF2-40B4-BE49-F238E27FC236}">
                  <a16:creationId xmlns:a16="http://schemas.microsoft.com/office/drawing/2014/main" id="{C318D3B6-5685-41EC-B561-D9C781425D74}"/>
                </a:ext>
              </a:extLst>
            </p:cNvPr>
            <p:cNvSpPr/>
            <p:nvPr/>
          </p:nvSpPr>
          <p:spPr>
            <a:xfrm>
              <a:off x="7975482" y="3327902"/>
              <a:ext cx="1135084" cy="926913"/>
            </a:xfrm>
            <a:custGeom>
              <a:avLst/>
              <a:gdLst>
                <a:gd name="connsiteX0" fmla="*/ 1190625 w 1319213"/>
                <a:gd name="connsiteY0" fmla="*/ 1078706 h 1095375"/>
                <a:gd name="connsiteX1" fmla="*/ 1121569 w 1319213"/>
                <a:gd name="connsiteY1" fmla="*/ 1052512 h 1095375"/>
                <a:gd name="connsiteX2" fmla="*/ 1102519 w 1319213"/>
                <a:gd name="connsiteY2" fmla="*/ 1059656 h 1095375"/>
                <a:gd name="connsiteX3" fmla="*/ 1092994 w 1319213"/>
                <a:gd name="connsiteY3" fmla="*/ 1064419 h 1095375"/>
                <a:gd name="connsiteX4" fmla="*/ 1090613 w 1319213"/>
                <a:gd name="connsiteY4" fmla="*/ 1095375 h 1095375"/>
                <a:gd name="connsiteX5" fmla="*/ 1090613 w 1319213"/>
                <a:gd name="connsiteY5" fmla="*/ 1095375 h 1095375"/>
                <a:gd name="connsiteX6" fmla="*/ 990600 w 1319213"/>
                <a:gd name="connsiteY6" fmla="*/ 1045369 h 1095375"/>
                <a:gd name="connsiteX7" fmla="*/ 942975 w 1319213"/>
                <a:gd name="connsiteY7" fmla="*/ 1045369 h 1095375"/>
                <a:gd name="connsiteX8" fmla="*/ 904875 w 1319213"/>
                <a:gd name="connsiteY8" fmla="*/ 1038225 h 1095375"/>
                <a:gd name="connsiteX9" fmla="*/ 866775 w 1319213"/>
                <a:gd name="connsiteY9" fmla="*/ 1062037 h 1095375"/>
                <a:gd name="connsiteX10" fmla="*/ 823913 w 1319213"/>
                <a:gd name="connsiteY10" fmla="*/ 1092994 h 1095375"/>
                <a:gd name="connsiteX11" fmla="*/ 802481 w 1319213"/>
                <a:gd name="connsiteY11" fmla="*/ 1062037 h 1095375"/>
                <a:gd name="connsiteX12" fmla="*/ 781050 w 1319213"/>
                <a:gd name="connsiteY12" fmla="*/ 997744 h 1095375"/>
                <a:gd name="connsiteX13" fmla="*/ 711994 w 1319213"/>
                <a:gd name="connsiteY13" fmla="*/ 954881 h 1095375"/>
                <a:gd name="connsiteX14" fmla="*/ 685800 w 1319213"/>
                <a:gd name="connsiteY14" fmla="*/ 950119 h 1095375"/>
                <a:gd name="connsiteX15" fmla="*/ 664369 w 1319213"/>
                <a:gd name="connsiteY15" fmla="*/ 971550 h 1095375"/>
                <a:gd name="connsiteX16" fmla="*/ 621506 w 1319213"/>
                <a:gd name="connsiteY16" fmla="*/ 919162 h 1095375"/>
                <a:gd name="connsiteX17" fmla="*/ 592931 w 1319213"/>
                <a:gd name="connsiteY17" fmla="*/ 933450 h 1095375"/>
                <a:gd name="connsiteX18" fmla="*/ 542925 w 1319213"/>
                <a:gd name="connsiteY18" fmla="*/ 852487 h 1095375"/>
                <a:gd name="connsiteX19" fmla="*/ 457200 w 1319213"/>
                <a:gd name="connsiteY19" fmla="*/ 754856 h 1095375"/>
                <a:gd name="connsiteX20" fmla="*/ 383381 w 1319213"/>
                <a:gd name="connsiteY20" fmla="*/ 726281 h 1095375"/>
                <a:gd name="connsiteX21" fmla="*/ 395288 w 1319213"/>
                <a:gd name="connsiteY21" fmla="*/ 690562 h 1095375"/>
                <a:gd name="connsiteX22" fmla="*/ 378619 w 1319213"/>
                <a:gd name="connsiteY22" fmla="*/ 652462 h 1095375"/>
                <a:gd name="connsiteX23" fmla="*/ 342900 w 1319213"/>
                <a:gd name="connsiteY23" fmla="*/ 602456 h 1095375"/>
                <a:gd name="connsiteX24" fmla="*/ 266700 w 1319213"/>
                <a:gd name="connsiteY24" fmla="*/ 545306 h 1095375"/>
                <a:gd name="connsiteX25" fmla="*/ 226219 w 1319213"/>
                <a:gd name="connsiteY25" fmla="*/ 521494 h 1095375"/>
                <a:gd name="connsiteX26" fmla="*/ 197644 w 1319213"/>
                <a:gd name="connsiteY26" fmla="*/ 545306 h 1095375"/>
                <a:gd name="connsiteX27" fmla="*/ 152400 w 1319213"/>
                <a:gd name="connsiteY27" fmla="*/ 431006 h 1095375"/>
                <a:gd name="connsiteX28" fmla="*/ 142875 w 1319213"/>
                <a:gd name="connsiteY28" fmla="*/ 395287 h 1095375"/>
                <a:gd name="connsiteX29" fmla="*/ 85725 w 1319213"/>
                <a:gd name="connsiteY29" fmla="*/ 328612 h 1095375"/>
                <a:gd name="connsiteX30" fmla="*/ 11906 w 1319213"/>
                <a:gd name="connsiteY30" fmla="*/ 304800 h 1095375"/>
                <a:gd name="connsiteX31" fmla="*/ 0 w 1319213"/>
                <a:gd name="connsiteY31" fmla="*/ 283369 h 1095375"/>
                <a:gd name="connsiteX32" fmla="*/ 23813 w 1319213"/>
                <a:gd name="connsiteY32" fmla="*/ 259556 h 1095375"/>
                <a:gd name="connsiteX33" fmla="*/ 83344 w 1319213"/>
                <a:gd name="connsiteY33" fmla="*/ 264319 h 1095375"/>
                <a:gd name="connsiteX34" fmla="*/ 95250 w 1319213"/>
                <a:gd name="connsiteY34" fmla="*/ 247650 h 1095375"/>
                <a:gd name="connsiteX35" fmla="*/ 104775 w 1319213"/>
                <a:gd name="connsiteY35" fmla="*/ 226219 h 1095375"/>
                <a:gd name="connsiteX36" fmla="*/ 73819 w 1319213"/>
                <a:gd name="connsiteY36" fmla="*/ 204787 h 1095375"/>
                <a:gd name="connsiteX37" fmla="*/ 78581 w 1319213"/>
                <a:gd name="connsiteY37" fmla="*/ 171450 h 1095375"/>
                <a:gd name="connsiteX38" fmla="*/ 119063 w 1319213"/>
                <a:gd name="connsiteY38" fmla="*/ 171450 h 1095375"/>
                <a:gd name="connsiteX39" fmla="*/ 161925 w 1319213"/>
                <a:gd name="connsiteY39" fmla="*/ 142875 h 1095375"/>
                <a:gd name="connsiteX40" fmla="*/ 173831 w 1319213"/>
                <a:gd name="connsiteY40" fmla="*/ 133350 h 1095375"/>
                <a:gd name="connsiteX41" fmla="*/ 200025 w 1319213"/>
                <a:gd name="connsiteY41" fmla="*/ 133350 h 1095375"/>
                <a:gd name="connsiteX42" fmla="*/ 190500 w 1319213"/>
                <a:gd name="connsiteY42" fmla="*/ 78581 h 1095375"/>
                <a:gd name="connsiteX43" fmla="*/ 180975 w 1319213"/>
                <a:gd name="connsiteY43" fmla="*/ 45244 h 1095375"/>
                <a:gd name="connsiteX44" fmla="*/ 180975 w 1319213"/>
                <a:gd name="connsiteY44" fmla="*/ 14287 h 1095375"/>
                <a:gd name="connsiteX45" fmla="*/ 226219 w 1319213"/>
                <a:gd name="connsiteY45" fmla="*/ 4762 h 1095375"/>
                <a:gd name="connsiteX46" fmla="*/ 259556 w 1319213"/>
                <a:gd name="connsiteY46" fmla="*/ 0 h 1095375"/>
                <a:gd name="connsiteX47" fmla="*/ 264319 w 1319213"/>
                <a:gd name="connsiteY47" fmla="*/ 28575 h 1095375"/>
                <a:gd name="connsiteX48" fmla="*/ 273844 w 1319213"/>
                <a:gd name="connsiteY48" fmla="*/ 64294 h 1095375"/>
                <a:gd name="connsiteX49" fmla="*/ 292894 w 1319213"/>
                <a:gd name="connsiteY49" fmla="*/ 66675 h 1095375"/>
                <a:gd name="connsiteX50" fmla="*/ 264319 w 1319213"/>
                <a:gd name="connsiteY50" fmla="*/ 97631 h 1095375"/>
                <a:gd name="connsiteX51" fmla="*/ 307181 w 1319213"/>
                <a:gd name="connsiteY51" fmla="*/ 114300 h 1095375"/>
                <a:gd name="connsiteX52" fmla="*/ 314325 w 1319213"/>
                <a:gd name="connsiteY52" fmla="*/ 138112 h 1095375"/>
                <a:gd name="connsiteX53" fmla="*/ 342900 w 1319213"/>
                <a:gd name="connsiteY53" fmla="*/ 119062 h 1095375"/>
                <a:gd name="connsiteX54" fmla="*/ 373856 w 1319213"/>
                <a:gd name="connsiteY54" fmla="*/ 126206 h 1095375"/>
                <a:gd name="connsiteX55" fmla="*/ 392906 w 1319213"/>
                <a:gd name="connsiteY55" fmla="*/ 97631 h 1095375"/>
                <a:gd name="connsiteX56" fmla="*/ 419100 w 1319213"/>
                <a:gd name="connsiteY56" fmla="*/ 126206 h 1095375"/>
                <a:gd name="connsiteX57" fmla="*/ 416719 w 1319213"/>
                <a:gd name="connsiteY57" fmla="*/ 150019 h 1095375"/>
                <a:gd name="connsiteX58" fmla="*/ 457200 w 1319213"/>
                <a:gd name="connsiteY58" fmla="*/ 216694 h 1095375"/>
                <a:gd name="connsiteX59" fmla="*/ 488156 w 1319213"/>
                <a:gd name="connsiteY59" fmla="*/ 259556 h 1095375"/>
                <a:gd name="connsiteX60" fmla="*/ 497681 w 1319213"/>
                <a:gd name="connsiteY60" fmla="*/ 235744 h 1095375"/>
                <a:gd name="connsiteX61" fmla="*/ 519113 w 1319213"/>
                <a:gd name="connsiteY61" fmla="*/ 273844 h 1095375"/>
                <a:gd name="connsiteX62" fmla="*/ 538163 w 1319213"/>
                <a:gd name="connsiteY62" fmla="*/ 292894 h 1095375"/>
                <a:gd name="connsiteX63" fmla="*/ 557213 w 1319213"/>
                <a:gd name="connsiteY63" fmla="*/ 309562 h 1095375"/>
                <a:gd name="connsiteX64" fmla="*/ 561975 w 1319213"/>
                <a:gd name="connsiteY64" fmla="*/ 333375 h 1095375"/>
                <a:gd name="connsiteX65" fmla="*/ 592931 w 1319213"/>
                <a:gd name="connsiteY65" fmla="*/ 302419 h 1095375"/>
                <a:gd name="connsiteX66" fmla="*/ 602456 w 1319213"/>
                <a:gd name="connsiteY66" fmla="*/ 261937 h 1095375"/>
                <a:gd name="connsiteX67" fmla="*/ 631031 w 1319213"/>
                <a:gd name="connsiteY67" fmla="*/ 278606 h 1095375"/>
                <a:gd name="connsiteX68" fmla="*/ 661988 w 1319213"/>
                <a:gd name="connsiteY68" fmla="*/ 259556 h 1095375"/>
                <a:gd name="connsiteX69" fmla="*/ 652463 w 1319213"/>
                <a:gd name="connsiteY69" fmla="*/ 238125 h 1095375"/>
                <a:gd name="connsiteX70" fmla="*/ 676275 w 1319213"/>
                <a:gd name="connsiteY70" fmla="*/ 233362 h 1095375"/>
                <a:gd name="connsiteX71" fmla="*/ 692944 w 1319213"/>
                <a:gd name="connsiteY71" fmla="*/ 209550 h 1095375"/>
                <a:gd name="connsiteX72" fmla="*/ 719138 w 1319213"/>
                <a:gd name="connsiteY72" fmla="*/ 223837 h 1095375"/>
                <a:gd name="connsiteX73" fmla="*/ 745331 w 1319213"/>
                <a:gd name="connsiteY73" fmla="*/ 183356 h 1095375"/>
                <a:gd name="connsiteX74" fmla="*/ 742950 w 1319213"/>
                <a:gd name="connsiteY74" fmla="*/ 161925 h 1095375"/>
                <a:gd name="connsiteX75" fmla="*/ 781050 w 1319213"/>
                <a:gd name="connsiteY75" fmla="*/ 164306 h 1095375"/>
                <a:gd name="connsiteX76" fmla="*/ 859631 w 1319213"/>
                <a:gd name="connsiteY76" fmla="*/ 152400 h 1095375"/>
                <a:gd name="connsiteX77" fmla="*/ 890588 w 1319213"/>
                <a:gd name="connsiteY77" fmla="*/ 145256 h 1095375"/>
                <a:gd name="connsiteX78" fmla="*/ 904875 w 1319213"/>
                <a:gd name="connsiteY78" fmla="*/ 119062 h 1095375"/>
                <a:gd name="connsiteX79" fmla="*/ 895350 w 1319213"/>
                <a:gd name="connsiteY79" fmla="*/ 83344 h 1095375"/>
                <a:gd name="connsiteX80" fmla="*/ 921544 w 1319213"/>
                <a:gd name="connsiteY80" fmla="*/ 61912 h 1095375"/>
                <a:gd name="connsiteX81" fmla="*/ 950119 w 1319213"/>
                <a:gd name="connsiteY81" fmla="*/ 92869 h 1095375"/>
                <a:gd name="connsiteX82" fmla="*/ 981075 w 1319213"/>
                <a:gd name="connsiteY82" fmla="*/ 126206 h 1095375"/>
                <a:gd name="connsiteX83" fmla="*/ 1000125 w 1319213"/>
                <a:gd name="connsiteY83" fmla="*/ 157162 h 1095375"/>
                <a:gd name="connsiteX84" fmla="*/ 1004888 w 1319213"/>
                <a:gd name="connsiteY84" fmla="*/ 190500 h 1095375"/>
                <a:gd name="connsiteX85" fmla="*/ 959644 w 1319213"/>
                <a:gd name="connsiteY85" fmla="*/ 190500 h 1095375"/>
                <a:gd name="connsiteX86" fmla="*/ 914400 w 1319213"/>
                <a:gd name="connsiteY86" fmla="*/ 180975 h 1095375"/>
                <a:gd name="connsiteX87" fmla="*/ 914400 w 1319213"/>
                <a:gd name="connsiteY87" fmla="*/ 180975 h 1095375"/>
                <a:gd name="connsiteX88" fmla="*/ 895350 w 1319213"/>
                <a:gd name="connsiteY88" fmla="*/ 214312 h 1095375"/>
                <a:gd name="connsiteX89" fmla="*/ 885825 w 1319213"/>
                <a:gd name="connsiteY89" fmla="*/ 250031 h 1095375"/>
                <a:gd name="connsiteX90" fmla="*/ 852488 w 1319213"/>
                <a:gd name="connsiteY90" fmla="*/ 290512 h 1095375"/>
                <a:gd name="connsiteX91" fmla="*/ 888206 w 1319213"/>
                <a:gd name="connsiteY91" fmla="*/ 316706 h 1095375"/>
                <a:gd name="connsiteX92" fmla="*/ 897731 w 1319213"/>
                <a:gd name="connsiteY92" fmla="*/ 369094 h 1095375"/>
                <a:gd name="connsiteX93" fmla="*/ 947738 w 1319213"/>
                <a:gd name="connsiteY93" fmla="*/ 416719 h 1095375"/>
                <a:gd name="connsiteX94" fmla="*/ 985838 w 1319213"/>
                <a:gd name="connsiteY94" fmla="*/ 440531 h 1095375"/>
                <a:gd name="connsiteX95" fmla="*/ 985838 w 1319213"/>
                <a:gd name="connsiteY95" fmla="*/ 464344 h 1095375"/>
                <a:gd name="connsiteX96" fmla="*/ 964406 w 1319213"/>
                <a:gd name="connsiteY96" fmla="*/ 469106 h 1095375"/>
                <a:gd name="connsiteX97" fmla="*/ 954881 w 1319213"/>
                <a:gd name="connsiteY97" fmla="*/ 488156 h 1095375"/>
                <a:gd name="connsiteX98" fmla="*/ 954881 w 1319213"/>
                <a:gd name="connsiteY98" fmla="*/ 488156 h 1095375"/>
                <a:gd name="connsiteX99" fmla="*/ 892969 w 1319213"/>
                <a:gd name="connsiteY99" fmla="*/ 471487 h 1095375"/>
                <a:gd name="connsiteX100" fmla="*/ 838200 w 1319213"/>
                <a:gd name="connsiteY100" fmla="*/ 445294 h 1095375"/>
                <a:gd name="connsiteX101" fmla="*/ 823913 w 1319213"/>
                <a:gd name="connsiteY101" fmla="*/ 485775 h 1095375"/>
                <a:gd name="connsiteX102" fmla="*/ 802481 w 1319213"/>
                <a:gd name="connsiteY102" fmla="*/ 490537 h 1095375"/>
                <a:gd name="connsiteX103" fmla="*/ 826294 w 1319213"/>
                <a:gd name="connsiteY103" fmla="*/ 547687 h 1095375"/>
                <a:gd name="connsiteX104" fmla="*/ 912019 w 1319213"/>
                <a:gd name="connsiteY104" fmla="*/ 578644 h 1095375"/>
                <a:gd name="connsiteX105" fmla="*/ 997744 w 1319213"/>
                <a:gd name="connsiteY105" fmla="*/ 623887 h 1095375"/>
                <a:gd name="connsiteX106" fmla="*/ 995363 w 1319213"/>
                <a:gd name="connsiteY106" fmla="*/ 704850 h 1095375"/>
                <a:gd name="connsiteX107" fmla="*/ 1028700 w 1319213"/>
                <a:gd name="connsiteY107" fmla="*/ 690562 h 1095375"/>
                <a:gd name="connsiteX108" fmla="*/ 1083469 w 1319213"/>
                <a:gd name="connsiteY108" fmla="*/ 735806 h 1095375"/>
                <a:gd name="connsiteX109" fmla="*/ 1145381 w 1319213"/>
                <a:gd name="connsiteY109" fmla="*/ 697706 h 1095375"/>
                <a:gd name="connsiteX110" fmla="*/ 1207294 w 1319213"/>
                <a:gd name="connsiteY110" fmla="*/ 750094 h 1095375"/>
                <a:gd name="connsiteX111" fmla="*/ 1262063 w 1319213"/>
                <a:gd name="connsiteY111" fmla="*/ 785812 h 1095375"/>
                <a:gd name="connsiteX112" fmla="*/ 1283494 w 1319213"/>
                <a:gd name="connsiteY112" fmla="*/ 788194 h 1095375"/>
                <a:gd name="connsiteX113" fmla="*/ 1319213 w 1319213"/>
                <a:gd name="connsiteY113" fmla="*/ 897731 h 1095375"/>
                <a:gd name="connsiteX114" fmla="*/ 1297781 w 1319213"/>
                <a:gd name="connsiteY114" fmla="*/ 914400 h 1095375"/>
                <a:gd name="connsiteX115" fmla="*/ 1293019 w 1319213"/>
                <a:gd name="connsiteY115" fmla="*/ 933450 h 1095375"/>
                <a:gd name="connsiteX116" fmla="*/ 1293019 w 1319213"/>
                <a:gd name="connsiteY116" fmla="*/ 933450 h 1095375"/>
                <a:gd name="connsiteX117" fmla="*/ 1243013 w 1319213"/>
                <a:gd name="connsiteY117" fmla="*/ 947737 h 1095375"/>
                <a:gd name="connsiteX118" fmla="*/ 1245394 w 1319213"/>
                <a:gd name="connsiteY118" fmla="*/ 1031081 h 1095375"/>
                <a:gd name="connsiteX119" fmla="*/ 1190625 w 1319213"/>
                <a:gd name="connsiteY119" fmla="*/ 1078706 h 1095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1319213" h="1095375">
                  <a:moveTo>
                    <a:pt x="1190625" y="1078706"/>
                  </a:moveTo>
                  <a:lnTo>
                    <a:pt x="1121569" y="1052512"/>
                  </a:lnTo>
                  <a:lnTo>
                    <a:pt x="1102519" y="1059656"/>
                  </a:lnTo>
                  <a:cubicBezTo>
                    <a:pt x="1093919" y="1062783"/>
                    <a:pt x="1097325" y="1060087"/>
                    <a:pt x="1092994" y="1064419"/>
                  </a:cubicBezTo>
                  <a:lnTo>
                    <a:pt x="1090613" y="1095375"/>
                  </a:lnTo>
                  <a:lnTo>
                    <a:pt x="1090613" y="1095375"/>
                  </a:lnTo>
                  <a:lnTo>
                    <a:pt x="990600" y="1045369"/>
                  </a:lnTo>
                  <a:lnTo>
                    <a:pt x="942975" y="1045369"/>
                  </a:lnTo>
                  <a:lnTo>
                    <a:pt x="904875" y="1038225"/>
                  </a:lnTo>
                  <a:lnTo>
                    <a:pt x="866775" y="1062037"/>
                  </a:lnTo>
                  <a:lnTo>
                    <a:pt x="823913" y="1092994"/>
                  </a:lnTo>
                  <a:lnTo>
                    <a:pt x="802481" y="1062037"/>
                  </a:lnTo>
                  <a:lnTo>
                    <a:pt x="781050" y="997744"/>
                  </a:lnTo>
                  <a:lnTo>
                    <a:pt x="711994" y="954881"/>
                  </a:lnTo>
                  <a:lnTo>
                    <a:pt x="685800" y="950119"/>
                  </a:lnTo>
                  <a:lnTo>
                    <a:pt x="664369" y="971550"/>
                  </a:lnTo>
                  <a:lnTo>
                    <a:pt x="621506" y="919162"/>
                  </a:lnTo>
                  <a:lnTo>
                    <a:pt x="592931" y="933450"/>
                  </a:lnTo>
                  <a:lnTo>
                    <a:pt x="542925" y="852487"/>
                  </a:lnTo>
                  <a:lnTo>
                    <a:pt x="457200" y="754856"/>
                  </a:lnTo>
                  <a:lnTo>
                    <a:pt x="383381" y="726281"/>
                  </a:lnTo>
                  <a:lnTo>
                    <a:pt x="395288" y="690562"/>
                  </a:lnTo>
                  <a:lnTo>
                    <a:pt x="378619" y="652462"/>
                  </a:lnTo>
                  <a:lnTo>
                    <a:pt x="342900" y="602456"/>
                  </a:lnTo>
                  <a:lnTo>
                    <a:pt x="266700" y="545306"/>
                  </a:lnTo>
                  <a:lnTo>
                    <a:pt x="226219" y="521494"/>
                  </a:lnTo>
                  <a:lnTo>
                    <a:pt x="197644" y="545306"/>
                  </a:lnTo>
                  <a:lnTo>
                    <a:pt x="152400" y="431006"/>
                  </a:lnTo>
                  <a:lnTo>
                    <a:pt x="142875" y="395287"/>
                  </a:lnTo>
                  <a:lnTo>
                    <a:pt x="85725" y="328612"/>
                  </a:lnTo>
                  <a:lnTo>
                    <a:pt x="11906" y="304800"/>
                  </a:lnTo>
                  <a:lnTo>
                    <a:pt x="0" y="283369"/>
                  </a:lnTo>
                  <a:lnTo>
                    <a:pt x="23813" y="259556"/>
                  </a:lnTo>
                  <a:lnTo>
                    <a:pt x="83344" y="264319"/>
                  </a:lnTo>
                  <a:lnTo>
                    <a:pt x="95250" y="247650"/>
                  </a:lnTo>
                  <a:lnTo>
                    <a:pt x="104775" y="226219"/>
                  </a:lnTo>
                  <a:lnTo>
                    <a:pt x="73819" y="204787"/>
                  </a:lnTo>
                  <a:lnTo>
                    <a:pt x="78581" y="171450"/>
                  </a:lnTo>
                  <a:lnTo>
                    <a:pt x="119063" y="171450"/>
                  </a:lnTo>
                  <a:lnTo>
                    <a:pt x="161925" y="142875"/>
                  </a:lnTo>
                  <a:lnTo>
                    <a:pt x="173831" y="133350"/>
                  </a:lnTo>
                  <a:lnTo>
                    <a:pt x="200025" y="133350"/>
                  </a:lnTo>
                  <a:lnTo>
                    <a:pt x="190500" y="78581"/>
                  </a:lnTo>
                  <a:lnTo>
                    <a:pt x="180975" y="45244"/>
                  </a:lnTo>
                  <a:lnTo>
                    <a:pt x="180975" y="14287"/>
                  </a:lnTo>
                  <a:lnTo>
                    <a:pt x="226219" y="4762"/>
                  </a:lnTo>
                  <a:lnTo>
                    <a:pt x="259556" y="0"/>
                  </a:lnTo>
                  <a:lnTo>
                    <a:pt x="264319" y="28575"/>
                  </a:lnTo>
                  <a:lnTo>
                    <a:pt x="273844" y="64294"/>
                  </a:lnTo>
                  <a:lnTo>
                    <a:pt x="292894" y="66675"/>
                  </a:lnTo>
                  <a:lnTo>
                    <a:pt x="264319" y="97631"/>
                  </a:lnTo>
                  <a:lnTo>
                    <a:pt x="307181" y="114300"/>
                  </a:lnTo>
                  <a:lnTo>
                    <a:pt x="314325" y="138112"/>
                  </a:lnTo>
                  <a:lnTo>
                    <a:pt x="342900" y="119062"/>
                  </a:lnTo>
                  <a:lnTo>
                    <a:pt x="373856" y="126206"/>
                  </a:lnTo>
                  <a:lnTo>
                    <a:pt x="392906" y="97631"/>
                  </a:lnTo>
                  <a:lnTo>
                    <a:pt x="419100" y="126206"/>
                  </a:lnTo>
                  <a:lnTo>
                    <a:pt x="416719" y="150019"/>
                  </a:lnTo>
                  <a:lnTo>
                    <a:pt x="457200" y="216694"/>
                  </a:lnTo>
                  <a:lnTo>
                    <a:pt x="488156" y="259556"/>
                  </a:lnTo>
                  <a:lnTo>
                    <a:pt x="497681" y="235744"/>
                  </a:lnTo>
                  <a:lnTo>
                    <a:pt x="519113" y="273844"/>
                  </a:lnTo>
                  <a:lnTo>
                    <a:pt x="538163" y="292894"/>
                  </a:lnTo>
                  <a:lnTo>
                    <a:pt x="557213" y="309562"/>
                  </a:lnTo>
                  <a:lnTo>
                    <a:pt x="561975" y="333375"/>
                  </a:lnTo>
                  <a:lnTo>
                    <a:pt x="592931" y="302419"/>
                  </a:lnTo>
                  <a:lnTo>
                    <a:pt x="602456" y="261937"/>
                  </a:lnTo>
                  <a:lnTo>
                    <a:pt x="631031" y="278606"/>
                  </a:lnTo>
                  <a:lnTo>
                    <a:pt x="661988" y="259556"/>
                  </a:lnTo>
                  <a:lnTo>
                    <a:pt x="652463" y="238125"/>
                  </a:lnTo>
                  <a:lnTo>
                    <a:pt x="676275" y="233362"/>
                  </a:lnTo>
                  <a:lnTo>
                    <a:pt x="692944" y="209550"/>
                  </a:lnTo>
                  <a:lnTo>
                    <a:pt x="719138" y="223837"/>
                  </a:lnTo>
                  <a:lnTo>
                    <a:pt x="745331" y="183356"/>
                  </a:lnTo>
                  <a:lnTo>
                    <a:pt x="742950" y="161925"/>
                  </a:lnTo>
                  <a:lnTo>
                    <a:pt x="781050" y="164306"/>
                  </a:lnTo>
                  <a:lnTo>
                    <a:pt x="859631" y="152400"/>
                  </a:lnTo>
                  <a:lnTo>
                    <a:pt x="890588" y="145256"/>
                  </a:lnTo>
                  <a:lnTo>
                    <a:pt x="904875" y="119062"/>
                  </a:lnTo>
                  <a:lnTo>
                    <a:pt x="895350" y="83344"/>
                  </a:lnTo>
                  <a:lnTo>
                    <a:pt x="921544" y="61912"/>
                  </a:lnTo>
                  <a:lnTo>
                    <a:pt x="950119" y="92869"/>
                  </a:lnTo>
                  <a:lnTo>
                    <a:pt x="981075" y="126206"/>
                  </a:lnTo>
                  <a:lnTo>
                    <a:pt x="1000125" y="157162"/>
                  </a:lnTo>
                  <a:lnTo>
                    <a:pt x="1004888" y="190500"/>
                  </a:lnTo>
                  <a:lnTo>
                    <a:pt x="959644" y="190500"/>
                  </a:lnTo>
                  <a:lnTo>
                    <a:pt x="914400" y="180975"/>
                  </a:lnTo>
                  <a:lnTo>
                    <a:pt x="914400" y="180975"/>
                  </a:lnTo>
                  <a:lnTo>
                    <a:pt x="895350" y="214312"/>
                  </a:lnTo>
                  <a:lnTo>
                    <a:pt x="885825" y="250031"/>
                  </a:lnTo>
                  <a:lnTo>
                    <a:pt x="852488" y="290512"/>
                  </a:lnTo>
                  <a:lnTo>
                    <a:pt x="888206" y="316706"/>
                  </a:lnTo>
                  <a:lnTo>
                    <a:pt x="897731" y="369094"/>
                  </a:lnTo>
                  <a:lnTo>
                    <a:pt x="947738" y="416719"/>
                  </a:lnTo>
                  <a:lnTo>
                    <a:pt x="985838" y="440531"/>
                  </a:lnTo>
                  <a:lnTo>
                    <a:pt x="985838" y="464344"/>
                  </a:lnTo>
                  <a:cubicBezTo>
                    <a:pt x="978694" y="465931"/>
                    <a:pt x="970639" y="465271"/>
                    <a:pt x="964406" y="469106"/>
                  </a:cubicBezTo>
                  <a:cubicBezTo>
                    <a:pt x="954001" y="475509"/>
                    <a:pt x="954881" y="480223"/>
                    <a:pt x="954881" y="488156"/>
                  </a:cubicBezTo>
                  <a:lnTo>
                    <a:pt x="954881" y="488156"/>
                  </a:lnTo>
                  <a:lnTo>
                    <a:pt x="892969" y="471487"/>
                  </a:lnTo>
                  <a:lnTo>
                    <a:pt x="838200" y="445294"/>
                  </a:lnTo>
                  <a:lnTo>
                    <a:pt x="823913" y="485775"/>
                  </a:lnTo>
                  <a:lnTo>
                    <a:pt x="802481" y="490537"/>
                  </a:lnTo>
                  <a:lnTo>
                    <a:pt x="826294" y="547687"/>
                  </a:lnTo>
                  <a:lnTo>
                    <a:pt x="912019" y="578644"/>
                  </a:lnTo>
                  <a:lnTo>
                    <a:pt x="997744" y="623887"/>
                  </a:lnTo>
                  <a:cubicBezTo>
                    <a:pt x="996950" y="650875"/>
                    <a:pt x="996157" y="677862"/>
                    <a:pt x="995363" y="704850"/>
                  </a:cubicBezTo>
                  <a:lnTo>
                    <a:pt x="1028700" y="690562"/>
                  </a:lnTo>
                  <a:lnTo>
                    <a:pt x="1083469" y="735806"/>
                  </a:lnTo>
                  <a:lnTo>
                    <a:pt x="1145381" y="697706"/>
                  </a:lnTo>
                  <a:lnTo>
                    <a:pt x="1207294" y="750094"/>
                  </a:lnTo>
                  <a:lnTo>
                    <a:pt x="1262063" y="785812"/>
                  </a:lnTo>
                  <a:lnTo>
                    <a:pt x="1283494" y="788194"/>
                  </a:lnTo>
                  <a:lnTo>
                    <a:pt x="1319213" y="897731"/>
                  </a:lnTo>
                  <a:lnTo>
                    <a:pt x="1297781" y="914400"/>
                  </a:lnTo>
                  <a:lnTo>
                    <a:pt x="1293019" y="933450"/>
                  </a:lnTo>
                  <a:lnTo>
                    <a:pt x="1293019" y="933450"/>
                  </a:lnTo>
                  <a:lnTo>
                    <a:pt x="1243013" y="947737"/>
                  </a:lnTo>
                  <a:cubicBezTo>
                    <a:pt x="1243807" y="975518"/>
                    <a:pt x="1244600" y="1003300"/>
                    <a:pt x="1245394" y="1031081"/>
                  </a:cubicBezTo>
                  <a:lnTo>
                    <a:pt x="1190625" y="107870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igura a mano libera 256">
              <a:extLst>
                <a:ext uri="{FF2B5EF4-FFF2-40B4-BE49-F238E27FC236}">
                  <a16:creationId xmlns:a16="http://schemas.microsoft.com/office/drawing/2014/main" id="{E99A52E5-761A-4DDA-9255-31920085A1A8}"/>
                </a:ext>
              </a:extLst>
            </p:cNvPr>
            <p:cNvSpPr/>
            <p:nvPr/>
          </p:nvSpPr>
          <p:spPr>
            <a:xfrm>
              <a:off x="8204086" y="2904126"/>
              <a:ext cx="598499" cy="714231"/>
            </a:xfrm>
            <a:custGeom>
              <a:avLst/>
              <a:gdLst>
                <a:gd name="connsiteX0" fmla="*/ 673894 w 692944"/>
                <a:gd name="connsiteY0" fmla="*/ 564357 h 845344"/>
                <a:gd name="connsiteX1" fmla="*/ 692944 w 692944"/>
                <a:gd name="connsiteY1" fmla="*/ 535782 h 845344"/>
                <a:gd name="connsiteX2" fmla="*/ 681037 w 692944"/>
                <a:gd name="connsiteY2" fmla="*/ 509588 h 845344"/>
                <a:gd name="connsiteX3" fmla="*/ 626269 w 692944"/>
                <a:gd name="connsiteY3" fmla="*/ 531019 h 845344"/>
                <a:gd name="connsiteX4" fmla="*/ 595312 w 692944"/>
                <a:gd name="connsiteY4" fmla="*/ 490538 h 845344"/>
                <a:gd name="connsiteX5" fmla="*/ 564356 w 692944"/>
                <a:gd name="connsiteY5" fmla="*/ 478632 h 845344"/>
                <a:gd name="connsiteX6" fmla="*/ 554831 w 692944"/>
                <a:gd name="connsiteY6" fmla="*/ 492919 h 845344"/>
                <a:gd name="connsiteX7" fmla="*/ 554831 w 692944"/>
                <a:gd name="connsiteY7" fmla="*/ 492919 h 845344"/>
                <a:gd name="connsiteX8" fmla="*/ 528637 w 692944"/>
                <a:gd name="connsiteY8" fmla="*/ 478632 h 845344"/>
                <a:gd name="connsiteX9" fmla="*/ 507206 w 692944"/>
                <a:gd name="connsiteY9" fmla="*/ 445294 h 845344"/>
                <a:gd name="connsiteX10" fmla="*/ 509587 w 692944"/>
                <a:gd name="connsiteY10" fmla="*/ 409575 h 845344"/>
                <a:gd name="connsiteX11" fmla="*/ 504825 w 692944"/>
                <a:gd name="connsiteY11" fmla="*/ 369094 h 845344"/>
                <a:gd name="connsiteX12" fmla="*/ 490537 w 692944"/>
                <a:gd name="connsiteY12" fmla="*/ 328613 h 845344"/>
                <a:gd name="connsiteX13" fmla="*/ 490537 w 692944"/>
                <a:gd name="connsiteY13" fmla="*/ 328613 h 845344"/>
                <a:gd name="connsiteX14" fmla="*/ 481012 w 692944"/>
                <a:gd name="connsiteY14" fmla="*/ 300038 h 845344"/>
                <a:gd name="connsiteX15" fmla="*/ 478631 w 692944"/>
                <a:gd name="connsiteY15" fmla="*/ 273844 h 845344"/>
                <a:gd name="connsiteX16" fmla="*/ 454819 w 692944"/>
                <a:gd name="connsiteY16" fmla="*/ 252413 h 845344"/>
                <a:gd name="connsiteX17" fmla="*/ 457200 w 692944"/>
                <a:gd name="connsiteY17" fmla="*/ 235744 h 845344"/>
                <a:gd name="connsiteX18" fmla="*/ 452437 w 692944"/>
                <a:gd name="connsiteY18" fmla="*/ 204788 h 845344"/>
                <a:gd name="connsiteX19" fmla="*/ 452437 w 692944"/>
                <a:gd name="connsiteY19" fmla="*/ 190500 h 845344"/>
                <a:gd name="connsiteX20" fmla="*/ 428625 w 692944"/>
                <a:gd name="connsiteY20" fmla="*/ 166688 h 845344"/>
                <a:gd name="connsiteX21" fmla="*/ 428625 w 692944"/>
                <a:gd name="connsiteY21" fmla="*/ 166688 h 845344"/>
                <a:gd name="connsiteX22" fmla="*/ 445294 w 692944"/>
                <a:gd name="connsiteY22" fmla="*/ 142875 h 845344"/>
                <a:gd name="connsiteX23" fmla="*/ 440531 w 692944"/>
                <a:gd name="connsiteY23" fmla="*/ 123825 h 845344"/>
                <a:gd name="connsiteX24" fmla="*/ 383381 w 692944"/>
                <a:gd name="connsiteY24" fmla="*/ 126207 h 845344"/>
                <a:gd name="connsiteX25" fmla="*/ 383381 w 692944"/>
                <a:gd name="connsiteY25" fmla="*/ 126207 h 845344"/>
                <a:gd name="connsiteX26" fmla="*/ 345281 w 692944"/>
                <a:gd name="connsiteY26" fmla="*/ 130969 h 845344"/>
                <a:gd name="connsiteX27" fmla="*/ 319087 w 692944"/>
                <a:gd name="connsiteY27" fmla="*/ 90488 h 845344"/>
                <a:gd name="connsiteX28" fmla="*/ 304800 w 692944"/>
                <a:gd name="connsiteY28" fmla="*/ 59532 h 845344"/>
                <a:gd name="connsiteX29" fmla="*/ 276225 w 692944"/>
                <a:gd name="connsiteY29" fmla="*/ 52388 h 845344"/>
                <a:gd name="connsiteX30" fmla="*/ 271462 w 692944"/>
                <a:gd name="connsiteY30" fmla="*/ 71438 h 845344"/>
                <a:gd name="connsiteX31" fmla="*/ 250031 w 692944"/>
                <a:gd name="connsiteY31" fmla="*/ 69057 h 845344"/>
                <a:gd name="connsiteX32" fmla="*/ 211931 w 692944"/>
                <a:gd name="connsiteY32" fmla="*/ 54769 h 845344"/>
                <a:gd name="connsiteX33" fmla="*/ 245269 w 692944"/>
                <a:gd name="connsiteY33" fmla="*/ 50007 h 845344"/>
                <a:gd name="connsiteX34" fmla="*/ 247650 w 692944"/>
                <a:gd name="connsiteY34" fmla="*/ 47625 h 845344"/>
                <a:gd name="connsiteX35" fmla="*/ 230981 w 692944"/>
                <a:gd name="connsiteY35" fmla="*/ 28575 h 845344"/>
                <a:gd name="connsiteX36" fmla="*/ 257175 w 692944"/>
                <a:gd name="connsiteY36" fmla="*/ 0 h 845344"/>
                <a:gd name="connsiteX37" fmla="*/ 200025 w 692944"/>
                <a:gd name="connsiteY37" fmla="*/ 26194 h 845344"/>
                <a:gd name="connsiteX38" fmla="*/ 166687 w 692944"/>
                <a:gd name="connsiteY38" fmla="*/ 9525 h 845344"/>
                <a:gd name="connsiteX39" fmla="*/ 150019 w 692944"/>
                <a:gd name="connsiteY39" fmla="*/ 42863 h 845344"/>
                <a:gd name="connsiteX40" fmla="*/ 121444 w 692944"/>
                <a:gd name="connsiteY40" fmla="*/ 83344 h 845344"/>
                <a:gd name="connsiteX41" fmla="*/ 107156 w 692944"/>
                <a:gd name="connsiteY41" fmla="*/ 83344 h 845344"/>
                <a:gd name="connsiteX42" fmla="*/ 119062 w 692944"/>
                <a:gd name="connsiteY42" fmla="*/ 104775 h 845344"/>
                <a:gd name="connsiteX43" fmla="*/ 126206 w 692944"/>
                <a:gd name="connsiteY43" fmla="*/ 107157 h 845344"/>
                <a:gd name="connsiteX44" fmla="*/ 97631 w 692944"/>
                <a:gd name="connsiteY44" fmla="*/ 111919 h 845344"/>
                <a:gd name="connsiteX45" fmla="*/ 69056 w 692944"/>
                <a:gd name="connsiteY45" fmla="*/ 133350 h 845344"/>
                <a:gd name="connsiteX46" fmla="*/ 100012 w 692944"/>
                <a:gd name="connsiteY46" fmla="*/ 145257 h 845344"/>
                <a:gd name="connsiteX47" fmla="*/ 114300 w 692944"/>
                <a:gd name="connsiteY47" fmla="*/ 176213 h 845344"/>
                <a:gd name="connsiteX48" fmla="*/ 133350 w 692944"/>
                <a:gd name="connsiteY48" fmla="*/ 197644 h 845344"/>
                <a:gd name="connsiteX49" fmla="*/ 154781 w 692944"/>
                <a:gd name="connsiteY49" fmla="*/ 228600 h 845344"/>
                <a:gd name="connsiteX50" fmla="*/ 133350 w 692944"/>
                <a:gd name="connsiteY50" fmla="*/ 247650 h 845344"/>
                <a:gd name="connsiteX51" fmla="*/ 95250 w 692944"/>
                <a:gd name="connsiteY51" fmla="*/ 261938 h 845344"/>
                <a:gd name="connsiteX52" fmla="*/ 83344 w 692944"/>
                <a:gd name="connsiteY52" fmla="*/ 233363 h 845344"/>
                <a:gd name="connsiteX53" fmla="*/ 45244 w 692944"/>
                <a:gd name="connsiteY53" fmla="*/ 290513 h 845344"/>
                <a:gd name="connsiteX54" fmla="*/ 0 w 692944"/>
                <a:gd name="connsiteY54" fmla="*/ 323850 h 845344"/>
                <a:gd name="connsiteX55" fmla="*/ 0 w 692944"/>
                <a:gd name="connsiteY55" fmla="*/ 338138 h 845344"/>
                <a:gd name="connsiteX56" fmla="*/ 4762 w 692944"/>
                <a:gd name="connsiteY56" fmla="*/ 361950 h 845344"/>
                <a:gd name="connsiteX57" fmla="*/ 4762 w 692944"/>
                <a:gd name="connsiteY57" fmla="*/ 361950 h 845344"/>
                <a:gd name="connsiteX58" fmla="*/ 35719 w 692944"/>
                <a:gd name="connsiteY58" fmla="*/ 392907 h 845344"/>
                <a:gd name="connsiteX59" fmla="*/ 35719 w 692944"/>
                <a:gd name="connsiteY59" fmla="*/ 423863 h 845344"/>
                <a:gd name="connsiteX60" fmla="*/ 33337 w 692944"/>
                <a:gd name="connsiteY60" fmla="*/ 473869 h 845344"/>
                <a:gd name="connsiteX61" fmla="*/ 33337 w 692944"/>
                <a:gd name="connsiteY61" fmla="*/ 473869 h 845344"/>
                <a:gd name="connsiteX62" fmla="*/ 16669 w 692944"/>
                <a:gd name="connsiteY62" fmla="*/ 507207 h 845344"/>
                <a:gd name="connsiteX63" fmla="*/ 14287 w 692944"/>
                <a:gd name="connsiteY63" fmla="*/ 528638 h 845344"/>
                <a:gd name="connsiteX64" fmla="*/ 9525 w 692944"/>
                <a:gd name="connsiteY64" fmla="*/ 566738 h 845344"/>
                <a:gd name="connsiteX65" fmla="*/ 35719 w 692944"/>
                <a:gd name="connsiteY65" fmla="*/ 573882 h 845344"/>
                <a:gd name="connsiteX66" fmla="*/ 11906 w 692944"/>
                <a:gd name="connsiteY66" fmla="*/ 614363 h 845344"/>
                <a:gd name="connsiteX67" fmla="*/ 52387 w 692944"/>
                <a:gd name="connsiteY67" fmla="*/ 616744 h 845344"/>
                <a:gd name="connsiteX68" fmla="*/ 57150 w 692944"/>
                <a:gd name="connsiteY68" fmla="*/ 645319 h 845344"/>
                <a:gd name="connsiteX69" fmla="*/ 61912 w 692944"/>
                <a:gd name="connsiteY69" fmla="*/ 628650 h 845344"/>
                <a:gd name="connsiteX70" fmla="*/ 114300 w 692944"/>
                <a:gd name="connsiteY70" fmla="*/ 640557 h 845344"/>
                <a:gd name="connsiteX71" fmla="*/ 140494 w 692944"/>
                <a:gd name="connsiteY71" fmla="*/ 607219 h 845344"/>
                <a:gd name="connsiteX72" fmla="*/ 164306 w 692944"/>
                <a:gd name="connsiteY72" fmla="*/ 640557 h 845344"/>
                <a:gd name="connsiteX73" fmla="*/ 185737 w 692944"/>
                <a:gd name="connsiteY73" fmla="*/ 716757 h 845344"/>
                <a:gd name="connsiteX74" fmla="*/ 226219 w 692944"/>
                <a:gd name="connsiteY74" fmla="*/ 771525 h 845344"/>
                <a:gd name="connsiteX75" fmla="*/ 238125 w 692944"/>
                <a:gd name="connsiteY75" fmla="*/ 745332 h 845344"/>
                <a:gd name="connsiteX76" fmla="*/ 285750 w 692944"/>
                <a:gd name="connsiteY76" fmla="*/ 807244 h 845344"/>
                <a:gd name="connsiteX77" fmla="*/ 304800 w 692944"/>
                <a:gd name="connsiteY77" fmla="*/ 819150 h 845344"/>
                <a:gd name="connsiteX78" fmla="*/ 304800 w 692944"/>
                <a:gd name="connsiteY78" fmla="*/ 845344 h 845344"/>
                <a:gd name="connsiteX79" fmla="*/ 342900 w 692944"/>
                <a:gd name="connsiteY79" fmla="*/ 812007 h 845344"/>
                <a:gd name="connsiteX80" fmla="*/ 354806 w 692944"/>
                <a:gd name="connsiteY80" fmla="*/ 762000 h 845344"/>
                <a:gd name="connsiteX81" fmla="*/ 400050 w 692944"/>
                <a:gd name="connsiteY81" fmla="*/ 790575 h 845344"/>
                <a:gd name="connsiteX82" fmla="*/ 409575 w 692944"/>
                <a:gd name="connsiteY82" fmla="*/ 773907 h 845344"/>
                <a:gd name="connsiteX83" fmla="*/ 404812 w 692944"/>
                <a:gd name="connsiteY83" fmla="*/ 740569 h 845344"/>
                <a:gd name="connsiteX84" fmla="*/ 428625 w 692944"/>
                <a:gd name="connsiteY84" fmla="*/ 733425 h 845344"/>
                <a:gd name="connsiteX85" fmla="*/ 438150 w 692944"/>
                <a:gd name="connsiteY85" fmla="*/ 721519 h 845344"/>
                <a:gd name="connsiteX86" fmla="*/ 481012 w 692944"/>
                <a:gd name="connsiteY86" fmla="*/ 735807 h 845344"/>
                <a:gd name="connsiteX87" fmla="*/ 485775 w 692944"/>
                <a:gd name="connsiteY87" fmla="*/ 669132 h 845344"/>
                <a:gd name="connsiteX88" fmla="*/ 619125 w 692944"/>
                <a:gd name="connsiteY88" fmla="*/ 669132 h 845344"/>
                <a:gd name="connsiteX89" fmla="*/ 654844 w 692944"/>
                <a:gd name="connsiteY89" fmla="*/ 652463 h 845344"/>
                <a:gd name="connsiteX90" fmla="*/ 635794 w 692944"/>
                <a:gd name="connsiteY90" fmla="*/ 626269 h 845344"/>
                <a:gd name="connsiteX91" fmla="*/ 673894 w 692944"/>
                <a:gd name="connsiteY91" fmla="*/ 564357 h 84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92944" h="845344">
                  <a:moveTo>
                    <a:pt x="673894" y="564357"/>
                  </a:moveTo>
                  <a:lnTo>
                    <a:pt x="692944" y="535782"/>
                  </a:lnTo>
                  <a:lnTo>
                    <a:pt x="681037" y="509588"/>
                  </a:lnTo>
                  <a:lnTo>
                    <a:pt x="626269" y="531019"/>
                  </a:lnTo>
                  <a:lnTo>
                    <a:pt x="595312" y="490538"/>
                  </a:lnTo>
                  <a:lnTo>
                    <a:pt x="564356" y="478632"/>
                  </a:lnTo>
                  <a:lnTo>
                    <a:pt x="554831" y="492919"/>
                  </a:lnTo>
                  <a:lnTo>
                    <a:pt x="554831" y="492919"/>
                  </a:lnTo>
                  <a:lnTo>
                    <a:pt x="528637" y="478632"/>
                  </a:lnTo>
                  <a:lnTo>
                    <a:pt x="507206" y="445294"/>
                  </a:lnTo>
                  <a:lnTo>
                    <a:pt x="509587" y="409575"/>
                  </a:lnTo>
                  <a:lnTo>
                    <a:pt x="504825" y="369094"/>
                  </a:lnTo>
                  <a:lnTo>
                    <a:pt x="490537" y="328613"/>
                  </a:lnTo>
                  <a:lnTo>
                    <a:pt x="490537" y="328613"/>
                  </a:lnTo>
                  <a:lnTo>
                    <a:pt x="481012" y="300038"/>
                  </a:lnTo>
                  <a:lnTo>
                    <a:pt x="478631" y="273844"/>
                  </a:lnTo>
                  <a:lnTo>
                    <a:pt x="454819" y="252413"/>
                  </a:lnTo>
                  <a:lnTo>
                    <a:pt x="457200" y="235744"/>
                  </a:lnTo>
                  <a:lnTo>
                    <a:pt x="452437" y="204788"/>
                  </a:lnTo>
                  <a:lnTo>
                    <a:pt x="452437" y="190500"/>
                  </a:lnTo>
                  <a:lnTo>
                    <a:pt x="428625" y="166688"/>
                  </a:lnTo>
                  <a:lnTo>
                    <a:pt x="428625" y="166688"/>
                  </a:lnTo>
                  <a:lnTo>
                    <a:pt x="445294" y="142875"/>
                  </a:lnTo>
                  <a:lnTo>
                    <a:pt x="440531" y="123825"/>
                  </a:lnTo>
                  <a:lnTo>
                    <a:pt x="383381" y="126207"/>
                  </a:lnTo>
                  <a:lnTo>
                    <a:pt x="383381" y="126207"/>
                  </a:lnTo>
                  <a:lnTo>
                    <a:pt x="345281" y="130969"/>
                  </a:lnTo>
                  <a:lnTo>
                    <a:pt x="319087" y="90488"/>
                  </a:lnTo>
                  <a:lnTo>
                    <a:pt x="304800" y="59532"/>
                  </a:lnTo>
                  <a:lnTo>
                    <a:pt x="276225" y="52388"/>
                  </a:lnTo>
                  <a:lnTo>
                    <a:pt x="271462" y="71438"/>
                  </a:lnTo>
                  <a:lnTo>
                    <a:pt x="250031" y="69057"/>
                  </a:lnTo>
                  <a:lnTo>
                    <a:pt x="211931" y="54769"/>
                  </a:lnTo>
                  <a:cubicBezTo>
                    <a:pt x="217953" y="54167"/>
                    <a:pt x="236640" y="53459"/>
                    <a:pt x="245269" y="50007"/>
                  </a:cubicBezTo>
                  <a:cubicBezTo>
                    <a:pt x="246311" y="49590"/>
                    <a:pt x="246856" y="48419"/>
                    <a:pt x="247650" y="47625"/>
                  </a:cubicBezTo>
                  <a:lnTo>
                    <a:pt x="230981" y="28575"/>
                  </a:lnTo>
                  <a:lnTo>
                    <a:pt x="257175" y="0"/>
                  </a:lnTo>
                  <a:lnTo>
                    <a:pt x="200025" y="26194"/>
                  </a:lnTo>
                  <a:lnTo>
                    <a:pt x="166687" y="9525"/>
                  </a:lnTo>
                  <a:lnTo>
                    <a:pt x="150019" y="42863"/>
                  </a:lnTo>
                  <a:lnTo>
                    <a:pt x="121444" y="83344"/>
                  </a:lnTo>
                  <a:lnTo>
                    <a:pt x="107156" y="83344"/>
                  </a:lnTo>
                  <a:cubicBezTo>
                    <a:pt x="117183" y="103398"/>
                    <a:pt x="111661" y="97374"/>
                    <a:pt x="119062" y="104775"/>
                  </a:cubicBezTo>
                  <a:lnTo>
                    <a:pt x="126206" y="107157"/>
                  </a:lnTo>
                  <a:lnTo>
                    <a:pt x="97631" y="111919"/>
                  </a:lnTo>
                  <a:lnTo>
                    <a:pt x="69056" y="133350"/>
                  </a:lnTo>
                  <a:lnTo>
                    <a:pt x="100012" y="145257"/>
                  </a:lnTo>
                  <a:lnTo>
                    <a:pt x="114300" y="176213"/>
                  </a:lnTo>
                  <a:lnTo>
                    <a:pt x="133350" y="197644"/>
                  </a:lnTo>
                  <a:lnTo>
                    <a:pt x="154781" y="228600"/>
                  </a:lnTo>
                  <a:lnTo>
                    <a:pt x="133350" y="247650"/>
                  </a:lnTo>
                  <a:lnTo>
                    <a:pt x="95250" y="261938"/>
                  </a:lnTo>
                  <a:lnTo>
                    <a:pt x="83344" y="233363"/>
                  </a:lnTo>
                  <a:lnTo>
                    <a:pt x="45244" y="290513"/>
                  </a:lnTo>
                  <a:lnTo>
                    <a:pt x="0" y="323850"/>
                  </a:lnTo>
                  <a:lnTo>
                    <a:pt x="0" y="338138"/>
                  </a:lnTo>
                  <a:lnTo>
                    <a:pt x="4762" y="361950"/>
                  </a:lnTo>
                  <a:lnTo>
                    <a:pt x="4762" y="361950"/>
                  </a:lnTo>
                  <a:lnTo>
                    <a:pt x="35719" y="392907"/>
                  </a:lnTo>
                  <a:lnTo>
                    <a:pt x="35719" y="423863"/>
                  </a:lnTo>
                  <a:lnTo>
                    <a:pt x="33337" y="473869"/>
                  </a:lnTo>
                  <a:lnTo>
                    <a:pt x="33337" y="473869"/>
                  </a:lnTo>
                  <a:lnTo>
                    <a:pt x="16669" y="507207"/>
                  </a:lnTo>
                  <a:lnTo>
                    <a:pt x="14287" y="528638"/>
                  </a:lnTo>
                  <a:lnTo>
                    <a:pt x="9525" y="566738"/>
                  </a:lnTo>
                  <a:lnTo>
                    <a:pt x="35719" y="573882"/>
                  </a:lnTo>
                  <a:lnTo>
                    <a:pt x="11906" y="614363"/>
                  </a:lnTo>
                  <a:lnTo>
                    <a:pt x="52387" y="616744"/>
                  </a:lnTo>
                  <a:lnTo>
                    <a:pt x="57150" y="645319"/>
                  </a:lnTo>
                  <a:lnTo>
                    <a:pt x="61912" y="628650"/>
                  </a:lnTo>
                  <a:lnTo>
                    <a:pt x="114300" y="640557"/>
                  </a:lnTo>
                  <a:lnTo>
                    <a:pt x="140494" y="607219"/>
                  </a:lnTo>
                  <a:lnTo>
                    <a:pt x="164306" y="640557"/>
                  </a:lnTo>
                  <a:lnTo>
                    <a:pt x="185737" y="716757"/>
                  </a:lnTo>
                  <a:lnTo>
                    <a:pt x="226219" y="771525"/>
                  </a:lnTo>
                  <a:lnTo>
                    <a:pt x="238125" y="745332"/>
                  </a:lnTo>
                  <a:lnTo>
                    <a:pt x="285750" y="807244"/>
                  </a:lnTo>
                  <a:lnTo>
                    <a:pt x="304800" y="819150"/>
                  </a:lnTo>
                  <a:lnTo>
                    <a:pt x="304800" y="845344"/>
                  </a:lnTo>
                  <a:lnTo>
                    <a:pt x="342900" y="812007"/>
                  </a:lnTo>
                  <a:lnTo>
                    <a:pt x="354806" y="762000"/>
                  </a:lnTo>
                  <a:lnTo>
                    <a:pt x="400050" y="790575"/>
                  </a:lnTo>
                  <a:lnTo>
                    <a:pt x="409575" y="773907"/>
                  </a:lnTo>
                  <a:lnTo>
                    <a:pt x="404812" y="740569"/>
                  </a:lnTo>
                  <a:lnTo>
                    <a:pt x="428625" y="733425"/>
                  </a:lnTo>
                  <a:lnTo>
                    <a:pt x="438150" y="721519"/>
                  </a:lnTo>
                  <a:lnTo>
                    <a:pt x="481012" y="735807"/>
                  </a:lnTo>
                  <a:lnTo>
                    <a:pt x="485775" y="669132"/>
                  </a:lnTo>
                  <a:lnTo>
                    <a:pt x="619125" y="669132"/>
                  </a:lnTo>
                  <a:lnTo>
                    <a:pt x="654844" y="652463"/>
                  </a:lnTo>
                  <a:lnTo>
                    <a:pt x="635794" y="626269"/>
                  </a:lnTo>
                  <a:lnTo>
                    <a:pt x="673894" y="56435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igura a mano libera 257">
              <a:extLst>
                <a:ext uri="{FF2B5EF4-FFF2-40B4-BE49-F238E27FC236}">
                  <a16:creationId xmlns:a16="http://schemas.microsoft.com/office/drawing/2014/main" id="{BE91495E-55B9-4B5A-A7B5-6F4F11009B77}"/>
                </a:ext>
              </a:extLst>
            </p:cNvPr>
            <p:cNvSpPr/>
            <p:nvPr/>
          </p:nvSpPr>
          <p:spPr>
            <a:xfrm>
              <a:off x="8294576" y="2712076"/>
              <a:ext cx="777890" cy="720580"/>
            </a:xfrm>
            <a:custGeom>
              <a:avLst/>
              <a:gdLst>
                <a:gd name="connsiteX0" fmla="*/ 40481 w 902494"/>
                <a:gd name="connsiteY0" fmla="*/ 221456 h 852487"/>
                <a:gd name="connsiteX1" fmla="*/ 71437 w 902494"/>
                <a:gd name="connsiteY1" fmla="*/ 200025 h 852487"/>
                <a:gd name="connsiteX2" fmla="*/ 121444 w 902494"/>
                <a:gd name="connsiteY2" fmla="*/ 176212 h 852487"/>
                <a:gd name="connsiteX3" fmla="*/ 145256 w 902494"/>
                <a:gd name="connsiteY3" fmla="*/ 166687 h 852487"/>
                <a:gd name="connsiteX4" fmla="*/ 116681 w 902494"/>
                <a:gd name="connsiteY4" fmla="*/ 130968 h 852487"/>
                <a:gd name="connsiteX5" fmla="*/ 66675 w 902494"/>
                <a:gd name="connsiteY5" fmla="*/ 135731 h 852487"/>
                <a:gd name="connsiteX6" fmla="*/ 42862 w 902494"/>
                <a:gd name="connsiteY6" fmla="*/ 138112 h 852487"/>
                <a:gd name="connsiteX7" fmla="*/ 0 w 902494"/>
                <a:gd name="connsiteY7" fmla="*/ 138112 h 852487"/>
                <a:gd name="connsiteX8" fmla="*/ 23812 w 902494"/>
                <a:gd name="connsiteY8" fmla="*/ 88106 h 852487"/>
                <a:gd name="connsiteX9" fmla="*/ 47625 w 902494"/>
                <a:gd name="connsiteY9" fmla="*/ 23812 h 852487"/>
                <a:gd name="connsiteX10" fmla="*/ 80962 w 902494"/>
                <a:gd name="connsiteY10" fmla="*/ 28575 h 852487"/>
                <a:gd name="connsiteX11" fmla="*/ 123825 w 902494"/>
                <a:gd name="connsiteY11" fmla="*/ 11906 h 852487"/>
                <a:gd name="connsiteX12" fmla="*/ 161925 w 902494"/>
                <a:gd name="connsiteY12" fmla="*/ 0 h 852487"/>
                <a:gd name="connsiteX13" fmla="*/ 190500 w 902494"/>
                <a:gd name="connsiteY13" fmla="*/ 33337 h 852487"/>
                <a:gd name="connsiteX14" fmla="*/ 216694 w 902494"/>
                <a:gd name="connsiteY14" fmla="*/ 28575 h 852487"/>
                <a:gd name="connsiteX15" fmla="*/ 235744 w 902494"/>
                <a:gd name="connsiteY15" fmla="*/ 61912 h 852487"/>
                <a:gd name="connsiteX16" fmla="*/ 235744 w 902494"/>
                <a:gd name="connsiteY16" fmla="*/ 61912 h 852487"/>
                <a:gd name="connsiteX17" fmla="*/ 273844 w 902494"/>
                <a:gd name="connsiteY17" fmla="*/ 97631 h 852487"/>
                <a:gd name="connsiteX18" fmla="*/ 302419 w 902494"/>
                <a:gd name="connsiteY18" fmla="*/ 95250 h 852487"/>
                <a:gd name="connsiteX19" fmla="*/ 316706 w 902494"/>
                <a:gd name="connsiteY19" fmla="*/ 59531 h 852487"/>
                <a:gd name="connsiteX20" fmla="*/ 340519 w 902494"/>
                <a:gd name="connsiteY20" fmla="*/ 50006 h 852487"/>
                <a:gd name="connsiteX21" fmla="*/ 359569 w 902494"/>
                <a:gd name="connsiteY21" fmla="*/ 23812 h 852487"/>
                <a:gd name="connsiteX22" fmla="*/ 352425 w 902494"/>
                <a:gd name="connsiteY22" fmla="*/ 0 h 852487"/>
                <a:gd name="connsiteX23" fmla="*/ 378619 w 902494"/>
                <a:gd name="connsiteY23" fmla="*/ 9525 h 852487"/>
                <a:gd name="connsiteX24" fmla="*/ 402431 w 902494"/>
                <a:gd name="connsiteY24" fmla="*/ 19050 h 852487"/>
                <a:gd name="connsiteX25" fmla="*/ 461962 w 902494"/>
                <a:gd name="connsiteY25" fmla="*/ 71437 h 852487"/>
                <a:gd name="connsiteX26" fmla="*/ 521494 w 902494"/>
                <a:gd name="connsiteY26" fmla="*/ 126206 h 852487"/>
                <a:gd name="connsiteX27" fmla="*/ 590550 w 902494"/>
                <a:gd name="connsiteY27" fmla="*/ 169068 h 852487"/>
                <a:gd name="connsiteX28" fmla="*/ 635794 w 902494"/>
                <a:gd name="connsiteY28" fmla="*/ 211931 h 852487"/>
                <a:gd name="connsiteX29" fmla="*/ 707231 w 902494"/>
                <a:gd name="connsiteY29" fmla="*/ 226218 h 852487"/>
                <a:gd name="connsiteX30" fmla="*/ 738187 w 902494"/>
                <a:gd name="connsiteY30" fmla="*/ 252412 h 852487"/>
                <a:gd name="connsiteX31" fmla="*/ 781050 w 902494"/>
                <a:gd name="connsiteY31" fmla="*/ 273843 h 852487"/>
                <a:gd name="connsiteX32" fmla="*/ 778669 w 902494"/>
                <a:gd name="connsiteY32" fmla="*/ 345281 h 852487"/>
                <a:gd name="connsiteX33" fmla="*/ 823912 w 902494"/>
                <a:gd name="connsiteY33" fmla="*/ 431006 h 852487"/>
                <a:gd name="connsiteX34" fmla="*/ 859631 w 902494"/>
                <a:gd name="connsiteY34" fmla="*/ 531018 h 852487"/>
                <a:gd name="connsiteX35" fmla="*/ 883444 w 902494"/>
                <a:gd name="connsiteY35" fmla="*/ 597693 h 852487"/>
                <a:gd name="connsiteX36" fmla="*/ 902494 w 902494"/>
                <a:gd name="connsiteY36" fmla="*/ 692943 h 852487"/>
                <a:gd name="connsiteX37" fmla="*/ 895350 w 902494"/>
                <a:gd name="connsiteY37" fmla="*/ 723900 h 852487"/>
                <a:gd name="connsiteX38" fmla="*/ 833437 w 902494"/>
                <a:gd name="connsiteY38" fmla="*/ 735806 h 852487"/>
                <a:gd name="connsiteX39" fmla="*/ 788194 w 902494"/>
                <a:gd name="connsiteY39" fmla="*/ 762000 h 852487"/>
                <a:gd name="connsiteX40" fmla="*/ 742950 w 902494"/>
                <a:gd name="connsiteY40" fmla="*/ 776287 h 852487"/>
                <a:gd name="connsiteX41" fmla="*/ 716756 w 902494"/>
                <a:gd name="connsiteY41" fmla="*/ 773906 h 852487"/>
                <a:gd name="connsiteX42" fmla="*/ 690562 w 902494"/>
                <a:gd name="connsiteY42" fmla="*/ 812006 h 852487"/>
                <a:gd name="connsiteX43" fmla="*/ 652462 w 902494"/>
                <a:gd name="connsiteY43" fmla="*/ 835818 h 852487"/>
                <a:gd name="connsiteX44" fmla="*/ 616744 w 902494"/>
                <a:gd name="connsiteY44" fmla="*/ 852487 h 852487"/>
                <a:gd name="connsiteX45" fmla="*/ 571500 w 902494"/>
                <a:gd name="connsiteY45" fmla="*/ 788193 h 852487"/>
                <a:gd name="connsiteX46" fmla="*/ 590550 w 902494"/>
                <a:gd name="connsiteY46" fmla="*/ 762000 h 852487"/>
                <a:gd name="connsiteX47" fmla="*/ 571500 w 902494"/>
                <a:gd name="connsiteY47" fmla="*/ 721518 h 852487"/>
                <a:gd name="connsiteX48" fmla="*/ 528637 w 902494"/>
                <a:gd name="connsiteY48" fmla="*/ 742950 h 852487"/>
                <a:gd name="connsiteX49" fmla="*/ 495300 w 902494"/>
                <a:gd name="connsiteY49" fmla="*/ 716756 h 852487"/>
                <a:gd name="connsiteX50" fmla="*/ 454819 w 902494"/>
                <a:gd name="connsiteY50" fmla="*/ 692943 h 852487"/>
                <a:gd name="connsiteX51" fmla="*/ 438150 w 902494"/>
                <a:gd name="connsiteY51" fmla="*/ 709612 h 852487"/>
                <a:gd name="connsiteX52" fmla="*/ 407194 w 902494"/>
                <a:gd name="connsiteY52" fmla="*/ 669131 h 852487"/>
                <a:gd name="connsiteX53" fmla="*/ 411956 w 902494"/>
                <a:gd name="connsiteY53" fmla="*/ 592931 h 852487"/>
                <a:gd name="connsiteX54" fmla="*/ 378619 w 902494"/>
                <a:gd name="connsiteY54" fmla="*/ 519112 h 852487"/>
                <a:gd name="connsiteX55" fmla="*/ 385762 w 902494"/>
                <a:gd name="connsiteY55" fmla="*/ 483393 h 852487"/>
                <a:gd name="connsiteX56" fmla="*/ 357187 w 902494"/>
                <a:gd name="connsiteY56" fmla="*/ 469106 h 852487"/>
                <a:gd name="connsiteX57" fmla="*/ 357187 w 902494"/>
                <a:gd name="connsiteY57" fmla="*/ 409575 h 852487"/>
                <a:gd name="connsiteX58" fmla="*/ 330994 w 902494"/>
                <a:gd name="connsiteY58" fmla="*/ 378618 h 852487"/>
                <a:gd name="connsiteX59" fmla="*/ 350044 w 902494"/>
                <a:gd name="connsiteY59" fmla="*/ 347662 h 852487"/>
                <a:gd name="connsiteX60" fmla="*/ 340519 w 902494"/>
                <a:gd name="connsiteY60" fmla="*/ 330993 h 852487"/>
                <a:gd name="connsiteX61" fmla="*/ 314325 w 902494"/>
                <a:gd name="connsiteY61" fmla="*/ 340518 h 852487"/>
                <a:gd name="connsiteX62" fmla="*/ 238125 w 902494"/>
                <a:gd name="connsiteY62" fmla="*/ 342900 h 852487"/>
                <a:gd name="connsiteX63" fmla="*/ 207169 w 902494"/>
                <a:gd name="connsiteY63" fmla="*/ 280987 h 852487"/>
                <a:gd name="connsiteX64" fmla="*/ 169069 w 902494"/>
                <a:gd name="connsiteY64" fmla="*/ 261937 h 852487"/>
                <a:gd name="connsiteX65" fmla="*/ 169069 w 902494"/>
                <a:gd name="connsiteY65" fmla="*/ 280987 h 852487"/>
                <a:gd name="connsiteX66" fmla="*/ 142875 w 902494"/>
                <a:gd name="connsiteY66" fmla="*/ 288131 h 852487"/>
                <a:gd name="connsiteX67" fmla="*/ 102394 w 902494"/>
                <a:gd name="connsiteY67" fmla="*/ 271462 h 852487"/>
                <a:gd name="connsiteX68" fmla="*/ 150019 w 902494"/>
                <a:gd name="connsiteY68" fmla="*/ 271462 h 852487"/>
                <a:gd name="connsiteX69" fmla="*/ 140494 w 902494"/>
                <a:gd name="connsiteY69" fmla="*/ 247650 h 852487"/>
                <a:gd name="connsiteX70" fmla="*/ 147637 w 902494"/>
                <a:gd name="connsiteY70" fmla="*/ 214312 h 852487"/>
                <a:gd name="connsiteX71" fmla="*/ 128587 w 902494"/>
                <a:gd name="connsiteY71" fmla="*/ 235743 h 852487"/>
                <a:gd name="connsiteX72" fmla="*/ 92869 w 902494"/>
                <a:gd name="connsiteY72" fmla="*/ 238125 h 852487"/>
                <a:gd name="connsiteX73" fmla="*/ 40481 w 902494"/>
                <a:gd name="connsiteY73" fmla="*/ 221456 h 852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902494" h="852487">
                  <a:moveTo>
                    <a:pt x="40481" y="221456"/>
                  </a:moveTo>
                  <a:lnTo>
                    <a:pt x="71437" y="200025"/>
                  </a:lnTo>
                  <a:lnTo>
                    <a:pt x="121444" y="176212"/>
                  </a:lnTo>
                  <a:lnTo>
                    <a:pt x="145256" y="166687"/>
                  </a:lnTo>
                  <a:lnTo>
                    <a:pt x="116681" y="130968"/>
                  </a:lnTo>
                  <a:lnTo>
                    <a:pt x="66675" y="135731"/>
                  </a:lnTo>
                  <a:lnTo>
                    <a:pt x="42862" y="138112"/>
                  </a:lnTo>
                  <a:lnTo>
                    <a:pt x="0" y="138112"/>
                  </a:lnTo>
                  <a:lnTo>
                    <a:pt x="23812" y="88106"/>
                  </a:lnTo>
                  <a:lnTo>
                    <a:pt x="47625" y="23812"/>
                  </a:lnTo>
                  <a:lnTo>
                    <a:pt x="80962" y="28575"/>
                  </a:lnTo>
                  <a:lnTo>
                    <a:pt x="123825" y="11906"/>
                  </a:lnTo>
                  <a:lnTo>
                    <a:pt x="161925" y="0"/>
                  </a:lnTo>
                  <a:lnTo>
                    <a:pt x="190500" y="33337"/>
                  </a:lnTo>
                  <a:lnTo>
                    <a:pt x="216694" y="28575"/>
                  </a:lnTo>
                  <a:lnTo>
                    <a:pt x="235744" y="61912"/>
                  </a:lnTo>
                  <a:lnTo>
                    <a:pt x="235744" y="61912"/>
                  </a:lnTo>
                  <a:lnTo>
                    <a:pt x="273844" y="97631"/>
                  </a:lnTo>
                  <a:lnTo>
                    <a:pt x="302419" y="95250"/>
                  </a:lnTo>
                  <a:lnTo>
                    <a:pt x="316706" y="59531"/>
                  </a:lnTo>
                  <a:cubicBezTo>
                    <a:pt x="337418" y="51764"/>
                    <a:pt x="329690" y="55419"/>
                    <a:pt x="340519" y="50006"/>
                  </a:cubicBezTo>
                  <a:lnTo>
                    <a:pt x="359569" y="23812"/>
                  </a:lnTo>
                  <a:lnTo>
                    <a:pt x="352425" y="0"/>
                  </a:lnTo>
                  <a:lnTo>
                    <a:pt x="378619" y="9525"/>
                  </a:lnTo>
                  <a:lnTo>
                    <a:pt x="402431" y="19050"/>
                  </a:lnTo>
                  <a:lnTo>
                    <a:pt x="461962" y="71437"/>
                  </a:lnTo>
                  <a:lnTo>
                    <a:pt x="521494" y="126206"/>
                  </a:lnTo>
                  <a:lnTo>
                    <a:pt x="590550" y="169068"/>
                  </a:lnTo>
                  <a:lnTo>
                    <a:pt x="635794" y="211931"/>
                  </a:lnTo>
                  <a:lnTo>
                    <a:pt x="707231" y="226218"/>
                  </a:lnTo>
                  <a:lnTo>
                    <a:pt x="738187" y="252412"/>
                  </a:lnTo>
                  <a:lnTo>
                    <a:pt x="781050" y="273843"/>
                  </a:lnTo>
                  <a:cubicBezTo>
                    <a:pt x="780256" y="297656"/>
                    <a:pt x="779463" y="321468"/>
                    <a:pt x="778669" y="345281"/>
                  </a:cubicBezTo>
                  <a:lnTo>
                    <a:pt x="823912" y="431006"/>
                  </a:lnTo>
                  <a:lnTo>
                    <a:pt x="859631" y="531018"/>
                  </a:lnTo>
                  <a:lnTo>
                    <a:pt x="883444" y="597693"/>
                  </a:lnTo>
                  <a:lnTo>
                    <a:pt x="902494" y="692943"/>
                  </a:lnTo>
                  <a:lnTo>
                    <a:pt x="895350" y="723900"/>
                  </a:lnTo>
                  <a:lnTo>
                    <a:pt x="833437" y="735806"/>
                  </a:lnTo>
                  <a:lnTo>
                    <a:pt x="788194" y="762000"/>
                  </a:lnTo>
                  <a:lnTo>
                    <a:pt x="742950" y="776287"/>
                  </a:lnTo>
                  <a:lnTo>
                    <a:pt x="716756" y="773906"/>
                  </a:lnTo>
                  <a:lnTo>
                    <a:pt x="690562" y="812006"/>
                  </a:lnTo>
                  <a:lnTo>
                    <a:pt x="652462" y="835818"/>
                  </a:lnTo>
                  <a:lnTo>
                    <a:pt x="616744" y="852487"/>
                  </a:lnTo>
                  <a:lnTo>
                    <a:pt x="571500" y="788193"/>
                  </a:lnTo>
                  <a:lnTo>
                    <a:pt x="590550" y="762000"/>
                  </a:lnTo>
                  <a:lnTo>
                    <a:pt x="571500" y="721518"/>
                  </a:lnTo>
                  <a:lnTo>
                    <a:pt x="528637" y="742950"/>
                  </a:lnTo>
                  <a:lnTo>
                    <a:pt x="495300" y="716756"/>
                  </a:lnTo>
                  <a:lnTo>
                    <a:pt x="454819" y="692943"/>
                  </a:lnTo>
                  <a:lnTo>
                    <a:pt x="438150" y="709612"/>
                  </a:lnTo>
                  <a:lnTo>
                    <a:pt x="407194" y="669131"/>
                  </a:lnTo>
                  <a:lnTo>
                    <a:pt x="411956" y="592931"/>
                  </a:lnTo>
                  <a:lnTo>
                    <a:pt x="378619" y="519112"/>
                  </a:lnTo>
                  <a:lnTo>
                    <a:pt x="385762" y="483393"/>
                  </a:lnTo>
                  <a:lnTo>
                    <a:pt x="357187" y="469106"/>
                  </a:lnTo>
                  <a:lnTo>
                    <a:pt x="357187" y="409575"/>
                  </a:lnTo>
                  <a:lnTo>
                    <a:pt x="330994" y="378618"/>
                  </a:lnTo>
                  <a:lnTo>
                    <a:pt x="350044" y="347662"/>
                  </a:lnTo>
                  <a:lnTo>
                    <a:pt x="340519" y="330993"/>
                  </a:lnTo>
                  <a:cubicBezTo>
                    <a:pt x="315631" y="338460"/>
                    <a:pt x="322566" y="332277"/>
                    <a:pt x="314325" y="340518"/>
                  </a:cubicBezTo>
                  <a:lnTo>
                    <a:pt x="238125" y="342900"/>
                  </a:lnTo>
                  <a:lnTo>
                    <a:pt x="207169" y="280987"/>
                  </a:lnTo>
                  <a:lnTo>
                    <a:pt x="169069" y="261937"/>
                  </a:lnTo>
                  <a:lnTo>
                    <a:pt x="169069" y="280987"/>
                  </a:lnTo>
                  <a:lnTo>
                    <a:pt x="142875" y="288131"/>
                  </a:lnTo>
                  <a:lnTo>
                    <a:pt x="102394" y="271462"/>
                  </a:lnTo>
                  <a:lnTo>
                    <a:pt x="150019" y="271462"/>
                  </a:lnTo>
                  <a:lnTo>
                    <a:pt x="140494" y="247650"/>
                  </a:lnTo>
                  <a:lnTo>
                    <a:pt x="147637" y="214312"/>
                  </a:lnTo>
                  <a:lnTo>
                    <a:pt x="128587" y="235743"/>
                  </a:lnTo>
                  <a:lnTo>
                    <a:pt x="92869" y="238125"/>
                  </a:lnTo>
                  <a:lnTo>
                    <a:pt x="40481" y="22145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5217" tIns="32608" rIns="65217" bIns="32608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90" name="Connettore 4 89"/>
          <p:cNvCxnSpPr/>
          <p:nvPr/>
        </p:nvCxnSpPr>
        <p:spPr>
          <a:xfrm rot="10800000" flipV="1">
            <a:off x="8204646" y="2158877"/>
            <a:ext cx="535166" cy="29388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CasellaDiTesto 15"/>
          <p:cNvSpPr txBox="1">
            <a:spLocks noChangeArrowheads="1"/>
          </p:cNvSpPr>
          <p:nvPr/>
        </p:nvSpPr>
        <p:spPr bwMode="auto">
          <a:xfrm>
            <a:off x="8739812" y="1983789"/>
            <a:ext cx="173601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ONI</a:t>
            </a:r>
          </a:p>
        </p:txBody>
      </p:sp>
      <p:cxnSp>
        <p:nvCxnSpPr>
          <p:cNvPr id="95" name="Connettore 4 94"/>
          <p:cNvCxnSpPr/>
          <p:nvPr/>
        </p:nvCxnSpPr>
        <p:spPr>
          <a:xfrm rot="10800000" flipV="1">
            <a:off x="8468688" y="3323831"/>
            <a:ext cx="535166" cy="29388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CasellaDiTesto 15"/>
          <p:cNvSpPr txBox="1">
            <a:spLocks noChangeArrowheads="1"/>
          </p:cNvSpPr>
          <p:nvPr/>
        </p:nvSpPr>
        <p:spPr bwMode="auto">
          <a:xfrm>
            <a:off x="9003853" y="3179067"/>
            <a:ext cx="173601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ICATORI</a:t>
            </a:r>
          </a:p>
        </p:txBody>
      </p:sp>
      <p:cxnSp>
        <p:nvCxnSpPr>
          <p:cNvPr id="97" name="Connettore 4 96"/>
          <p:cNvCxnSpPr/>
          <p:nvPr/>
        </p:nvCxnSpPr>
        <p:spPr>
          <a:xfrm rot="10800000" flipV="1">
            <a:off x="8211829" y="4775541"/>
            <a:ext cx="535166" cy="29388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CasellaDiTesto 15"/>
          <p:cNvSpPr txBox="1">
            <a:spLocks noChangeArrowheads="1"/>
          </p:cNvSpPr>
          <p:nvPr/>
        </p:nvSpPr>
        <p:spPr bwMode="auto">
          <a:xfrm>
            <a:off x="8821911" y="4547742"/>
            <a:ext cx="173601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DIZIONIERI</a:t>
            </a:r>
          </a:p>
        </p:txBody>
      </p:sp>
      <p:cxnSp>
        <p:nvCxnSpPr>
          <p:cNvPr id="99" name="Connettore 4 98"/>
          <p:cNvCxnSpPr/>
          <p:nvPr/>
        </p:nvCxnSpPr>
        <p:spPr>
          <a:xfrm rot="10800000" flipV="1">
            <a:off x="7039589" y="5856218"/>
            <a:ext cx="535166" cy="29388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asellaDiTesto 15"/>
          <p:cNvSpPr txBox="1">
            <a:spLocks noChangeArrowheads="1"/>
          </p:cNvSpPr>
          <p:nvPr/>
        </p:nvSpPr>
        <p:spPr bwMode="auto">
          <a:xfrm>
            <a:off x="7494471" y="5688958"/>
            <a:ext cx="338339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ATORI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SPORTO COMBINATO</a:t>
            </a:r>
          </a:p>
        </p:txBody>
      </p:sp>
      <p:cxnSp>
        <p:nvCxnSpPr>
          <p:cNvPr id="101" name="Connettore 4 100"/>
          <p:cNvCxnSpPr/>
          <p:nvPr/>
        </p:nvCxnSpPr>
        <p:spPr>
          <a:xfrm rot="10800000" flipV="1">
            <a:off x="6820433" y="1420796"/>
            <a:ext cx="535166" cy="29388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CasellaDiTesto 15"/>
          <p:cNvSpPr txBox="1">
            <a:spLocks noChangeArrowheads="1"/>
          </p:cNvSpPr>
          <p:nvPr/>
        </p:nvSpPr>
        <p:spPr bwMode="auto">
          <a:xfrm>
            <a:off x="7318538" y="1146681"/>
            <a:ext cx="22865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RESE FERROVIARIE</a:t>
            </a:r>
          </a:p>
        </p:txBody>
      </p:sp>
      <p:sp>
        <p:nvSpPr>
          <p:cNvPr id="106" name="CasellaDiTesto 15"/>
          <p:cNvSpPr txBox="1">
            <a:spLocks noChangeArrowheads="1"/>
          </p:cNvSpPr>
          <p:nvPr/>
        </p:nvSpPr>
        <p:spPr bwMode="auto">
          <a:xfrm>
            <a:off x="1355452" y="3656524"/>
            <a:ext cx="173601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NISTERO DELL’ECONOMIA</a:t>
            </a:r>
          </a:p>
        </p:txBody>
      </p:sp>
      <p:sp>
        <p:nvSpPr>
          <p:cNvPr id="108" name="CasellaDiTesto 15"/>
          <p:cNvSpPr txBox="1">
            <a:spLocks noChangeArrowheads="1"/>
          </p:cNvSpPr>
          <p:nvPr/>
        </p:nvSpPr>
        <p:spPr bwMode="auto">
          <a:xfrm>
            <a:off x="1271247" y="4686241"/>
            <a:ext cx="204171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orità di Regolamentazione Trasporti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altLang="it-IT" sz="1200" b="1" i="0" u="sng" strike="noStrike" kern="1200" cap="none" spc="0" normalizeH="0" baseline="0" noProof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9" name="Connettore 4 108"/>
          <p:cNvCxnSpPr/>
          <p:nvPr/>
        </p:nvCxnSpPr>
        <p:spPr>
          <a:xfrm rot="10800000">
            <a:off x="4412836" y="5856122"/>
            <a:ext cx="535337" cy="29407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CasellaDiTesto 15"/>
          <p:cNvSpPr txBox="1">
            <a:spLocks noChangeArrowheads="1"/>
          </p:cNvSpPr>
          <p:nvPr/>
        </p:nvSpPr>
        <p:spPr bwMode="auto">
          <a:xfrm>
            <a:off x="1722414" y="5662412"/>
            <a:ext cx="269167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ZIA NAZIONALE SICUREZZA FERROVIE E INFRASTRUTTURE STRADALI E AUTOSTRADALI</a:t>
            </a: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altLang="it-IT" sz="1200" b="1" i="0" u="sng" strike="noStrike" kern="1200" cap="none" spc="0" normalizeH="0" baseline="0" noProof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3" name="Connettore 4 112"/>
          <p:cNvCxnSpPr/>
          <p:nvPr/>
        </p:nvCxnSpPr>
        <p:spPr>
          <a:xfrm rot="10800000">
            <a:off x="3315780" y="4970062"/>
            <a:ext cx="535337" cy="29407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ttore 4 114"/>
          <p:cNvCxnSpPr/>
          <p:nvPr/>
        </p:nvCxnSpPr>
        <p:spPr>
          <a:xfrm rot="10800000">
            <a:off x="3039520" y="3875468"/>
            <a:ext cx="535337" cy="29407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7" name="Picture 29">
            <a:extLst>
              <a:ext uri="{FF2B5EF4-FFF2-40B4-BE49-F238E27FC236}">
                <a16:creationId xmlns:a16="http://schemas.microsoft.com/office/drawing/2014/main" id="{D0CD274A-3CB6-471E-B8B5-A9B3C8E4FFE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136361" y="1606347"/>
            <a:ext cx="700615" cy="704688"/>
          </a:xfrm>
          <a:prstGeom prst="rect">
            <a:avLst/>
          </a:prstGeom>
        </p:spPr>
      </p:pic>
      <p:pic>
        <p:nvPicPr>
          <p:cNvPr id="150" name="Picture 14" descr="Traslochi abitazioni | Grosseto | Cooperativa Grossetana"/>
          <p:cNvPicPr>
            <a:picLocks noChangeAspect="1" noChangeArrowheads="1"/>
          </p:cNvPicPr>
          <p:nvPr/>
        </p:nvPicPr>
        <p:blipFill>
          <a:blip r:embed="rId6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1554" y="3278043"/>
            <a:ext cx="446843" cy="50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2" name="Picture 8" descr="A proposito di trasporto intermodale | Pesenti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3468" y="5632368"/>
            <a:ext cx="829922" cy="510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4" name="Picture 10" descr="Resi"/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788" y="4438460"/>
            <a:ext cx="1039733" cy="1045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Pubblica Amministrazione - Il conto termico è facile"/>
          <p:cNvPicPr>
            <a:picLocks noChangeAspect="1" noChangeArrowheads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4703" y="3701041"/>
            <a:ext cx="587701" cy="591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4" descr="Audience, group, job, market, search, target, vacancy icon"/>
          <p:cNvPicPr>
            <a:picLocks noChangeAspect="1" noChangeArrowheads="1"/>
          </p:cNvPicPr>
          <p:nvPr/>
        </p:nvPicPr>
        <p:blipFill>
          <a:blip r:embed="rId1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2064" y="4868582"/>
            <a:ext cx="543558" cy="546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Costruttore con cappello e un ingranaggio | Icona Gratis"/>
          <p:cNvPicPr>
            <a:picLocks noChangeAspect="1" noChangeArrowheads="1"/>
          </p:cNvPicPr>
          <p:nvPr/>
        </p:nvPicPr>
        <p:blipFill>
          <a:blip r:embed="rId13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83720" y="5520770"/>
            <a:ext cx="573696" cy="577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" name="Picture 12" descr="Disabili | Icona Gratis"/>
          <p:cNvPicPr>
            <a:picLocks noChangeAspect="1" noChangeArrowheads="1"/>
          </p:cNvPicPr>
          <p:nvPr/>
        </p:nvPicPr>
        <p:blipFill>
          <a:blip r:embed="rId15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8501" y="5108022"/>
            <a:ext cx="620475" cy="615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6" name="CasellaDiTesto 245"/>
          <p:cNvSpPr txBox="1"/>
          <p:nvPr/>
        </p:nvSpPr>
        <p:spPr>
          <a:xfrm>
            <a:off x="7821597" y="1419023"/>
            <a:ext cx="306404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ts val="1200"/>
              </a:spcBef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cchetto Minimo d’Accesso &amp; e altri servizi Passeggeri e merci</a:t>
            </a:r>
          </a:p>
        </p:txBody>
      </p:sp>
      <p:pic>
        <p:nvPicPr>
          <p:cNvPr id="247" name="Immagine 246"/>
          <p:cNvPicPr>
            <a:picLocks noChangeAspect="1"/>
          </p:cNvPicPr>
          <p:nvPr/>
        </p:nvPicPr>
        <p:blipFill>
          <a:blip r:embed="rId17" cstate="email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5953" y="1491080"/>
            <a:ext cx="399006" cy="344029"/>
          </a:xfrm>
          <a:prstGeom prst="rect">
            <a:avLst/>
          </a:prstGeom>
        </p:spPr>
      </p:pic>
      <p:sp>
        <p:nvSpPr>
          <p:cNvPr id="250" name="CasellaDiTesto 249"/>
          <p:cNvSpPr txBox="1"/>
          <p:nvPr/>
        </p:nvSpPr>
        <p:spPr>
          <a:xfrm>
            <a:off x="7968651" y="6362752"/>
            <a:ext cx="232329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ts val="1200"/>
              </a:spcBef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zi </a:t>
            </a:r>
            <a:r>
              <a:rPr kumimoji="0" lang="it-IT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minalistici</a:t>
            </a: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ERCI</a:t>
            </a:r>
          </a:p>
        </p:txBody>
      </p:sp>
      <p:pic>
        <p:nvPicPr>
          <p:cNvPr id="251" name="Immagine 250"/>
          <p:cNvPicPr>
            <a:picLocks noChangeAspect="1"/>
          </p:cNvPicPr>
          <p:nvPr/>
        </p:nvPicPr>
        <p:blipFill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2150" y="6322117"/>
            <a:ext cx="473913" cy="403154"/>
          </a:xfrm>
          <a:prstGeom prst="rect">
            <a:avLst/>
          </a:prstGeom>
        </p:spPr>
      </p:pic>
      <p:sp>
        <p:nvSpPr>
          <p:cNvPr id="252" name="CasellaDiTesto 251"/>
          <p:cNvSpPr txBox="1"/>
          <p:nvPr/>
        </p:nvSpPr>
        <p:spPr>
          <a:xfrm>
            <a:off x="9218471" y="3615744"/>
            <a:ext cx="177487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ts val="1200"/>
              </a:spcBef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zi </a:t>
            </a:r>
            <a:r>
              <a:rPr kumimoji="0" lang="it-IT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minalistici</a:t>
            </a: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ERCI</a:t>
            </a:r>
            <a:endParaRPr kumimoji="0" lang="it-IT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53" name="Immagine 252"/>
          <p:cNvPicPr>
            <a:picLocks noChangeAspect="1"/>
          </p:cNvPicPr>
          <p:nvPr/>
        </p:nvPicPr>
        <p:blipFill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4558" y="3591724"/>
            <a:ext cx="473913" cy="403154"/>
          </a:xfrm>
          <a:prstGeom prst="rect">
            <a:avLst/>
          </a:prstGeom>
        </p:spPr>
      </p:pic>
      <p:pic>
        <p:nvPicPr>
          <p:cNvPr id="256" name="Picture 10" descr="shared office icon | Academic Advising"/>
          <p:cNvPicPr>
            <a:picLocks noChangeAspect="1" noChangeArrowheads="1"/>
          </p:cNvPicPr>
          <p:nvPr/>
        </p:nvPicPr>
        <p:blipFill>
          <a:blip r:embed="rId19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55428" y="2397282"/>
            <a:ext cx="626146" cy="620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0" name="Picture 32" descr="Euro sacchetto di denaro | Icona Gratis"/>
          <p:cNvPicPr>
            <a:picLocks noChangeAspect="1" noChangeArrowheads="1"/>
          </p:cNvPicPr>
          <p:nvPr/>
        </p:nvPicPr>
        <p:blipFill>
          <a:blip r:embed="rId20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2025" y="4237809"/>
            <a:ext cx="437176" cy="43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1" name="Rettangolo 260"/>
          <p:cNvSpPr/>
          <p:nvPr/>
        </p:nvSpPr>
        <p:spPr>
          <a:xfrm>
            <a:off x="2217183" y="4129640"/>
            <a:ext cx="187534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anificazione risorse</a:t>
            </a:r>
          </a:p>
        </p:txBody>
      </p:sp>
      <p:grpSp>
        <p:nvGrpSpPr>
          <p:cNvPr id="27" name="Gruppo 26"/>
          <p:cNvGrpSpPr/>
          <p:nvPr/>
        </p:nvGrpSpPr>
        <p:grpSpPr>
          <a:xfrm>
            <a:off x="1410110" y="2087765"/>
            <a:ext cx="3343901" cy="1315667"/>
            <a:chOff x="2972030" y="2669548"/>
            <a:chExt cx="2006594" cy="796465"/>
          </a:xfrm>
        </p:grpSpPr>
        <p:sp>
          <p:nvSpPr>
            <p:cNvPr id="25" name="Figura a mano libera 24"/>
            <p:cNvSpPr/>
            <p:nvPr/>
          </p:nvSpPr>
          <p:spPr>
            <a:xfrm>
              <a:off x="4405038" y="2892427"/>
              <a:ext cx="573586" cy="573586"/>
            </a:xfrm>
            <a:custGeom>
              <a:avLst/>
              <a:gdLst>
                <a:gd name="connsiteX0" fmla="*/ 0 w 573586"/>
                <a:gd name="connsiteY0" fmla="*/ 286793 h 573586"/>
                <a:gd name="connsiteX1" fmla="*/ 286793 w 573586"/>
                <a:gd name="connsiteY1" fmla="*/ 0 h 573586"/>
                <a:gd name="connsiteX2" fmla="*/ 573586 w 573586"/>
                <a:gd name="connsiteY2" fmla="*/ 286793 h 573586"/>
                <a:gd name="connsiteX3" fmla="*/ 286793 w 573586"/>
                <a:gd name="connsiteY3" fmla="*/ 573586 h 573586"/>
                <a:gd name="connsiteX4" fmla="*/ 0 w 573586"/>
                <a:gd name="connsiteY4" fmla="*/ 286793 h 57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586" h="573586">
                  <a:moveTo>
                    <a:pt x="0" y="286793"/>
                  </a:moveTo>
                  <a:cubicBezTo>
                    <a:pt x="0" y="128402"/>
                    <a:pt x="128402" y="0"/>
                    <a:pt x="286793" y="0"/>
                  </a:cubicBezTo>
                  <a:cubicBezTo>
                    <a:pt x="445184" y="0"/>
                    <a:pt x="573586" y="128402"/>
                    <a:pt x="573586" y="286793"/>
                  </a:cubicBezTo>
                  <a:cubicBezTo>
                    <a:pt x="573586" y="445184"/>
                    <a:pt x="445184" y="573586"/>
                    <a:pt x="286793" y="573586"/>
                  </a:cubicBezTo>
                  <a:cubicBezTo>
                    <a:pt x="128402" y="573586"/>
                    <a:pt x="0" y="445184"/>
                    <a:pt x="0" y="286793"/>
                  </a:cubicBezTo>
                  <a:close/>
                </a:path>
              </a:pathLst>
            </a:custGeom>
            <a:solidFill>
              <a:schemeClr val="accent3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4480" tIns="114480" rIns="114480" bIns="114480" numCol="1" spcCol="1270" anchor="ctr" anchorCtr="0">
              <a:noAutofit/>
            </a:bodyPr>
            <a:lstStyle/>
            <a:p>
              <a:pPr marL="0" marR="0" lvl="0" indent="0" algn="ctr" defTabSz="1066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CasellaDiTesto 15"/>
            <p:cNvSpPr txBox="1">
              <a:spLocks noChangeArrowheads="1"/>
            </p:cNvSpPr>
            <p:nvPr/>
          </p:nvSpPr>
          <p:spPr bwMode="auto">
            <a:xfrm>
              <a:off x="2972030" y="2669548"/>
              <a:ext cx="1346239" cy="391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it-IT" sz="1200" b="1" i="0" u="sng" strike="noStrike" kern="1200" cap="none" spc="0" normalizeH="0" baseline="0" noProof="0" dirty="0">
                  <a:ln>
                    <a:noFill/>
                  </a:ln>
                  <a:solidFill>
                    <a:srgbClr val="DC002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INISTERO INFRASTRUTTURE E TRASPORTI</a:t>
              </a:r>
            </a:p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altLang="it-IT" sz="1200" b="1" i="0" u="sng" strike="noStrike" kern="1200" cap="none" spc="0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16" name="Connettore 4 115"/>
            <p:cNvCxnSpPr/>
            <p:nvPr/>
          </p:nvCxnSpPr>
          <p:spPr>
            <a:xfrm rot="10800000">
              <a:off x="4318334" y="2785015"/>
              <a:ext cx="321243" cy="17802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7" name="Picture 28" descr="Auto elettrica trasporto ecologico | Icona Gratis"/>
            <p:cNvPicPr>
              <a:picLocks noChangeAspect="1" noChangeArrowheads="1"/>
            </p:cNvPicPr>
            <p:nvPr/>
          </p:nvPicPr>
          <p:blipFill>
            <a:blip r:embed="rId21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2178" y="3220334"/>
              <a:ext cx="212589" cy="215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29">
              <a:extLst>
                <a:ext uri="{FF2B5EF4-FFF2-40B4-BE49-F238E27FC236}">
                  <a16:creationId xmlns:a16="http://schemas.microsoft.com/office/drawing/2014/main" id="{D0CD274A-3CB6-471E-B8B5-A9B3C8E4F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4586588" y="2887255"/>
              <a:ext cx="254066" cy="257797"/>
            </a:xfrm>
            <a:prstGeom prst="rect">
              <a:avLst/>
            </a:prstGeom>
          </p:spPr>
        </p:pic>
        <p:pic>
          <p:nvPicPr>
            <p:cNvPr id="62" name="Picture 4" descr="Scooter | Icona Gratis"/>
            <p:cNvPicPr>
              <a:picLocks noChangeAspect="1" noChangeArrowheads="1"/>
            </p:cNvPicPr>
            <p:nvPr/>
          </p:nvPicPr>
          <p:blipFill>
            <a:blip r:embed="rId23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5571" y="3069257"/>
              <a:ext cx="191706" cy="1945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6" descr="Bicicletta elettrica Icona - Download gratuito, PNG e vettoriale"/>
            <p:cNvPicPr>
              <a:picLocks noChangeAspect="1" noChangeArrowheads="1"/>
            </p:cNvPicPr>
            <p:nvPr/>
          </p:nvPicPr>
          <p:blipFill>
            <a:blip r:embed="rId25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9598" y="3177006"/>
              <a:ext cx="209345" cy="212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2" descr="น้ำมันเครื่อง Scooter 4T - Of Moto : Inspired by LnwShop.com"/>
            <p:cNvPicPr>
              <a:picLocks noChangeAspect="1" noChangeArrowheads="1"/>
            </p:cNvPicPr>
            <p:nvPr/>
          </p:nvPicPr>
          <p:blipFill>
            <a:blip r:embed="rId26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8185" y="3008772"/>
              <a:ext cx="197665" cy="2005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9" name="Picture 10" descr="shared office icon | Academic Advising"/>
            <p:cNvPicPr>
              <a:picLocks noChangeAspect="1" noChangeArrowheads="1"/>
            </p:cNvPicPr>
            <p:nvPr/>
          </p:nvPicPr>
          <p:blipFill>
            <a:blip r:embed="rId28" cstate="email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8658" y="2938224"/>
              <a:ext cx="320286" cy="3195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Rettangolo 261"/>
            <p:cNvSpPr/>
            <p:nvPr/>
          </p:nvSpPr>
          <p:spPr>
            <a:xfrm>
              <a:off x="3322234" y="2952908"/>
              <a:ext cx="1230357" cy="3493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cessione. Contratti di Programma, Pianificazione investimenti</a:t>
              </a:r>
            </a:p>
          </p:txBody>
        </p:sp>
      </p:grpSp>
      <p:sp>
        <p:nvSpPr>
          <p:cNvPr id="263" name="Rettangolo 262"/>
          <p:cNvSpPr/>
          <p:nvPr/>
        </p:nvSpPr>
        <p:spPr>
          <a:xfrm>
            <a:off x="9138753" y="2344020"/>
            <a:ext cx="234196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cchetto minimo d’accesso &amp; altri servizi Passeggeri</a:t>
            </a:r>
          </a:p>
        </p:txBody>
      </p:sp>
      <p:sp>
        <p:nvSpPr>
          <p:cNvPr id="264" name="Rettangolo 263"/>
          <p:cNvSpPr/>
          <p:nvPr/>
        </p:nvSpPr>
        <p:spPr>
          <a:xfrm>
            <a:off x="2266671" y="5193501"/>
            <a:ext cx="187534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me regolatorio</a:t>
            </a:r>
          </a:p>
        </p:txBody>
      </p:sp>
      <p:pic>
        <p:nvPicPr>
          <p:cNvPr id="41986" name="Picture 2" descr="Regole Icona - Download gratuito, PNG e vettoriale"/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3921" y="5138981"/>
            <a:ext cx="419602" cy="415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5" name="CasellaDiTesto 264"/>
          <p:cNvSpPr txBox="1"/>
          <p:nvPr/>
        </p:nvSpPr>
        <p:spPr>
          <a:xfrm>
            <a:off x="3542425" y="6272965"/>
            <a:ext cx="2189476" cy="25391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ts val="1200"/>
              </a:spcBef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curezza esercizio ferroviario </a:t>
            </a:r>
          </a:p>
        </p:txBody>
      </p:sp>
      <p:pic>
        <p:nvPicPr>
          <p:cNvPr id="266" name="Immagine 265"/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1707" y="6398597"/>
            <a:ext cx="456006" cy="393175"/>
          </a:xfrm>
          <a:prstGeom prst="rect">
            <a:avLst/>
          </a:prstGeom>
        </p:spPr>
      </p:pic>
      <p:sp>
        <p:nvSpPr>
          <p:cNvPr id="267" name="CasellaDiTesto 266"/>
          <p:cNvSpPr txBox="1"/>
          <p:nvPr/>
        </p:nvSpPr>
        <p:spPr>
          <a:xfrm>
            <a:off x="9285967" y="4990143"/>
            <a:ext cx="173601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Bef>
                <a:spcPts val="1200"/>
              </a:spcBef>
              <a:defRPr sz="10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rvizi </a:t>
            </a:r>
            <a:r>
              <a:rPr kumimoji="0" lang="it-IT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minalistici</a:t>
            </a: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ERCI</a:t>
            </a:r>
            <a:endParaRPr kumimoji="0" lang="it-IT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68" name="Immagine 267"/>
          <p:cNvPicPr>
            <a:picLocks noChangeAspect="1"/>
          </p:cNvPicPr>
          <p:nvPr/>
        </p:nvPicPr>
        <p:blipFill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2054" y="4935510"/>
            <a:ext cx="473913" cy="403154"/>
          </a:xfrm>
          <a:prstGeom prst="rect">
            <a:avLst/>
          </a:prstGeom>
        </p:spPr>
      </p:pic>
      <p:sp>
        <p:nvSpPr>
          <p:cNvPr id="60" name="CasellaDiTesto 5"/>
          <p:cNvSpPr txBox="1">
            <a:spLocks noChangeArrowheads="1"/>
          </p:cNvSpPr>
          <p:nvPr/>
        </p:nvSpPr>
        <p:spPr bwMode="auto">
          <a:xfrm rot="5400000">
            <a:off x="4621024" y="3227598"/>
            <a:ext cx="2802412" cy="1519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prstTxWarp prst="textArchUp">
              <a:avLst>
                <a:gd name="adj" fmla="val 9286078"/>
              </a:avLst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4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rcato/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4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chiedenti</a:t>
            </a:r>
          </a:p>
        </p:txBody>
      </p:sp>
      <p:sp>
        <p:nvSpPr>
          <p:cNvPr id="229" name="CasellaDiTesto 5"/>
          <p:cNvSpPr txBox="1">
            <a:spLocks noChangeArrowheads="1"/>
          </p:cNvSpPr>
          <p:nvPr/>
        </p:nvSpPr>
        <p:spPr bwMode="auto">
          <a:xfrm rot="16200000">
            <a:off x="4783200" y="3210509"/>
            <a:ext cx="2802412" cy="1519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prstTxWarp prst="textArchUp">
              <a:avLst>
                <a:gd name="adj" fmla="val 9286078"/>
              </a:avLst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400" b="1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ggetti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2400" b="1" i="0" u="none" strike="noStrike" kern="1200" cap="none" spc="0" normalizeH="0" baseline="0" noProof="0">
                <a:ln>
                  <a:noFill/>
                </a:ln>
                <a:solidFill>
                  <a:srgbClr val="00468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tituzionali</a:t>
            </a:r>
          </a:p>
        </p:txBody>
      </p:sp>
      <p:sp>
        <p:nvSpPr>
          <p:cNvPr id="195" name="Figura a mano libera 194"/>
          <p:cNvSpPr/>
          <p:nvPr/>
        </p:nvSpPr>
        <p:spPr>
          <a:xfrm>
            <a:off x="4848541" y="1473978"/>
            <a:ext cx="955856" cy="947497"/>
          </a:xfrm>
          <a:custGeom>
            <a:avLst/>
            <a:gdLst>
              <a:gd name="connsiteX0" fmla="*/ 0 w 573586"/>
              <a:gd name="connsiteY0" fmla="*/ 286793 h 573586"/>
              <a:gd name="connsiteX1" fmla="*/ 286793 w 573586"/>
              <a:gd name="connsiteY1" fmla="*/ 0 h 573586"/>
              <a:gd name="connsiteX2" fmla="*/ 573586 w 573586"/>
              <a:gd name="connsiteY2" fmla="*/ 286793 h 573586"/>
              <a:gd name="connsiteX3" fmla="*/ 286793 w 573586"/>
              <a:gd name="connsiteY3" fmla="*/ 573586 h 573586"/>
              <a:gd name="connsiteX4" fmla="*/ 0 w 573586"/>
              <a:gd name="connsiteY4" fmla="*/ 286793 h 573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586" h="573586">
                <a:moveTo>
                  <a:pt x="0" y="286793"/>
                </a:moveTo>
                <a:cubicBezTo>
                  <a:pt x="0" y="128402"/>
                  <a:pt x="128402" y="0"/>
                  <a:pt x="286793" y="0"/>
                </a:cubicBezTo>
                <a:cubicBezTo>
                  <a:pt x="445184" y="0"/>
                  <a:pt x="573586" y="128402"/>
                  <a:pt x="573586" y="286793"/>
                </a:cubicBezTo>
                <a:cubicBezTo>
                  <a:pt x="573586" y="445184"/>
                  <a:pt x="445184" y="573586"/>
                  <a:pt x="286793" y="573586"/>
                </a:cubicBezTo>
                <a:cubicBezTo>
                  <a:pt x="128402" y="573586"/>
                  <a:pt x="0" y="445184"/>
                  <a:pt x="0" y="286793"/>
                </a:cubicBezTo>
                <a:close/>
              </a:path>
            </a:pathLst>
          </a:custGeom>
          <a:solidFill>
            <a:schemeClr val="accent3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80" tIns="114480" rIns="114480" bIns="114480" numCol="1" spcCol="1270" anchor="ctr" anchorCtr="0">
            <a:noAutofit/>
          </a:bodyPr>
          <a:lstStyle/>
          <a:p>
            <a:pPr marL="0" marR="0" lvl="0" indent="0" algn="ctr" defTabSz="1066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it-IT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6" name="CasellaDiTesto 15"/>
          <p:cNvSpPr txBox="1">
            <a:spLocks noChangeArrowheads="1"/>
          </p:cNvSpPr>
          <p:nvPr/>
        </p:nvSpPr>
        <p:spPr bwMode="auto">
          <a:xfrm>
            <a:off x="2403226" y="1043002"/>
            <a:ext cx="23358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200" b="1" i="0" u="sng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ONE EUROPEA</a:t>
            </a:r>
          </a:p>
        </p:txBody>
      </p:sp>
      <p:cxnSp>
        <p:nvCxnSpPr>
          <p:cNvPr id="197" name="Connettore 4 196"/>
          <p:cNvCxnSpPr/>
          <p:nvPr/>
        </p:nvCxnSpPr>
        <p:spPr>
          <a:xfrm rot="10800000">
            <a:off x="4704053" y="1296546"/>
            <a:ext cx="535337" cy="29407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3" name="Picture 10" descr="shared office icon | Academic Advising"/>
          <p:cNvPicPr>
            <a:picLocks noChangeAspect="1" noChangeArrowheads="1"/>
          </p:cNvPicPr>
          <p:nvPr/>
        </p:nvPicPr>
        <p:blipFill>
          <a:blip r:embed="rId32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3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1896" y="1333385"/>
            <a:ext cx="532569" cy="52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4" name="Rettangolo 203"/>
          <p:cNvSpPr/>
          <p:nvPr/>
        </p:nvSpPr>
        <p:spPr>
          <a:xfrm>
            <a:off x="2930569" y="1374847"/>
            <a:ext cx="208312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litiche e indirizzi per lo Spazio Ferroviario Unico europeo</a:t>
            </a:r>
          </a:p>
        </p:txBody>
      </p:sp>
      <p:grpSp>
        <p:nvGrpSpPr>
          <p:cNvPr id="205" name="Gruppo 204">
            <a:extLst>
              <a:ext uri="{FF2B5EF4-FFF2-40B4-BE49-F238E27FC236}">
                <a16:creationId xmlns:a16="http://schemas.microsoft.com/office/drawing/2014/main" id="{C0ABB8DC-78FF-4BAE-BFB6-47D366290D00}"/>
              </a:ext>
            </a:extLst>
          </p:cNvPr>
          <p:cNvGrpSpPr/>
          <p:nvPr/>
        </p:nvGrpSpPr>
        <p:grpSpPr>
          <a:xfrm>
            <a:off x="4967078" y="1570867"/>
            <a:ext cx="818903" cy="674534"/>
            <a:chOff x="3059833" y="229582"/>
            <a:chExt cx="6114332" cy="4205945"/>
          </a:xfrm>
          <a:solidFill>
            <a:schemeClr val="bg1"/>
          </a:solidFill>
        </p:grpSpPr>
        <p:sp>
          <p:nvSpPr>
            <p:cNvPr id="206" name="Freeform 100">
              <a:extLst>
                <a:ext uri="{FF2B5EF4-FFF2-40B4-BE49-F238E27FC236}">
                  <a16:creationId xmlns:a16="http://schemas.microsoft.com/office/drawing/2014/main" id="{59A2F952-EC81-4194-80E3-E727E5023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2619" y="2133094"/>
              <a:ext cx="233380" cy="117268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Freeform 23">
              <a:extLst>
                <a:ext uri="{FF2B5EF4-FFF2-40B4-BE49-F238E27FC236}">
                  <a16:creationId xmlns:a16="http://schemas.microsoft.com/office/drawing/2014/main" id="{9B9C134A-F894-4BAC-886F-DD45066195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0321" y="3527746"/>
              <a:ext cx="168552" cy="169620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" name="Freeform 5">
              <a:extLst>
                <a:ext uri="{FF2B5EF4-FFF2-40B4-BE49-F238E27FC236}">
                  <a16:creationId xmlns:a16="http://schemas.microsoft.com/office/drawing/2014/main" id="{56A5885D-336D-4B8D-9845-A61BA6E42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539" y="3614650"/>
              <a:ext cx="190162" cy="347616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" name="Freeform 6">
              <a:extLst>
                <a:ext uri="{FF2B5EF4-FFF2-40B4-BE49-F238E27FC236}">
                  <a16:creationId xmlns:a16="http://schemas.microsoft.com/office/drawing/2014/main" id="{6B980862-7086-4217-8FAA-50FE59B197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29539" y="3614650"/>
              <a:ext cx="190162" cy="347616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Freeform 84">
              <a:extLst>
                <a:ext uri="{FF2B5EF4-FFF2-40B4-BE49-F238E27FC236}">
                  <a16:creationId xmlns:a16="http://schemas.microsoft.com/office/drawing/2014/main" id="{3874C451-CB51-4785-8D9B-0F5EBA8C1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2022" y="3519370"/>
              <a:ext cx="173954" cy="192655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Freeform 193">
              <a:extLst>
                <a:ext uri="{FF2B5EF4-FFF2-40B4-BE49-F238E27FC236}">
                  <a16:creationId xmlns:a16="http://schemas.microsoft.com/office/drawing/2014/main" id="{3E2D8189-A295-4D1A-BBCD-493DC66B0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5148" y="3610462"/>
              <a:ext cx="237702" cy="202078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Freeform 47">
              <a:extLst>
                <a:ext uri="{FF2B5EF4-FFF2-40B4-BE49-F238E27FC236}">
                  <a16:creationId xmlns:a16="http://schemas.microsoft.com/office/drawing/2014/main" id="{6831974E-40BC-466F-817E-AEB95441D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3768" y="2800057"/>
              <a:ext cx="437587" cy="236631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Freeform 88">
              <a:extLst>
                <a:ext uri="{FF2B5EF4-FFF2-40B4-BE49-F238E27FC236}">
                  <a16:creationId xmlns:a16="http://schemas.microsoft.com/office/drawing/2014/main" id="{74740311-E896-4100-B943-604021F247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136" y="3153955"/>
              <a:ext cx="261472" cy="191608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Freeform 197">
              <a:extLst>
                <a:ext uri="{FF2B5EF4-FFF2-40B4-BE49-F238E27FC236}">
                  <a16:creationId xmlns:a16="http://schemas.microsoft.com/office/drawing/2014/main" id="{5A487DA1-A917-44E2-BF02-7E657ABE7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77423" y="3194789"/>
              <a:ext cx="508898" cy="458602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Freeform 9">
              <a:extLst>
                <a:ext uri="{FF2B5EF4-FFF2-40B4-BE49-F238E27FC236}">
                  <a16:creationId xmlns:a16="http://schemas.microsoft.com/office/drawing/2014/main" id="{71A25375-97CC-4F22-877E-1303D5D5F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1173" y="4138168"/>
              <a:ext cx="212851" cy="119362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Freeform 21">
              <a:extLst>
                <a:ext uri="{FF2B5EF4-FFF2-40B4-BE49-F238E27FC236}">
                  <a16:creationId xmlns:a16="http://schemas.microsoft.com/office/drawing/2014/main" id="{1907BE2C-9832-4022-83F3-237BFBE6C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5815" y="3204212"/>
              <a:ext cx="417058" cy="430332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Freeform 25">
              <a:extLst>
                <a:ext uri="{FF2B5EF4-FFF2-40B4-BE49-F238E27FC236}">
                  <a16:creationId xmlns:a16="http://schemas.microsoft.com/office/drawing/2014/main" id="{BC97FF9B-BDD8-4AE7-97CE-E8199ED61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2387" y="3073333"/>
              <a:ext cx="387885" cy="236631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Freeform 51">
              <a:extLst>
                <a:ext uri="{FF2B5EF4-FFF2-40B4-BE49-F238E27FC236}">
                  <a16:creationId xmlns:a16="http://schemas.microsoft.com/office/drawing/2014/main" id="{387A1766-6B7B-4653-BE1B-ECA1903D8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5838" y="1765584"/>
              <a:ext cx="486208" cy="291076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Freeform 61">
              <a:extLst>
                <a:ext uri="{FF2B5EF4-FFF2-40B4-BE49-F238E27FC236}">
                  <a16:creationId xmlns:a16="http://schemas.microsoft.com/office/drawing/2014/main" id="{3C2986FD-14B6-43D3-BE4C-9AD1183D9D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0826" y="3338233"/>
              <a:ext cx="353311" cy="302594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Freeform 63">
              <a:extLst>
                <a:ext uri="{FF2B5EF4-FFF2-40B4-BE49-F238E27FC236}">
                  <a16:creationId xmlns:a16="http://schemas.microsoft.com/office/drawing/2014/main" id="{DA3FC5D5-CC46-46B3-84F4-A8479EC111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4710" y="1911123"/>
              <a:ext cx="316575" cy="363321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Freeform 144">
              <a:extLst>
                <a:ext uri="{FF2B5EF4-FFF2-40B4-BE49-F238E27FC236}">
                  <a16:creationId xmlns:a16="http://schemas.microsoft.com/office/drawing/2014/main" id="{A7D33214-9533-44E8-BCC8-16BD21817F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1399" y="2378101"/>
              <a:ext cx="304690" cy="345522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Freeform 217">
              <a:extLst>
                <a:ext uri="{FF2B5EF4-FFF2-40B4-BE49-F238E27FC236}">
                  <a16:creationId xmlns:a16="http://schemas.microsoft.com/office/drawing/2014/main" id="{6220E608-A0E6-444C-A735-5B53CB569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7243" y="3208401"/>
              <a:ext cx="378162" cy="258618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Freeform 219">
              <a:extLst>
                <a:ext uri="{FF2B5EF4-FFF2-40B4-BE49-F238E27FC236}">
                  <a16:creationId xmlns:a16="http://schemas.microsoft.com/office/drawing/2014/main" id="{810EFB8D-6F88-4902-BA41-E24A313AE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5952" y="2903713"/>
              <a:ext cx="538070" cy="369604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Freeform 7">
              <a:extLst>
                <a:ext uri="{FF2B5EF4-FFF2-40B4-BE49-F238E27FC236}">
                  <a16:creationId xmlns:a16="http://schemas.microsoft.com/office/drawing/2014/main" id="{17446D59-03FD-4653-8180-B4AEDC30C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9218" y="1937298"/>
              <a:ext cx="645036" cy="586340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Freeform 17">
              <a:extLst>
                <a:ext uri="{FF2B5EF4-FFF2-40B4-BE49-F238E27FC236}">
                  <a16:creationId xmlns:a16="http://schemas.microsoft.com/office/drawing/2014/main" id="{CDB8A6A1-8082-466A-A7D2-42CA8721C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379" y="2810527"/>
              <a:ext cx="347909" cy="330863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Freeform 29">
              <a:extLst>
                <a:ext uri="{FF2B5EF4-FFF2-40B4-BE49-F238E27FC236}">
                  <a16:creationId xmlns:a16="http://schemas.microsoft.com/office/drawing/2014/main" id="{D4A6C4EB-C773-423B-8326-ECD4BB309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169" y="2628342"/>
              <a:ext cx="289563" cy="236631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Freeform 31">
              <a:extLst>
                <a:ext uri="{FF2B5EF4-FFF2-40B4-BE49-F238E27FC236}">
                  <a16:creationId xmlns:a16="http://schemas.microsoft.com/office/drawing/2014/main" id="{63EF1B16-42B8-4D91-9131-DC95F49C5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9400" y="2680694"/>
              <a:ext cx="538070" cy="288982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Freeform 33">
              <a:extLst>
                <a:ext uri="{FF2B5EF4-FFF2-40B4-BE49-F238E27FC236}">
                  <a16:creationId xmlns:a16="http://schemas.microsoft.com/office/drawing/2014/main" id="{F0B13895-55CF-495A-BB28-4F228AA6A2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86369" y="3067050"/>
              <a:ext cx="651518" cy="232442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Freeform 41">
              <a:extLst>
                <a:ext uri="{FF2B5EF4-FFF2-40B4-BE49-F238E27FC236}">
                  <a16:creationId xmlns:a16="http://schemas.microsoft.com/office/drawing/2014/main" id="{1C69DB93-0DE9-4517-BB2E-8EC1D1799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964" y="1955098"/>
              <a:ext cx="406254" cy="303640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Freeform 53">
              <a:extLst>
                <a:ext uri="{FF2B5EF4-FFF2-40B4-BE49-F238E27FC236}">
                  <a16:creationId xmlns:a16="http://schemas.microsoft.com/office/drawing/2014/main" id="{12978982-C2EC-4AAF-A4AD-4E8CF0D5C8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8803" y="1565601"/>
              <a:ext cx="394368" cy="260712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Freeform 195">
              <a:extLst>
                <a:ext uri="{FF2B5EF4-FFF2-40B4-BE49-F238E27FC236}">
                  <a16:creationId xmlns:a16="http://schemas.microsoft.com/office/drawing/2014/main" id="{5AB888A4-993A-4136-97C7-F81D70A27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9401" y="3317292"/>
              <a:ext cx="546714" cy="398920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Freeform 212">
              <a:extLst>
                <a:ext uri="{FF2B5EF4-FFF2-40B4-BE49-F238E27FC236}">
                  <a16:creationId xmlns:a16="http://schemas.microsoft.com/office/drawing/2014/main" id="{B204612A-E1C9-4E0C-94E3-83073FA766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01750" y="3064956"/>
              <a:ext cx="611542" cy="484778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Freeform 221">
              <a:extLst>
                <a:ext uri="{FF2B5EF4-FFF2-40B4-BE49-F238E27FC236}">
                  <a16:creationId xmlns:a16="http://schemas.microsoft.com/office/drawing/2014/main" id="{B0E05612-2411-4E5B-995A-F2212E6930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8434" y="2913136"/>
              <a:ext cx="624507" cy="307829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Freeform 11">
              <a:extLst>
                <a:ext uri="{FF2B5EF4-FFF2-40B4-BE49-F238E27FC236}">
                  <a16:creationId xmlns:a16="http://schemas.microsoft.com/office/drawing/2014/main" id="{B63A6AE1-B977-41A0-ACBB-068F0AE43D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4501" y="2664989"/>
              <a:ext cx="1164738" cy="1169539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eform 13">
              <a:extLst>
                <a:ext uri="{FF2B5EF4-FFF2-40B4-BE49-F238E27FC236}">
                  <a16:creationId xmlns:a16="http://schemas.microsoft.com/office/drawing/2014/main" id="{EDA0A754-2997-4FB6-AFA0-BB1356A6B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833" y="1034753"/>
              <a:ext cx="533748" cy="430332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Freeform 19">
              <a:extLst>
                <a:ext uri="{FF2B5EF4-FFF2-40B4-BE49-F238E27FC236}">
                  <a16:creationId xmlns:a16="http://schemas.microsoft.com/office/drawing/2014/main" id="{2ABE7E95-666F-4425-8B7B-87D765D1F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2297" y="2210575"/>
              <a:ext cx="788737" cy="641833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Freeform 39">
              <a:extLst>
                <a:ext uri="{FF2B5EF4-FFF2-40B4-BE49-F238E27FC236}">
                  <a16:creationId xmlns:a16="http://schemas.microsoft.com/office/drawing/2014/main" id="{C885F5AB-C4C9-48A5-9B09-07BB86949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3604" y="2054567"/>
              <a:ext cx="371679" cy="408344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Freeform 45">
              <a:extLst>
                <a:ext uri="{FF2B5EF4-FFF2-40B4-BE49-F238E27FC236}">
                  <a16:creationId xmlns:a16="http://schemas.microsoft.com/office/drawing/2014/main" id="{0F443A63-04C1-4AF1-A8F2-E0743C49B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4891" y="3545546"/>
              <a:ext cx="398691" cy="603093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eform 78">
              <a:extLst>
                <a:ext uri="{FF2B5EF4-FFF2-40B4-BE49-F238E27FC236}">
                  <a16:creationId xmlns:a16="http://schemas.microsoft.com/office/drawing/2014/main" id="{5FFEF274-F6CA-49F0-A2D8-765B4417CA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5077" y="2241986"/>
              <a:ext cx="699058" cy="897310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Freeform 80">
              <a:extLst>
                <a:ext uri="{FF2B5EF4-FFF2-40B4-BE49-F238E27FC236}">
                  <a16:creationId xmlns:a16="http://schemas.microsoft.com/office/drawing/2014/main" id="{6911F447-35F3-40A5-BF75-A7021EC498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6411" y="3153955"/>
              <a:ext cx="1102071" cy="1218750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eform 86">
              <a:extLst>
                <a:ext uri="{FF2B5EF4-FFF2-40B4-BE49-F238E27FC236}">
                  <a16:creationId xmlns:a16="http://schemas.microsoft.com/office/drawing/2014/main" id="{9B85D27B-18E0-4751-B578-ABF860736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3861" y="2856596"/>
              <a:ext cx="826553" cy="577964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Freeform 90">
              <a:extLst>
                <a:ext uri="{FF2B5EF4-FFF2-40B4-BE49-F238E27FC236}">
                  <a16:creationId xmlns:a16="http://schemas.microsoft.com/office/drawing/2014/main" id="{DBA0D05B-8F43-4898-84A5-041782359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2987" y="2236751"/>
              <a:ext cx="1376508" cy="927675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Freeform 92">
              <a:extLst>
                <a:ext uri="{FF2B5EF4-FFF2-40B4-BE49-F238E27FC236}">
                  <a16:creationId xmlns:a16="http://schemas.microsoft.com/office/drawing/2014/main" id="{A57E928E-0BEA-4E8C-ADA7-0AF0B745DA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2434" y="526941"/>
              <a:ext cx="632070" cy="1664788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eform 96">
              <a:extLst>
                <a:ext uri="{FF2B5EF4-FFF2-40B4-BE49-F238E27FC236}">
                  <a16:creationId xmlns:a16="http://schemas.microsoft.com/office/drawing/2014/main" id="{DBB88936-AC2B-4DFD-9A62-D016EE1E25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6710" y="229582"/>
              <a:ext cx="1205795" cy="1651177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Freeform 109">
              <a:extLst>
                <a:ext uri="{FF2B5EF4-FFF2-40B4-BE49-F238E27FC236}">
                  <a16:creationId xmlns:a16="http://schemas.microsoft.com/office/drawing/2014/main" id="{BD0E8696-44C4-4CFD-8E38-0EB49DC6DD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9949" y="1513249"/>
              <a:ext cx="652599" cy="1195716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Freeform 139">
              <a:extLst>
                <a:ext uri="{FF2B5EF4-FFF2-40B4-BE49-F238E27FC236}">
                  <a16:creationId xmlns:a16="http://schemas.microsoft.com/office/drawing/2014/main" id="{FB15139D-D2DE-4526-8184-9EA9C0EF36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53719" y="3364409"/>
              <a:ext cx="1197152" cy="953850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Freeform 146">
              <a:extLst>
                <a:ext uri="{FF2B5EF4-FFF2-40B4-BE49-F238E27FC236}">
                  <a16:creationId xmlns:a16="http://schemas.microsoft.com/office/drawing/2014/main" id="{4E48EF18-8ED4-4F03-B7AF-51E0FADFC4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7332" y="3610462"/>
              <a:ext cx="914070" cy="825065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Freeform 210">
              <a:extLst>
                <a:ext uri="{FF2B5EF4-FFF2-40B4-BE49-F238E27FC236}">
                  <a16:creationId xmlns:a16="http://schemas.microsoft.com/office/drawing/2014/main" id="{C09E2306-BBF7-4377-969E-12DC99EFFC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0253" y="3253423"/>
              <a:ext cx="1779521" cy="927675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Freeform 223">
              <a:extLst>
                <a:ext uri="{FF2B5EF4-FFF2-40B4-BE49-F238E27FC236}">
                  <a16:creationId xmlns:a16="http://schemas.microsoft.com/office/drawing/2014/main" id="{FCEBC64B-D928-4C51-B65E-50B8EE05AE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4642" y="355227"/>
              <a:ext cx="709864" cy="1256444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Freeform 235">
              <a:extLst>
                <a:ext uri="{FF2B5EF4-FFF2-40B4-BE49-F238E27FC236}">
                  <a16:creationId xmlns:a16="http://schemas.microsoft.com/office/drawing/2014/main" id="{635256CE-191F-4A26-A1C6-96E129D141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4554" y="1563507"/>
              <a:ext cx="1149611" cy="1414546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EBF1AA3-72FF-3435-74F0-9A9F0EA67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-270920"/>
            <a:ext cx="11176620" cy="866367"/>
          </a:xfrm>
        </p:spPr>
        <p:txBody>
          <a:bodyPr/>
          <a:lstStyle/>
          <a:p>
            <a:r>
              <a:rPr lang="it-IT" dirty="0"/>
              <a:t>Un ecosistema articolato con cui confrontarsi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692CCE7-8D11-C526-5854-F47418EFF99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368" y="595447"/>
            <a:ext cx="11176620" cy="390933"/>
          </a:xfrm>
        </p:spPr>
        <p:txBody>
          <a:bodyPr/>
          <a:lstStyle/>
          <a:p>
            <a:r>
              <a:rPr lang="it-IT"/>
              <a:t>Il rapporto con gli stakeholder: ascoltare, proporre, misurare, migliorare</a:t>
            </a:r>
          </a:p>
        </p:txBody>
      </p:sp>
    </p:spTree>
    <p:extLst>
      <p:ext uri="{BB962C8B-B14F-4D97-AF65-F5344CB8AC3E}">
        <p14:creationId xmlns:p14="http://schemas.microsoft.com/office/powerpoint/2010/main" val="361170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" descr="25 Terms You Should Know to Understand the Climate Change Conversation |  Stacker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Titolo 1"/>
          <p:cNvSpPr>
            <a:spLocks noGrp="1"/>
          </p:cNvSpPr>
          <p:nvPr>
            <p:ph type="title"/>
          </p:nvPr>
        </p:nvSpPr>
        <p:spPr>
          <a:xfrm>
            <a:off x="407368" y="-356516"/>
            <a:ext cx="11176620" cy="866367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it-IT" dirty="0"/>
              <a:t>I programmi di investimento strategici in materia di mobilità ferroviaria</a:t>
            </a:r>
          </a:p>
        </p:txBody>
      </p:sp>
      <p:sp>
        <p:nvSpPr>
          <p:cNvPr id="240" name="Segnaposto contenuto 19">
            <a:extLst>
              <a:ext uri="{FF2B5EF4-FFF2-40B4-BE49-F238E27FC236}">
                <a16:creationId xmlns:a16="http://schemas.microsoft.com/office/drawing/2014/main" id="{A6D0AE2E-DA25-48BF-A9E5-99299900FDD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07368" y="509851"/>
            <a:ext cx="11176620" cy="390933"/>
          </a:xfrm>
        </p:spPr>
        <p:txBody>
          <a:bodyPr>
            <a:normAutofit fontScale="70000" lnSpcReduction="20000"/>
          </a:bodyPr>
          <a:lstStyle/>
          <a:p>
            <a:r>
              <a:rPr lang="it-IT"/>
              <a:t>In un ecosistema della mobilità complesso dove il percorso per il raggiungimento degli </a:t>
            </a:r>
            <a:r>
              <a:rPr lang="it-IT" i="1" err="1"/>
              <a:t>Sustainable</a:t>
            </a:r>
            <a:r>
              <a:rPr lang="it-IT" i="1"/>
              <a:t> Development Goals </a:t>
            </a:r>
            <a:r>
              <a:rPr lang="it-IT" b="0" i="0">
                <a:solidFill>
                  <a:srgbClr val="111111"/>
                </a:solidFill>
                <a:effectLst/>
                <a:latin typeface="Roboto" panose="020B0604020202020204" pitchFamily="2" charset="0"/>
              </a:rPr>
              <a:t>(</a:t>
            </a:r>
            <a:r>
              <a:rPr lang="it-IT" err="1"/>
              <a:t>SDGs</a:t>
            </a:r>
            <a:r>
              <a:rPr lang="it-IT"/>
              <a:t>) è lento e in salita… </a:t>
            </a:r>
          </a:p>
          <a:p>
            <a:endParaRPr lang="it-IT"/>
          </a:p>
        </p:txBody>
      </p:sp>
      <p:grpSp>
        <p:nvGrpSpPr>
          <p:cNvPr id="211" name="Gruppo 210"/>
          <p:cNvGrpSpPr/>
          <p:nvPr/>
        </p:nvGrpSpPr>
        <p:grpSpPr>
          <a:xfrm>
            <a:off x="7775033" y="879843"/>
            <a:ext cx="1800000" cy="540000"/>
            <a:chOff x="8128307" y="1409013"/>
            <a:chExt cx="1800000" cy="540000"/>
          </a:xfrm>
        </p:grpSpPr>
        <p:sp>
          <p:nvSpPr>
            <p:cNvPr id="212" name="object 9">
              <a:extLst>
                <a:ext uri="{FF2B5EF4-FFF2-40B4-BE49-F238E27FC236}">
                  <a16:creationId xmlns:a16="http://schemas.microsoft.com/office/drawing/2014/main" id="{3B20CCC6-9055-4E73-AB11-E3687DDF2DFB}"/>
                </a:ext>
              </a:extLst>
            </p:cNvPr>
            <p:cNvSpPr/>
            <p:nvPr/>
          </p:nvSpPr>
          <p:spPr>
            <a:xfrm>
              <a:off x="8128307" y="1409013"/>
              <a:ext cx="1800000" cy="540000"/>
            </a:xfrm>
            <a:custGeom>
              <a:avLst/>
              <a:gdLst/>
              <a:ahLst/>
              <a:cxnLst/>
              <a:rect l="l" t="t" r="r" b="b"/>
              <a:pathLst>
                <a:path w="1781810" h="3108960">
                  <a:moveTo>
                    <a:pt x="1781555" y="0"/>
                  </a:moveTo>
                  <a:lnTo>
                    <a:pt x="0" y="0"/>
                  </a:lnTo>
                  <a:lnTo>
                    <a:pt x="0" y="3108960"/>
                  </a:lnTo>
                  <a:lnTo>
                    <a:pt x="1781555" y="3108960"/>
                  </a:lnTo>
                  <a:lnTo>
                    <a:pt x="1781555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13" name="Immagine 212">
              <a:extLst>
                <a:ext uri="{FF2B5EF4-FFF2-40B4-BE49-F238E27FC236}">
                  <a16:creationId xmlns:a16="http://schemas.microsoft.com/office/drawing/2014/main" id="{5155FA37-402A-4F04-A41F-96285D3D62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30928" y="1455428"/>
              <a:ext cx="476152" cy="447170"/>
            </a:xfrm>
            <a:prstGeom prst="rect">
              <a:avLst/>
            </a:prstGeom>
          </p:spPr>
        </p:pic>
      </p:grpSp>
      <p:grpSp>
        <p:nvGrpSpPr>
          <p:cNvPr id="214" name="Gruppo 213"/>
          <p:cNvGrpSpPr/>
          <p:nvPr/>
        </p:nvGrpSpPr>
        <p:grpSpPr>
          <a:xfrm>
            <a:off x="2188569" y="880377"/>
            <a:ext cx="1800000" cy="540000"/>
            <a:chOff x="2733223" y="1364036"/>
            <a:chExt cx="1800000" cy="540000"/>
          </a:xfrm>
        </p:grpSpPr>
        <p:sp>
          <p:nvSpPr>
            <p:cNvPr id="215" name="object 9">
              <a:extLst>
                <a:ext uri="{FF2B5EF4-FFF2-40B4-BE49-F238E27FC236}">
                  <a16:creationId xmlns:a16="http://schemas.microsoft.com/office/drawing/2014/main" id="{4A84CBBD-CD67-4964-908D-A89A29E1B5A4}"/>
                </a:ext>
              </a:extLst>
            </p:cNvPr>
            <p:cNvSpPr/>
            <p:nvPr/>
          </p:nvSpPr>
          <p:spPr>
            <a:xfrm>
              <a:off x="2733223" y="1364036"/>
              <a:ext cx="1800000" cy="540000"/>
            </a:xfrm>
            <a:custGeom>
              <a:avLst/>
              <a:gdLst/>
              <a:ahLst/>
              <a:cxnLst/>
              <a:rect l="l" t="t" r="r" b="b"/>
              <a:pathLst>
                <a:path w="1781810" h="3108960">
                  <a:moveTo>
                    <a:pt x="1781555" y="0"/>
                  </a:moveTo>
                  <a:lnTo>
                    <a:pt x="0" y="0"/>
                  </a:lnTo>
                  <a:lnTo>
                    <a:pt x="0" y="3108960"/>
                  </a:lnTo>
                  <a:lnTo>
                    <a:pt x="1781555" y="3108960"/>
                  </a:lnTo>
                  <a:lnTo>
                    <a:pt x="1781555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16" name="Immagine 215">
              <a:extLst>
                <a:ext uri="{FF2B5EF4-FFF2-40B4-BE49-F238E27FC236}">
                  <a16:creationId xmlns:a16="http://schemas.microsoft.com/office/drawing/2014/main" id="{56F13A00-F734-4389-A88F-09B9DB058E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1180" y="1388468"/>
              <a:ext cx="403526" cy="403526"/>
            </a:xfrm>
            <a:prstGeom prst="rect">
              <a:avLst/>
            </a:prstGeom>
          </p:spPr>
        </p:pic>
      </p:grpSp>
      <p:sp>
        <p:nvSpPr>
          <p:cNvPr id="217" name="object 9">
            <a:extLst>
              <a:ext uri="{FF2B5EF4-FFF2-40B4-BE49-F238E27FC236}">
                <a16:creationId xmlns:a16="http://schemas.microsoft.com/office/drawing/2014/main" id="{C12FB4D9-9821-4DF5-B04B-0E311D5B0D4D}"/>
              </a:ext>
            </a:extLst>
          </p:cNvPr>
          <p:cNvSpPr/>
          <p:nvPr/>
        </p:nvSpPr>
        <p:spPr>
          <a:xfrm>
            <a:off x="259343" y="881307"/>
            <a:ext cx="1800000" cy="540000"/>
          </a:xfrm>
          <a:custGeom>
            <a:avLst/>
            <a:gdLst/>
            <a:ahLst/>
            <a:cxnLst/>
            <a:rect l="l" t="t" r="r" b="b"/>
            <a:pathLst>
              <a:path w="1781810" h="3108960">
                <a:moveTo>
                  <a:pt x="1781555" y="0"/>
                </a:moveTo>
                <a:lnTo>
                  <a:pt x="0" y="0"/>
                </a:lnTo>
                <a:lnTo>
                  <a:pt x="0" y="3108960"/>
                </a:lnTo>
                <a:lnTo>
                  <a:pt x="1781555" y="3108960"/>
                </a:lnTo>
                <a:lnTo>
                  <a:pt x="1781555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8" name="object 10">
            <a:extLst>
              <a:ext uri="{FF2B5EF4-FFF2-40B4-BE49-F238E27FC236}">
                <a16:creationId xmlns:a16="http://schemas.microsoft.com/office/drawing/2014/main" id="{0160F068-C1EF-4FDF-A692-BA2B3D5BAB55}"/>
              </a:ext>
            </a:extLst>
          </p:cNvPr>
          <p:cNvSpPr txBox="1"/>
          <p:nvPr/>
        </p:nvSpPr>
        <p:spPr>
          <a:xfrm>
            <a:off x="781130" y="930093"/>
            <a:ext cx="1278214" cy="442429"/>
          </a:xfrm>
          <a:prstGeom prst="rect">
            <a:avLst/>
          </a:prstGeom>
          <a:noFill/>
        </p:spPr>
        <p:txBody>
          <a:bodyPr vert="horz" wrap="square" lIns="0" tIns="34290" rIns="0" bIns="0" rtlCol="0">
            <a:spAutoFit/>
          </a:bodyPr>
          <a:lstStyle/>
          <a:p>
            <a:pPr marL="92075" marR="92075" lvl="0" indent="0" algn="ctr" defTabSz="914400" rtl="0" eaLnBrk="1" fontAlgn="auto" latinLnBrk="0" hangingPunct="1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rbanizzazione e</a:t>
            </a:r>
          </a:p>
          <a:p>
            <a:pPr marL="92075" marR="92075" lvl="0" indent="0" algn="ctr" defTabSz="914400" rtl="0" eaLnBrk="1" fontAlgn="auto" latinLnBrk="0" hangingPunct="1">
              <a:lnSpc>
                <a:spcPct val="100000"/>
              </a:lnSpc>
              <a:spcBef>
                <a:spcPts val="2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gap territoriali</a:t>
            </a:r>
            <a:endParaRPr kumimoji="0" lang="it-IT" sz="1200" b="0" i="0" u="none" strike="noStrike" kern="1200" cap="none" spc="-1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21" name="object 8">
            <a:extLst>
              <a:ext uri="{FF2B5EF4-FFF2-40B4-BE49-F238E27FC236}">
                <a16:creationId xmlns:a16="http://schemas.microsoft.com/office/drawing/2014/main" id="{DDC5C743-042D-4C67-9216-ECAF295004F3}"/>
              </a:ext>
            </a:extLst>
          </p:cNvPr>
          <p:cNvSpPr txBox="1"/>
          <p:nvPr/>
        </p:nvSpPr>
        <p:spPr>
          <a:xfrm>
            <a:off x="2512934" y="949649"/>
            <a:ext cx="1696720" cy="403316"/>
          </a:xfrm>
          <a:prstGeom prst="rect">
            <a:avLst/>
          </a:prstGeom>
          <a:noFill/>
        </p:spPr>
        <p:txBody>
          <a:bodyPr vert="horz" wrap="square" lIns="0" tIns="33655" rIns="0" bIns="0" rtlCol="0">
            <a:spAutoFit/>
          </a:bodyPr>
          <a:lstStyle/>
          <a:p>
            <a:pPr marL="92075" marR="192405" lvl="0" indent="0" algn="ctr" defTabSz="9144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scita domanda di mobilità</a:t>
            </a:r>
            <a:endParaRPr kumimoji="0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28" name="object 8">
            <a:extLst>
              <a:ext uri="{FF2B5EF4-FFF2-40B4-BE49-F238E27FC236}">
                <a16:creationId xmlns:a16="http://schemas.microsoft.com/office/drawing/2014/main" id="{EAD3DEA2-BFF5-4383-9184-D7371B690787}"/>
              </a:ext>
            </a:extLst>
          </p:cNvPr>
          <p:cNvSpPr txBox="1"/>
          <p:nvPr/>
        </p:nvSpPr>
        <p:spPr>
          <a:xfrm>
            <a:off x="8233259" y="857317"/>
            <a:ext cx="1416158" cy="587981"/>
          </a:xfrm>
          <a:prstGeom prst="rect">
            <a:avLst/>
          </a:prstGeom>
          <a:noFill/>
        </p:spPr>
        <p:txBody>
          <a:bodyPr vert="horz" wrap="square" lIns="0" tIns="33655" rIns="0" bIns="0" rtlCol="0">
            <a:spAutoFit/>
          </a:bodyPr>
          <a:lstStyle/>
          <a:p>
            <a:pPr marL="92075" marR="192405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genda 2030 </a:t>
            </a:r>
          </a:p>
          <a:p>
            <a:pPr marL="92075" marR="192405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 lo sviluppo sostenibile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230" name="Gruppo 229"/>
          <p:cNvGrpSpPr/>
          <p:nvPr/>
        </p:nvGrpSpPr>
        <p:grpSpPr>
          <a:xfrm>
            <a:off x="6011543" y="897828"/>
            <a:ext cx="1800000" cy="538139"/>
            <a:chOff x="6344975" y="1378272"/>
            <a:chExt cx="2062233" cy="612629"/>
          </a:xfrm>
        </p:grpSpPr>
        <p:sp>
          <p:nvSpPr>
            <p:cNvPr id="231" name="object 9">
              <a:extLst>
                <a:ext uri="{FF2B5EF4-FFF2-40B4-BE49-F238E27FC236}">
                  <a16:creationId xmlns:a16="http://schemas.microsoft.com/office/drawing/2014/main" id="{585ED587-D46C-41DA-B97D-F09F30C0427A}"/>
                </a:ext>
              </a:extLst>
            </p:cNvPr>
            <p:cNvSpPr/>
            <p:nvPr/>
          </p:nvSpPr>
          <p:spPr>
            <a:xfrm>
              <a:off x="6344975" y="1378272"/>
              <a:ext cx="1873783" cy="612629"/>
            </a:xfrm>
            <a:custGeom>
              <a:avLst/>
              <a:gdLst/>
              <a:ahLst/>
              <a:cxnLst/>
              <a:rect l="l" t="t" r="r" b="b"/>
              <a:pathLst>
                <a:path w="1781810" h="3108960">
                  <a:moveTo>
                    <a:pt x="1781555" y="0"/>
                  </a:moveTo>
                  <a:lnTo>
                    <a:pt x="0" y="0"/>
                  </a:lnTo>
                  <a:lnTo>
                    <a:pt x="0" y="3108960"/>
                  </a:lnTo>
                  <a:lnTo>
                    <a:pt x="1781555" y="3108960"/>
                  </a:lnTo>
                  <a:lnTo>
                    <a:pt x="1781555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object 8">
              <a:extLst>
                <a:ext uri="{FF2B5EF4-FFF2-40B4-BE49-F238E27FC236}">
                  <a16:creationId xmlns:a16="http://schemas.microsoft.com/office/drawing/2014/main" id="{22FB2C78-AAA5-4D55-94AD-B7CFF2C34233}"/>
                </a:ext>
              </a:extLst>
            </p:cNvPr>
            <p:cNvSpPr txBox="1"/>
            <p:nvPr/>
          </p:nvSpPr>
          <p:spPr>
            <a:xfrm>
              <a:off x="6710489" y="1433449"/>
              <a:ext cx="1696719" cy="413112"/>
            </a:xfrm>
            <a:prstGeom prst="rect">
              <a:avLst/>
            </a:prstGeom>
            <a:noFill/>
          </p:spPr>
          <p:txBody>
            <a:bodyPr vert="horz" wrap="square" lIns="0" tIns="33655" rIns="0" bIns="0" rtlCol="0">
              <a:spAutoFit/>
            </a:bodyPr>
            <a:lstStyle/>
            <a:p>
              <a:pPr marL="92075" marR="192405" lvl="0" indent="0" algn="ctr" defTabSz="914400" rtl="0" eaLnBrk="1" fontAlgn="auto" latinLnBrk="0" hangingPunct="1">
                <a:lnSpc>
                  <a:spcPct val="100000"/>
                </a:lnSpc>
                <a:spcBef>
                  <a:spcPts val="26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Cambiamento climatico</a:t>
              </a:r>
              <a:endParaRPr kumimoji="0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</p:txBody>
        </p:sp>
        <p:pic>
          <p:nvPicPr>
            <p:cNvPr id="233" name="Picture 6" descr="Climate drawing black and white, Picture #987885 climate drawing ...">
              <a:extLst>
                <a:ext uri="{FF2B5EF4-FFF2-40B4-BE49-F238E27FC236}">
                  <a16:creationId xmlns:a16="http://schemas.microsoft.com/office/drawing/2014/main" id="{58885DC5-13C7-4104-9529-54F5DA2366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0790" y="1489286"/>
              <a:ext cx="478429" cy="4697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5" name="Gruppo 234"/>
          <p:cNvGrpSpPr/>
          <p:nvPr/>
        </p:nvGrpSpPr>
        <p:grpSpPr>
          <a:xfrm>
            <a:off x="4122009" y="881307"/>
            <a:ext cx="1800000" cy="540000"/>
            <a:chOff x="4315122" y="1364036"/>
            <a:chExt cx="1839282" cy="540000"/>
          </a:xfrm>
        </p:grpSpPr>
        <p:sp>
          <p:nvSpPr>
            <p:cNvPr id="236" name="object 9">
              <a:extLst>
                <a:ext uri="{FF2B5EF4-FFF2-40B4-BE49-F238E27FC236}">
                  <a16:creationId xmlns:a16="http://schemas.microsoft.com/office/drawing/2014/main" id="{BCEB9E33-CE9A-4095-8034-17ABA5286CD8}"/>
                </a:ext>
              </a:extLst>
            </p:cNvPr>
            <p:cNvSpPr/>
            <p:nvPr/>
          </p:nvSpPr>
          <p:spPr>
            <a:xfrm>
              <a:off x="4315122" y="1364036"/>
              <a:ext cx="1800000" cy="540000"/>
            </a:xfrm>
            <a:custGeom>
              <a:avLst/>
              <a:gdLst/>
              <a:ahLst/>
              <a:cxnLst/>
              <a:rect l="l" t="t" r="r" b="b"/>
              <a:pathLst>
                <a:path w="1781810" h="3108960">
                  <a:moveTo>
                    <a:pt x="1781555" y="0"/>
                  </a:moveTo>
                  <a:lnTo>
                    <a:pt x="0" y="0"/>
                  </a:lnTo>
                  <a:lnTo>
                    <a:pt x="0" y="3108960"/>
                  </a:lnTo>
                  <a:lnTo>
                    <a:pt x="1781555" y="3108960"/>
                  </a:lnTo>
                  <a:lnTo>
                    <a:pt x="1781555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object 8">
              <a:extLst>
                <a:ext uri="{FF2B5EF4-FFF2-40B4-BE49-F238E27FC236}">
                  <a16:creationId xmlns:a16="http://schemas.microsoft.com/office/drawing/2014/main" id="{A1A7202E-98DE-44CF-BE61-4F80E1F06900}"/>
                </a:ext>
              </a:extLst>
            </p:cNvPr>
            <p:cNvSpPr txBox="1"/>
            <p:nvPr/>
          </p:nvSpPr>
          <p:spPr>
            <a:xfrm>
              <a:off x="4457684" y="1428786"/>
              <a:ext cx="1696720" cy="403316"/>
            </a:xfrm>
            <a:prstGeom prst="rect">
              <a:avLst/>
            </a:prstGeom>
            <a:noFill/>
          </p:spPr>
          <p:txBody>
            <a:bodyPr vert="horz" wrap="square" lIns="0" tIns="33655" rIns="0" bIns="0" rtlCol="0">
              <a:spAutoFit/>
            </a:bodyPr>
            <a:lstStyle/>
            <a:p>
              <a:pPr marL="92075" marR="192405" lvl="0" indent="0" algn="ctr" defTabSz="914400" rtl="0" eaLnBrk="1" fontAlgn="auto" latinLnBrk="0" hangingPunct="1">
                <a:lnSpc>
                  <a:spcPct val="100000"/>
                </a:lnSpc>
                <a:spcBef>
                  <a:spcPts val="26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Innovazione tecnologica</a:t>
              </a:r>
              <a:endParaRPr kumimoji="0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</p:txBody>
        </p:sp>
        <p:pic>
          <p:nvPicPr>
            <p:cNvPr id="238" name="Immagine 237">
              <a:extLst>
                <a:ext uri="{FF2B5EF4-FFF2-40B4-BE49-F238E27FC236}">
                  <a16:creationId xmlns:a16="http://schemas.microsoft.com/office/drawing/2014/main" id="{A25EEDCC-B8CA-476E-9E1F-94E0654E6F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15122" y="1392492"/>
              <a:ext cx="444273" cy="444273"/>
            </a:xfrm>
            <a:prstGeom prst="rect">
              <a:avLst/>
            </a:prstGeom>
          </p:spPr>
        </p:pic>
      </p:grpSp>
      <p:pic>
        <p:nvPicPr>
          <p:cNvPr id="239" name="Immagine 238">
            <a:extLst>
              <a:ext uri="{FF2B5EF4-FFF2-40B4-BE49-F238E27FC236}">
                <a16:creationId xmlns:a16="http://schemas.microsoft.com/office/drawing/2014/main" id="{8DFABC16-949C-43C8-ADD8-B38B0BAB23C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65" y="936934"/>
            <a:ext cx="428746" cy="428746"/>
          </a:xfrm>
          <a:prstGeom prst="rect">
            <a:avLst/>
          </a:prstGeom>
        </p:spPr>
      </p:pic>
      <p:grpSp>
        <p:nvGrpSpPr>
          <p:cNvPr id="241" name="Gruppo 240"/>
          <p:cNvGrpSpPr/>
          <p:nvPr/>
        </p:nvGrpSpPr>
        <p:grpSpPr>
          <a:xfrm>
            <a:off x="9795047" y="881704"/>
            <a:ext cx="1800000" cy="538139"/>
            <a:chOff x="6344975" y="1378272"/>
            <a:chExt cx="2062233" cy="612629"/>
          </a:xfrm>
        </p:grpSpPr>
        <p:sp>
          <p:nvSpPr>
            <p:cNvPr id="242" name="object 9">
              <a:extLst>
                <a:ext uri="{FF2B5EF4-FFF2-40B4-BE49-F238E27FC236}">
                  <a16:creationId xmlns:a16="http://schemas.microsoft.com/office/drawing/2014/main" id="{585ED587-D46C-41DA-B97D-F09F30C0427A}"/>
                </a:ext>
              </a:extLst>
            </p:cNvPr>
            <p:cNvSpPr/>
            <p:nvPr/>
          </p:nvSpPr>
          <p:spPr>
            <a:xfrm>
              <a:off x="6344975" y="1378272"/>
              <a:ext cx="1873783" cy="612629"/>
            </a:xfrm>
            <a:custGeom>
              <a:avLst/>
              <a:gdLst/>
              <a:ahLst/>
              <a:cxnLst/>
              <a:rect l="l" t="t" r="r" b="b"/>
              <a:pathLst>
                <a:path w="1781810" h="3108960">
                  <a:moveTo>
                    <a:pt x="1781555" y="0"/>
                  </a:moveTo>
                  <a:lnTo>
                    <a:pt x="0" y="0"/>
                  </a:lnTo>
                  <a:lnTo>
                    <a:pt x="0" y="3108960"/>
                  </a:lnTo>
                  <a:lnTo>
                    <a:pt x="1781555" y="3108960"/>
                  </a:lnTo>
                  <a:lnTo>
                    <a:pt x="1781555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object 8">
              <a:extLst>
                <a:ext uri="{FF2B5EF4-FFF2-40B4-BE49-F238E27FC236}">
                  <a16:creationId xmlns:a16="http://schemas.microsoft.com/office/drawing/2014/main" id="{22FB2C78-AAA5-4D55-94AD-B7CFF2C34233}"/>
                </a:ext>
              </a:extLst>
            </p:cNvPr>
            <p:cNvSpPr txBox="1"/>
            <p:nvPr/>
          </p:nvSpPr>
          <p:spPr>
            <a:xfrm>
              <a:off x="6710489" y="1433449"/>
              <a:ext cx="1696719" cy="459144"/>
            </a:xfrm>
            <a:prstGeom prst="rect">
              <a:avLst/>
            </a:prstGeom>
            <a:noFill/>
          </p:spPr>
          <p:txBody>
            <a:bodyPr vert="horz" wrap="square" lIns="0" tIns="33655" rIns="0" bIns="0" rtlCol="0">
              <a:spAutoFit/>
            </a:bodyPr>
            <a:lstStyle/>
            <a:p>
              <a:pPr marL="92075" marR="192405" lvl="0" indent="0" algn="ctr" defTabSz="914400" rtl="0" eaLnBrk="1" fontAlgn="auto" latinLnBrk="0" hangingPunct="1">
                <a:lnSpc>
                  <a:spcPct val="100000"/>
                </a:lnSpc>
                <a:spcBef>
                  <a:spcPts val="26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-5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Calibri"/>
                </a:rPr>
                <a:t>Politica europea di trasporto</a:t>
              </a:r>
              <a:endParaRPr kumimoji="0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endParaRPr>
            </a:p>
          </p:txBody>
        </p:sp>
      </p:grpSp>
      <p:pic>
        <p:nvPicPr>
          <p:cNvPr id="244" name="Immagine 243"/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40120" y="1018306"/>
            <a:ext cx="321260" cy="265389"/>
          </a:xfrm>
          <a:prstGeom prst="ellipse">
            <a:avLst/>
          </a:prstGeom>
        </p:spPr>
      </p:pic>
      <p:sp>
        <p:nvSpPr>
          <p:cNvPr id="247" name="CasellaDiTesto 246">
            <a:extLst>
              <a:ext uri="{FF2B5EF4-FFF2-40B4-BE49-F238E27FC236}">
                <a16:creationId xmlns:a16="http://schemas.microsoft.com/office/drawing/2014/main" id="{D44C29C4-44AA-40D1-9B59-3DBE60F4A77B}"/>
              </a:ext>
            </a:extLst>
          </p:cNvPr>
          <p:cNvSpPr txBox="1"/>
          <p:nvPr/>
        </p:nvSpPr>
        <p:spPr>
          <a:xfrm>
            <a:off x="75325" y="2571592"/>
            <a:ext cx="198401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, Revision of world urbanization prospects (2018)</a:t>
            </a:r>
          </a:p>
        </p:txBody>
      </p:sp>
      <p:pic>
        <p:nvPicPr>
          <p:cNvPr id="248" name="Immagine 247">
            <a:extLst>
              <a:ext uri="{FF2B5EF4-FFF2-40B4-BE49-F238E27FC236}">
                <a16:creationId xmlns:a16="http://schemas.microsoft.com/office/drawing/2014/main" id="{AC632032-884D-42C4-81BE-0BD6CAC9892D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1478" y="1935409"/>
            <a:ext cx="1329452" cy="696648"/>
          </a:xfrm>
          <a:prstGeom prst="rect">
            <a:avLst/>
          </a:prstGeom>
        </p:spPr>
      </p:pic>
      <p:sp>
        <p:nvSpPr>
          <p:cNvPr id="249" name="object 13">
            <a:extLst>
              <a:ext uri="{FF2B5EF4-FFF2-40B4-BE49-F238E27FC236}">
                <a16:creationId xmlns:a16="http://schemas.microsoft.com/office/drawing/2014/main" id="{08601EF5-E54B-4165-9CE9-B15A709D345E}"/>
              </a:ext>
            </a:extLst>
          </p:cNvPr>
          <p:cNvSpPr txBox="1"/>
          <p:nvPr/>
        </p:nvSpPr>
        <p:spPr>
          <a:xfrm>
            <a:off x="7492654" y="1565167"/>
            <a:ext cx="2535759" cy="187872"/>
          </a:xfrm>
          <a:prstGeom prst="rect">
            <a:avLst/>
          </a:prstGeom>
          <a:noFill/>
        </p:spPr>
        <p:txBody>
          <a:bodyPr vert="horz" wrap="square" lIns="0" tIns="33655" rIns="0" bIns="0" rtlCol="0">
            <a:spAutoFit/>
          </a:bodyPr>
          <a:lstStyle/>
          <a:p>
            <a:pPr marL="92075" marR="120650" lvl="0" indent="0" algn="ctr" defTabSz="9144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-1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DGs a cui il ferro può contribuire</a:t>
            </a:r>
            <a:endParaRPr kumimoji="0" sz="10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50" name="Rettangolo 249">
            <a:extLst>
              <a:ext uri="{FF2B5EF4-FFF2-40B4-BE49-F238E27FC236}">
                <a16:creationId xmlns:a16="http://schemas.microsoft.com/office/drawing/2014/main" id="{DEA2B86F-B948-4D4B-847B-DBB95F5CCABB}"/>
              </a:ext>
            </a:extLst>
          </p:cNvPr>
          <p:cNvSpPr/>
          <p:nvPr/>
        </p:nvSpPr>
        <p:spPr>
          <a:xfrm>
            <a:off x="5975414" y="1552095"/>
            <a:ext cx="190747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posizione infrastrutture critiche UE ai rischi climatici al 2050</a:t>
            </a:r>
            <a:endParaRPr kumimoji="0" lang="it-IT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1" name="Rettangolo 250">
            <a:extLst>
              <a:ext uri="{FF2B5EF4-FFF2-40B4-BE49-F238E27FC236}">
                <a16:creationId xmlns:a16="http://schemas.microsoft.com/office/drawing/2014/main" id="{E03A897A-E324-4A20-98EB-69EF81C9932C}"/>
              </a:ext>
            </a:extLst>
          </p:cNvPr>
          <p:cNvSpPr/>
          <p:nvPr/>
        </p:nvSpPr>
        <p:spPr>
          <a:xfrm>
            <a:off x="6258077" y="2709553"/>
            <a:ext cx="1889745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,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calating impacts of climate extremes on critical infrastructures in Europe (2018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</a:t>
            </a:r>
          </a:p>
        </p:txBody>
      </p:sp>
      <p:grpSp>
        <p:nvGrpSpPr>
          <p:cNvPr id="252" name="Gruppo 251">
            <a:extLst>
              <a:ext uri="{FF2B5EF4-FFF2-40B4-BE49-F238E27FC236}">
                <a16:creationId xmlns:a16="http://schemas.microsoft.com/office/drawing/2014/main" id="{462A10F5-51B5-4D1A-BC63-F9831E043851}"/>
              </a:ext>
            </a:extLst>
          </p:cNvPr>
          <p:cNvGrpSpPr/>
          <p:nvPr/>
        </p:nvGrpSpPr>
        <p:grpSpPr>
          <a:xfrm>
            <a:off x="6350862" y="2081816"/>
            <a:ext cx="1037267" cy="567928"/>
            <a:chOff x="3212138" y="3603481"/>
            <a:chExt cx="2079523" cy="1343135"/>
          </a:xfrm>
        </p:grpSpPr>
        <p:pic>
          <p:nvPicPr>
            <p:cNvPr id="253" name="Immagine 252">
              <a:extLst>
                <a:ext uri="{FF2B5EF4-FFF2-40B4-BE49-F238E27FC236}">
                  <a16:creationId xmlns:a16="http://schemas.microsoft.com/office/drawing/2014/main" id="{518C982B-E9ED-4270-9103-E38787974D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>
            <a:xfrm>
              <a:off x="3212138" y="3603481"/>
              <a:ext cx="2079523" cy="1343135"/>
            </a:xfrm>
            <a:prstGeom prst="rect">
              <a:avLst/>
            </a:prstGeom>
          </p:spPr>
        </p:pic>
        <p:pic>
          <p:nvPicPr>
            <p:cNvPr id="254" name="Immagine 253">
              <a:extLst>
                <a:ext uri="{FF2B5EF4-FFF2-40B4-BE49-F238E27FC236}">
                  <a16:creationId xmlns:a16="http://schemas.microsoft.com/office/drawing/2014/main" id="{603D1EF9-E0BE-42B2-808C-E88513B8DD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19994" y="3610534"/>
              <a:ext cx="371667" cy="743335"/>
            </a:xfrm>
            <a:prstGeom prst="rect">
              <a:avLst/>
            </a:prstGeom>
          </p:spPr>
        </p:pic>
        <p:pic>
          <p:nvPicPr>
            <p:cNvPr id="255" name="Immagine 254">
              <a:extLst>
                <a:ext uri="{FF2B5EF4-FFF2-40B4-BE49-F238E27FC236}">
                  <a16:creationId xmlns:a16="http://schemas.microsoft.com/office/drawing/2014/main" id="{63250CDF-1639-4822-AC28-42F279548C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19512" y="3668378"/>
              <a:ext cx="365813" cy="203169"/>
            </a:xfrm>
            <a:prstGeom prst="rect">
              <a:avLst/>
            </a:prstGeom>
          </p:spPr>
        </p:pic>
      </p:grpSp>
      <p:pic>
        <p:nvPicPr>
          <p:cNvPr id="256" name="Immagine 255">
            <a:extLst>
              <a:ext uri="{FF2B5EF4-FFF2-40B4-BE49-F238E27FC236}">
                <a16:creationId xmlns:a16="http://schemas.microsoft.com/office/drawing/2014/main" id="{C1D87625-8CC2-4811-ACBE-CEEC7C596F2F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80203" y="1791507"/>
            <a:ext cx="1162439" cy="343943"/>
          </a:xfrm>
          <a:prstGeom prst="rect">
            <a:avLst/>
          </a:prstGeom>
        </p:spPr>
      </p:pic>
      <p:pic>
        <p:nvPicPr>
          <p:cNvPr id="257" name="Immagine 256">
            <a:extLst>
              <a:ext uri="{FF2B5EF4-FFF2-40B4-BE49-F238E27FC236}">
                <a16:creationId xmlns:a16="http://schemas.microsoft.com/office/drawing/2014/main" id="{673F8C2F-3348-4465-B32C-DAE6DACEBD8C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21914" y="2204912"/>
            <a:ext cx="1299244" cy="399767"/>
          </a:xfrm>
          <a:prstGeom prst="rect">
            <a:avLst/>
          </a:prstGeom>
        </p:spPr>
      </p:pic>
      <p:sp>
        <p:nvSpPr>
          <p:cNvPr id="258" name="Rettangolo 257">
            <a:extLst>
              <a:ext uri="{FF2B5EF4-FFF2-40B4-BE49-F238E27FC236}">
                <a16:creationId xmlns:a16="http://schemas.microsoft.com/office/drawing/2014/main" id="{F76EE4A0-026B-4675-B2BF-1F680049B4C2}"/>
              </a:ext>
            </a:extLst>
          </p:cNvPr>
          <p:cNvSpPr/>
          <p:nvPr/>
        </p:nvSpPr>
        <p:spPr>
          <a:xfrm>
            <a:off x="4201545" y="2724298"/>
            <a:ext cx="2323194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ero innovazione tecnologica e transizione digitale, Italia Digitale 2026 (2021</a:t>
            </a:r>
            <a:r>
              <a:rPr kumimoji="0" lang="it-IT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9" name="Oval 15">
            <a:extLst>
              <a:ext uri="{FF2B5EF4-FFF2-40B4-BE49-F238E27FC236}">
                <a16:creationId xmlns:a16="http://schemas.microsoft.com/office/drawing/2014/main" id="{656ADEC6-1D0B-4814-9ED1-D2E3AF9016E9}"/>
              </a:ext>
            </a:extLst>
          </p:cNvPr>
          <p:cNvSpPr>
            <a:spLocks noChangeAspect="1"/>
          </p:cNvSpPr>
          <p:nvPr/>
        </p:nvSpPr>
        <p:spPr>
          <a:xfrm>
            <a:off x="320261" y="1946759"/>
            <a:ext cx="617468" cy="40871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%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2018)</a:t>
            </a:r>
          </a:p>
        </p:txBody>
      </p:sp>
      <p:sp>
        <p:nvSpPr>
          <p:cNvPr id="260" name="TextBox 4">
            <a:extLst>
              <a:ext uri="{FF2B5EF4-FFF2-40B4-BE49-F238E27FC236}">
                <a16:creationId xmlns:a16="http://schemas.microsoft.com/office/drawing/2014/main" id="{0866CB9C-B1B6-442C-9981-291E518BC9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995" y="1552846"/>
            <a:ext cx="251611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nd </a:t>
            </a:r>
            <a:r>
              <a:rPr kumimoji="0" lang="it-IT" alt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rbanizzazione mondiale</a:t>
            </a:r>
          </a:p>
        </p:txBody>
      </p:sp>
      <p:sp>
        <p:nvSpPr>
          <p:cNvPr id="261" name="Oval 15">
            <a:extLst>
              <a:ext uri="{FF2B5EF4-FFF2-40B4-BE49-F238E27FC236}">
                <a16:creationId xmlns:a16="http://schemas.microsoft.com/office/drawing/2014/main" id="{1E876AC5-B867-44D4-A5C4-21B3FA44905B}"/>
              </a:ext>
            </a:extLst>
          </p:cNvPr>
          <p:cNvSpPr>
            <a:spLocks noChangeAspect="1"/>
          </p:cNvSpPr>
          <p:nvPr/>
        </p:nvSpPr>
        <p:spPr>
          <a:xfrm>
            <a:off x="1236172" y="1933542"/>
            <a:ext cx="617468" cy="40871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%</a:t>
            </a:r>
            <a:r>
              <a:rPr kumimoji="0" lang="en-US" sz="16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2050)</a:t>
            </a:r>
          </a:p>
        </p:txBody>
      </p:sp>
      <p:sp>
        <p:nvSpPr>
          <p:cNvPr id="262" name="Triangolo isoscele 261">
            <a:extLst>
              <a:ext uri="{FF2B5EF4-FFF2-40B4-BE49-F238E27FC236}">
                <a16:creationId xmlns:a16="http://schemas.microsoft.com/office/drawing/2014/main" id="{82CD95DD-2A32-42F1-8757-CB41E6C03F19}"/>
              </a:ext>
            </a:extLst>
          </p:cNvPr>
          <p:cNvSpPr/>
          <p:nvPr/>
        </p:nvSpPr>
        <p:spPr>
          <a:xfrm rot="5400000">
            <a:off x="965685" y="2063292"/>
            <a:ext cx="266326" cy="127092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3" name="CasellaDiTesto 262">
            <a:extLst>
              <a:ext uri="{FF2B5EF4-FFF2-40B4-BE49-F238E27FC236}">
                <a16:creationId xmlns:a16="http://schemas.microsoft.com/office/drawing/2014/main" id="{75ECD313-8D39-47F1-B9C0-0FB8E85BA149}"/>
              </a:ext>
            </a:extLst>
          </p:cNvPr>
          <p:cNvSpPr txBox="1"/>
          <p:nvPr/>
        </p:nvSpPr>
        <p:spPr>
          <a:xfrm>
            <a:off x="2124459" y="2755937"/>
            <a:ext cx="16347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ECD, International Transport Forum (2021)</a:t>
            </a:r>
          </a:p>
        </p:txBody>
      </p:sp>
      <p:sp>
        <p:nvSpPr>
          <p:cNvPr id="264" name="TextBox 4">
            <a:extLst>
              <a:ext uri="{FF2B5EF4-FFF2-40B4-BE49-F238E27FC236}">
                <a16:creationId xmlns:a16="http://schemas.microsoft.com/office/drawing/2014/main" id="{3C4720FA-7B74-4A4E-8364-DCD48ABA08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05803" y="1537562"/>
            <a:ext cx="251611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nd </a:t>
            </a:r>
            <a:r>
              <a:rPr kumimoji="0" lang="it-IT" alt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nda trasporto mondiale</a:t>
            </a:r>
          </a:p>
        </p:txBody>
      </p:sp>
      <p:pic>
        <p:nvPicPr>
          <p:cNvPr id="265" name="Immagine 264">
            <a:extLst>
              <a:ext uri="{FF2B5EF4-FFF2-40B4-BE49-F238E27FC236}">
                <a16:creationId xmlns:a16="http://schemas.microsoft.com/office/drawing/2014/main" id="{B812CB41-869C-41CE-9C63-16801DF1B040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1828" y="1759677"/>
            <a:ext cx="2033651" cy="1129204"/>
          </a:xfrm>
          <a:prstGeom prst="rect">
            <a:avLst/>
          </a:prstGeom>
        </p:spPr>
      </p:pic>
      <p:sp>
        <p:nvSpPr>
          <p:cNvPr id="266" name="TextBox 4">
            <a:extLst>
              <a:ext uri="{FF2B5EF4-FFF2-40B4-BE49-F238E27FC236}">
                <a16:creationId xmlns:a16="http://schemas.microsoft.com/office/drawing/2014/main" id="{D2DBA171-0609-4E41-A6D7-5DF3408896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31858" y="1536329"/>
            <a:ext cx="2127991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2176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ima</a:t>
            </a:r>
            <a:r>
              <a:rPr kumimoji="0" lang="en-US" alt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rend </a:t>
            </a:r>
            <a:r>
              <a:rPr kumimoji="0" lang="it-IT" altLang="it-IT" sz="105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izzazione Italia</a:t>
            </a:r>
          </a:p>
        </p:txBody>
      </p:sp>
      <p:pic>
        <p:nvPicPr>
          <p:cNvPr id="267" name="Picture 5"/>
          <p:cNvPicPr>
            <a:picLocks noChangeAspect="1" noChangeArrowheads="1"/>
          </p:cNvPicPr>
          <p:nvPr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49987" y="1712640"/>
            <a:ext cx="1250716" cy="114218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0" name="object 13">
            <a:extLst>
              <a:ext uri="{FF2B5EF4-FFF2-40B4-BE49-F238E27FC236}">
                <a16:creationId xmlns:a16="http://schemas.microsoft.com/office/drawing/2014/main" id="{08601EF5-E54B-4165-9CE9-B15A709D345E}"/>
              </a:ext>
            </a:extLst>
          </p:cNvPr>
          <p:cNvSpPr txBox="1"/>
          <p:nvPr/>
        </p:nvSpPr>
        <p:spPr>
          <a:xfrm>
            <a:off x="9381215" y="1574431"/>
            <a:ext cx="2535759" cy="187872"/>
          </a:xfrm>
          <a:prstGeom prst="rect">
            <a:avLst/>
          </a:prstGeom>
          <a:noFill/>
        </p:spPr>
        <p:txBody>
          <a:bodyPr vert="horz" wrap="square" lIns="0" tIns="33655" rIns="0" bIns="0" rtlCol="0">
            <a:spAutoFit/>
          </a:bodyPr>
          <a:lstStyle/>
          <a:p>
            <a:pPr marL="92075" marR="120650" lvl="0" indent="0" algn="ctr" defTabSz="914400" rtl="0" eaLnBrk="1" fontAlgn="auto" latinLnBrk="0" hangingPunct="1">
              <a:lnSpc>
                <a:spcPct val="1000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-1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 Corridoi della Rete TEN-T</a:t>
            </a:r>
            <a:endParaRPr kumimoji="0" sz="10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71" name="Segnaposto contenuto 19">
            <a:extLst>
              <a:ext uri="{FF2B5EF4-FFF2-40B4-BE49-F238E27FC236}">
                <a16:creationId xmlns:a16="http://schemas.microsoft.com/office/drawing/2014/main" id="{A6D0AE2E-DA25-48BF-A9E5-99299900FDDD}"/>
              </a:ext>
            </a:extLst>
          </p:cNvPr>
          <p:cNvSpPr txBox="1">
            <a:spLocks/>
          </p:cNvSpPr>
          <p:nvPr/>
        </p:nvSpPr>
        <p:spPr bwMode="auto">
          <a:xfrm>
            <a:off x="173421" y="3352074"/>
            <a:ext cx="11626693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le principali STRATEGIE DI INVESTIMENTO che contribuiranno alla transizione green e digitale del Paese</a:t>
            </a:r>
          </a:p>
        </p:txBody>
      </p:sp>
      <p:grpSp>
        <p:nvGrpSpPr>
          <p:cNvPr id="6" name="Gruppo 5"/>
          <p:cNvGrpSpPr/>
          <p:nvPr/>
        </p:nvGrpSpPr>
        <p:grpSpPr>
          <a:xfrm>
            <a:off x="407368" y="1414031"/>
            <a:ext cx="1427278" cy="121442"/>
            <a:chOff x="407368" y="1977298"/>
            <a:chExt cx="1427278" cy="540000"/>
          </a:xfrm>
        </p:grpSpPr>
        <p:cxnSp>
          <p:nvCxnSpPr>
            <p:cNvPr id="219" name="Connettore diritto 218">
              <a:extLst>
                <a:ext uri="{FF2B5EF4-FFF2-40B4-BE49-F238E27FC236}">
                  <a16:creationId xmlns:a16="http://schemas.microsoft.com/office/drawing/2014/main" id="{2FA7D7EE-CF00-4B47-B330-AF77881A45E4}"/>
                </a:ext>
              </a:extLst>
            </p:cNvPr>
            <p:cNvCxnSpPr/>
            <p:nvPr/>
          </p:nvCxnSpPr>
          <p:spPr>
            <a:xfrm>
              <a:off x="1121007" y="1977298"/>
              <a:ext cx="0" cy="5400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Connettore diritto 271">
              <a:extLst>
                <a:ext uri="{FF2B5EF4-FFF2-40B4-BE49-F238E27FC236}">
                  <a16:creationId xmlns:a16="http://schemas.microsoft.com/office/drawing/2014/main" id="{9932659B-2732-44E7-A9CC-55420D6A902C}"/>
                </a:ext>
              </a:extLst>
            </p:cNvPr>
            <p:cNvCxnSpPr/>
            <p:nvPr/>
          </p:nvCxnSpPr>
          <p:spPr>
            <a:xfrm>
              <a:off x="407368" y="2509035"/>
              <a:ext cx="1427278" cy="6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3" name="Gruppo 272"/>
          <p:cNvGrpSpPr/>
          <p:nvPr/>
        </p:nvGrpSpPr>
        <p:grpSpPr>
          <a:xfrm>
            <a:off x="2355524" y="1414031"/>
            <a:ext cx="1427278" cy="121442"/>
            <a:chOff x="407368" y="1977298"/>
            <a:chExt cx="1427278" cy="540000"/>
          </a:xfrm>
        </p:grpSpPr>
        <p:cxnSp>
          <p:nvCxnSpPr>
            <p:cNvPr id="274" name="Connettore diritto 273">
              <a:extLst>
                <a:ext uri="{FF2B5EF4-FFF2-40B4-BE49-F238E27FC236}">
                  <a16:creationId xmlns:a16="http://schemas.microsoft.com/office/drawing/2014/main" id="{2FA7D7EE-CF00-4B47-B330-AF77881A45E4}"/>
                </a:ext>
              </a:extLst>
            </p:cNvPr>
            <p:cNvCxnSpPr/>
            <p:nvPr/>
          </p:nvCxnSpPr>
          <p:spPr>
            <a:xfrm>
              <a:off x="1121007" y="1977298"/>
              <a:ext cx="0" cy="5400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Connettore diritto 274">
              <a:extLst>
                <a:ext uri="{FF2B5EF4-FFF2-40B4-BE49-F238E27FC236}">
                  <a16:creationId xmlns:a16="http://schemas.microsoft.com/office/drawing/2014/main" id="{9932659B-2732-44E7-A9CC-55420D6A902C}"/>
                </a:ext>
              </a:extLst>
            </p:cNvPr>
            <p:cNvCxnSpPr/>
            <p:nvPr/>
          </p:nvCxnSpPr>
          <p:spPr>
            <a:xfrm>
              <a:off x="407368" y="2509035"/>
              <a:ext cx="1427278" cy="6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6" name="Gruppo 275"/>
          <p:cNvGrpSpPr/>
          <p:nvPr/>
        </p:nvGrpSpPr>
        <p:grpSpPr>
          <a:xfrm>
            <a:off x="4329098" y="1414031"/>
            <a:ext cx="1427278" cy="121442"/>
            <a:chOff x="407368" y="1977298"/>
            <a:chExt cx="1427278" cy="540000"/>
          </a:xfrm>
        </p:grpSpPr>
        <p:cxnSp>
          <p:nvCxnSpPr>
            <p:cNvPr id="277" name="Connettore diritto 276">
              <a:extLst>
                <a:ext uri="{FF2B5EF4-FFF2-40B4-BE49-F238E27FC236}">
                  <a16:creationId xmlns:a16="http://schemas.microsoft.com/office/drawing/2014/main" id="{2FA7D7EE-CF00-4B47-B330-AF77881A45E4}"/>
                </a:ext>
              </a:extLst>
            </p:cNvPr>
            <p:cNvCxnSpPr/>
            <p:nvPr/>
          </p:nvCxnSpPr>
          <p:spPr>
            <a:xfrm>
              <a:off x="1121007" y="1977298"/>
              <a:ext cx="0" cy="5400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Connettore diritto 277">
              <a:extLst>
                <a:ext uri="{FF2B5EF4-FFF2-40B4-BE49-F238E27FC236}">
                  <a16:creationId xmlns:a16="http://schemas.microsoft.com/office/drawing/2014/main" id="{9932659B-2732-44E7-A9CC-55420D6A902C}"/>
                </a:ext>
              </a:extLst>
            </p:cNvPr>
            <p:cNvCxnSpPr/>
            <p:nvPr/>
          </p:nvCxnSpPr>
          <p:spPr>
            <a:xfrm>
              <a:off x="407368" y="2509035"/>
              <a:ext cx="1427278" cy="6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9" name="Gruppo 278"/>
          <p:cNvGrpSpPr/>
          <p:nvPr/>
        </p:nvGrpSpPr>
        <p:grpSpPr>
          <a:xfrm>
            <a:off x="6172721" y="1414031"/>
            <a:ext cx="1427278" cy="121442"/>
            <a:chOff x="407368" y="1977298"/>
            <a:chExt cx="1427278" cy="540000"/>
          </a:xfrm>
        </p:grpSpPr>
        <p:cxnSp>
          <p:nvCxnSpPr>
            <p:cNvPr id="280" name="Connettore diritto 279">
              <a:extLst>
                <a:ext uri="{FF2B5EF4-FFF2-40B4-BE49-F238E27FC236}">
                  <a16:creationId xmlns:a16="http://schemas.microsoft.com/office/drawing/2014/main" id="{2FA7D7EE-CF00-4B47-B330-AF77881A45E4}"/>
                </a:ext>
              </a:extLst>
            </p:cNvPr>
            <p:cNvCxnSpPr/>
            <p:nvPr/>
          </p:nvCxnSpPr>
          <p:spPr>
            <a:xfrm>
              <a:off x="1121007" y="1977298"/>
              <a:ext cx="0" cy="5400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Connettore diritto 280">
              <a:extLst>
                <a:ext uri="{FF2B5EF4-FFF2-40B4-BE49-F238E27FC236}">
                  <a16:creationId xmlns:a16="http://schemas.microsoft.com/office/drawing/2014/main" id="{9932659B-2732-44E7-A9CC-55420D6A902C}"/>
                </a:ext>
              </a:extLst>
            </p:cNvPr>
            <p:cNvCxnSpPr/>
            <p:nvPr/>
          </p:nvCxnSpPr>
          <p:spPr>
            <a:xfrm>
              <a:off x="407368" y="2509035"/>
              <a:ext cx="1427278" cy="6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2" name="Gruppo 281"/>
          <p:cNvGrpSpPr/>
          <p:nvPr/>
        </p:nvGrpSpPr>
        <p:grpSpPr>
          <a:xfrm>
            <a:off x="8015730" y="1414031"/>
            <a:ext cx="1427278" cy="121442"/>
            <a:chOff x="407368" y="1977298"/>
            <a:chExt cx="1427278" cy="540000"/>
          </a:xfrm>
        </p:grpSpPr>
        <p:cxnSp>
          <p:nvCxnSpPr>
            <p:cNvPr id="283" name="Connettore diritto 282">
              <a:extLst>
                <a:ext uri="{FF2B5EF4-FFF2-40B4-BE49-F238E27FC236}">
                  <a16:creationId xmlns:a16="http://schemas.microsoft.com/office/drawing/2014/main" id="{2FA7D7EE-CF00-4B47-B330-AF77881A45E4}"/>
                </a:ext>
              </a:extLst>
            </p:cNvPr>
            <p:cNvCxnSpPr/>
            <p:nvPr/>
          </p:nvCxnSpPr>
          <p:spPr>
            <a:xfrm>
              <a:off x="1121007" y="1977298"/>
              <a:ext cx="0" cy="5400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Connettore diritto 283">
              <a:extLst>
                <a:ext uri="{FF2B5EF4-FFF2-40B4-BE49-F238E27FC236}">
                  <a16:creationId xmlns:a16="http://schemas.microsoft.com/office/drawing/2014/main" id="{9932659B-2732-44E7-A9CC-55420D6A902C}"/>
                </a:ext>
              </a:extLst>
            </p:cNvPr>
            <p:cNvCxnSpPr/>
            <p:nvPr/>
          </p:nvCxnSpPr>
          <p:spPr>
            <a:xfrm>
              <a:off x="407368" y="2509035"/>
              <a:ext cx="1427278" cy="6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5" name="Gruppo 284"/>
          <p:cNvGrpSpPr/>
          <p:nvPr/>
        </p:nvGrpSpPr>
        <p:grpSpPr>
          <a:xfrm>
            <a:off x="9911502" y="1414031"/>
            <a:ext cx="1427278" cy="121442"/>
            <a:chOff x="407368" y="1977298"/>
            <a:chExt cx="1427278" cy="540000"/>
          </a:xfrm>
        </p:grpSpPr>
        <p:cxnSp>
          <p:nvCxnSpPr>
            <p:cNvPr id="286" name="Connettore diritto 285">
              <a:extLst>
                <a:ext uri="{FF2B5EF4-FFF2-40B4-BE49-F238E27FC236}">
                  <a16:creationId xmlns:a16="http://schemas.microsoft.com/office/drawing/2014/main" id="{2FA7D7EE-CF00-4B47-B330-AF77881A45E4}"/>
                </a:ext>
              </a:extLst>
            </p:cNvPr>
            <p:cNvCxnSpPr/>
            <p:nvPr/>
          </p:nvCxnSpPr>
          <p:spPr>
            <a:xfrm>
              <a:off x="1121007" y="1977298"/>
              <a:ext cx="0" cy="5400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Connettore diritto 286">
              <a:extLst>
                <a:ext uri="{FF2B5EF4-FFF2-40B4-BE49-F238E27FC236}">
                  <a16:creationId xmlns:a16="http://schemas.microsoft.com/office/drawing/2014/main" id="{9932659B-2732-44E7-A9CC-55420D6A902C}"/>
                </a:ext>
              </a:extLst>
            </p:cNvPr>
            <p:cNvCxnSpPr/>
            <p:nvPr/>
          </p:nvCxnSpPr>
          <p:spPr>
            <a:xfrm>
              <a:off x="407368" y="2509035"/>
              <a:ext cx="1427278" cy="650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9" name="Connettore diritto 288"/>
          <p:cNvCxnSpPr/>
          <p:nvPr/>
        </p:nvCxnSpPr>
        <p:spPr>
          <a:xfrm flipV="1">
            <a:off x="1808140" y="4143208"/>
            <a:ext cx="9216000" cy="11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ttangolo 1"/>
          <p:cNvSpPr/>
          <p:nvPr/>
        </p:nvSpPr>
        <p:spPr>
          <a:xfrm>
            <a:off x="109042" y="5576208"/>
            <a:ext cx="2246482" cy="682172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4" name="Segnaposto contenuto 19">
            <a:extLst>
              <a:ext uri="{FF2B5EF4-FFF2-40B4-BE49-F238E27FC236}">
                <a16:creationId xmlns:a16="http://schemas.microsoft.com/office/drawing/2014/main" id="{A6D0AE2E-DA25-48BF-A9E5-99299900FDDD}"/>
              </a:ext>
            </a:extLst>
          </p:cNvPr>
          <p:cNvSpPr txBox="1">
            <a:spLocks/>
          </p:cNvSpPr>
          <p:nvPr/>
        </p:nvSpPr>
        <p:spPr bwMode="auto">
          <a:xfrm>
            <a:off x="109042" y="5529714"/>
            <a:ext cx="1156538" cy="77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linate in 8 obiettivi strategici</a:t>
            </a:r>
          </a:p>
        </p:txBody>
      </p:sp>
      <p:sp>
        <p:nvSpPr>
          <p:cNvPr id="175" name="CasellaDiTesto 174">
            <a:extLst>
              <a:ext uri="{FF2B5EF4-FFF2-40B4-BE49-F238E27FC236}">
                <a16:creationId xmlns:a16="http://schemas.microsoft.com/office/drawing/2014/main" id="{C0CD2767-B1D5-4F7C-AC64-018392218945}"/>
              </a:ext>
            </a:extLst>
          </p:cNvPr>
          <p:cNvSpPr txBox="1"/>
          <p:nvPr/>
        </p:nvSpPr>
        <p:spPr>
          <a:xfrm>
            <a:off x="1641950" y="5360879"/>
            <a:ext cx="1191635" cy="525571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400">
                <a:solidFill>
                  <a:srgbClr val="FFFFFF"/>
                </a:solidFill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Rete pax più integrata ed accessibile</a:t>
            </a:r>
          </a:p>
        </p:txBody>
      </p:sp>
      <p:sp>
        <p:nvSpPr>
          <p:cNvPr id="176" name="CasellaDiTesto 175">
            <a:extLst>
              <a:ext uri="{FF2B5EF4-FFF2-40B4-BE49-F238E27FC236}">
                <a16:creationId xmlns:a16="http://schemas.microsoft.com/office/drawing/2014/main" id="{C0CD2767-B1D5-4F7C-AC64-018392218945}"/>
              </a:ext>
            </a:extLst>
          </p:cNvPr>
          <p:cNvSpPr txBox="1"/>
          <p:nvPr/>
        </p:nvSpPr>
        <p:spPr>
          <a:xfrm>
            <a:off x="2899021" y="5360879"/>
            <a:ext cx="1191634" cy="525571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400">
                <a:solidFill>
                  <a:srgbClr val="FFFFFF"/>
                </a:solidFill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Rete pax più veloce, performante, capillare</a:t>
            </a:r>
          </a:p>
        </p:txBody>
      </p:sp>
      <p:sp>
        <p:nvSpPr>
          <p:cNvPr id="177" name="CasellaDiTesto 176">
            <a:extLst>
              <a:ext uri="{FF2B5EF4-FFF2-40B4-BE49-F238E27FC236}">
                <a16:creationId xmlns:a16="http://schemas.microsoft.com/office/drawing/2014/main" id="{C0CD2767-B1D5-4F7C-AC64-018392218945}"/>
              </a:ext>
            </a:extLst>
          </p:cNvPr>
          <p:cNvSpPr txBox="1"/>
          <p:nvPr/>
        </p:nvSpPr>
        <p:spPr>
          <a:xfrm>
            <a:off x="4156091" y="5360879"/>
            <a:ext cx="1191635" cy="525571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400">
                <a:solidFill>
                  <a:srgbClr val="FFFFFF"/>
                </a:solidFill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Rete merci più performante e competitiva</a:t>
            </a:r>
          </a:p>
        </p:txBody>
      </p:sp>
      <p:sp>
        <p:nvSpPr>
          <p:cNvPr id="178" name="CasellaDiTesto 177">
            <a:extLst>
              <a:ext uri="{FF2B5EF4-FFF2-40B4-BE49-F238E27FC236}">
                <a16:creationId xmlns:a16="http://schemas.microsoft.com/office/drawing/2014/main" id="{C0CD2767-B1D5-4F7C-AC64-018392218945}"/>
              </a:ext>
            </a:extLst>
          </p:cNvPr>
          <p:cNvSpPr txBox="1"/>
          <p:nvPr/>
        </p:nvSpPr>
        <p:spPr>
          <a:xfrm>
            <a:off x="5413162" y="5360879"/>
            <a:ext cx="1191634" cy="525571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400">
                <a:solidFill>
                  <a:srgbClr val="FFFFFF"/>
                </a:solidFill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Rete merci più integrata ed intermodale</a:t>
            </a:r>
          </a:p>
        </p:txBody>
      </p:sp>
      <p:sp>
        <p:nvSpPr>
          <p:cNvPr id="179" name="CasellaDiTesto 178">
            <a:extLst>
              <a:ext uri="{FF2B5EF4-FFF2-40B4-BE49-F238E27FC236}">
                <a16:creationId xmlns:a16="http://schemas.microsoft.com/office/drawing/2014/main" id="{A438547E-533E-4962-9B22-EF356E954532}"/>
              </a:ext>
            </a:extLst>
          </p:cNvPr>
          <p:cNvSpPr txBox="1"/>
          <p:nvPr/>
        </p:nvSpPr>
        <p:spPr>
          <a:xfrm>
            <a:off x="6670232" y="5360879"/>
            <a:ext cx="1191634" cy="525571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150" b="1">
                <a:solidFill>
                  <a:srgbClr val="FFFFFF"/>
                </a:solidFill>
                <a:cs typeface="Calibri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Rete più sicura, robusta e resiliente</a:t>
            </a:r>
          </a:p>
        </p:txBody>
      </p:sp>
      <p:sp>
        <p:nvSpPr>
          <p:cNvPr id="180" name="CasellaDiTesto 179">
            <a:extLst>
              <a:ext uri="{FF2B5EF4-FFF2-40B4-BE49-F238E27FC236}">
                <a16:creationId xmlns:a16="http://schemas.microsoft.com/office/drawing/2014/main" id="{4F4275FC-C4F3-4E5D-B842-CF45423488D1}"/>
              </a:ext>
            </a:extLst>
          </p:cNvPr>
          <p:cNvSpPr txBox="1"/>
          <p:nvPr/>
        </p:nvSpPr>
        <p:spPr>
          <a:xfrm>
            <a:off x="9184373" y="5360879"/>
            <a:ext cx="1191635" cy="52557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150" b="1">
                <a:solidFill>
                  <a:srgbClr val="FFFFFF"/>
                </a:solidFill>
                <a:cs typeface="Calibri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Rete avanzata,  digitale e tecnologica</a:t>
            </a:r>
          </a:p>
        </p:txBody>
      </p:sp>
      <p:sp>
        <p:nvSpPr>
          <p:cNvPr id="181" name="CasellaDiTesto 180">
            <a:extLst>
              <a:ext uri="{FF2B5EF4-FFF2-40B4-BE49-F238E27FC236}">
                <a16:creationId xmlns:a16="http://schemas.microsoft.com/office/drawing/2014/main" id="{1423937E-CA0D-43D2-A690-E6F289D9A148}"/>
              </a:ext>
            </a:extLst>
          </p:cNvPr>
          <p:cNvSpPr txBox="1"/>
          <p:nvPr/>
        </p:nvSpPr>
        <p:spPr>
          <a:xfrm>
            <a:off x="10441446" y="5360879"/>
            <a:ext cx="1191634" cy="525571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150" b="1">
                <a:solidFill>
                  <a:srgbClr val="FFFFFF"/>
                </a:solidFill>
                <a:cs typeface="Calibri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Valorizzaz. asset, ampliam. business e nuovi sistemi di trasporto </a:t>
            </a:r>
          </a:p>
        </p:txBody>
      </p:sp>
      <p:sp>
        <p:nvSpPr>
          <p:cNvPr id="182" name="CasellaDiTesto 181">
            <a:extLst>
              <a:ext uri="{FF2B5EF4-FFF2-40B4-BE49-F238E27FC236}">
                <a16:creationId xmlns:a16="http://schemas.microsoft.com/office/drawing/2014/main" id="{3F8EB584-206D-49B9-A53C-FFB7583CF1AD}"/>
              </a:ext>
            </a:extLst>
          </p:cNvPr>
          <p:cNvSpPr txBox="1"/>
          <p:nvPr/>
        </p:nvSpPr>
        <p:spPr>
          <a:xfrm>
            <a:off x="7927302" y="5360879"/>
            <a:ext cx="1191635" cy="525571"/>
          </a:xfrm>
          <a:prstGeom prst="rect">
            <a:avLst/>
          </a:prstGeom>
          <a:solidFill>
            <a:srgbClr val="C0000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400">
                <a:solidFill>
                  <a:srgbClr val="FFFFFF"/>
                </a:solidFill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Rete più green, community&amp;customer oriented</a:t>
            </a:r>
          </a:p>
        </p:txBody>
      </p:sp>
      <p:sp>
        <p:nvSpPr>
          <p:cNvPr id="183" name="CasellaDiTesto 182">
            <a:extLst>
              <a:ext uri="{FF2B5EF4-FFF2-40B4-BE49-F238E27FC236}">
                <a16:creationId xmlns:a16="http://schemas.microsoft.com/office/drawing/2014/main" id="{C0CD2767-B1D5-4F7C-AC64-018392218945}"/>
              </a:ext>
            </a:extLst>
          </p:cNvPr>
          <p:cNvSpPr txBox="1"/>
          <p:nvPr/>
        </p:nvSpPr>
        <p:spPr>
          <a:xfrm>
            <a:off x="1627004" y="5972994"/>
            <a:ext cx="2453492" cy="1902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400">
                <a:solidFill>
                  <a:srgbClr val="FFFFFF"/>
                </a:solidFill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Passeggeri</a:t>
            </a:r>
          </a:p>
        </p:txBody>
      </p:sp>
      <p:sp>
        <p:nvSpPr>
          <p:cNvPr id="184" name="CasellaDiTesto 183">
            <a:extLst>
              <a:ext uri="{FF2B5EF4-FFF2-40B4-BE49-F238E27FC236}">
                <a16:creationId xmlns:a16="http://schemas.microsoft.com/office/drawing/2014/main" id="{C0CD2767-B1D5-4F7C-AC64-018392218945}"/>
              </a:ext>
            </a:extLst>
          </p:cNvPr>
          <p:cNvSpPr txBox="1"/>
          <p:nvPr/>
        </p:nvSpPr>
        <p:spPr>
          <a:xfrm>
            <a:off x="4175479" y="5970380"/>
            <a:ext cx="2429317" cy="19229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400">
                <a:solidFill>
                  <a:srgbClr val="FFFFFF"/>
                </a:solidFill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Merci</a:t>
            </a:r>
          </a:p>
        </p:txBody>
      </p:sp>
      <p:sp>
        <p:nvSpPr>
          <p:cNvPr id="185" name="CasellaDiTesto 184">
            <a:extLst>
              <a:ext uri="{FF2B5EF4-FFF2-40B4-BE49-F238E27FC236}">
                <a16:creationId xmlns:a16="http://schemas.microsoft.com/office/drawing/2014/main" id="{3F2FCADC-3C48-47AB-8549-F7A0A5A68F89}"/>
              </a:ext>
            </a:extLst>
          </p:cNvPr>
          <p:cNvSpPr txBox="1"/>
          <p:nvPr/>
        </p:nvSpPr>
        <p:spPr>
          <a:xfrm>
            <a:off x="6671583" y="5970380"/>
            <a:ext cx="4961497" cy="19229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400">
                <a:solidFill>
                  <a:srgbClr val="FFFFFF"/>
                </a:solidFill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Ambiti trasversali</a:t>
            </a:r>
          </a:p>
        </p:txBody>
      </p:sp>
      <p:sp>
        <p:nvSpPr>
          <p:cNvPr id="19" name="Triangolo isoscele 18"/>
          <p:cNvSpPr/>
          <p:nvPr/>
        </p:nvSpPr>
        <p:spPr>
          <a:xfrm flipV="1">
            <a:off x="1622780" y="5090546"/>
            <a:ext cx="9956908" cy="148898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5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6100618" y="3744841"/>
            <a:ext cx="740679" cy="753751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96" name="Connettore diritto 295"/>
          <p:cNvCxnSpPr/>
          <p:nvPr/>
        </p:nvCxnSpPr>
        <p:spPr>
          <a:xfrm>
            <a:off x="5945102" y="4562014"/>
            <a:ext cx="10399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Rettangolo 297"/>
          <p:cNvSpPr/>
          <p:nvPr/>
        </p:nvSpPr>
        <p:spPr>
          <a:xfrm>
            <a:off x="5266491" y="4576824"/>
            <a:ext cx="2397181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IBILITA’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ZIONI</a:t>
            </a:r>
          </a:p>
        </p:txBody>
      </p:sp>
      <p:pic>
        <p:nvPicPr>
          <p:cNvPr id="319" name="Picture 10" descr="Depot, railway, station, train icon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1864" y="3841114"/>
            <a:ext cx="531172" cy="53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9" name="Rettangolo 308"/>
          <p:cNvSpPr/>
          <p:nvPr/>
        </p:nvSpPr>
        <p:spPr>
          <a:xfrm>
            <a:off x="8531073" y="4576824"/>
            <a:ext cx="201600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TTRICI DI INTERESSE NAZIONALE</a:t>
            </a:r>
          </a:p>
        </p:txBody>
      </p:sp>
      <p:sp>
        <p:nvSpPr>
          <p:cNvPr id="310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9169352" y="3744841"/>
            <a:ext cx="740679" cy="753751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2" name="Connettore diritto 311"/>
          <p:cNvCxnSpPr/>
          <p:nvPr/>
        </p:nvCxnSpPr>
        <p:spPr>
          <a:xfrm>
            <a:off x="9019094" y="4562014"/>
            <a:ext cx="10399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1" name="Gruppo 71"/>
          <p:cNvGrpSpPr>
            <a:grpSpLocks/>
          </p:cNvGrpSpPr>
          <p:nvPr/>
        </p:nvGrpSpPr>
        <p:grpSpPr bwMode="auto">
          <a:xfrm>
            <a:off x="9231499" y="3832792"/>
            <a:ext cx="548691" cy="642731"/>
            <a:chOff x="3519431" y="1213483"/>
            <a:chExt cx="5032262" cy="6175957"/>
          </a:xfrm>
          <a:solidFill>
            <a:schemeClr val="tx1"/>
          </a:solidFill>
        </p:grpSpPr>
        <p:sp>
          <p:nvSpPr>
            <p:cNvPr id="323" name="Freeform 7">
              <a:extLst>
                <a:ext uri="{FF2B5EF4-FFF2-40B4-BE49-F238E27FC236}">
                  <a16:creationId xmlns:a16="http://schemas.microsoft.com/office/drawing/2014/main" id="{FDD06F3B-24B9-43D4-A226-CD59DDA53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6311" y="2855905"/>
              <a:ext cx="39380" cy="53435"/>
            </a:xfrm>
            <a:custGeom>
              <a:avLst/>
              <a:gdLst>
                <a:gd name="T0" fmla="*/ 24 w 31"/>
                <a:gd name="T1" fmla="*/ 38 h 42"/>
                <a:gd name="T2" fmla="*/ 24 w 31"/>
                <a:gd name="T3" fmla="*/ 38 h 42"/>
                <a:gd name="T4" fmla="*/ 17 w 31"/>
                <a:gd name="T5" fmla="*/ 42 h 42"/>
                <a:gd name="T6" fmla="*/ 5 w 31"/>
                <a:gd name="T7" fmla="*/ 38 h 42"/>
                <a:gd name="T8" fmla="*/ 0 w 31"/>
                <a:gd name="T9" fmla="*/ 31 h 42"/>
                <a:gd name="T10" fmla="*/ 2 w 31"/>
                <a:gd name="T11" fmla="*/ 19 h 42"/>
                <a:gd name="T12" fmla="*/ 7 w 31"/>
                <a:gd name="T13" fmla="*/ 9 h 42"/>
                <a:gd name="T14" fmla="*/ 17 w 31"/>
                <a:gd name="T15" fmla="*/ 5 h 42"/>
                <a:gd name="T16" fmla="*/ 26 w 31"/>
                <a:gd name="T17" fmla="*/ 0 h 42"/>
                <a:gd name="T18" fmla="*/ 28 w 31"/>
                <a:gd name="T19" fmla="*/ 5 h 42"/>
                <a:gd name="T20" fmla="*/ 31 w 31"/>
                <a:gd name="T21" fmla="*/ 12 h 42"/>
                <a:gd name="T22" fmla="*/ 31 w 31"/>
                <a:gd name="T23" fmla="*/ 19 h 42"/>
                <a:gd name="T24" fmla="*/ 28 w 31"/>
                <a:gd name="T25" fmla="*/ 24 h 42"/>
                <a:gd name="T26" fmla="*/ 28 w 31"/>
                <a:gd name="T27" fmla="*/ 26 h 42"/>
                <a:gd name="T28" fmla="*/ 28 w 31"/>
                <a:gd name="T29" fmla="*/ 26 h 42"/>
                <a:gd name="T30" fmla="*/ 28 w 31"/>
                <a:gd name="T31" fmla="*/ 28 h 42"/>
                <a:gd name="T32" fmla="*/ 28 w 31"/>
                <a:gd name="T33" fmla="*/ 28 h 42"/>
                <a:gd name="T34" fmla="*/ 24 w 31"/>
                <a:gd name="T35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42">
                  <a:moveTo>
                    <a:pt x="24" y="38"/>
                  </a:moveTo>
                  <a:lnTo>
                    <a:pt x="24" y="38"/>
                  </a:lnTo>
                  <a:lnTo>
                    <a:pt x="17" y="42"/>
                  </a:lnTo>
                  <a:lnTo>
                    <a:pt x="5" y="38"/>
                  </a:lnTo>
                  <a:lnTo>
                    <a:pt x="0" y="31"/>
                  </a:lnTo>
                  <a:lnTo>
                    <a:pt x="2" y="19"/>
                  </a:lnTo>
                  <a:lnTo>
                    <a:pt x="7" y="9"/>
                  </a:lnTo>
                  <a:lnTo>
                    <a:pt x="17" y="5"/>
                  </a:lnTo>
                  <a:lnTo>
                    <a:pt x="26" y="0"/>
                  </a:lnTo>
                  <a:lnTo>
                    <a:pt x="28" y="5"/>
                  </a:lnTo>
                  <a:lnTo>
                    <a:pt x="31" y="12"/>
                  </a:lnTo>
                  <a:lnTo>
                    <a:pt x="31" y="19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Freeform 8">
              <a:extLst>
                <a:ext uri="{FF2B5EF4-FFF2-40B4-BE49-F238E27FC236}">
                  <a16:creationId xmlns:a16="http://schemas.microsoft.com/office/drawing/2014/main" id="{E9261506-6D68-4D08-896A-7D39204F52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6311" y="2855905"/>
              <a:ext cx="39380" cy="53435"/>
            </a:xfrm>
            <a:custGeom>
              <a:avLst/>
              <a:gdLst>
                <a:gd name="T0" fmla="*/ 24 w 31"/>
                <a:gd name="T1" fmla="*/ 38 h 42"/>
                <a:gd name="T2" fmla="*/ 24 w 31"/>
                <a:gd name="T3" fmla="*/ 38 h 42"/>
                <a:gd name="T4" fmla="*/ 17 w 31"/>
                <a:gd name="T5" fmla="*/ 42 h 42"/>
                <a:gd name="T6" fmla="*/ 5 w 31"/>
                <a:gd name="T7" fmla="*/ 38 h 42"/>
                <a:gd name="T8" fmla="*/ 0 w 31"/>
                <a:gd name="T9" fmla="*/ 31 h 42"/>
                <a:gd name="T10" fmla="*/ 2 w 31"/>
                <a:gd name="T11" fmla="*/ 19 h 42"/>
                <a:gd name="T12" fmla="*/ 7 w 31"/>
                <a:gd name="T13" fmla="*/ 9 h 42"/>
                <a:gd name="T14" fmla="*/ 17 w 31"/>
                <a:gd name="T15" fmla="*/ 5 h 42"/>
                <a:gd name="T16" fmla="*/ 26 w 31"/>
                <a:gd name="T17" fmla="*/ 0 h 42"/>
                <a:gd name="T18" fmla="*/ 28 w 31"/>
                <a:gd name="T19" fmla="*/ 5 h 42"/>
                <a:gd name="T20" fmla="*/ 31 w 31"/>
                <a:gd name="T21" fmla="*/ 12 h 42"/>
                <a:gd name="T22" fmla="*/ 31 w 31"/>
                <a:gd name="T23" fmla="*/ 19 h 42"/>
                <a:gd name="T24" fmla="*/ 28 w 31"/>
                <a:gd name="T25" fmla="*/ 24 h 42"/>
                <a:gd name="T26" fmla="*/ 28 w 31"/>
                <a:gd name="T27" fmla="*/ 26 h 42"/>
                <a:gd name="T28" fmla="*/ 28 w 31"/>
                <a:gd name="T29" fmla="*/ 26 h 42"/>
                <a:gd name="T30" fmla="*/ 28 w 31"/>
                <a:gd name="T31" fmla="*/ 28 h 42"/>
                <a:gd name="T32" fmla="*/ 28 w 31"/>
                <a:gd name="T33" fmla="*/ 28 h 42"/>
                <a:gd name="T34" fmla="*/ 24 w 31"/>
                <a:gd name="T35" fmla="*/ 3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42">
                  <a:moveTo>
                    <a:pt x="24" y="38"/>
                  </a:moveTo>
                  <a:lnTo>
                    <a:pt x="24" y="38"/>
                  </a:lnTo>
                  <a:lnTo>
                    <a:pt x="17" y="42"/>
                  </a:lnTo>
                  <a:lnTo>
                    <a:pt x="5" y="38"/>
                  </a:lnTo>
                  <a:lnTo>
                    <a:pt x="0" y="31"/>
                  </a:lnTo>
                  <a:lnTo>
                    <a:pt x="2" y="19"/>
                  </a:lnTo>
                  <a:lnTo>
                    <a:pt x="7" y="9"/>
                  </a:lnTo>
                  <a:lnTo>
                    <a:pt x="17" y="5"/>
                  </a:lnTo>
                  <a:lnTo>
                    <a:pt x="26" y="0"/>
                  </a:lnTo>
                  <a:lnTo>
                    <a:pt x="28" y="5"/>
                  </a:lnTo>
                  <a:lnTo>
                    <a:pt x="31" y="12"/>
                  </a:lnTo>
                  <a:lnTo>
                    <a:pt x="31" y="19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8"/>
                  </a:lnTo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Freeform 9">
              <a:extLst>
                <a:ext uri="{FF2B5EF4-FFF2-40B4-BE49-F238E27FC236}">
                  <a16:creationId xmlns:a16="http://schemas.microsoft.com/office/drawing/2014/main" id="{0B14858F-2C99-46A1-A052-2061E2B9A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930" y="3976633"/>
              <a:ext cx="4220" cy="2812"/>
            </a:xfrm>
            <a:custGeom>
              <a:avLst/>
              <a:gdLst>
                <a:gd name="T0" fmla="*/ 4 w 4"/>
                <a:gd name="T1" fmla="*/ 3 h 3"/>
                <a:gd name="T2" fmla="*/ 4 w 4"/>
                <a:gd name="T3" fmla="*/ 3 h 3"/>
                <a:gd name="T4" fmla="*/ 0 w 4"/>
                <a:gd name="T5" fmla="*/ 3 h 3"/>
                <a:gd name="T6" fmla="*/ 0 w 4"/>
                <a:gd name="T7" fmla="*/ 3 h 3"/>
                <a:gd name="T8" fmla="*/ 0 w 4"/>
                <a:gd name="T9" fmla="*/ 0 h 3"/>
                <a:gd name="T10" fmla="*/ 2 w 4"/>
                <a:gd name="T11" fmla="*/ 0 h 3"/>
                <a:gd name="T12" fmla="*/ 4 w 4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Freeform 10">
              <a:extLst>
                <a:ext uri="{FF2B5EF4-FFF2-40B4-BE49-F238E27FC236}">
                  <a16:creationId xmlns:a16="http://schemas.microsoft.com/office/drawing/2014/main" id="{F033BE20-BD86-484C-B90A-DB095827B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930" y="3976633"/>
              <a:ext cx="4220" cy="2812"/>
            </a:xfrm>
            <a:custGeom>
              <a:avLst/>
              <a:gdLst>
                <a:gd name="T0" fmla="*/ 4 w 4"/>
                <a:gd name="T1" fmla="*/ 3 h 3"/>
                <a:gd name="T2" fmla="*/ 4 w 4"/>
                <a:gd name="T3" fmla="*/ 3 h 3"/>
                <a:gd name="T4" fmla="*/ 0 w 4"/>
                <a:gd name="T5" fmla="*/ 3 h 3"/>
                <a:gd name="T6" fmla="*/ 0 w 4"/>
                <a:gd name="T7" fmla="*/ 3 h 3"/>
                <a:gd name="T8" fmla="*/ 0 w 4"/>
                <a:gd name="T9" fmla="*/ 0 h 3"/>
                <a:gd name="T10" fmla="*/ 2 w 4"/>
                <a:gd name="T11" fmla="*/ 0 h 3"/>
                <a:gd name="T12" fmla="*/ 4 w 4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3"/>
                  </a:lnTo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 11">
              <a:extLst>
                <a:ext uri="{FF2B5EF4-FFF2-40B4-BE49-F238E27FC236}">
                  <a16:creationId xmlns:a16="http://schemas.microsoft.com/office/drawing/2014/main" id="{41C304E7-E63C-45E3-8074-45FAB2D37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3381" y="1736583"/>
              <a:ext cx="33755" cy="23905"/>
            </a:xfrm>
            <a:custGeom>
              <a:avLst/>
              <a:gdLst>
                <a:gd name="T0" fmla="*/ 14 w 26"/>
                <a:gd name="T1" fmla="*/ 19 h 19"/>
                <a:gd name="T2" fmla="*/ 14 w 26"/>
                <a:gd name="T3" fmla="*/ 19 h 19"/>
                <a:gd name="T4" fmla="*/ 4 w 26"/>
                <a:gd name="T5" fmla="*/ 19 h 19"/>
                <a:gd name="T6" fmla="*/ 0 w 26"/>
                <a:gd name="T7" fmla="*/ 16 h 19"/>
                <a:gd name="T8" fmla="*/ 2 w 26"/>
                <a:gd name="T9" fmla="*/ 9 h 19"/>
                <a:gd name="T10" fmla="*/ 2 w 26"/>
                <a:gd name="T11" fmla="*/ 0 h 19"/>
                <a:gd name="T12" fmla="*/ 7 w 26"/>
                <a:gd name="T13" fmla="*/ 2 h 19"/>
                <a:gd name="T14" fmla="*/ 9 w 26"/>
                <a:gd name="T15" fmla="*/ 2 h 19"/>
                <a:gd name="T16" fmla="*/ 12 w 26"/>
                <a:gd name="T17" fmla="*/ 2 h 19"/>
                <a:gd name="T18" fmla="*/ 14 w 26"/>
                <a:gd name="T19" fmla="*/ 5 h 19"/>
                <a:gd name="T20" fmla="*/ 16 w 26"/>
                <a:gd name="T21" fmla="*/ 5 h 19"/>
                <a:gd name="T22" fmla="*/ 19 w 26"/>
                <a:gd name="T23" fmla="*/ 5 h 19"/>
                <a:gd name="T24" fmla="*/ 19 w 26"/>
                <a:gd name="T25" fmla="*/ 5 h 19"/>
                <a:gd name="T26" fmla="*/ 19 w 26"/>
                <a:gd name="T27" fmla="*/ 5 h 19"/>
                <a:gd name="T28" fmla="*/ 21 w 26"/>
                <a:gd name="T29" fmla="*/ 5 h 19"/>
                <a:gd name="T30" fmla="*/ 21 w 26"/>
                <a:gd name="T31" fmla="*/ 7 h 19"/>
                <a:gd name="T32" fmla="*/ 21 w 26"/>
                <a:gd name="T33" fmla="*/ 7 h 19"/>
                <a:gd name="T34" fmla="*/ 23 w 26"/>
                <a:gd name="T35" fmla="*/ 7 h 19"/>
                <a:gd name="T36" fmla="*/ 23 w 26"/>
                <a:gd name="T37" fmla="*/ 7 h 19"/>
                <a:gd name="T38" fmla="*/ 26 w 26"/>
                <a:gd name="T39" fmla="*/ 7 h 19"/>
                <a:gd name="T40" fmla="*/ 26 w 26"/>
                <a:gd name="T41" fmla="*/ 9 h 19"/>
                <a:gd name="T42" fmla="*/ 26 w 26"/>
                <a:gd name="T43" fmla="*/ 12 h 19"/>
                <a:gd name="T44" fmla="*/ 23 w 26"/>
                <a:gd name="T45" fmla="*/ 12 h 19"/>
                <a:gd name="T46" fmla="*/ 23 w 26"/>
                <a:gd name="T47" fmla="*/ 12 h 19"/>
                <a:gd name="T48" fmla="*/ 19 w 26"/>
                <a:gd name="T49" fmla="*/ 14 h 19"/>
                <a:gd name="T50" fmla="*/ 14 w 26"/>
                <a:gd name="T5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19">
                  <a:moveTo>
                    <a:pt x="14" y="19"/>
                  </a:moveTo>
                  <a:lnTo>
                    <a:pt x="14" y="19"/>
                  </a:lnTo>
                  <a:lnTo>
                    <a:pt x="4" y="19"/>
                  </a:lnTo>
                  <a:lnTo>
                    <a:pt x="0" y="16"/>
                  </a:lnTo>
                  <a:lnTo>
                    <a:pt x="2" y="9"/>
                  </a:lnTo>
                  <a:lnTo>
                    <a:pt x="2" y="0"/>
                  </a:lnTo>
                  <a:lnTo>
                    <a:pt x="7" y="2"/>
                  </a:lnTo>
                  <a:lnTo>
                    <a:pt x="9" y="2"/>
                  </a:lnTo>
                  <a:lnTo>
                    <a:pt x="12" y="2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6" y="7"/>
                  </a:lnTo>
                  <a:lnTo>
                    <a:pt x="26" y="9"/>
                  </a:lnTo>
                  <a:lnTo>
                    <a:pt x="26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19" y="14"/>
                  </a:lnTo>
                  <a:lnTo>
                    <a:pt x="14" y="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Freeform 12">
              <a:extLst>
                <a:ext uri="{FF2B5EF4-FFF2-40B4-BE49-F238E27FC236}">
                  <a16:creationId xmlns:a16="http://schemas.microsoft.com/office/drawing/2014/main" id="{C05EC1D6-5C80-4C80-A9BD-BC138E811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3381" y="1736583"/>
              <a:ext cx="33755" cy="23905"/>
            </a:xfrm>
            <a:custGeom>
              <a:avLst/>
              <a:gdLst>
                <a:gd name="T0" fmla="*/ 14 w 26"/>
                <a:gd name="T1" fmla="*/ 19 h 19"/>
                <a:gd name="T2" fmla="*/ 14 w 26"/>
                <a:gd name="T3" fmla="*/ 19 h 19"/>
                <a:gd name="T4" fmla="*/ 4 w 26"/>
                <a:gd name="T5" fmla="*/ 19 h 19"/>
                <a:gd name="T6" fmla="*/ 0 w 26"/>
                <a:gd name="T7" fmla="*/ 16 h 19"/>
                <a:gd name="T8" fmla="*/ 2 w 26"/>
                <a:gd name="T9" fmla="*/ 9 h 19"/>
                <a:gd name="T10" fmla="*/ 2 w 26"/>
                <a:gd name="T11" fmla="*/ 0 h 19"/>
                <a:gd name="T12" fmla="*/ 7 w 26"/>
                <a:gd name="T13" fmla="*/ 2 h 19"/>
                <a:gd name="T14" fmla="*/ 9 w 26"/>
                <a:gd name="T15" fmla="*/ 2 h 19"/>
                <a:gd name="T16" fmla="*/ 12 w 26"/>
                <a:gd name="T17" fmla="*/ 2 h 19"/>
                <a:gd name="T18" fmla="*/ 14 w 26"/>
                <a:gd name="T19" fmla="*/ 5 h 19"/>
                <a:gd name="T20" fmla="*/ 16 w 26"/>
                <a:gd name="T21" fmla="*/ 5 h 19"/>
                <a:gd name="T22" fmla="*/ 19 w 26"/>
                <a:gd name="T23" fmla="*/ 5 h 19"/>
                <a:gd name="T24" fmla="*/ 19 w 26"/>
                <a:gd name="T25" fmla="*/ 5 h 19"/>
                <a:gd name="T26" fmla="*/ 19 w 26"/>
                <a:gd name="T27" fmla="*/ 5 h 19"/>
                <a:gd name="T28" fmla="*/ 21 w 26"/>
                <a:gd name="T29" fmla="*/ 5 h 19"/>
                <a:gd name="T30" fmla="*/ 21 w 26"/>
                <a:gd name="T31" fmla="*/ 7 h 19"/>
                <a:gd name="T32" fmla="*/ 21 w 26"/>
                <a:gd name="T33" fmla="*/ 7 h 19"/>
                <a:gd name="T34" fmla="*/ 23 w 26"/>
                <a:gd name="T35" fmla="*/ 7 h 19"/>
                <a:gd name="T36" fmla="*/ 23 w 26"/>
                <a:gd name="T37" fmla="*/ 7 h 19"/>
                <a:gd name="T38" fmla="*/ 26 w 26"/>
                <a:gd name="T39" fmla="*/ 7 h 19"/>
                <a:gd name="T40" fmla="*/ 26 w 26"/>
                <a:gd name="T41" fmla="*/ 9 h 19"/>
                <a:gd name="T42" fmla="*/ 26 w 26"/>
                <a:gd name="T43" fmla="*/ 12 h 19"/>
                <a:gd name="T44" fmla="*/ 23 w 26"/>
                <a:gd name="T45" fmla="*/ 12 h 19"/>
                <a:gd name="T46" fmla="*/ 23 w 26"/>
                <a:gd name="T47" fmla="*/ 12 h 19"/>
                <a:gd name="T48" fmla="*/ 19 w 26"/>
                <a:gd name="T49" fmla="*/ 14 h 19"/>
                <a:gd name="T50" fmla="*/ 14 w 26"/>
                <a:gd name="T5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19">
                  <a:moveTo>
                    <a:pt x="14" y="19"/>
                  </a:moveTo>
                  <a:lnTo>
                    <a:pt x="14" y="19"/>
                  </a:lnTo>
                  <a:lnTo>
                    <a:pt x="4" y="19"/>
                  </a:lnTo>
                  <a:lnTo>
                    <a:pt x="0" y="16"/>
                  </a:lnTo>
                  <a:lnTo>
                    <a:pt x="2" y="9"/>
                  </a:lnTo>
                  <a:lnTo>
                    <a:pt x="2" y="0"/>
                  </a:lnTo>
                  <a:lnTo>
                    <a:pt x="7" y="2"/>
                  </a:lnTo>
                  <a:lnTo>
                    <a:pt x="9" y="2"/>
                  </a:lnTo>
                  <a:lnTo>
                    <a:pt x="12" y="2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6" y="7"/>
                  </a:lnTo>
                  <a:lnTo>
                    <a:pt x="26" y="9"/>
                  </a:lnTo>
                  <a:lnTo>
                    <a:pt x="26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19" y="14"/>
                  </a:lnTo>
                  <a:lnTo>
                    <a:pt x="14" y="19"/>
                  </a:lnTo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Freeform 13">
              <a:extLst>
                <a:ext uri="{FF2B5EF4-FFF2-40B4-BE49-F238E27FC236}">
                  <a16:creationId xmlns:a16="http://schemas.microsoft.com/office/drawing/2014/main" id="{166FB6F6-2ECC-4267-BC69-A394043FF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2072" y="2349679"/>
              <a:ext cx="1406446" cy="655281"/>
            </a:xfrm>
            <a:custGeom>
              <a:avLst/>
              <a:gdLst>
                <a:gd name="T0" fmla="*/ 906 w 1107"/>
                <a:gd name="T1" fmla="*/ 57 h 516"/>
                <a:gd name="T2" fmla="*/ 951 w 1107"/>
                <a:gd name="T3" fmla="*/ 249 h 516"/>
                <a:gd name="T4" fmla="*/ 1024 w 1107"/>
                <a:gd name="T5" fmla="*/ 343 h 516"/>
                <a:gd name="T6" fmla="*/ 1102 w 1107"/>
                <a:gd name="T7" fmla="*/ 412 h 516"/>
                <a:gd name="T8" fmla="*/ 1095 w 1107"/>
                <a:gd name="T9" fmla="*/ 440 h 516"/>
                <a:gd name="T10" fmla="*/ 1074 w 1107"/>
                <a:gd name="T11" fmla="*/ 452 h 516"/>
                <a:gd name="T12" fmla="*/ 1055 w 1107"/>
                <a:gd name="T13" fmla="*/ 440 h 516"/>
                <a:gd name="T14" fmla="*/ 1031 w 1107"/>
                <a:gd name="T15" fmla="*/ 426 h 516"/>
                <a:gd name="T16" fmla="*/ 979 w 1107"/>
                <a:gd name="T17" fmla="*/ 419 h 516"/>
                <a:gd name="T18" fmla="*/ 932 w 1107"/>
                <a:gd name="T19" fmla="*/ 438 h 516"/>
                <a:gd name="T20" fmla="*/ 923 w 1107"/>
                <a:gd name="T21" fmla="*/ 514 h 516"/>
                <a:gd name="T22" fmla="*/ 830 w 1107"/>
                <a:gd name="T23" fmla="*/ 497 h 516"/>
                <a:gd name="T24" fmla="*/ 785 w 1107"/>
                <a:gd name="T25" fmla="*/ 457 h 516"/>
                <a:gd name="T26" fmla="*/ 774 w 1107"/>
                <a:gd name="T27" fmla="*/ 424 h 516"/>
                <a:gd name="T28" fmla="*/ 792 w 1107"/>
                <a:gd name="T29" fmla="*/ 381 h 516"/>
                <a:gd name="T30" fmla="*/ 764 w 1107"/>
                <a:gd name="T31" fmla="*/ 381 h 516"/>
                <a:gd name="T32" fmla="*/ 748 w 1107"/>
                <a:gd name="T33" fmla="*/ 365 h 516"/>
                <a:gd name="T34" fmla="*/ 700 w 1107"/>
                <a:gd name="T35" fmla="*/ 355 h 516"/>
                <a:gd name="T36" fmla="*/ 677 w 1107"/>
                <a:gd name="T37" fmla="*/ 353 h 516"/>
                <a:gd name="T38" fmla="*/ 629 w 1107"/>
                <a:gd name="T39" fmla="*/ 384 h 516"/>
                <a:gd name="T40" fmla="*/ 646 w 1107"/>
                <a:gd name="T41" fmla="*/ 398 h 516"/>
                <a:gd name="T42" fmla="*/ 570 w 1107"/>
                <a:gd name="T43" fmla="*/ 410 h 516"/>
                <a:gd name="T44" fmla="*/ 565 w 1107"/>
                <a:gd name="T45" fmla="*/ 405 h 516"/>
                <a:gd name="T46" fmla="*/ 535 w 1107"/>
                <a:gd name="T47" fmla="*/ 426 h 516"/>
                <a:gd name="T48" fmla="*/ 457 w 1107"/>
                <a:gd name="T49" fmla="*/ 410 h 516"/>
                <a:gd name="T50" fmla="*/ 409 w 1107"/>
                <a:gd name="T51" fmla="*/ 398 h 516"/>
                <a:gd name="T52" fmla="*/ 345 w 1107"/>
                <a:gd name="T53" fmla="*/ 370 h 516"/>
                <a:gd name="T54" fmla="*/ 281 w 1107"/>
                <a:gd name="T55" fmla="*/ 348 h 516"/>
                <a:gd name="T56" fmla="*/ 253 w 1107"/>
                <a:gd name="T57" fmla="*/ 315 h 516"/>
                <a:gd name="T58" fmla="*/ 192 w 1107"/>
                <a:gd name="T59" fmla="*/ 317 h 516"/>
                <a:gd name="T60" fmla="*/ 161 w 1107"/>
                <a:gd name="T61" fmla="*/ 353 h 516"/>
                <a:gd name="T62" fmla="*/ 123 w 1107"/>
                <a:gd name="T63" fmla="*/ 334 h 516"/>
                <a:gd name="T64" fmla="*/ 83 w 1107"/>
                <a:gd name="T65" fmla="*/ 343 h 516"/>
                <a:gd name="T66" fmla="*/ 95 w 1107"/>
                <a:gd name="T67" fmla="*/ 306 h 516"/>
                <a:gd name="T68" fmla="*/ 64 w 1107"/>
                <a:gd name="T69" fmla="*/ 270 h 516"/>
                <a:gd name="T70" fmla="*/ 21 w 1107"/>
                <a:gd name="T71" fmla="*/ 270 h 516"/>
                <a:gd name="T72" fmla="*/ 12 w 1107"/>
                <a:gd name="T73" fmla="*/ 235 h 516"/>
                <a:gd name="T74" fmla="*/ 28 w 1107"/>
                <a:gd name="T75" fmla="*/ 230 h 516"/>
                <a:gd name="T76" fmla="*/ 31 w 1107"/>
                <a:gd name="T77" fmla="*/ 194 h 516"/>
                <a:gd name="T78" fmla="*/ 24 w 1107"/>
                <a:gd name="T79" fmla="*/ 149 h 516"/>
                <a:gd name="T80" fmla="*/ 45 w 1107"/>
                <a:gd name="T81" fmla="*/ 60 h 516"/>
                <a:gd name="T82" fmla="*/ 80 w 1107"/>
                <a:gd name="T83" fmla="*/ 36 h 516"/>
                <a:gd name="T84" fmla="*/ 109 w 1107"/>
                <a:gd name="T85" fmla="*/ 48 h 516"/>
                <a:gd name="T86" fmla="*/ 149 w 1107"/>
                <a:gd name="T87" fmla="*/ 41 h 516"/>
                <a:gd name="T88" fmla="*/ 182 w 1107"/>
                <a:gd name="T89" fmla="*/ 29 h 516"/>
                <a:gd name="T90" fmla="*/ 241 w 1107"/>
                <a:gd name="T91" fmla="*/ 57 h 516"/>
                <a:gd name="T92" fmla="*/ 357 w 1107"/>
                <a:gd name="T93" fmla="*/ 86 h 516"/>
                <a:gd name="T94" fmla="*/ 438 w 1107"/>
                <a:gd name="T95" fmla="*/ 52 h 516"/>
                <a:gd name="T96" fmla="*/ 449 w 1107"/>
                <a:gd name="T97" fmla="*/ 69 h 516"/>
                <a:gd name="T98" fmla="*/ 516 w 1107"/>
                <a:gd name="T99" fmla="*/ 64 h 516"/>
                <a:gd name="T100" fmla="*/ 570 w 1107"/>
                <a:gd name="T101" fmla="*/ 57 h 516"/>
                <a:gd name="T102" fmla="*/ 648 w 1107"/>
                <a:gd name="T103" fmla="*/ 41 h 516"/>
                <a:gd name="T104" fmla="*/ 736 w 1107"/>
                <a:gd name="T105" fmla="*/ 36 h 516"/>
                <a:gd name="T106" fmla="*/ 785 w 1107"/>
                <a:gd name="T107" fmla="*/ 5 h 516"/>
                <a:gd name="T108" fmla="*/ 854 w 1107"/>
                <a:gd name="T109" fmla="*/ 8 h 516"/>
                <a:gd name="T110" fmla="*/ 889 w 1107"/>
                <a:gd name="T111" fmla="*/ 15 h 516"/>
                <a:gd name="T112" fmla="*/ 906 w 1107"/>
                <a:gd name="T113" fmla="*/ 17 h 516"/>
                <a:gd name="T114" fmla="*/ 920 w 1107"/>
                <a:gd name="T115" fmla="*/ 41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07" h="516">
                  <a:moveTo>
                    <a:pt x="930" y="55"/>
                  </a:moveTo>
                  <a:lnTo>
                    <a:pt x="930" y="55"/>
                  </a:lnTo>
                  <a:lnTo>
                    <a:pt x="934" y="57"/>
                  </a:lnTo>
                  <a:lnTo>
                    <a:pt x="944" y="64"/>
                  </a:lnTo>
                  <a:lnTo>
                    <a:pt x="939" y="64"/>
                  </a:lnTo>
                  <a:lnTo>
                    <a:pt x="934" y="60"/>
                  </a:lnTo>
                  <a:lnTo>
                    <a:pt x="930" y="57"/>
                  </a:lnTo>
                  <a:lnTo>
                    <a:pt x="920" y="50"/>
                  </a:lnTo>
                  <a:lnTo>
                    <a:pt x="916" y="45"/>
                  </a:lnTo>
                  <a:lnTo>
                    <a:pt x="911" y="48"/>
                  </a:lnTo>
                  <a:lnTo>
                    <a:pt x="906" y="55"/>
                  </a:lnTo>
                  <a:lnTo>
                    <a:pt x="906" y="57"/>
                  </a:lnTo>
                  <a:lnTo>
                    <a:pt x="908" y="57"/>
                  </a:lnTo>
                  <a:lnTo>
                    <a:pt x="906" y="88"/>
                  </a:lnTo>
                  <a:lnTo>
                    <a:pt x="906" y="105"/>
                  </a:lnTo>
                  <a:lnTo>
                    <a:pt x="911" y="123"/>
                  </a:lnTo>
                  <a:lnTo>
                    <a:pt x="918" y="135"/>
                  </a:lnTo>
                  <a:lnTo>
                    <a:pt x="920" y="142"/>
                  </a:lnTo>
                  <a:lnTo>
                    <a:pt x="923" y="145"/>
                  </a:lnTo>
                  <a:lnTo>
                    <a:pt x="925" y="149"/>
                  </a:lnTo>
                  <a:lnTo>
                    <a:pt x="927" y="178"/>
                  </a:lnTo>
                  <a:lnTo>
                    <a:pt x="932" y="197"/>
                  </a:lnTo>
                  <a:lnTo>
                    <a:pt x="946" y="239"/>
                  </a:lnTo>
                  <a:lnTo>
                    <a:pt x="951" y="249"/>
                  </a:lnTo>
                  <a:lnTo>
                    <a:pt x="951" y="251"/>
                  </a:lnTo>
                  <a:lnTo>
                    <a:pt x="953" y="254"/>
                  </a:lnTo>
                  <a:lnTo>
                    <a:pt x="958" y="261"/>
                  </a:lnTo>
                  <a:lnTo>
                    <a:pt x="958" y="261"/>
                  </a:lnTo>
                  <a:lnTo>
                    <a:pt x="960" y="270"/>
                  </a:lnTo>
                  <a:lnTo>
                    <a:pt x="965" y="280"/>
                  </a:lnTo>
                  <a:lnTo>
                    <a:pt x="972" y="294"/>
                  </a:lnTo>
                  <a:lnTo>
                    <a:pt x="979" y="303"/>
                  </a:lnTo>
                  <a:lnTo>
                    <a:pt x="991" y="315"/>
                  </a:lnTo>
                  <a:lnTo>
                    <a:pt x="1005" y="325"/>
                  </a:lnTo>
                  <a:lnTo>
                    <a:pt x="1013" y="336"/>
                  </a:lnTo>
                  <a:lnTo>
                    <a:pt x="1024" y="343"/>
                  </a:lnTo>
                  <a:lnTo>
                    <a:pt x="1036" y="351"/>
                  </a:lnTo>
                  <a:lnTo>
                    <a:pt x="1043" y="353"/>
                  </a:lnTo>
                  <a:lnTo>
                    <a:pt x="1065" y="374"/>
                  </a:lnTo>
                  <a:lnTo>
                    <a:pt x="1076" y="381"/>
                  </a:lnTo>
                  <a:lnTo>
                    <a:pt x="1086" y="388"/>
                  </a:lnTo>
                  <a:lnTo>
                    <a:pt x="1093" y="391"/>
                  </a:lnTo>
                  <a:lnTo>
                    <a:pt x="1105" y="393"/>
                  </a:lnTo>
                  <a:lnTo>
                    <a:pt x="1105" y="393"/>
                  </a:lnTo>
                  <a:lnTo>
                    <a:pt x="1105" y="398"/>
                  </a:lnTo>
                  <a:lnTo>
                    <a:pt x="1102" y="407"/>
                  </a:lnTo>
                  <a:lnTo>
                    <a:pt x="1102" y="412"/>
                  </a:lnTo>
                  <a:lnTo>
                    <a:pt x="1102" y="412"/>
                  </a:lnTo>
                  <a:lnTo>
                    <a:pt x="1102" y="414"/>
                  </a:lnTo>
                  <a:lnTo>
                    <a:pt x="1105" y="417"/>
                  </a:lnTo>
                  <a:lnTo>
                    <a:pt x="1105" y="417"/>
                  </a:lnTo>
                  <a:lnTo>
                    <a:pt x="1105" y="422"/>
                  </a:lnTo>
                  <a:lnTo>
                    <a:pt x="1107" y="422"/>
                  </a:lnTo>
                  <a:lnTo>
                    <a:pt x="1107" y="424"/>
                  </a:lnTo>
                  <a:lnTo>
                    <a:pt x="1107" y="424"/>
                  </a:lnTo>
                  <a:lnTo>
                    <a:pt x="1105" y="431"/>
                  </a:lnTo>
                  <a:lnTo>
                    <a:pt x="1105" y="433"/>
                  </a:lnTo>
                  <a:lnTo>
                    <a:pt x="1102" y="436"/>
                  </a:lnTo>
                  <a:lnTo>
                    <a:pt x="1102" y="436"/>
                  </a:lnTo>
                  <a:lnTo>
                    <a:pt x="1095" y="440"/>
                  </a:lnTo>
                  <a:lnTo>
                    <a:pt x="1095" y="440"/>
                  </a:lnTo>
                  <a:lnTo>
                    <a:pt x="1095" y="443"/>
                  </a:lnTo>
                  <a:lnTo>
                    <a:pt x="1093" y="443"/>
                  </a:lnTo>
                  <a:lnTo>
                    <a:pt x="1093" y="445"/>
                  </a:lnTo>
                  <a:lnTo>
                    <a:pt x="1093" y="448"/>
                  </a:lnTo>
                  <a:lnTo>
                    <a:pt x="1093" y="450"/>
                  </a:lnTo>
                  <a:lnTo>
                    <a:pt x="1091" y="450"/>
                  </a:lnTo>
                  <a:lnTo>
                    <a:pt x="1091" y="450"/>
                  </a:lnTo>
                  <a:lnTo>
                    <a:pt x="1088" y="452"/>
                  </a:lnTo>
                  <a:lnTo>
                    <a:pt x="1079" y="452"/>
                  </a:lnTo>
                  <a:lnTo>
                    <a:pt x="1076" y="452"/>
                  </a:lnTo>
                  <a:lnTo>
                    <a:pt x="1074" y="452"/>
                  </a:lnTo>
                  <a:lnTo>
                    <a:pt x="1072" y="450"/>
                  </a:lnTo>
                  <a:lnTo>
                    <a:pt x="1072" y="448"/>
                  </a:lnTo>
                  <a:lnTo>
                    <a:pt x="1067" y="443"/>
                  </a:lnTo>
                  <a:lnTo>
                    <a:pt x="1067" y="440"/>
                  </a:lnTo>
                  <a:lnTo>
                    <a:pt x="1065" y="436"/>
                  </a:lnTo>
                  <a:lnTo>
                    <a:pt x="1062" y="433"/>
                  </a:lnTo>
                  <a:lnTo>
                    <a:pt x="1060" y="433"/>
                  </a:lnTo>
                  <a:lnTo>
                    <a:pt x="1060" y="433"/>
                  </a:lnTo>
                  <a:lnTo>
                    <a:pt x="1057" y="436"/>
                  </a:lnTo>
                  <a:lnTo>
                    <a:pt x="1055" y="436"/>
                  </a:lnTo>
                  <a:lnTo>
                    <a:pt x="1055" y="438"/>
                  </a:lnTo>
                  <a:lnTo>
                    <a:pt x="1055" y="440"/>
                  </a:lnTo>
                  <a:lnTo>
                    <a:pt x="1055" y="440"/>
                  </a:lnTo>
                  <a:lnTo>
                    <a:pt x="1055" y="443"/>
                  </a:lnTo>
                  <a:lnTo>
                    <a:pt x="1053" y="443"/>
                  </a:lnTo>
                  <a:lnTo>
                    <a:pt x="1053" y="443"/>
                  </a:lnTo>
                  <a:lnTo>
                    <a:pt x="1050" y="443"/>
                  </a:lnTo>
                  <a:lnTo>
                    <a:pt x="1050" y="440"/>
                  </a:lnTo>
                  <a:lnTo>
                    <a:pt x="1048" y="438"/>
                  </a:lnTo>
                  <a:lnTo>
                    <a:pt x="1048" y="436"/>
                  </a:lnTo>
                  <a:lnTo>
                    <a:pt x="1048" y="433"/>
                  </a:lnTo>
                  <a:lnTo>
                    <a:pt x="1046" y="431"/>
                  </a:lnTo>
                  <a:lnTo>
                    <a:pt x="1046" y="431"/>
                  </a:lnTo>
                  <a:lnTo>
                    <a:pt x="1031" y="426"/>
                  </a:lnTo>
                  <a:lnTo>
                    <a:pt x="1027" y="424"/>
                  </a:lnTo>
                  <a:lnTo>
                    <a:pt x="1029" y="419"/>
                  </a:lnTo>
                  <a:lnTo>
                    <a:pt x="1029" y="412"/>
                  </a:lnTo>
                  <a:lnTo>
                    <a:pt x="1027" y="405"/>
                  </a:lnTo>
                  <a:lnTo>
                    <a:pt x="1024" y="403"/>
                  </a:lnTo>
                  <a:lnTo>
                    <a:pt x="1015" y="405"/>
                  </a:lnTo>
                  <a:lnTo>
                    <a:pt x="1005" y="410"/>
                  </a:lnTo>
                  <a:lnTo>
                    <a:pt x="1003" y="414"/>
                  </a:lnTo>
                  <a:lnTo>
                    <a:pt x="996" y="412"/>
                  </a:lnTo>
                  <a:lnTo>
                    <a:pt x="996" y="412"/>
                  </a:lnTo>
                  <a:lnTo>
                    <a:pt x="991" y="412"/>
                  </a:lnTo>
                  <a:lnTo>
                    <a:pt x="979" y="419"/>
                  </a:lnTo>
                  <a:lnTo>
                    <a:pt x="979" y="419"/>
                  </a:lnTo>
                  <a:lnTo>
                    <a:pt x="977" y="419"/>
                  </a:lnTo>
                  <a:lnTo>
                    <a:pt x="972" y="422"/>
                  </a:lnTo>
                  <a:lnTo>
                    <a:pt x="968" y="429"/>
                  </a:lnTo>
                  <a:lnTo>
                    <a:pt x="956" y="438"/>
                  </a:lnTo>
                  <a:lnTo>
                    <a:pt x="953" y="438"/>
                  </a:lnTo>
                  <a:lnTo>
                    <a:pt x="951" y="438"/>
                  </a:lnTo>
                  <a:lnTo>
                    <a:pt x="951" y="438"/>
                  </a:lnTo>
                  <a:lnTo>
                    <a:pt x="939" y="440"/>
                  </a:lnTo>
                  <a:lnTo>
                    <a:pt x="939" y="440"/>
                  </a:lnTo>
                  <a:lnTo>
                    <a:pt x="934" y="438"/>
                  </a:lnTo>
                  <a:lnTo>
                    <a:pt x="932" y="438"/>
                  </a:lnTo>
                  <a:lnTo>
                    <a:pt x="932" y="438"/>
                  </a:lnTo>
                  <a:lnTo>
                    <a:pt x="932" y="438"/>
                  </a:lnTo>
                  <a:lnTo>
                    <a:pt x="930" y="440"/>
                  </a:lnTo>
                  <a:lnTo>
                    <a:pt x="930" y="443"/>
                  </a:lnTo>
                  <a:lnTo>
                    <a:pt x="932" y="445"/>
                  </a:lnTo>
                  <a:lnTo>
                    <a:pt x="932" y="452"/>
                  </a:lnTo>
                  <a:lnTo>
                    <a:pt x="932" y="455"/>
                  </a:lnTo>
                  <a:lnTo>
                    <a:pt x="932" y="481"/>
                  </a:lnTo>
                  <a:lnTo>
                    <a:pt x="930" y="485"/>
                  </a:lnTo>
                  <a:lnTo>
                    <a:pt x="925" y="493"/>
                  </a:lnTo>
                  <a:lnTo>
                    <a:pt x="925" y="497"/>
                  </a:lnTo>
                  <a:lnTo>
                    <a:pt x="923" y="514"/>
                  </a:lnTo>
                  <a:lnTo>
                    <a:pt x="918" y="516"/>
                  </a:lnTo>
                  <a:lnTo>
                    <a:pt x="913" y="516"/>
                  </a:lnTo>
                  <a:lnTo>
                    <a:pt x="882" y="514"/>
                  </a:lnTo>
                  <a:lnTo>
                    <a:pt x="878" y="511"/>
                  </a:lnTo>
                  <a:lnTo>
                    <a:pt x="871" y="507"/>
                  </a:lnTo>
                  <a:lnTo>
                    <a:pt x="866" y="502"/>
                  </a:lnTo>
                  <a:lnTo>
                    <a:pt x="854" y="500"/>
                  </a:lnTo>
                  <a:lnTo>
                    <a:pt x="852" y="500"/>
                  </a:lnTo>
                  <a:lnTo>
                    <a:pt x="837" y="500"/>
                  </a:lnTo>
                  <a:lnTo>
                    <a:pt x="835" y="500"/>
                  </a:lnTo>
                  <a:lnTo>
                    <a:pt x="833" y="500"/>
                  </a:lnTo>
                  <a:lnTo>
                    <a:pt x="830" y="497"/>
                  </a:lnTo>
                  <a:lnTo>
                    <a:pt x="826" y="495"/>
                  </a:lnTo>
                  <a:lnTo>
                    <a:pt x="823" y="493"/>
                  </a:lnTo>
                  <a:lnTo>
                    <a:pt x="821" y="490"/>
                  </a:lnTo>
                  <a:lnTo>
                    <a:pt x="804" y="483"/>
                  </a:lnTo>
                  <a:lnTo>
                    <a:pt x="802" y="481"/>
                  </a:lnTo>
                  <a:lnTo>
                    <a:pt x="797" y="478"/>
                  </a:lnTo>
                  <a:lnTo>
                    <a:pt x="795" y="464"/>
                  </a:lnTo>
                  <a:lnTo>
                    <a:pt x="792" y="462"/>
                  </a:lnTo>
                  <a:lnTo>
                    <a:pt x="792" y="459"/>
                  </a:lnTo>
                  <a:lnTo>
                    <a:pt x="790" y="459"/>
                  </a:lnTo>
                  <a:lnTo>
                    <a:pt x="788" y="457"/>
                  </a:lnTo>
                  <a:lnTo>
                    <a:pt x="785" y="457"/>
                  </a:lnTo>
                  <a:lnTo>
                    <a:pt x="785" y="455"/>
                  </a:lnTo>
                  <a:lnTo>
                    <a:pt x="785" y="448"/>
                  </a:lnTo>
                  <a:lnTo>
                    <a:pt x="785" y="445"/>
                  </a:lnTo>
                  <a:lnTo>
                    <a:pt x="783" y="445"/>
                  </a:lnTo>
                  <a:lnTo>
                    <a:pt x="776" y="440"/>
                  </a:lnTo>
                  <a:lnTo>
                    <a:pt x="774" y="438"/>
                  </a:lnTo>
                  <a:lnTo>
                    <a:pt x="774" y="436"/>
                  </a:lnTo>
                  <a:lnTo>
                    <a:pt x="774" y="433"/>
                  </a:lnTo>
                  <a:lnTo>
                    <a:pt x="774" y="431"/>
                  </a:lnTo>
                  <a:lnTo>
                    <a:pt x="771" y="426"/>
                  </a:lnTo>
                  <a:lnTo>
                    <a:pt x="771" y="424"/>
                  </a:lnTo>
                  <a:lnTo>
                    <a:pt x="774" y="424"/>
                  </a:lnTo>
                  <a:lnTo>
                    <a:pt x="774" y="422"/>
                  </a:lnTo>
                  <a:lnTo>
                    <a:pt x="778" y="422"/>
                  </a:lnTo>
                  <a:lnTo>
                    <a:pt x="781" y="419"/>
                  </a:lnTo>
                  <a:lnTo>
                    <a:pt x="781" y="419"/>
                  </a:lnTo>
                  <a:lnTo>
                    <a:pt x="783" y="414"/>
                  </a:lnTo>
                  <a:lnTo>
                    <a:pt x="783" y="412"/>
                  </a:lnTo>
                  <a:lnTo>
                    <a:pt x="785" y="407"/>
                  </a:lnTo>
                  <a:lnTo>
                    <a:pt x="790" y="400"/>
                  </a:lnTo>
                  <a:lnTo>
                    <a:pt x="790" y="398"/>
                  </a:lnTo>
                  <a:lnTo>
                    <a:pt x="790" y="393"/>
                  </a:lnTo>
                  <a:lnTo>
                    <a:pt x="790" y="388"/>
                  </a:lnTo>
                  <a:lnTo>
                    <a:pt x="792" y="381"/>
                  </a:lnTo>
                  <a:lnTo>
                    <a:pt x="792" y="379"/>
                  </a:lnTo>
                  <a:lnTo>
                    <a:pt x="795" y="377"/>
                  </a:lnTo>
                  <a:lnTo>
                    <a:pt x="795" y="374"/>
                  </a:lnTo>
                  <a:lnTo>
                    <a:pt x="792" y="372"/>
                  </a:lnTo>
                  <a:lnTo>
                    <a:pt x="792" y="372"/>
                  </a:lnTo>
                  <a:lnTo>
                    <a:pt x="790" y="372"/>
                  </a:lnTo>
                  <a:lnTo>
                    <a:pt x="788" y="372"/>
                  </a:lnTo>
                  <a:lnTo>
                    <a:pt x="785" y="372"/>
                  </a:lnTo>
                  <a:lnTo>
                    <a:pt x="776" y="374"/>
                  </a:lnTo>
                  <a:lnTo>
                    <a:pt x="774" y="377"/>
                  </a:lnTo>
                  <a:lnTo>
                    <a:pt x="766" y="381"/>
                  </a:lnTo>
                  <a:lnTo>
                    <a:pt x="764" y="381"/>
                  </a:lnTo>
                  <a:lnTo>
                    <a:pt x="759" y="384"/>
                  </a:lnTo>
                  <a:lnTo>
                    <a:pt x="750" y="381"/>
                  </a:lnTo>
                  <a:lnTo>
                    <a:pt x="748" y="381"/>
                  </a:lnTo>
                  <a:lnTo>
                    <a:pt x="745" y="379"/>
                  </a:lnTo>
                  <a:lnTo>
                    <a:pt x="745" y="379"/>
                  </a:lnTo>
                  <a:lnTo>
                    <a:pt x="745" y="377"/>
                  </a:lnTo>
                  <a:lnTo>
                    <a:pt x="748" y="377"/>
                  </a:lnTo>
                  <a:lnTo>
                    <a:pt x="750" y="372"/>
                  </a:lnTo>
                  <a:lnTo>
                    <a:pt x="750" y="370"/>
                  </a:lnTo>
                  <a:lnTo>
                    <a:pt x="752" y="370"/>
                  </a:lnTo>
                  <a:lnTo>
                    <a:pt x="750" y="367"/>
                  </a:lnTo>
                  <a:lnTo>
                    <a:pt x="748" y="365"/>
                  </a:lnTo>
                  <a:lnTo>
                    <a:pt x="743" y="362"/>
                  </a:lnTo>
                  <a:lnTo>
                    <a:pt x="740" y="362"/>
                  </a:lnTo>
                  <a:lnTo>
                    <a:pt x="738" y="362"/>
                  </a:lnTo>
                  <a:lnTo>
                    <a:pt x="738" y="362"/>
                  </a:lnTo>
                  <a:lnTo>
                    <a:pt x="736" y="365"/>
                  </a:lnTo>
                  <a:lnTo>
                    <a:pt x="736" y="365"/>
                  </a:lnTo>
                  <a:lnTo>
                    <a:pt x="733" y="367"/>
                  </a:lnTo>
                  <a:lnTo>
                    <a:pt x="733" y="367"/>
                  </a:lnTo>
                  <a:lnTo>
                    <a:pt x="722" y="370"/>
                  </a:lnTo>
                  <a:lnTo>
                    <a:pt x="717" y="367"/>
                  </a:lnTo>
                  <a:lnTo>
                    <a:pt x="712" y="365"/>
                  </a:lnTo>
                  <a:lnTo>
                    <a:pt x="700" y="355"/>
                  </a:lnTo>
                  <a:lnTo>
                    <a:pt x="698" y="351"/>
                  </a:lnTo>
                  <a:lnTo>
                    <a:pt x="695" y="348"/>
                  </a:lnTo>
                  <a:lnTo>
                    <a:pt x="695" y="346"/>
                  </a:lnTo>
                  <a:lnTo>
                    <a:pt x="693" y="346"/>
                  </a:lnTo>
                  <a:lnTo>
                    <a:pt x="688" y="343"/>
                  </a:lnTo>
                  <a:lnTo>
                    <a:pt x="686" y="343"/>
                  </a:lnTo>
                  <a:lnTo>
                    <a:pt x="684" y="343"/>
                  </a:lnTo>
                  <a:lnTo>
                    <a:pt x="681" y="343"/>
                  </a:lnTo>
                  <a:lnTo>
                    <a:pt x="681" y="346"/>
                  </a:lnTo>
                  <a:lnTo>
                    <a:pt x="679" y="346"/>
                  </a:lnTo>
                  <a:lnTo>
                    <a:pt x="679" y="348"/>
                  </a:lnTo>
                  <a:lnTo>
                    <a:pt x="677" y="353"/>
                  </a:lnTo>
                  <a:lnTo>
                    <a:pt x="677" y="355"/>
                  </a:lnTo>
                  <a:lnTo>
                    <a:pt x="677" y="355"/>
                  </a:lnTo>
                  <a:lnTo>
                    <a:pt x="672" y="355"/>
                  </a:lnTo>
                  <a:lnTo>
                    <a:pt x="667" y="358"/>
                  </a:lnTo>
                  <a:lnTo>
                    <a:pt x="665" y="358"/>
                  </a:lnTo>
                  <a:lnTo>
                    <a:pt x="665" y="360"/>
                  </a:lnTo>
                  <a:lnTo>
                    <a:pt x="662" y="360"/>
                  </a:lnTo>
                  <a:lnTo>
                    <a:pt x="662" y="362"/>
                  </a:lnTo>
                  <a:lnTo>
                    <a:pt x="662" y="365"/>
                  </a:lnTo>
                  <a:lnTo>
                    <a:pt x="653" y="374"/>
                  </a:lnTo>
                  <a:lnTo>
                    <a:pt x="651" y="377"/>
                  </a:lnTo>
                  <a:lnTo>
                    <a:pt x="629" y="384"/>
                  </a:lnTo>
                  <a:lnTo>
                    <a:pt x="627" y="386"/>
                  </a:lnTo>
                  <a:lnTo>
                    <a:pt x="627" y="386"/>
                  </a:lnTo>
                  <a:lnTo>
                    <a:pt x="627" y="388"/>
                  </a:lnTo>
                  <a:lnTo>
                    <a:pt x="627" y="388"/>
                  </a:lnTo>
                  <a:lnTo>
                    <a:pt x="627" y="391"/>
                  </a:lnTo>
                  <a:lnTo>
                    <a:pt x="629" y="391"/>
                  </a:lnTo>
                  <a:lnTo>
                    <a:pt x="629" y="393"/>
                  </a:lnTo>
                  <a:lnTo>
                    <a:pt x="632" y="393"/>
                  </a:lnTo>
                  <a:lnTo>
                    <a:pt x="634" y="396"/>
                  </a:lnTo>
                  <a:lnTo>
                    <a:pt x="643" y="398"/>
                  </a:lnTo>
                  <a:lnTo>
                    <a:pt x="646" y="398"/>
                  </a:lnTo>
                  <a:lnTo>
                    <a:pt x="646" y="398"/>
                  </a:lnTo>
                  <a:lnTo>
                    <a:pt x="646" y="400"/>
                  </a:lnTo>
                  <a:lnTo>
                    <a:pt x="646" y="403"/>
                  </a:lnTo>
                  <a:lnTo>
                    <a:pt x="643" y="405"/>
                  </a:lnTo>
                  <a:lnTo>
                    <a:pt x="639" y="407"/>
                  </a:lnTo>
                  <a:lnTo>
                    <a:pt x="634" y="407"/>
                  </a:lnTo>
                  <a:lnTo>
                    <a:pt x="629" y="407"/>
                  </a:lnTo>
                  <a:lnTo>
                    <a:pt x="584" y="419"/>
                  </a:lnTo>
                  <a:lnTo>
                    <a:pt x="572" y="414"/>
                  </a:lnTo>
                  <a:lnTo>
                    <a:pt x="572" y="414"/>
                  </a:lnTo>
                  <a:lnTo>
                    <a:pt x="570" y="412"/>
                  </a:lnTo>
                  <a:lnTo>
                    <a:pt x="570" y="410"/>
                  </a:lnTo>
                  <a:lnTo>
                    <a:pt x="570" y="410"/>
                  </a:lnTo>
                  <a:lnTo>
                    <a:pt x="572" y="407"/>
                  </a:lnTo>
                  <a:lnTo>
                    <a:pt x="572" y="405"/>
                  </a:lnTo>
                  <a:lnTo>
                    <a:pt x="575" y="403"/>
                  </a:lnTo>
                  <a:lnTo>
                    <a:pt x="572" y="400"/>
                  </a:lnTo>
                  <a:lnTo>
                    <a:pt x="570" y="400"/>
                  </a:lnTo>
                  <a:lnTo>
                    <a:pt x="570" y="400"/>
                  </a:lnTo>
                  <a:lnTo>
                    <a:pt x="568" y="400"/>
                  </a:lnTo>
                  <a:lnTo>
                    <a:pt x="565" y="400"/>
                  </a:lnTo>
                  <a:lnTo>
                    <a:pt x="565" y="403"/>
                  </a:lnTo>
                  <a:lnTo>
                    <a:pt x="565" y="403"/>
                  </a:lnTo>
                  <a:lnTo>
                    <a:pt x="565" y="405"/>
                  </a:lnTo>
                  <a:lnTo>
                    <a:pt x="565" y="405"/>
                  </a:lnTo>
                  <a:lnTo>
                    <a:pt x="565" y="407"/>
                  </a:lnTo>
                  <a:lnTo>
                    <a:pt x="563" y="407"/>
                  </a:lnTo>
                  <a:lnTo>
                    <a:pt x="561" y="412"/>
                  </a:lnTo>
                  <a:lnTo>
                    <a:pt x="561" y="412"/>
                  </a:lnTo>
                  <a:lnTo>
                    <a:pt x="558" y="417"/>
                  </a:lnTo>
                  <a:lnTo>
                    <a:pt x="549" y="433"/>
                  </a:lnTo>
                  <a:lnTo>
                    <a:pt x="549" y="433"/>
                  </a:lnTo>
                  <a:lnTo>
                    <a:pt x="546" y="433"/>
                  </a:lnTo>
                  <a:lnTo>
                    <a:pt x="542" y="431"/>
                  </a:lnTo>
                  <a:lnTo>
                    <a:pt x="539" y="431"/>
                  </a:lnTo>
                  <a:lnTo>
                    <a:pt x="535" y="429"/>
                  </a:lnTo>
                  <a:lnTo>
                    <a:pt x="535" y="426"/>
                  </a:lnTo>
                  <a:lnTo>
                    <a:pt x="528" y="426"/>
                  </a:lnTo>
                  <a:lnTo>
                    <a:pt x="525" y="424"/>
                  </a:lnTo>
                  <a:lnTo>
                    <a:pt x="525" y="424"/>
                  </a:lnTo>
                  <a:lnTo>
                    <a:pt x="523" y="424"/>
                  </a:lnTo>
                  <a:lnTo>
                    <a:pt x="520" y="422"/>
                  </a:lnTo>
                  <a:lnTo>
                    <a:pt x="509" y="417"/>
                  </a:lnTo>
                  <a:lnTo>
                    <a:pt x="487" y="405"/>
                  </a:lnTo>
                  <a:lnTo>
                    <a:pt x="478" y="403"/>
                  </a:lnTo>
                  <a:lnTo>
                    <a:pt x="461" y="407"/>
                  </a:lnTo>
                  <a:lnTo>
                    <a:pt x="461" y="407"/>
                  </a:lnTo>
                  <a:lnTo>
                    <a:pt x="459" y="410"/>
                  </a:lnTo>
                  <a:lnTo>
                    <a:pt x="457" y="410"/>
                  </a:lnTo>
                  <a:lnTo>
                    <a:pt x="457" y="412"/>
                  </a:lnTo>
                  <a:lnTo>
                    <a:pt x="457" y="412"/>
                  </a:lnTo>
                  <a:lnTo>
                    <a:pt x="454" y="417"/>
                  </a:lnTo>
                  <a:lnTo>
                    <a:pt x="454" y="419"/>
                  </a:lnTo>
                  <a:lnTo>
                    <a:pt x="452" y="422"/>
                  </a:lnTo>
                  <a:lnTo>
                    <a:pt x="442" y="424"/>
                  </a:lnTo>
                  <a:lnTo>
                    <a:pt x="440" y="424"/>
                  </a:lnTo>
                  <a:lnTo>
                    <a:pt x="423" y="412"/>
                  </a:lnTo>
                  <a:lnTo>
                    <a:pt x="421" y="410"/>
                  </a:lnTo>
                  <a:lnTo>
                    <a:pt x="409" y="400"/>
                  </a:lnTo>
                  <a:lnTo>
                    <a:pt x="409" y="400"/>
                  </a:lnTo>
                  <a:lnTo>
                    <a:pt x="409" y="398"/>
                  </a:lnTo>
                  <a:lnTo>
                    <a:pt x="409" y="398"/>
                  </a:lnTo>
                  <a:lnTo>
                    <a:pt x="407" y="396"/>
                  </a:lnTo>
                  <a:lnTo>
                    <a:pt x="407" y="391"/>
                  </a:lnTo>
                  <a:lnTo>
                    <a:pt x="404" y="386"/>
                  </a:lnTo>
                  <a:lnTo>
                    <a:pt x="388" y="386"/>
                  </a:lnTo>
                  <a:lnTo>
                    <a:pt x="383" y="384"/>
                  </a:lnTo>
                  <a:lnTo>
                    <a:pt x="381" y="384"/>
                  </a:lnTo>
                  <a:lnTo>
                    <a:pt x="371" y="374"/>
                  </a:lnTo>
                  <a:lnTo>
                    <a:pt x="369" y="370"/>
                  </a:lnTo>
                  <a:lnTo>
                    <a:pt x="367" y="370"/>
                  </a:lnTo>
                  <a:lnTo>
                    <a:pt x="348" y="367"/>
                  </a:lnTo>
                  <a:lnTo>
                    <a:pt x="345" y="370"/>
                  </a:lnTo>
                  <a:lnTo>
                    <a:pt x="338" y="374"/>
                  </a:lnTo>
                  <a:lnTo>
                    <a:pt x="336" y="374"/>
                  </a:lnTo>
                  <a:lnTo>
                    <a:pt x="329" y="372"/>
                  </a:lnTo>
                  <a:lnTo>
                    <a:pt x="324" y="367"/>
                  </a:lnTo>
                  <a:lnTo>
                    <a:pt x="324" y="365"/>
                  </a:lnTo>
                  <a:lnTo>
                    <a:pt x="319" y="358"/>
                  </a:lnTo>
                  <a:lnTo>
                    <a:pt x="317" y="358"/>
                  </a:lnTo>
                  <a:lnTo>
                    <a:pt x="317" y="355"/>
                  </a:lnTo>
                  <a:lnTo>
                    <a:pt x="315" y="355"/>
                  </a:lnTo>
                  <a:lnTo>
                    <a:pt x="307" y="355"/>
                  </a:lnTo>
                  <a:lnTo>
                    <a:pt x="293" y="346"/>
                  </a:lnTo>
                  <a:lnTo>
                    <a:pt x="281" y="348"/>
                  </a:lnTo>
                  <a:lnTo>
                    <a:pt x="277" y="348"/>
                  </a:lnTo>
                  <a:lnTo>
                    <a:pt x="274" y="343"/>
                  </a:lnTo>
                  <a:lnTo>
                    <a:pt x="272" y="341"/>
                  </a:lnTo>
                  <a:lnTo>
                    <a:pt x="270" y="341"/>
                  </a:lnTo>
                  <a:lnTo>
                    <a:pt x="251" y="327"/>
                  </a:lnTo>
                  <a:lnTo>
                    <a:pt x="248" y="325"/>
                  </a:lnTo>
                  <a:lnTo>
                    <a:pt x="248" y="322"/>
                  </a:lnTo>
                  <a:lnTo>
                    <a:pt x="248" y="322"/>
                  </a:lnTo>
                  <a:lnTo>
                    <a:pt x="248" y="320"/>
                  </a:lnTo>
                  <a:lnTo>
                    <a:pt x="253" y="320"/>
                  </a:lnTo>
                  <a:lnTo>
                    <a:pt x="253" y="317"/>
                  </a:lnTo>
                  <a:lnTo>
                    <a:pt x="253" y="315"/>
                  </a:lnTo>
                  <a:lnTo>
                    <a:pt x="251" y="313"/>
                  </a:lnTo>
                  <a:lnTo>
                    <a:pt x="248" y="310"/>
                  </a:lnTo>
                  <a:lnTo>
                    <a:pt x="248" y="310"/>
                  </a:lnTo>
                  <a:lnTo>
                    <a:pt x="229" y="303"/>
                  </a:lnTo>
                  <a:lnTo>
                    <a:pt x="218" y="301"/>
                  </a:lnTo>
                  <a:lnTo>
                    <a:pt x="208" y="299"/>
                  </a:lnTo>
                  <a:lnTo>
                    <a:pt x="206" y="301"/>
                  </a:lnTo>
                  <a:lnTo>
                    <a:pt x="206" y="301"/>
                  </a:lnTo>
                  <a:lnTo>
                    <a:pt x="203" y="301"/>
                  </a:lnTo>
                  <a:lnTo>
                    <a:pt x="201" y="303"/>
                  </a:lnTo>
                  <a:lnTo>
                    <a:pt x="196" y="308"/>
                  </a:lnTo>
                  <a:lnTo>
                    <a:pt x="192" y="317"/>
                  </a:lnTo>
                  <a:lnTo>
                    <a:pt x="184" y="327"/>
                  </a:lnTo>
                  <a:lnTo>
                    <a:pt x="182" y="334"/>
                  </a:lnTo>
                  <a:lnTo>
                    <a:pt x="180" y="336"/>
                  </a:lnTo>
                  <a:lnTo>
                    <a:pt x="180" y="336"/>
                  </a:lnTo>
                  <a:lnTo>
                    <a:pt x="180" y="341"/>
                  </a:lnTo>
                  <a:lnTo>
                    <a:pt x="180" y="343"/>
                  </a:lnTo>
                  <a:lnTo>
                    <a:pt x="177" y="343"/>
                  </a:lnTo>
                  <a:lnTo>
                    <a:pt x="177" y="346"/>
                  </a:lnTo>
                  <a:lnTo>
                    <a:pt x="168" y="348"/>
                  </a:lnTo>
                  <a:lnTo>
                    <a:pt x="163" y="351"/>
                  </a:lnTo>
                  <a:lnTo>
                    <a:pt x="163" y="351"/>
                  </a:lnTo>
                  <a:lnTo>
                    <a:pt x="161" y="353"/>
                  </a:lnTo>
                  <a:lnTo>
                    <a:pt x="161" y="353"/>
                  </a:lnTo>
                  <a:lnTo>
                    <a:pt x="161" y="355"/>
                  </a:lnTo>
                  <a:lnTo>
                    <a:pt x="161" y="358"/>
                  </a:lnTo>
                  <a:lnTo>
                    <a:pt x="163" y="360"/>
                  </a:lnTo>
                  <a:lnTo>
                    <a:pt x="156" y="355"/>
                  </a:lnTo>
                  <a:lnTo>
                    <a:pt x="154" y="348"/>
                  </a:lnTo>
                  <a:lnTo>
                    <a:pt x="151" y="343"/>
                  </a:lnTo>
                  <a:lnTo>
                    <a:pt x="149" y="341"/>
                  </a:lnTo>
                  <a:lnTo>
                    <a:pt x="149" y="339"/>
                  </a:lnTo>
                  <a:lnTo>
                    <a:pt x="132" y="334"/>
                  </a:lnTo>
                  <a:lnTo>
                    <a:pt x="130" y="332"/>
                  </a:lnTo>
                  <a:lnTo>
                    <a:pt x="123" y="334"/>
                  </a:lnTo>
                  <a:lnTo>
                    <a:pt x="118" y="334"/>
                  </a:lnTo>
                  <a:lnTo>
                    <a:pt x="113" y="334"/>
                  </a:lnTo>
                  <a:lnTo>
                    <a:pt x="106" y="334"/>
                  </a:lnTo>
                  <a:lnTo>
                    <a:pt x="104" y="336"/>
                  </a:lnTo>
                  <a:lnTo>
                    <a:pt x="102" y="339"/>
                  </a:lnTo>
                  <a:lnTo>
                    <a:pt x="102" y="339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5" y="343"/>
                  </a:lnTo>
                  <a:lnTo>
                    <a:pt x="87" y="346"/>
                  </a:lnTo>
                  <a:lnTo>
                    <a:pt x="85" y="346"/>
                  </a:lnTo>
                  <a:lnTo>
                    <a:pt x="83" y="343"/>
                  </a:lnTo>
                  <a:lnTo>
                    <a:pt x="83" y="341"/>
                  </a:lnTo>
                  <a:lnTo>
                    <a:pt x="83" y="339"/>
                  </a:lnTo>
                  <a:lnTo>
                    <a:pt x="83" y="336"/>
                  </a:lnTo>
                  <a:lnTo>
                    <a:pt x="83" y="334"/>
                  </a:lnTo>
                  <a:lnTo>
                    <a:pt x="85" y="320"/>
                  </a:lnTo>
                  <a:lnTo>
                    <a:pt x="85" y="320"/>
                  </a:lnTo>
                  <a:lnTo>
                    <a:pt x="85" y="317"/>
                  </a:lnTo>
                  <a:lnTo>
                    <a:pt x="87" y="317"/>
                  </a:lnTo>
                  <a:lnTo>
                    <a:pt x="87" y="315"/>
                  </a:lnTo>
                  <a:lnTo>
                    <a:pt x="90" y="315"/>
                  </a:lnTo>
                  <a:lnTo>
                    <a:pt x="92" y="313"/>
                  </a:lnTo>
                  <a:lnTo>
                    <a:pt x="95" y="306"/>
                  </a:lnTo>
                  <a:lnTo>
                    <a:pt x="95" y="303"/>
                  </a:lnTo>
                  <a:lnTo>
                    <a:pt x="95" y="301"/>
                  </a:lnTo>
                  <a:lnTo>
                    <a:pt x="95" y="294"/>
                  </a:lnTo>
                  <a:lnTo>
                    <a:pt x="92" y="282"/>
                  </a:lnTo>
                  <a:lnTo>
                    <a:pt x="90" y="280"/>
                  </a:lnTo>
                  <a:lnTo>
                    <a:pt x="76" y="277"/>
                  </a:lnTo>
                  <a:lnTo>
                    <a:pt x="73" y="275"/>
                  </a:lnTo>
                  <a:lnTo>
                    <a:pt x="71" y="273"/>
                  </a:lnTo>
                  <a:lnTo>
                    <a:pt x="69" y="268"/>
                  </a:lnTo>
                  <a:lnTo>
                    <a:pt x="66" y="268"/>
                  </a:lnTo>
                  <a:lnTo>
                    <a:pt x="64" y="268"/>
                  </a:lnTo>
                  <a:lnTo>
                    <a:pt x="64" y="270"/>
                  </a:lnTo>
                  <a:lnTo>
                    <a:pt x="61" y="273"/>
                  </a:lnTo>
                  <a:lnTo>
                    <a:pt x="59" y="275"/>
                  </a:lnTo>
                  <a:lnTo>
                    <a:pt x="57" y="275"/>
                  </a:lnTo>
                  <a:lnTo>
                    <a:pt x="52" y="275"/>
                  </a:lnTo>
                  <a:lnTo>
                    <a:pt x="50" y="275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33" y="268"/>
                  </a:lnTo>
                  <a:lnTo>
                    <a:pt x="31" y="265"/>
                  </a:lnTo>
                  <a:lnTo>
                    <a:pt x="28" y="265"/>
                  </a:lnTo>
                  <a:lnTo>
                    <a:pt x="24" y="268"/>
                  </a:lnTo>
                  <a:lnTo>
                    <a:pt x="21" y="270"/>
                  </a:lnTo>
                  <a:lnTo>
                    <a:pt x="21" y="270"/>
                  </a:lnTo>
                  <a:lnTo>
                    <a:pt x="19" y="270"/>
                  </a:lnTo>
                  <a:lnTo>
                    <a:pt x="16" y="265"/>
                  </a:lnTo>
                  <a:lnTo>
                    <a:pt x="14" y="265"/>
                  </a:lnTo>
                  <a:lnTo>
                    <a:pt x="12" y="263"/>
                  </a:lnTo>
                  <a:lnTo>
                    <a:pt x="9" y="263"/>
                  </a:lnTo>
                  <a:lnTo>
                    <a:pt x="7" y="265"/>
                  </a:lnTo>
                  <a:lnTo>
                    <a:pt x="2" y="268"/>
                  </a:lnTo>
                  <a:lnTo>
                    <a:pt x="0" y="239"/>
                  </a:lnTo>
                  <a:lnTo>
                    <a:pt x="9" y="239"/>
                  </a:lnTo>
                  <a:lnTo>
                    <a:pt x="12" y="237"/>
                  </a:lnTo>
                  <a:lnTo>
                    <a:pt x="12" y="235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5"/>
                  </a:lnTo>
                  <a:lnTo>
                    <a:pt x="12" y="223"/>
                  </a:lnTo>
                  <a:lnTo>
                    <a:pt x="12" y="223"/>
                  </a:lnTo>
                  <a:lnTo>
                    <a:pt x="14" y="223"/>
                  </a:lnTo>
                  <a:lnTo>
                    <a:pt x="14" y="225"/>
                  </a:lnTo>
                  <a:lnTo>
                    <a:pt x="16" y="228"/>
                  </a:lnTo>
                  <a:lnTo>
                    <a:pt x="19" y="230"/>
                  </a:lnTo>
                  <a:lnTo>
                    <a:pt x="21" y="230"/>
                  </a:lnTo>
                  <a:lnTo>
                    <a:pt x="26" y="230"/>
                  </a:lnTo>
                  <a:lnTo>
                    <a:pt x="28" y="230"/>
                  </a:lnTo>
                  <a:lnTo>
                    <a:pt x="31" y="230"/>
                  </a:lnTo>
                  <a:lnTo>
                    <a:pt x="33" y="228"/>
                  </a:lnTo>
                  <a:lnTo>
                    <a:pt x="33" y="225"/>
                  </a:lnTo>
                  <a:lnTo>
                    <a:pt x="35" y="223"/>
                  </a:lnTo>
                  <a:lnTo>
                    <a:pt x="35" y="220"/>
                  </a:lnTo>
                  <a:lnTo>
                    <a:pt x="33" y="220"/>
                  </a:lnTo>
                  <a:lnTo>
                    <a:pt x="33" y="213"/>
                  </a:lnTo>
                  <a:lnTo>
                    <a:pt x="28" y="206"/>
                  </a:lnTo>
                  <a:lnTo>
                    <a:pt x="28" y="204"/>
                  </a:lnTo>
                  <a:lnTo>
                    <a:pt x="26" y="202"/>
                  </a:lnTo>
                  <a:lnTo>
                    <a:pt x="28" y="199"/>
                  </a:lnTo>
                  <a:lnTo>
                    <a:pt x="31" y="194"/>
                  </a:lnTo>
                  <a:lnTo>
                    <a:pt x="35" y="180"/>
                  </a:lnTo>
                  <a:lnTo>
                    <a:pt x="38" y="173"/>
                  </a:lnTo>
                  <a:lnTo>
                    <a:pt x="38" y="161"/>
                  </a:lnTo>
                  <a:lnTo>
                    <a:pt x="38" y="159"/>
                  </a:lnTo>
                  <a:lnTo>
                    <a:pt x="38" y="157"/>
                  </a:lnTo>
                  <a:lnTo>
                    <a:pt x="38" y="157"/>
                  </a:lnTo>
                  <a:lnTo>
                    <a:pt x="35" y="154"/>
                  </a:lnTo>
                  <a:lnTo>
                    <a:pt x="35" y="154"/>
                  </a:lnTo>
                  <a:lnTo>
                    <a:pt x="33" y="152"/>
                  </a:lnTo>
                  <a:lnTo>
                    <a:pt x="26" y="152"/>
                  </a:lnTo>
                  <a:lnTo>
                    <a:pt x="24" y="149"/>
                  </a:lnTo>
                  <a:lnTo>
                    <a:pt x="24" y="149"/>
                  </a:lnTo>
                  <a:lnTo>
                    <a:pt x="21" y="147"/>
                  </a:lnTo>
                  <a:lnTo>
                    <a:pt x="21" y="147"/>
                  </a:lnTo>
                  <a:lnTo>
                    <a:pt x="19" y="145"/>
                  </a:lnTo>
                  <a:lnTo>
                    <a:pt x="19" y="142"/>
                  </a:lnTo>
                  <a:lnTo>
                    <a:pt x="19" y="138"/>
                  </a:lnTo>
                  <a:lnTo>
                    <a:pt x="19" y="135"/>
                  </a:lnTo>
                  <a:lnTo>
                    <a:pt x="19" y="133"/>
                  </a:lnTo>
                  <a:lnTo>
                    <a:pt x="21" y="128"/>
                  </a:lnTo>
                  <a:lnTo>
                    <a:pt x="21" y="123"/>
                  </a:lnTo>
                  <a:lnTo>
                    <a:pt x="35" y="79"/>
                  </a:lnTo>
                  <a:lnTo>
                    <a:pt x="42" y="62"/>
                  </a:lnTo>
                  <a:lnTo>
                    <a:pt x="45" y="60"/>
                  </a:lnTo>
                  <a:lnTo>
                    <a:pt x="45" y="52"/>
                  </a:lnTo>
                  <a:lnTo>
                    <a:pt x="59" y="52"/>
                  </a:lnTo>
                  <a:lnTo>
                    <a:pt x="66" y="50"/>
                  </a:lnTo>
                  <a:lnTo>
                    <a:pt x="69" y="50"/>
                  </a:lnTo>
                  <a:lnTo>
                    <a:pt x="71" y="50"/>
                  </a:lnTo>
                  <a:lnTo>
                    <a:pt x="78" y="55"/>
                  </a:lnTo>
                  <a:lnTo>
                    <a:pt x="80" y="55"/>
                  </a:lnTo>
                  <a:lnTo>
                    <a:pt x="83" y="50"/>
                  </a:lnTo>
                  <a:lnTo>
                    <a:pt x="80" y="45"/>
                  </a:lnTo>
                  <a:lnTo>
                    <a:pt x="80" y="43"/>
                  </a:lnTo>
                  <a:lnTo>
                    <a:pt x="78" y="38"/>
                  </a:lnTo>
                  <a:lnTo>
                    <a:pt x="80" y="36"/>
                  </a:lnTo>
                  <a:lnTo>
                    <a:pt x="83" y="34"/>
                  </a:lnTo>
                  <a:lnTo>
                    <a:pt x="85" y="36"/>
                  </a:lnTo>
                  <a:lnTo>
                    <a:pt x="90" y="43"/>
                  </a:lnTo>
                  <a:lnTo>
                    <a:pt x="95" y="43"/>
                  </a:lnTo>
                  <a:lnTo>
                    <a:pt x="97" y="41"/>
                  </a:lnTo>
                  <a:lnTo>
                    <a:pt x="102" y="36"/>
                  </a:lnTo>
                  <a:lnTo>
                    <a:pt x="104" y="34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8"/>
                  </a:lnTo>
                  <a:lnTo>
                    <a:pt x="109" y="41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13" y="50"/>
                  </a:lnTo>
                  <a:lnTo>
                    <a:pt x="123" y="55"/>
                  </a:lnTo>
                  <a:lnTo>
                    <a:pt x="135" y="55"/>
                  </a:lnTo>
                  <a:lnTo>
                    <a:pt x="144" y="50"/>
                  </a:lnTo>
                  <a:lnTo>
                    <a:pt x="142" y="38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4" y="36"/>
                  </a:lnTo>
                  <a:lnTo>
                    <a:pt x="147" y="36"/>
                  </a:lnTo>
                  <a:lnTo>
                    <a:pt x="149" y="41"/>
                  </a:lnTo>
                  <a:lnTo>
                    <a:pt x="161" y="45"/>
                  </a:lnTo>
                  <a:lnTo>
                    <a:pt x="166" y="50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0"/>
                  </a:lnTo>
                  <a:lnTo>
                    <a:pt x="170" y="45"/>
                  </a:lnTo>
                  <a:lnTo>
                    <a:pt x="166" y="41"/>
                  </a:lnTo>
                  <a:lnTo>
                    <a:pt x="168" y="38"/>
                  </a:lnTo>
                  <a:lnTo>
                    <a:pt x="182" y="41"/>
                  </a:lnTo>
                  <a:lnTo>
                    <a:pt x="187" y="41"/>
                  </a:lnTo>
                  <a:lnTo>
                    <a:pt x="187" y="36"/>
                  </a:lnTo>
                  <a:lnTo>
                    <a:pt x="182" y="29"/>
                  </a:lnTo>
                  <a:lnTo>
                    <a:pt x="180" y="22"/>
                  </a:lnTo>
                  <a:lnTo>
                    <a:pt x="187" y="19"/>
                  </a:lnTo>
                  <a:lnTo>
                    <a:pt x="192" y="24"/>
                  </a:lnTo>
                  <a:lnTo>
                    <a:pt x="192" y="34"/>
                  </a:lnTo>
                  <a:lnTo>
                    <a:pt x="210" y="22"/>
                  </a:lnTo>
                  <a:lnTo>
                    <a:pt x="215" y="22"/>
                  </a:lnTo>
                  <a:lnTo>
                    <a:pt x="218" y="24"/>
                  </a:lnTo>
                  <a:lnTo>
                    <a:pt x="222" y="29"/>
                  </a:lnTo>
                  <a:lnTo>
                    <a:pt x="225" y="29"/>
                  </a:lnTo>
                  <a:lnTo>
                    <a:pt x="225" y="34"/>
                  </a:lnTo>
                  <a:lnTo>
                    <a:pt x="232" y="45"/>
                  </a:lnTo>
                  <a:lnTo>
                    <a:pt x="241" y="57"/>
                  </a:lnTo>
                  <a:lnTo>
                    <a:pt x="251" y="57"/>
                  </a:lnTo>
                  <a:lnTo>
                    <a:pt x="263" y="52"/>
                  </a:lnTo>
                  <a:lnTo>
                    <a:pt x="274" y="48"/>
                  </a:lnTo>
                  <a:lnTo>
                    <a:pt x="286" y="50"/>
                  </a:lnTo>
                  <a:lnTo>
                    <a:pt x="319" y="67"/>
                  </a:lnTo>
                  <a:lnTo>
                    <a:pt x="326" y="69"/>
                  </a:lnTo>
                  <a:lnTo>
                    <a:pt x="331" y="69"/>
                  </a:lnTo>
                  <a:lnTo>
                    <a:pt x="336" y="67"/>
                  </a:lnTo>
                  <a:lnTo>
                    <a:pt x="341" y="64"/>
                  </a:lnTo>
                  <a:lnTo>
                    <a:pt x="345" y="67"/>
                  </a:lnTo>
                  <a:lnTo>
                    <a:pt x="352" y="79"/>
                  </a:lnTo>
                  <a:lnTo>
                    <a:pt x="357" y="86"/>
                  </a:lnTo>
                  <a:lnTo>
                    <a:pt x="369" y="90"/>
                  </a:lnTo>
                  <a:lnTo>
                    <a:pt x="381" y="90"/>
                  </a:lnTo>
                  <a:lnTo>
                    <a:pt x="395" y="90"/>
                  </a:lnTo>
                  <a:lnTo>
                    <a:pt x="404" y="86"/>
                  </a:lnTo>
                  <a:lnTo>
                    <a:pt x="414" y="76"/>
                  </a:lnTo>
                  <a:lnTo>
                    <a:pt x="421" y="64"/>
                  </a:lnTo>
                  <a:lnTo>
                    <a:pt x="426" y="55"/>
                  </a:lnTo>
                  <a:lnTo>
                    <a:pt x="428" y="52"/>
                  </a:lnTo>
                  <a:lnTo>
                    <a:pt x="430" y="52"/>
                  </a:lnTo>
                  <a:lnTo>
                    <a:pt x="430" y="55"/>
                  </a:lnTo>
                  <a:lnTo>
                    <a:pt x="433" y="55"/>
                  </a:lnTo>
                  <a:lnTo>
                    <a:pt x="438" y="52"/>
                  </a:lnTo>
                  <a:lnTo>
                    <a:pt x="442" y="52"/>
                  </a:lnTo>
                  <a:lnTo>
                    <a:pt x="442" y="52"/>
                  </a:lnTo>
                  <a:lnTo>
                    <a:pt x="447" y="57"/>
                  </a:lnTo>
                  <a:lnTo>
                    <a:pt x="449" y="57"/>
                  </a:lnTo>
                  <a:lnTo>
                    <a:pt x="449" y="57"/>
                  </a:lnTo>
                  <a:lnTo>
                    <a:pt x="449" y="60"/>
                  </a:lnTo>
                  <a:lnTo>
                    <a:pt x="452" y="60"/>
                  </a:lnTo>
                  <a:lnTo>
                    <a:pt x="452" y="62"/>
                  </a:lnTo>
                  <a:lnTo>
                    <a:pt x="452" y="64"/>
                  </a:lnTo>
                  <a:lnTo>
                    <a:pt x="449" y="64"/>
                  </a:lnTo>
                  <a:lnTo>
                    <a:pt x="449" y="67"/>
                  </a:lnTo>
                  <a:lnTo>
                    <a:pt x="449" y="69"/>
                  </a:lnTo>
                  <a:lnTo>
                    <a:pt x="452" y="69"/>
                  </a:lnTo>
                  <a:lnTo>
                    <a:pt x="452" y="69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7" y="74"/>
                  </a:lnTo>
                  <a:lnTo>
                    <a:pt x="487" y="76"/>
                  </a:lnTo>
                  <a:lnTo>
                    <a:pt x="492" y="79"/>
                  </a:lnTo>
                  <a:lnTo>
                    <a:pt x="499" y="74"/>
                  </a:lnTo>
                  <a:lnTo>
                    <a:pt x="504" y="71"/>
                  </a:lnTo>
                  <a:lnTo>
                    <a:pt x="504" y="69"/>
                  </a:lnTo>
                  <a:lnTo>
                    <a:pt x="506" y="69"/>
                  </a:lnTo>
                  <a:lnTo>
                    <a:pt x="516" y="64"/>
                  </a:lnTo>
                  <a:lnTo>
                    <a:pt x="518" y="64"/>
                  </a:lnTo>
                  <a:lnTo>
                    <a:pt x="518" y="62"/>
                  </a:lnTo>
                  <a:lnTo>
                    <a:pt x="520" y="60"/>
                  </a:lnTo>
                  <a:lnTo>
                    <a:pt x="520" y="57"/>
                  </a:lnTo>
                  <a:lnTo>
                    <a:pt x="520" y="57"/>
                  </a:lnTo>
                  <a:lnTo>
                    <a:pt x="523" y="57"/>
                  </a:lnTo>
                  <a:lnTo>
                    <a:pt x="546" y="50"/>
                  </a:lnTo>
                  <a:lnTo>
                    <a:pt x="549" y="50"/>
                  </a:lnTo>
                  <a:lnTo>
                    <a:pt x="565" y="52"/>
                  </a:lnTo>
                  <a:lnTo>
                    <a:pt x="565" y="55"/>
                  </a:lnTo>
                  <a:lnTo>
                    <a:pt x="568" y="55"/>
                  </a:lnTo>
                  <a:lnTo>
                    <a:pt x="570" y="57"/>
                  </a:lnTo>
                  <a:lnTo>
                    <a:pt x="572" y="60"/>
                  </a:lnTo>
                  <a:lnTo>
                    <a:pt x="577" y="57"/>
                  </a:lnTo>
                  <a:lnTo>
                    <a:pt x="598" y="48"/>
                  </a:lnTo>
                  <a:lnTo>
                    <a:pt x="603" y="50"/>
                  </a:lnTo>
                  <a:lnTo>
                    <a:pt x="606" y="50"/>
                  </a:lnTo>
                  <a:lnTo>
                    <a:pt x="608" y="48"/>
                  </a:lnTo>
                  <a:lnTo>
                    <a:pt x="608" y="43"/>
                  </a:lnTo>
                  <a:lnTo>
                    <a:pt x="608" y="43"/>
                  </a:lnTo>
                  <a:lnTo>
                    <a:pt x="610" y="41"/>
                  </a:lnTo>
                  <a:lnTo>
                    <a:pt x="610" y="41"/>
                  </a:lnTo>
                  <a:lnTo>
                    <a:pt x="632" y="38"/>
                  </a:lnTo>
                  <a:lnTo>
                    <a:pt x="648" y="41"/>
                  </a:lnTo>
                  <a:lnTo>
                    <a:pt x="651" y="45"/>
                  </a:lnTo>
                  <a:lnTo>
                    <a:pt x="655" y="43"/>
                  </a:lnTo>
                  <a:lnTo>
                    <a:pt x="667" y="41"/>
                  </a:lnTo>
                  <a:lnTo>
                    <a:pt x="674" y="38"/>
                  </a:lnTo>
                  <a:lnTo>
                    <a:pt x="679" y="41"/>
                  </a:lnTo>
                  <a:lnTo>
                    <a:pt x="688" y="43"/>
                  </a:lnTo>
                  <a:lnTo>
                    <a:pt x="705" y="55"/>
                  </a:lnTo>
                  <a:lnTo>
                    <a:pt x="710" y="55"/>
                  </a:lnTo>
                  <a:lnTo>
                    <a:pt x="714" y="52"/>
                  </a:lnTo>
                  <a:lnTo>
                    <a:pt x="719" y="48"/>
                  </a:lnTo>
                  <a:lnTo>
                    <a:pt x="724" y="41"/>
                  </a:lnTo>
                  <a:lnTo>
                    <a:pt x="736" y="36"/>
                  </a:lnTo>
                  <a:lnTo>
                    <a:pt x="740" y="31"/>
                  </a:lnTo>
                  <a:lnTo>
                    <a:pt x="740" y="26"/>
                  </a:lnTo>
                  <a:lnTo>
                    <a:pt x="743" y="24"/>
                  </a:lnTo>
                  <a:lnTo>
                    <a:pt x="745" y="22"/>
                  </a:lnTo>
                  <a:lnTo>
                    <a:pt x="750" y="19"/>
                  </a:lnTo>
                  <a:lnTo>
                    <a:pt x="752" y="19"/>
                  </a:lnTo>
                  <a:lnTo>
                    <a:pt x="755" y="17"/>
                  </a:lnTo>
                  <a:lnTo>
                    <a:pt x="755" y="12"/>
                  </a:lnTo>
                  <a:lnTo>
                    <a:pt x="757" y="12"/>
                  </a:lnTo>
                  <a:lnTo>
                    <a:pt x="764" y="10"/>
                  </a:lnTo>
                  <a:lnTo>
                    <a:pt x="778" y="5"/>
                  </a:lnTo>
                  <a:lnTo>
                    <a:pt x="785" y="5"/>
                  </a:lnTo>
                  <a:lnTo>
                    <a:pt x="790" y="5"/>
                  </a:lnTo>
                  <a:lnTo>
                    <a:pt x="795" y="5"/>
                  </a:lnTo>
                  <a:lnTo>
                    <a:pt x="795" y="5"/>
                  </a:lnTo>
                  <a:lnTo>
                    <a:pt x="807" y="0"/>
                  </a:lnTo>
                  <a:lnTo>
                    <a:pt x="809" y="0"/>
                  </a:lnTo>
                  <a:lnTo>
                    <a:pt x="811" y="0"/>
                  </a:lnTo>
                  <a:lnTo>
                    <a:pt x="814" y="0"/>
                  </a:lnTo>
                  <a:lnTo>
                    <a:pt x="842" y="3"/>
                  </a:lnTo>
                  <a:lnTo>
                    <a:pt x="849" y="3"/>
                  </a:lnTo>
                  <a:lnTo>
                    <a:pt x="852" y="5"/>
                  </a:lnTo>
                  <a:lnTo>
                    <a:pt x="854" y="8"/>
                  </a:lnTo>
                  <a:lnTo>
                    <a:pt x="854" y="8"/>
                  </a:lnTo>
                  <a:lnTo>
                    <a:pt x="856" y="12"/>
                  </a:lnTo>
                  <a:lnTo>
                    <a:pt x="856" y="12"/>
                  </a:lnTo>
                  <a:lnTo>
                    <a:pt x="859" y="15"/>
                  </a:lnTo>
                  <a:lnTo>
                    <a:pt x="863" y="15"/>
                  </a:lnTo>
                  <a:lnTo>
                    <a:pt x="866" y="15"/>
                  </a:lnTo>
                  <a:lnTo>
                    <a:pt x="868" y="15"/>
                  </a:lnTo>
                  <a:lnTo>
                    <a:pt x="868" y="12"/>
                  </a:lnTo>
                  <a:lnTo>
                    <a:pt x="871" y="12"/>
                  </a:lnTo>
                  <a:lnTo>
                    <a:pt x="875" y="15"/>
                  </a:lnTo>
                  <a:lnTo>
                    <a:pt x="885" y="15"/>
                  </a:lnTo>
                  <a:lnTo>
                    <a:pt x="887" y="15"/>
                  </a:lnTo>
                  <a:lnTo>
                    <a:pt x="889" y="15"/>
                  </a:lnTo>
                  <a:lnTo>
                    <a:pt x="889" y="12"/>
                  </a:lnTo>
                  <a:lnTo>
                    <a:pt x="889" y="12"/>
                  </a:lnTo>
                  <a:lnTo>
                    <a:pt x="892" y="12"/>
                  </a:lnTo>
                  <a:lnTo>
                    <a:pt x="899" y="8"/>
                  </a:lnTo>
                  <a:lnTo>
                    <a:pt x="901" y="8"/>
                  </a:lnTo>
                  <a:lnTo>
                    <a:pt x="904" y="8"/>
                  </a:lnTo>
                  <a:lnTo>
                    <a:pt x="906" y="10"/>
                  </a:lnTo>
                  <a:lnTo>
                    <a:pt x="906" y="10"/>
                  </a:lnTo>
                  <a:lnTo>
                    <a:pt x="906" y="12"/>
                  </a:lnTo>
                  <a:lnTo>
                    <a:pt x="906" y="12"/>
                  </a:lnTo>
                  <a:lnTo>
                    <a:pt x="906" y="15"/>
                  </a:lnTo>
                  <a:lnTo>
                    <a:pt x="906" y="17"/>
                  </a:lnTo>
                  <a:lnTo>
                    <a:pt x="906" y="17"/>
                  </a:lnTo>
                  <a:lnTo>
                    <a:pt x="906" y="19"/>
                  </a:lnTo>
                  <a:lnTo>
                    <a:pt x="906" y="22"/>
                  </a:lnTo>
                  <a:lnTo>
                    <a:pt x="906" y="22"/>
                  </a:lnTo>
                  <a:lnTo>
                    <a:pt x="906" y="26"/>
                  </a:lnTo>
                  <a:lnTo>
                    <a:pt x="908" y="31"/>
                  </a:lnTo>
                  <a:lnTo>
                    <a:pt x="908" y="36"/>
                  </a:lnTo>
                  <a:lnTo>
                    <a:pt x="911" y="36"/>
                  </a:lnTo>
                  <a:lnTo>
                    <a:pt x="911" y="38"/>
                  </a:lnTo>
                  <a:lnTo>
                    <a:pt x="911" y="38"/>
                  </a:lnTo>
                  <a:lnTo>
                    <a:pt x="913" y="41"/>
                  </a:lnTo>
                  <a:lnTo>
                    <a:pt x="920" y="41"/>
                  </a:lnTo>
                  <a:lnTo>
                    <a:pt x="923" y="41"/>
                  </a:lnTo>
                  <a:lnTo>
                    <a:pt x="925" y="43"/>
                  </a:lnTo>
                  <a:lnTo>
                    <a:pt x="925" y="43"/>
                  </a:lnTo>
                  <a:lnTo>
                    <a:pt x="927" y="45"/>
                  </a:lnTo>
                  <a:lnTo>
                    <a:pt x="927" y="45"/>
                  </a:lnTo>
                  <a:lnTo>
                    <a:pt x="927" y="48"/>
                  </a:lnTo>
                  <a:lnTo>
                    <a:pt x="927" y="50"/>
                  </a:lnTo>
                  <a:lnTo>
                    <a:pt x="927" y="52"/>
                  </a:lnTo>
                  <a:lnTo>
                    <a:pt x="930" y="55"/>
                  </a:lnTo>
                  <a:lnTo>
                    <a:pt x="930" y="5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11A6AF0C-8596-4353-8211-0A5A71363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236" y="2661852"/>
              <a:ext cx="983105" cy="541380"/>
            </a:xfrm>
            <a:custGeom>
              <a:avLst/>
              <a:gdLst>
                <a:gd name="T0" fmla="*/ 752 w 773"/>
                <a:gd name="T1" fmla="*/ 232 h 426"/>
                <a:gd name="T2" fmla="*/ 702 w 773"/>
                <a:gd name="T3" fmla="*/ 213 h 426"/>
                <a:gd name="T4" fmla="*/ 712 w 773"/>
                <a:gd name="T5" fmla="*/ 230 h 426"/>
                <a:gd name="T6" fmla="*/ 688 w 773"/>
                <a:gd name="T7" fmla="*/ 228 h 426"/>
                <a:gd name="T8" fmla="*/ 624 w 773"/>
                <a:gd name="T9" fmla="*/ 192 h 426"/>
                <a:gd name="T10" fmla="*/ 579 w 773"/>
                <a:gd name="T11" fmla="*/ 173 h 426"/>
                <a:gd name="T12" fmla="*/ 506 w 773"/>
                <a:gd name="T13" fmla="*/ 145 h 426"/>
                <a:gd name="T14" fmla="*/ 416 w 773"/>
                <a:gd name="T15" fmla="*/ 116 h 426"/>
                <a:gd name="T16" fmla="*/ 347 w 773"/>
                <a:gd name="T17" fmla="*/ 126 h 426"/>
                <a:gd name="T18" fmla="*/ 302 w 773"/>
                <a:gd name="T19" fmla="*/ 159 h 426"/>
                <a:gd name="T20" fmla="*/ 269 w 773"/>
                <a:gd name="T21" fmla="*/ 211 h 426"/>
                <a:gd name="T22" fmla="*/ 227 w 773"/>
                <a:gd name="T23" fmla="*/ 258 h 426"/>
                <a:gd name="T24" fmla="*/ 208 w 773"/>
                <a:gd name="T25" fmla="*/ 332 h 426"/>
                <a:gd name="T26" fmla="*/ 175 w 773"/>
                <a:gd name="T27" fmla="*/ 365 h 426"/>
                <a:gd name="T28" fmla="*/ 16 w 773"/>
                <a:gd name="T29" fmla="*/ 424 h 426"/>
                <a:gd name="T30" fmla="*/ 42 w 773"/>
                <a:gd name="T31" fmla="*/ 334 h 426"/>
                <a:gd name="T32" fmla="*/ 61 w 773"/>
                <a:gd name="T33" fmla="*/ 291 h 426"/>
                <a:gd name="T34" fmla="*/ 68 w 773"/>
                <a:gd name="T35" fmla="*/ 277 h 426"/>
                <a:gd name="T36" fmla="*/ 85 w 773"/>
                <a:gd name="T37" fmla="*/ 270 h 426"/>
                <a:gd name="T38" fmla="*/ 149 w 773"/>
                <a:gd name="T39" fmla="*/ 270 h 426"/>
                <a:gd name="T40" fmla="*/ 144 w 773"/>
                <a:gd name="T41" fmla="*/ 258 h 426"/>
                <a:gd name="T42" fmla="*/ 163 w 773"/>
                <a:gd name="T43" fmla="*/ 251 h 426"/>
                <a:gd name="T44" fmla="*/ 168 w 773"/>
                <a:gd name="T45" fmla="*/ 228 h 426"/>
                <a:gd name="T46" fmla="*/ 165 w 773"/>
                <a:gd name="T47" fmla="*/ 206 h 426"/>
                <a:gd name="T48" fmla="*/ 168 w 773"/>
                <a:gd name="T49" fmla="*/ 183 h 426"/>
                <a:gd name="T50" fmla="*/ 184 w 773"/>
                <a:gd name="T51" fmla="*/ 157 h 426"/>
                <a:gd name="T52" fmla="*/ 198 w 773"/>
                <a:gd name="T53" fmla="*/ 135 h 426"/>
                <a:gd name="T54" fmla="*/ 194 w 773"/>
                <a:gd name="T55" fmla="*/ 116 h 426"/>
                <a:gd name="T56" fmla="*/ 210 w 773"/>
                <a:gd name="T57" fmla="*/ 90 h 426"/>
                <a:gd name="T58" fmla="*/ 238 w 773"/>
                <a:gd name="T59" fmla="*/ 105 h 426"/>
                <a:gd name="T60" fmla="*/ 248 w 773"/>
                <a:gd name="T61" fmla="*/ 97 h 426"/>
                <a:gd name="T62" fmla="*/ 265 w 773"/>
                <a:gd name="T63" fmla="*/ 90 h 426"/>
                <a:gd name="T64" fmla="*/ 312 w 773"/>
                <a:gd name="T65" fmla="*/ 69 h 426"/>
                <a:gd name="T66" fmla="*/ 314 w 773"/>
                <a:gd name="T67" fmla="*/ 53 h 426"/>
                <a:gd name="T68" fmla="*/ 352 w 773"/>
                <a:gd name="T69" fmla="*/ 57 h 426"/>
                <a:gd name="T70" fmla="*/ 364 w 773"/>
                <a:gd name="T71" fmla="*/ 81 h 426"/>
                <a:gd name="T72" fmla="*/ 376 w 773"/>
                <a:gd name="T73" fmla="*/ 71 h 426"/>
                <a:gd name="T74" fmla="*/ 392 w 773"/>
                <a:gd name="T75" fmla="*/ 55 h 426"/>
                <a:gd name="T76" fmla="*/ 402 w 773"/>
                <a:gd name="T77" fmla="*/ 36 h 426"/>
                <a:gd name="T78" fmla="*/ 390 w 773"/>
                <a:gd name="T79" fmla="*/ 22 h 426"/>
                <a:gd name="T80" fmla="*/ 404 w 773"/>
                <a:gd name="T81" fmla="*/ 3 h 426"/>
                <a:gd name="T82" fmla="*/ 437 w 773"/>
                <a:gd name="T83" fmla="*/ 17 h 426"/>
                <a:gd name="T84" fmla="*/ 466 w 773"/>
                <a:gd name="T85" fmla="*/ 36 h 426"/>
                <a:gd name="T86" fmla="*/ 489 w 773"/>
                <a:gd name="T87" fmla="*/ 22 h 426"/>
                <a:gd name="T88" fmla="*/ 511 w 773"/>
                <a:gd name="T89" fmla="*/ 22 h 426"/>
                <a:gd name="T90" fmla="*/ 546 w 773"/>
                <a:gd name="T91" fmla="*/ 29 h 426"/>
                <a:gd name="T92" fmla="*/ 577 w 773"/>
                <a:gd name="T93" fmla="*/ 34 h 426"/>
                <a:gd name="T94" fmla="*/ 574 w 773"/>
                <a:gd name="T95" fmla="*/ 71 h 426"/>
                <a:gd name="T96" fmla="*/ 572 w 773"/>
                <a:gd name="T97" fmla="*/ 100 h 426"/>
                <a:gd name="T98" fmla="*/ 600 w 773"/>
                <a:gd name="T99" fmla="*/ 88 h 426"/>
                <a:gd name="T100" fmla="*/ 643 w 773"/>
                <a:gd name="T101" fmla="*/ 109 h 426"/>
                <a:gd name="T102" fmla="*/ 705 w 773"/>
                <a:gd name="T103" fmla="*/ 157 h 426"/>
                <a:gd name="T104" fmla="*/ 709 w 773"/>
                <a:gd name="T105" fmla="*/ 180 h 426"/>
                <a:gd name="T106" fmla="*/ 723 w 773"/>
                <a:gd name="T107" fmla="*/ 176 h 426"/>
                <a:gd name="T108" fmla="*/ 733 w 773"/>
                <a:gd name="T109" fmla="*/ 185 h 426"/>
                <a:gd name="T110" fmla="*/ 747 w 773"/>
                <a:gd name="T111" fmla="*/ 197 h 426"/>
                <a:gd name="T112" fmla="*/ 768 w 773"/>
                <a:gd name="T113" fmla="*/ 206 h 426"/>
                <a:gd name="T114" fmla="*/ 768 w 773"/>
                <a:gd name="T115" fmla="*/ 228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3" h="426">
                  <a:moveTo>
                    <a:pt x="768" y="228"/>
                  </a:moveTo>
                  <a:lnTo>
                    <a:pt x="768" y="228"/>
                  </a:lnTo>
                  <a:lnTo>
                    <a:pt x="766" y="230"/>
                  </a:lnTo>
                  <a:lnTo>
                    <a:pt x="766" y="232"/>
                  </a:lnTo>
                  <a:lnTo>
                    <a:pt x="764" y="230"/>
                  </a:lnTo>
                  <a:lnTo>
                    <a:pt x="757" y="228"/>
                  </a:lnTo>
                  <a:lnTo>
                    <a:pt x="754" y="228"/>
                  </a:lnTo>
                  <a:lnTo>
                    <a:pt x="754" y="230"/>
                  </a:lnTo>
                  <a:lnTo>
                    <a:pt x="752" y="232"/>
                  </a:lnTo>
                  <a:lnTo>
                    <a:pt x="750" y="235"/>
                  </a:lnTo>
                  <a:lnTo>
                    <a:pt x="747" y="235"/>
                  </a:lnTo>
                  <a:lnTo>
                    <a:pt x="745" y="235"/>
                  </a:lnTo>
                  <a:lnTo>
                    <a:pt x="740" y="230"/>
                  </a:lnTo>
                  <a:lnTo>
                    <a:pt x="728" y="223"/>
                  </a:lnTo>
                  <a:lnTo>
                    <a:pt x="723" y="218"/>
                  </a:lnTo>
                  <a:lnTo>
                    <a:pt x="719" y="221"/>
                  </a:lnTo>
                  <a:lnTo>
                    <a:pt x="709" y="213"/>
                  </a:lnTo>
                  <a:lnTo>
                    <a:pt x="702" y="213"/>
                  </a:lnTo>
                  <a:lnTo>
                    <a:pt x="705" y="218"/>
                  </a:lnTo>
                  <a:lnTo>
                    <a:pt x="705" y="218"/>
                  </a:lnTo>
                  <a:lnTo>
                    <a:pt x="702" y="221"/>
                  </a:lnTo>
                  <a:lnTo>
                    <a:pt x="702" y="221"/>
                  </a:lnTo>
                  <a:lnTo>
                    <a:pt x="705" y="223"/>
                  </a:lnTo>
                  <a:lnTo>
                    <a:pt x="707" y="225"/>
                  </a:lnTo>
                  <a:lnTo>
                    <a:pt x="709" y="228"/>
                  </a:lnTo>
                  <a:lnTo>
                    <a:pt x="712" y="228"/>
                  </a:lnTo>
                  <a:lnTo>
                    <a:pt x="712" y="230"/>
                  </a:lnTo>
                  <a:lnTo>
                    <a:pt x="709" y="232"/>
                  </a:lnTo>
                  <a:lnTo>
                    <a:pt x="709" y="235"/>
                  </a:lnTo>
                  <a:lnTo>
                    <a:pt x="707" y="237"/>
                  </a:lnTo>
                  <a:lnTo>
                    <a:pt x="712" y="239"/>
                  </a:lnTo>
                  <a:lnTo>
                    <a:pt x="712" y="242"/>
                  </a:lnTo>
                  <a:lnTo>
                    <a:pt x="709" y="242"/>
                  </a:lnTo>
                  <a:lnTo>
                    <a:pt x="705" y="237"/>
                  </a:lnTo>
                  <a:lnTo>
                    <a:pt x="702" y="232"/>
                  </a:lnTo>
                  <a:lnTo>
                    <a:pt x="688" y="228"/>
                  </a:lnTo>
                  <a:lnTo>
                    <a:pt x="671" y="216"/>
                  </a:lnTo>
                  <a:lnTo>
                    <a:pt x="667" y="213"/>
                  </a:lnTo>
                  <a:lnTo>
                    <a:pt x="657" y="206"/>
                  </a:lnTo>
                  <a:lnTo>
                    <a:pt x="655" y="206"/>
                  </a:lnTo>
                  <a:lnTo>
                    <a:pt x="645" y="206"/>
                  </a:lnTo>
                  <a:lnTo>
                    <a:pt x="643" y="206"/>
                  </a:lnTo>
                  <a:lnTo>
                    <a:pt x="638" y="204"/>
                  </a:lnTo>
                  <a:lnTo>
                    <a:pt x="626" y="192"/>
                  </a:lnTo>
                  <a:lnTo>
                    <a:pt x="624" y="192"/>
                  </a:lnTo>
                  <a:lnTo>
                    <a:pt x="622" y="187"/>
                  </a:lnTo>
                  <a:lnTo>
                    <a:pt x="617" y="185"/>
                  </a:lnTo>
                  <a:lnTo>
                    <a:pt x="603" y="180"/>
                  </a:lnTo>
                  <a:lnTo>
                    <a:pt x="598" y="178"/>
                  </a:lnTo>
                  <a:lnTo>
                    <a:pt x="596" y="173"/>
                  </a:lnTo>
                  <a:lnTo>
                    <a:pt x="593" y="168"/>
                  </a:lnTo>
                  <a:lnTo>
                    <a:pt x="589" y="171"/>
                  </a:lnTo>
                  <a:lnTo>
                    <a:pt x="584" y="173"/>
                  </a:lnTo>
                  <a:lnTo>
                    <a:pt x="579" y="173"/>
                  </a:lnTo>
                  <a:lnTo>
                    <a:pt x="577" y="168"/>
                  </a:lnTo>
                  <a:lnTo>
                    <a:pt x="574" y="166"/>
                  </a:lnTo>
                  <a:lnTo>
                    <a:pt x="558" y="161"/>
                  </a:lnTo>
                  <a:lnTo>
                    <a:pt x="556" y="152"/>
                  </a:lnTo>
                  <a:lnTo>
                    <a:pt x="522" y="138"/>
                  </a:lnTo>
                  <a:lnTo>
                    <a:pt x="511" y="131"/>
                  </a:lnTo>
                  <a:lnTo>
                    <a:pt x="508" y="135"/>
                  </a:lnTo>
                  <a:lnTo>
                    <a:pt x="506" y="140"/>
                  </a:lnTo>
                  <a:lnTo>
                    <a:pt x="506" y="145"/>
                  </a:lnTo>
                  <a:lnTo>
                    <a:pt x="508" y="152"/>
                  </a:lnTo>
                  <a:lnTo>
                    <a:pt x="494" y="147"/>
                  </a:lnTo>
                  <a:lnTo>
                    <a:pt x="487" y="145"/>
                  </a:lnTo>
                  <a:lnTo>
                    <a:pt x="487" y="140"/>
                  </a:lnTo>
                  <a:lnTo>
                    <a:pt x="480" y="131"/>
                  </a:lnTo>
                  <a:lnTo>
                    <a:pt x="470" y="126"/>
                  </a:lnTo>
                  <a:lnTo>
                    <a:pt x="440" y="124"/>
                  </a:lnTo>
                  <a:lnTo>
                    <a:pt x="425" y="121"/>
                  </a:lnTo>
                  <a:lnTo>
                    <a:pt x="416" y="116"/>
                  </a:lnTo>
                  <a:lnTo>
                    <a:pt x="414" y="119"/>
                  </a:lnTo>
                  <a:lnTo>
                    <a:pt x="399" y="119"/>
                  </a:lnTo>
                  <a:lnTo>
                    <a:pt x="392" y="119"/>
                  </a:lnTo>
                  <a:lnTo>
                    <a:pt x="390" y="116"/>
                  </a:lnTo>
                  <a:lnTo>
                    <a:pt x="385" y="114"/>
                  </a:lnTo>
                  <a:lnTo>
                    <a:pt x="366" y="114"/>
                  </a:lnTo>
                  <a:lnTo>
                    <a:pt x="359" y="116"/>
                  </a:lnTo>
                  <a:lnTo>
                    <a:pt x="354" y="119"/>
                  </a:lnTo>
                  <a:lnTo>
                    <a:pt x="347" y="126"/>
                  </a:lnTo>
                  <a:lnTo>
                    <a:pt x="345" y="131"/>
                  </a:lnTo>
                  <a:lnTo>
                    <a:pt x="343" y="133"/>
                  </a:lnTo>
                  <a:lnTo>
                    <a:pt x="340" y="133"/>
                  </a:lnTo>
                  <a:lnTo>
                    <a:pt x="338" y="133"/>
                  </a:lnTo>
                  <a:lnTo>
                    <a:pt x="335" y="133"/>
                  </a:lnTo>
                  <a:lnTo>
                    <a:pt x="319" y="150"/>
                  </a:lnTo>
                  <a:lnTo>
                    <a:pt x="314" y="150"/>
                  </a:lnTo>
                  <a:lnTo>
                    <a:pt x="309" y="152"/>
                  </a:lnTo>
                  <a:lnTo>
                    <a:pt x="302" y="159"/>
                  </a:lnTo>
                  <a:lnTo>
                    <a:pt x="283" y="178"/>
                  </a:lnTo>
                  <a:lnTo>
                    <a:pt x="276" y="187"/>
                  </a:lnTo>
                  <a:lnTo>
                    <a:pt x="279" y="194"/>
                  </a:lnTo>
                  <a:lnTo>
                    <a:pt x="276" y="199"/>
                  </a:lnTo>
                  <a:lnTo>
                    <a:pt x="276" y="202"/>
                  </a:lnTo>
                  <a:lnTo>
                    <a:pt x="276" y="206"/>
                  </a:lnTo>
                  <a:lnTo>
                    <a:pt x="276" y="206"/>
                  </a:lnTo>
                  <a:lnTo>
                    <a:pt x="272" y="211"/>
                  </a:lnTo>
                  <a:lnTo>
                    <a:pt x="269" y="211"/>
                  </a:lnTo>
                  <a:lnTo>
                    <a:pt x="269" y="218"/>
                  </a:lnTo>
                  <a:lnTo>
                    <a:pt x="269" y="223"/>
                  </a:lnTo>
                  <a:lnTo>
                    <a:pt x="269" y="225"/>
                  </a:lnTo>
                  <a:lnTo>
                    <a:pt x="267" y="232"/>
                  </a:lnTo>
                  <a:lnTo>
                    <a:pt x="260" y="237"/>
                  </a:lnTo>
                  <a:lnTo>
                    <a:pt x="243" y="244"/>
                  </a:lnTo>
                  <a:lnTo>
                    <a:pt x="234" y="249"/>
                  </a:lnTo>
                  <a:lnTo>
                    <a:pt x="229" y="254"/>
                  </a:lnTo>
                  <a:lnTo>
                    <a:pt x="227" y="258"/>
                  </a:lnTo>
                  <a:lnTo>
                    <a:pt x="220" y="270"/>
                  </a:lnTo>
                  <a:lnTo>
                    <a:pt x="220" y="273"/>
                  </a:lnTo>
                  <a:lnTo>
                    <a:pt x="222" y="280"/>
                  </a:lnTo>
                  <a:lnTo>
                    <a:pt x="222" y="284"/>
                  </a:lnTo>
                  <a:lnTo>
                    <a:pt x="220" y="289"/>
                  </a:lnTo>
                  <a:lnTo>
                    <a:pt x="217" y="296"/>
                  </a:lnTo>
                  <a:lnTo>
                    <a:pt x="205" y="313"/>
                  </a:lnTo>
                  <a:lnTo>
                    <a:pt x="201" y="325"/>
                  </a:lnTo>
                  <a:lnTo>
                    <a:pt x="208" y="332"/>
                  </a:lnTo>
                  <a:lnTo>
                    <a:pt x="208" y="334"/>
                  </a:lnTo>
                  <a:lnTo>
                    <a:pt x="201" y="336"/>
                  </a:lnTo>
                  <a:lnTo>
                    <a:pt x="191" y="348"/>
                  </a:lnTo>
                  <a:lnTo>
                    <a:pt x="184" y="353"/>
                  </a:lnTo>
                  <a:lnTo>
                    <a:pt x="182" y="355"/>
                  </a:lnTo>
                  <a:lnTo>
                    <a:pt x="182" y="358"/>
                  </a:lnTo>
                  <a:lnTo>
                    <a:pt x="179" y="360"/>
                  </a:lnTo>
                  <a:lnTo>
                    <a:pt x="179" y="362"/>
                  </a:lnTo>
                  <a:lnTo>
                    <a:pt x="175" y="365"/>
                  </a:lnTo>
                  <a:lnTo>
                    <a:pt x="168" y="367"/>
                  </a:lnTo>
                  <a:lnTo>
                    <a:pt x="149" y="386"/>
                  </a:lnTo>
                  <a:lnTo>
                    <a:pt x="97" y="403"/>
                  </a:lnTo>
                  <a:lnTo>
                    <a:pt x="82" y="415"/>
                  </a:lnTo>
                  <a:lnTo>
                    <a:pt x="71" y="419"/>
                  </a:lnTo>
                  <a:lnTo>
                    <a:pt x="33" y="422"/>
                  </a:lnTo>
                  <a:lnTo>
                    <a:pt x="23" y="426"/>
                  </a:lnTo>
                  <a:lnTo>
                    <a:pt x="19" y="426"/>
                  </a:lnTo>
                  <a:lnTo>
                    <a:pt x="16" y="424"/>
                  </a:lnTo>
                  <a:lnTo>
                    <a:pt x="14" y="424"/>
                  </a:lnTo>
                  <a:lnTo>
                    <a:pt x="11" y="424"/>
                  </a:lnTo>
                  <a:lnTo>
                    <a:pt x="2" y="405"/>
                  </a:lnTo>
                  <a:lnTo>
                    <a:pt x="0" y="393"/>
                  </a:lnTo>
                  <a:lnTo>
                    <a:pt x="4" y="384"/>
                  </a:lnTo>
                  <a:lnTo>
                    <a:pt x="16" y="367"/>
                  </a:lnTo>
                  <a:lnTo>
                    <a:pt x="21" y="358"/>
                  </a:lnTo>
                  <a:lnTo>
                    <a:pt x="35" y="344"/>
                  </a:lnTo>
                  <a:lnTo>
                    <a:pt x="42" y="334"/>
                  </a:lnTo>
                  <a:lnTo>
                    <a:pt x="45" y="329"/>
                  </a:lnTo>
                  <a:lnTo>
                    <a:pt x="45" y="320"/>
                  </a:lnTo>
                  <a:lnTo>
                    <a:pt x="47" y="315"/>
                  </a:lnTo>
                  <a:lnTo>
                    <a:pt x="49" y="310"/>
                  </a:lnTo>
                  <a:lnTo>
                    <a:pt x="54" y="306"/>
                  </a:lnTo>
                  <a:lnTo>
                    <a:pt x="56" y="301"/>
                  </a:lnTo>
                  <a:lnTo>
                    <a:pt x="56" y="294"/>
                  </a:lnTo>
                  <a:lnTo>
                    <a:pt x="56" y="291"/>
                  </a:lnTo>
                  <a:lnTo>
                    <a:pt x="61" y="291"/>
                  </a:lnTo>
                  <a:lnTo>
                    <a:pt x="71" y="287"/>
                  </a:lnTo>
                  <a:lnTo>
                    <a:pt x="71" y="287"/>
                  </a:lnTo>
                  <a:lnTo>
                    <a:pt x="71" y="284"/>
                  </a:lnTo>
                  <a:lnTo>
                    <a:pt x="68" y="284"/>
                  </a:lnTo>
                  <a:lnTo>
                    <a:pt x="68" y="284"/>
                  </a:lnTo>
                  <a:lnTo>
                    <a:pt x="68" y="282"/>
                  </a:lnTo>
                  <a:lnTo>
                    <a:pt x="66" y="280"/>
                  </a:lnTo>
                  <a:lnTo>
                    <a:pt x="66" y="280"/>
                  </a:lnTo>
                  <a:lnTo>
                    <a:pt x="68" y="277"/>
                  </a:lnTo>
                  <a:lnTo>
                    <a:pt x="68" y="277"/>
                  </a:lnTo>
                  <a:lnTo>
                    <a:pt x="71" y="273"/>
                  </a:lnTo>
                  <a:lnTo>
                    <a:pt x="71" y="270"/>
                  </a:lnTo>
                  <a:lnTo>
                    <a:pt x="73" y="268"/>
                  </a:lnTo>
                  <a:lnTo>
                    <a:pt x="73" y="268"/>
                  </a:lnTo>
                  <a:lnTo>
                    <a:pt x="75" y="268"/>
                  </a:lnTo>
                  <a:lnTo>
                    <a:pt x="78" y="268"/>
                  </a:lnTo>
                  <a:lnTo>
                    <a:pt x="80" y="268"/>
                  </a:lnTo>
                  <a:lnTo>
                    <a:pt x="85" y="270"/>
                  </a:lnTo>
                  <a:lnTo>
                    <a:pt x="89" y="270"/>
                  </a:lnTo>
                  <a:lnTo>
                    <a:pt x="89" y="273"/>
                  </a:lnTo>
                  <a:lnTo>
                    <a:pt x="99" y="273"/>
                  </a:lnTo>
                  <a:lnTo>
                    <a:pt x="118" y="273"/>
                  </a:lnTo>
                  <a:lnTo>
                    <a:pt x="125" y="273"/>
                  </a:lnTo>
                  <a:lnTo>
                    <a:pt x="146" y="273"/>
                  </a:lnTo>
                  <a:lnTo>
                    <a:pt x="149" y="273"/>
                  </a:lnTo>
                  <a:lnTo>
                    <a:pt x="149" y="273"/>
                  </a:lnTo>
                  <a:lnTo>
                    <a:pt x="149" y="270"/>
                  </a:lnTo>
                  <a:lnTo>
                    <a:pt x="151" y="270"/>
                  </a:lnTo>
                  <a:lnTo>
                    <a:pt x="149" y="268"/>
                  </a:lnTo>
                  <a:lnTo>
                    <a:pt x="149" y="265"/>
                  </a:lnTo>
                  <a:lnTo>
                    <a:pt x="149" y="265"/>
                  </a:lnTo>
                  <a:lnTo>
                    <a:pt x="146" y="265"/>
                  </a:lnTo>
                  <a:lnTo>
                    <a:pt x="144" y="263"/>
                  </a:lnTo>
                  <a:lnTo>
                    <a:pt x="144" y="263"/>
                  </a:lnTo>
                  <a:lnTo>
                    <a:pt x="141" y="261"/>
                  </a:lnTo>
                  <a:lnTo>
                    <a:pt x="144" y="258"/>
                  </a:lnTo>
                  <a:lnTo>
                    <a:pt x="144" y="256"/>
                  </a:lnTo>
                  <a:lnTo>
                    <a:pt x="146" y="254"/>
                  </a:lnTo>
                  <a:lnTo>
                    <a:pt x="149" y="251"/>
                  </a:lnTo>
                  <a:lnTo>
                    <a:pt x="149" y="251"/>
                  </a:lnTo>
                  <a:lnTo>
                    <a:pt x="153" y="251"/>
                  </a:lnTo>
                  <a:lnTo>
                    <a:pt x="156" y="254"/>
                  </a:lnTo>
                  <a:lnTo>
                    <a:pt x="160" y="254"/>
                  </a:lnTo>
                  <a:lnTo>
                    <a:pt x="160" y="254"/>
                  </a:lnTo>
                  <a:lnTo>
                    <a:pt x="163" y="251"/>
                  </a:lnTo>
                  <a:lnTo>
                    <a:pt x="163" y="251"/>
                  </a:lnTo>
                  <a:lnTo>
                    <a:pt x="165" y="249"/>
                  </a:lnTo>
                  <a:lnTo>
                    <a:pt x="168" y="244"/>
                  </a:lnTo>
                  <a:lnTo>
                    <a:pt x="170" y="239"/>
                  </a:lnTo>
                  <a:lnTo>
                    <a:pt x="170" y="237"/>
                  </a:lnTo>
                  <a:lnTo>
                    <a:pt x="170" y="235"/>
                  </a:lnTo>
                  <a:lnTo>
                    <a:pt x="170" y="232"/>
                  </a:lnTo>
                  <a:lnTo>
                    <a:pt x="170" y="230"/>
                  </a:lnTo>
                  <a:lnTo>
                    <a:pt x="168" y="228"/>
                  </a:lnTo>
                  <a:lnTo>
                    <a:pt x="168" y="228"/>
                  </a:lnTo>
                  <a:lnTo>
                    <a:pt x="165" y="225"/>
                  </a:lnTo>
                  <a:lnTo>
                    <a:pt x="165" y="223"/>
                  </a:lnTo>
                  <a:lnTo>
                    <a:pt x="165" y="218"/>
                  </a:lnTo>
                  <a:lnTo>
                    <a:pt x="165" y="216"/>
                  </a:lnTo>
                  <a:lnTo>
                    <a:pt x="165" y="213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06"/>
                  </a:lnTo>
                  <a:lnTo>
                    <a:pt x="165" y="197"/>
                  </a:lnTo>
                  <a:lnTo>
                    <a:pt x="165" y="194"/>
                  </a:lnTo>
                  <a:lnTo>
                    <a:pt x="165" y="192"/>
                  </a:lnTo>
                  <a:lnTo>
                    <a:pt x="163" y="190"/>
                  </a:lnTo>
                  <a:lnTo>
                    <a:pt x="163" y="190"/>
                  </a:lnTo>
                  <a:lnTo>
                    <a:pt x="163" y="187"/>
                  </a:lnTo>
                  <a:lnTo>
                    <a:pt x="163" y="187"/>
                  </a:lnTo>
                  <a:lnTo>
                    <a:pt x="165" y="185"/>
                  </a:lnTo>
                  <a:lnTo>
                    <a:pt x="168" y="183"/>
                  </a:lnTo>
                  <a:lnTo>
                    <a:pt x="170" y="180"/>
                  </a:lnTo>
                  <a:lnTo>
                    <a:pt x="172" y="178"/>
                  </a:lnTo>
                  <a:lnTo>
                    <a:pt x="172" y="176"/>
                  </a:lnTo>
                  <a:lnTo>
                    <a:pt x="175" y="173"/>
                  </a:lnTo>
                  <a:lnTo>
                    <a:pt x="179" y="168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1"/>
                  </a:lnTo>
                  <a:lnTo>
                    <a:pt x="184" y="157"/>
                  </a:lnTo>
                  <a:lnTo>
                    <a:pt x="186" y="150"/>
                  </a:lnTo>
                  <a:lnTo>
                    <a:pt x="186" y="147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94" y="142"/>
                  </a:lnTo>
                  <a:lnTo>
                    <a:pt x="196" y="140"/>
                  </a:lnTo>
                  <a:lnTo>
                    <a:pt x="196" y="140"/>
                  </a:lnTo>
                  <a:lnTo>
                    <a:pt x="196" y="140"/>
                  </a:lnTo>
                  <a:lnTo>
                    <a:pt x="198" y="135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198" y="126"/>
                  </a:lnTo>
                  <a:lnTo>
                    <a:pt x="198" y="124"/>
                  </a:lnTo>
                  <a:lnTo>
                    <a:pt x="198" y="121"/>
                  </a:lnTo>
                  <a:lnTo>
                    <a:pt x="196" y="119"/>
                  </a:lnTo>
                  <a:lnTo>
                    <a:pt x="194" y="119"/>
                  </a:lnTo>
                  <a:lnTo>
                    <a:pt x="194" y="116"/>
                  </a:lnTo>
                  <a:lnTo>
                    <a:pt x="194" y="116"/>
                  </a:lnTo>
                  <a:lnTo>
                    <a:pt x="194" y="114"/>
                  </a:lnTo>
                  <a:lnTo>
                    <a:pt x="194" y="112"/>
                  </a:lnTo>
                  <a:lnTo>
                    <a:pt x="196" y="107"/>
                  </a:lnTo>
                  <a:lnTo>
                    <a:pt x="196" y="102"/>
                  </a:lnTo>
                  <a:lnTo>
                    <a:pt x="198" y="95"/>
                  </a:lnTo>
                  <a:lnTo>
                    <a:pt x="198" y="95"/>
                  </a:lnTo>
                  <a:lnTo>
                    <a:pt x="203" y="88"/>
                  </a:lnTo>
                  <a:lnTo>
                    <a:pt x="208" y="86"/>
                  </a:lnTo>
                  <a:lnTo>
                    <a:pt x="210" y="90"/>
                  </a:lnTo>
                  <a:lnTo>
                    <a:pt x="212" y="93"/>
                  </a:lnTo>
                  <a:lnTo>
                    <a:pt x="215" y="93"/>
                  </a:lnTo>
                  <a:lnTo>
                    <a:pt x="220" y="95"/>
                  </a:lnTo>
                  <a:lnTo>
                    <a:pt x="224" y="97"/>
                  </a:lnTo>
                  <a:lnTo>
                    <a:pt x="227" y="100"/>
                  </a:lnTo>
                  <a:lnTo>
                    <a:pt x="227" y="100"/>
                  </a:lnTo>
                  <a:lnTo>
                    <a:pt x="234" y="102"/>
                  </a:lnTo>
                  <a:lnTo>
                    <a:pt x="236" y="102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41" y="107"/>
                  </a:lnTo>
                  <a:lnTo>
                    <a:pt x="243" y="105"/>
                  </a:lnTo>
                  <a:lnTo>
                    <a:pt x="246" y="102"/>
                  </a:lnTo>
                  <a:lnTo>
                    <a:pt x="248" y="102"/>
                  </a:lnTo>
                  <a:lnTo>
                    <a:pt x="248" y="100"/>
                  </a:lnTo>
                  <a:lnTo>
                    <a:pt x="248" y="97"/>
                  </a:lnTo>
                  <a:lnTo>
                    <a:pt x="248" y="97"/>
                  </a:lnTo>
                  <a:lnTo>
                    <a:pt x="250" y="95"/>
                  </a:lnTo>
                  <a:lnTo>
                    <a:pt x="250" y="95"/>
                  </a:lnTo>
                  <a:lnTo>
                    <a:pt x="250" y="93"/>
                  </a:lnTo>
                  <a:lnTo>
                    <a:pt x="255" y="90"/>
                  </a:lnTo>
                  <a:lnTo>
                    <a:pt x="255" y="90"/>
                  </a:lnTo>
                  <a:lnTo>
                    <a:pt x="257" y="88"/>
                  </a:lnTo>
                  <a:lnTo>
                    <a:pt x="260" y="90"/>
                  </a:lnTo>
                  <a:lnTo>
                    <a:pt x="262" y="90"/>
                  </a:lnTo>
                  <a:lnTo>
                    <a:pt x="265" y="90"/>
                  </a:lnTo>
                  <a:lnTo>
                    <a:pt x="267" y="88"/>
                  </a:lnTo>
                  <a:lnTo>
                    <a:pt x="276" y="86"/>
                  </a:lnTo>
                  <a:lnTo>
                    <a:pt x="302" y="83"/>
                  </a:lnTo>
                  <a:lnTo>
                    <a:pt x="307" y="81"/>
                  </a:lnTo>
                  <a:lnTo>
                    <a:pt x="309" y="76"/>
                  </a:lnTo>
                  <a:lnTo>
                    <a:pt x="312" y="74"/>
                  </a:lnTo>
                  <a:lnTo>
                    <a:pt x="312" y="71"/>
                  </a:lnTo>
                  <a:lnTo>
                    <a:pt x="312" y="71"/>
                  </a:lnTo>
                  <a:lnTo>
                    <a:pt x="312" y="69"/>
                  </a:lnTo>
                  <a:lnTo>
                    <a:pt x="312" y="67"/>
                  </a:lnTo>
                  <a:lnTo>
                    <a:pt x="312" y="67"/>
                  </a:lnTo>
                  <a:lnTo>
                    <a:pt x="309" y="64"/>
                  </a:lnTo>
                  <a:lnTo>
                    <a:pt x="309" y="64"/>
                  </a:lnTo>
                  <a:lnTo>
                    <a:pt x="312" y="62"/>
                  </a:lnTo>
                  <a:lnTo>
                    <a:pt x="312" y="60"/>
                  </a:lnTo>
                  <a:lnTo>
                    <a:pt x="312" y="57"/>
                  </a:lnTo>
                  <a:lnTo>
                    <a:pt x="312" y="55"/>
                  </a:lnTo>
                  <a:lnTo>
                    <a:pt x="314" y="53"/>
                  </a:lnTo>
                  <a:lnTo>
                    <a:pt x="314" y="53"/>
                  </a:lnTo>
                  <a:lnTo>
                    <a:pt x="317" y="53"/>
                  </a:lnTo>
                  <a:lnTo>
                    <a:pt x="319" y="50"/>
                  </a:lnTo>
                  <a:lnTo>
                    <a:pt x="345" y="50"/>
                  </a:lnTo>
                  <a:lnTo>
                    <a:pt x="347" y="53"/>
                  </a:lnTo>
                  <a:lnTo>
                    <a:pt x="347" y="53"/>
                  </a:lnTo>
                  <a:lnTo>
                    <a:pt x="350" y="53"/>
                  </a:lnTo>
                  <a:lnTo>
                    <a:pt x="350" y="55"/>
                  </a:lnTo>
                  <a:lnTo>
                    <a:pt x="352" y="57"/>
                  </a:lnTo>
                  <a:lnTo>
                    <a:pt x="352" y="60"/>
                  </a:lnTo>
                  <a:lnTo>
                    <a:pt x="357" y="62"/>
                  </a:lnTo>
                  <a:lnTo>
                    <a:pt x="359" y="67"/>
                  </a:lnTo>
                  <a:lnTo>
                    <a:pt x="359" y="69"/>
                  </a:lnTo>
                  <a:lnTo>
                    <a:pt x="362" y="71"/>
                  </a:lnTo>
                  <a:lnTo>
                    <a:pt x="364" y="74"/>
                  </a:lnTo>
                  <a:lnTo>
                    <a:pt x="364" y="74"/>
                  </a:lnTo>
                  <a:lnTo>
                    <a:pt x="364" y="79"/>
                  </a:lnTo>
                  <a:lnTo>
                    <a:pt x="364" y="81"/>
                  </a:lnTo>
                  <a:lnTo>
                    <a:pt x="364" y="83"/>
                  </a:lnTo>
                  <a:lnTo>
                    <a:pt x="364" y="83"/>
                  </a:lnTo>
                  <a:lnTo>
                    <a:pt x="366" y="83"/>
                  </a:lnTo>
                  <a:lnTo>
                    <a:pt x="366" y="83"/>
                  </a:lnTo>
                  <a:lnTo>
                    <a:pt x="366" y="83"/>
                  </a:lnTo>
                  <a:lnTo>
                    <a:pt x="369" y="79"/>
                  </a:lnTo>
                  <a:lnTo>
                    <a:pt x="371" y="76"/>
                  </a:lnTo>
                  <a:lnTo>
                    <a:pt x="371" y="74"/>
                  </a:lnTo>
                  <a:lnTo>
                    <a:pt x="376" y="71"/>
                  </a:lnTo>
                  <a:lnTo>
                    <a:pt x="376" y="69"/>
                  </a:lnTo>
                  <a:lnTo>
                    <a:pt x="378" y="69"/>
                  </a:lnTo>
                  <a:lnTo>
                    <a:pt x="378" y="67"/>
                  </a:lnTo>
                  <a:lnTo>
                    <a:pt x="378" y="64"/>
                  </a:lnTo>
                  <a:lnTo>
                    <a:pt x="378" y="60"/>
                  </a:lnTo>
                  <a:lnTo>
                    <a:pt x="380" y="57"/>
                  </a:lnTo>
                  <a:lnTo>
                    <a:pt x="380" y="57"/>
                  </a:lnTo>
                  <a:lnTo>
                    <a:pt x="385" y="55"/>
                  </a:lnTo>
                  <a:lnTo>
                    <a:pt x="392" y="55"/>
                  </a:lnTo>
                  <a:lnTo>
                    <a:pt x="399" y="55"/>
                  </a:lnTo>
                  <a:lnTo>
                    <a:pt x="399" y="55"/>
                  </a:lnTo>
                  <a:lnTo>
                    <a:pt x="402" y="53"/>
                  </a:lnTo>
                  <a:lnTo>
                    <a:pt x="404" y="50"/>
                  </a:lnTo>
                  <a:lnTo>
                    <a:pt x="404" y="48"/>
                  </a:lnTo>
                  <a:lnTo>
                    <a:pt x="404" y="48"/>
                  </a:lnTo>
                  <a:lnTo>
                    <a:pt x="404" y="45"/>
                  </a:lnTo>
                  <a:lnTo>
                    <a:pt x="402" y="41"/>
                  </a:lnTo>
                  <a:lnTo>
                    <a:pt x="402" y="36"/>
                  </a:lnTo>
                  <a:lnTo>
                    <a:pt x="402" y="34"/>
                  </a:lnTo>
                  <a:lnTo>
                    <a:pt x="402" y="34"/>
                  </a:lnTo>
                  <a:lnTo>
                    <a:pt x="402" y="31"/>
                  </a:lnTo>
                  <a:lnTo>
                    <a:pt x="399" y="31"/>
                  </a:lnTo>
                  <a:lnTo>
                    <a:pt x="397" y="29"/>
                  </a:lnTo>
                  <a:lnTo>
                    <a:pt x="392" y="27"/>
                  </a:lnTo>
                  <a:lnTo>
                    <a:pt x="392" y="24"/>
                  </a:lnTo>
                  <a:lnTo>
                    <a:pt x="390" y="24"/>
                  </a:lnTo>
                  <a:lnTo>
                    <a:pt x="390" y="22"/>
                  </a:lnTo>
                  <a:lnTo>
                    <a:pt x="392" y="22"/>
                  </a:lnTo>
                  <a:lnTo>
                    <a:pt x="397" y="17"/>
                  </a:lnTo>
                  <a:lnTo>
                    <a:pt x="399" y="12"/>
                  </a:lnTo>
                  <a:lnTo>
                    <a:pt x="399" y="12"/>
                  </a:lnTo>
                  <a:lnTo>
                    <a:pt x="399" y="10"/>
                  </a:lnTo>
                  <a:lnTo>
                    <a:pt x="399" y="5"/>
                  </a:lnTo>
                  <a:lnTo>
                    <a:pt x="402" y="3"/>
                  </a:lnTo>
                  <a:lnTo>
                    <a:pt x="402" y="3"/>
                  </a:lnTo>
                  <a:lnTo>
                    <a:pt x="404" y="3"/>
                  </a:lnTo>
                  <a:lnTo>
                    <a:pt x="409" y="0"/>
                  </a:lnTo>
                  <a:lnTo>
                    <a:pt x="411" y="0"/>
                  </a:lnTo>
                  <a:lnTo>
                    <a:pt x="414" y="0"/>
                  </a:lnTo>
                  <a:lnTo>
                    <a:pt x="416" y="5"/>
                  </a:lnTo>
                  <a:lnTo>
                    <a:pt x="418" y="5"/>
                  </a:lnTo>
                  <a:lnTo>
                    <a:pt x="421" y="8"/>
                  </a:lnTo>
                  <a:lnTo>
                    <a:pt x="428" y="10"/>
                  </a:lnTo>
                  <a:lnTo>
                    <a:pt x="430" y="12"/>
                  </a:lnTo>
                  <a:lnTo>
                    <a:pt x="437" y="17"/>
                  </a:lnTo>
                  <a:lnTo>
                    <a:pt x="440" y="19"/>
                  </a:lnTo>
                  <a:lnTo>
                    <a:pt x="456" y="24"/>
                  </a:lnTo>
                  <a:lnTo>
                    <a:pt x="459" y="24"/>
                  </a:lnTo>
                  <a:lnTo>
                    <a:pt x="461" y="27"/>
                  </a:lnTo>
                  <a:lnTo>
                    <a:pt x="461" y="31"/>
                  </a:lnTo>
                  <a:lnTo>
                    <a:pt x="463" y="31"/>
                  </a:lnTo>
                  <a:lnTo>
                    <a:pt x="463" y="34"/>
                  </a:lnTo>
                  <a:lnTo>
                    <a:pt x="463" y="34"/>
                  </a:lnTo>
                  <a:lnTo>
                    <a:pt x="466" y="36"/>
                  </a:lnTo>
                  <a:lnTo>
                    <a:pt x="468" y="36"/>
                  </a:lnTo>
                  <a:lnTo>
                    <a:pt x="470" y="36"/>
                  </a:lnTo>
                  <a:lnTo>
                    <a:pt x="475" y="38"/>
                  </a:lnTo>
                  <a:lnTo>
                    <a:pt x="477" y="36"/>
                  </a:lnTo>
                  <a:lnTo>
                    <a:pt x="482" y="36"/>
                  </a:lnTo>
                  <a:lnTo>
                    <a:pt x="485" y="34"/>
                  </a:lnTo>
                  <a:lnTo>
                    <a:pt x="487" y="31"/>
                  </a:lnTo>
                  <a:lnTo>
                    <a:pt x="489" y="29"/>
                  </a:lnTo>
                  <a:lnTo>
                    <a:pt x="489" y="22"/>
                  </a:lnTo>
                  <a:lnTo>
                    <a:pt x="494" y="19"/>
                  </a:lnTo>
                  <a:lnTo>
                    <a:pt x="496" y="17"/>
                  </a:lnTo>
                  <a:lnTo>
                    <a:pt x="499" y="17"/>
                  </a:lnTo>
                  <a:lnTo>
                    <a:pt x="501" y="19"/>
                  </a:lnTo>
                  <a:lnTo>
                    <a:pt x="503" y="19"/>
                  </a:lnTo>
                  <a:lnTo>
                    <a:pt x="506" y="24"/>
                  </a:lnTo>
                  <a:lnTo>
                    <a:pt x="508" y="24"/>
                  </a:lnTo>
                  <a:lnTo>
                    <a:pt x="508" y="24"/>
                  </a:lnTo>
                  <a:lnTo>
                    <a:pt x="511" y="22"/>
                  </a:lnTo>
                  <a:lnTo>
                    <a:pt x="515" y="19"/>
                  </a:lnTo>
                  <a:lnTo>
                    <a:pt x="518" y="19"/>
                  </a:lnTo>
                  <a:lnTo>
                    <a:pt x="520" y="22"/>
                  </a:lnTo>
                  <a:lnTo>
                    <a:pt x="534" y="29"/>
                  </a:lnTo>
                  <a:lnTo>
                    <a:pt x="534" y="29"/>
                  </a:lnTo>
                  <a:lnTo>
                    <a:pt x="537" y="29"/>
                  </a:lnTo>
                  <a:lnTo>
                    <a:pt x="539" y="29"/>
                  </a:lnTo>
                  <a:lnTo>
                    <a:pt x="544" y="29"/>
                  </a:lnTo>
                  <a:lnTo>
                    <a:pt x="546" y="29"/>
                  </a:lnTo>
                  <a:lnTo>
                    <a:pt x="548" y="27"/>
                  </a:lnTo>
                  <a:lnTo>
                    <a:pt x="551" y="24"/>
                  </a:lnTo>
                  <a:lnTo>
                    <a:pt x="551" y="22"/>
                  </a:lnTo>
                  <a:lnTo>
                    <a:pt x="553" y="22"/>
                  </a:lnTo>
                  <a:lnTo>
                    <a:pt x="556" y="22"/>
                  </a:lnTo>
                  <a:lnTo>
                    <a:pt x="558" y="27"/>
                  </a:lnTo>
                  <a:lnTo>
                    <a:pt x="560" y="29"/>
                  </a:lnTo>
                  <a:lnTo>
                    <a:pt x="563" y="31"/>
                  </a:lnTo>
                  <a:lnTo>
                    <a:pt x="577" y="34"/>
                  </a:lnTo>
                  <a:lnTo>
                    <a:pt x="579" y="36"/>
                  </a:lnTo>
                  <a:lnTo>
                    <a:pt x="582" y="48"/>
                  </a:lnTo>
                  <a:lnTo>
                    <a:pt x="582" y="55"/>
                  </a:lnTo>
                  <a:lnTo>
                    <a:pt x="582" y="57"/>
                  </a:lnTo>
                  <a:lnTo>
                    <a:pt x="582" y="60"/>
                  </a:lnTo>
                  <a:lnTo>
                    <a:pt x="579" y="67"/>
                  </a:lnTo>
                  <a:lnTo>
                    <a:pt x="577" y="69"/>
                  </a:lnTo>
                  <a:lnTo>
                    <a:pt x="574" y="69"/>
                  </a:lnTo>
                  <a:lnTo>
                    <a:pt x="574" y="71"/>
                  </a:lnTo>
                  <a:lnTo>
                    <a:pt x="572" y="71"/>
                  </a:lnTo>
                  <a:lnTo>
                    <a:pt x="572" y="74"/>
                  </a:lnTo>
                  <a:lnTo>
                    <a:pt x="572" y="74"/>
                  </a:lnTo>
                  <a:lnTo>
                    <a:pt x="570" y="88"/>
                  </a:lnTo>
                  <a:lnTo>
                    <a:pt x="570" y="90"/>
                  </a:lnTo>
                  <a:lnTo>
                    <a:pt x="570" y="93"/>
                  </a:lnTo>
                  <a:lnTo>
                    <a:pt x="570" y="95"/>
                  </a:lnTo>
                  <a:lnTo>
                    <a:pt x="570" y="97"/>
                  </a:lnTo>
                  <a:lnTo>
                    <a:pt x="572" y="100"/>
                  </a:lnTo>
                  <a:lnTo>
                    <a:pt x="574" y="100"/>
                  </a:lnTo>
                  <a:lnTo>
                    <a:pt x="582" y="97"/>
                  </a:lnTo>
                  <a:lnTo>
                    <a:pt x="586" y="95"/>
                  </a:lnTo>
                  <a:lnTo>
                    <a:pt x="586" y="95"/>
                  </a:lnTo>
                  <a:lnTo>
                    <a:pt x="589" y="93"/>
                  </a:lnTo>
                  <a:lnTo>
                    <a:pt x="589" y="93"/>
                  </a:lnTo>
                  <a:lnTo>
                    <a:pt x="591" y="90"/>
                  </a:lnTo>
                  <a:lnTo>
                    <a:pt x="593" y="88"/>
                  </a:lnTo>
                  <a:lnTo>
                    <a:pt x="600" y="88"/>
                  </a:lnTo>
                  <a:lnTo>
                    <a:pt x="605" y="88"/>
                  </a:lnTo>
                  <a:lnTo>
                    <a:pt x="610" y="88"/>
                  </a:lnTo>
                  <a:lnTo>
                    <a:pt x="617" y="86"/>
                  </a:lnTo>
                  <a:lnTo>
                    <a:pt x="619" y="88"/>
                  </a:lnTo>
                  <a:lnTo>
                    <a:pt x="636" y="93"/>
                  </a:lnTo>
                  <a:lnTo>
                    <a:pt x="636" y="95"/>
                  </a:lnTo>
                  <a:lnTo>
                    <a:pt x="638" y="97"/>
                  </a:lnTo>
                  <a:lnTo>
                    <a:pt x="641" y="102"/>
                  </a:lnTo>
                  <a:lnTo>
                    <a:pt x="643" y="109"/>
                  </a:lnTo>
                  <a:lnTo>
                    <a:pt x="650" y="114"/>
                  </a:lnTo>
                  <a:lnTo>
                    <a:pt x="660" y="124"/>
                  </a:lnTo>
                  <a:lnTo>
                    <a:pt x="671" y="133"/>
                  </a:lnTo>
                  <a:lnTo>
                    <a:pt x="697" y="147"/>
                  </a:lnTo>
                  <a:lnTo>
                    <a:pt x="702" y="150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4"/>
                  </a:lnTo>
                  <a:lnTo>
                    <a:pt x="705" y="157"/>
                  </a:lnTo>
                  <a:lnTo>
                    <a:pt x="705" y="159"/>
                  </a:lnTo>
                  <a:lnTo>
                    <a:pt x="705" y="159"/>
                  </a:lnTo>
                  <a:lnTo>
                    <a:pt x="705" y="161"/>
                  </a:lnTo>
                  <a:lnTo>
                    <a:pt x="707" y="168"/>
                  </a:lnTo>
                  <a:lnTo>
                    <a:pt x="709" y="171"/>
                  </a:lnTo>
                  <a:lnTo>
                    <a:pt x="709" y="173"/>
                  </a:lnTo>
                  <a:lnTo>
                    <a:pt x="709" y="176"/>
                  </a:lnTo>
                  <a:lnTo>
                    <a:pt x="709" y="178"/>
                  </a:lnTo>
                  <a:lnTo>
                    <a:pt x="709" y="180"/>
                  </a:lnTo>
                  <a:lnTo>
                    <a:pt x="712" y="180"/>
                  </a:lnTo>
                  <a:lnTo>
                    <a:pt x="712" y="178"/>
                  </a:lnTo>
                  <a:lnTo>
                    <a:pt x="712" y="178"/>
                  </a:lnTo>
                  <a:lnTo>
                    <a:pt x="714" y="171"/>
                  </a:lnTo>
                  <a:lnTo>
                    <a:pt x="716" y="171"/>
                  </a:lnTo>
                  <a:lnTo>
                    <a:pt x="716" y="171"/>
                  </a:lnTo>
                  <a:lnTo>
                    <a:pt x="721" y="173"/>
                  </a:lnTo>
                  <a:lnTo>
                    <a:pt x="723" y="173"/>
                  </a:lnTo>
                  <a:lnTo>
                    <a:pt x="723" y="176"/>
                  </a:lnTo>
                  <a:lnTo>
                    <a:pt x="723" y="178"/>
                  </a:lnTo>
                  <a:lnTo>
                    <a:pt x="721" y="183"/>
                  </a:lnTo>
                  <a:lnTo>
                    <a:pt x="721" y="183"/>
                  </a:lnTo>
                  <a:lnTo>
                    <a:pt x="721" y="185"/>
                  </a:lnTo>
                  <a:lnTo>
                    <a:pt x="721" y="187"/>
                  </a:lnTo>
                  <a:lnTo>
                    <a:pt x="723" y="187"/>
                  </a:lnTo>
                  <a:lnTo>
                    <a:pt x="726" y="187"/>
                  </a:lnTo>
                  <a:lnTo>
                    <a:pt x="728" y="187"/>
                  </a:lnTo>
                  <a:lnTo>
                    <a:pt x="733" y="185"/>
                  </a:lnTo>
                  <a:lnTo>
                    <a:pt x="735" y="185"/>
                  </a:lnTo>
                  <a:lnTo>
                    <a:pt x="738" y="185"/>
                  </a:lnTo>
                  <a:lnTo>
                    <a:pt x="742" y="187"/>
                  </a:lnTo>
                  <a:lnTo>
                    <a:pt x="745" y="187"/>
                  </a:lnTo>
                  <a:lnTo>
                    <a:pt x="747" y="190"/>
                  </a:lnTo>
                  <a:lnTo>
                    <a:pt x="747" y="190"/>
                  </a:lnTo>
                  <a:lnTo>
                    <a:pt x="747" y="192"/>
                  </a:lnTo>
                  <a:lnTo>
                    <a:pt x="747" y="194"/>
                  </a:lnTo>
                  <a:lnTo>
                    <a:pt x="747" y="197"/>
                  </a:lnTo>
                  <a:lnTo>
                    <a:pt x="750" y="199"/>
                  </a:lnTo>
                  <a:lnTo>
                    <a:pt x="750" y="202"/>
                  </a:lnTo>
                  <a:lnTo>
                    <a:pt x="752" y="204"/>
                  </a:lnTo>
                  <a:lnTo>
                    <a:pt x="754" y="204"/>
                  </a:lnTo>
                  <a:lnTo>
                    <a:pt x="757" y="204"/>
                  </a:lnTo>
                  <a:lnTo>
                    <a:pt x="759" y="204"/>
                  </a:lnTo>
                  <a:lnTo>
                    <a:pt x="761" y="204"/>
                  </a:lnTo>
                  <a:lnTo>
                    <a:pt x="764" y="204"/>
                  </a:lnTo>
                  <a:lnTo>
                    <a:pt x="768" y="206"/>
                  </a:lnTo>
                  <a:lnTo>
                    <a:pt x="771" y="209"/>
                  </a:lnTo>
                  <a:lnTo>
                    <a:pt x="773" y="211"/>
                  </a:lnTo>
                  <a:lnTo>
                    <a:pt x="773" y="213"/>
                  </a:lnTo>
                  <a:lnTo>
                    <a:pt x="773" y="213"/>
                  </a:lnTo>
                  <a:lnTo>
                    <a:pt x="773" y="216"/>
                  </a:lnTo>
                  <a:lnTo>
                    <a:pt x="771" y="221"/>
                  </a:lnTo>
                  <a:lnTo>
                    <a:pt x="768" y="223"/>
                  </a:lnTo>
                  <a:lnTo>
                    <a:pt x="768" y="225"/>
                  </a:lnTo>
                  <a:lnTo>
                    <a:pt x="768" y="22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Freeform 17">
              <a:extLst>
                <a:ext uri="{FF2B5EF4-FFF2-40B4-BE49-F238E27FC236}">
                  <a16:creationId xmlns:a16="http://schemas.microsoft.com/office/drawing/2014/main" id="{CE7B9709-D0B9-4F95-A29F-A5E5FA07A3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9544" y="4488483"/>
              <a:ext cx="701816" cy="1323219"/>
            </a:xfrm>
            <a:custGeom>
              <a:avLst/>
              <a:gdLst>
                <a:gd name="T0" fmla="*/ 381 w 552"/>
                <a:gd name="T1" fmla="*/ 2 h 1041"/>
                <a:gd name="T2" fmla="*/ 407 w 552"/>
                <a:gd name="T3" fmla="*/ 11 h 1041"/>
                <a:gd name="T4" fmla="*/ 398 w 552"/>
                <a:gd name="T5" fmla="*/ 21 h 1041"/>
                <a:gd name="T6" fmla="*/ 114 w 552"/>
                <a:gd name="T7" fmla="*/ 955 h 1041"/>
                <a:gd name="T8" fmla="*/ 31 w 552"/>
                <a:gd name="T9" fmla="*/ 120 h 1041"/>
                <a:gd name="T10" fmla="*/ 48 w 552"/>
                <a:gd name="T11" fmla="*/ 101 h 1041"/>
                <a:gd name="T12" fmla="*/ 17 w 552"/>
                <a:gd name="T13" fmla="*/ 146 h 1041"/>
                <a:gd name="T14" fmla="*/ 173 w 552"/>
                <a:gd name="T15" fmla="*/ 972 h 1041"/>
                <a:gd name="T16" fmla="*/ 135 w 552"/>
                <a:gd name="T17" fmla="*/ 958 h 1041"/>
                <a:gd name="T18" fmla="*/ 178 w 552"/>
                <a:gd name="T19" fmla="*/ 960 h 1041"/>
                <a:gd name="T20" fmla="*/ 523 w 552"/>
                <a:gd name="T21" fmla="*/ 265 h 1041"/>
                <a:gd name="T22" fmla="*/ 495 w 552"/>
                <a:gd name="T23" fmla="*/ 179 h 1041"/>
                <a:gd name="T24" fmla="*/ 481 w 552"/>
                <a:gd name="T25" fmla="*/ 153 h 1041"/>
                <a:gd name="T26" fmla="*/ 450 w 552"/>
                <a:gd name="T27" fmla="*/ 144 h 1041"/>
                <a:gd name="T28" fmla="*/ 448 w 552"/>
                <a:gd name="T29" fmla="*/ 125 h 1041"/>
                <a:gd name="T30" fmla="*/ 448 w 552"/>
                <a:gd name="T31" fmla="*/ 99 h 1041"/>
                <a:gd name="T32" fmla="*/ 433 w 552"/>
                <a:gd name="T33" fmla="*/ 99 h 1041"/>
                <a:gd name="T34" fmla="*/ 438 w 552"/>
                <a:gd name="T35" fmla="*/ 54 h 1041"/>
                <a:gd name="T36" fmla="*/ 422 w 552"/>
                <a:gd name="T37" fmla="*/ 47 h 1041"/>
                <a:gd name="T38" fmla="*/ 400 w 552"/>
                <a:gd name="T39" fmla="*/ 61 h 1041"/>
                <a:gd name="T40" fmla="*/ 388 w 552"/>
                <a:gd name="T41" fmla="*/ 33 h 1041"/>
                <a:gd name="T42" fmla="*/ 348 w 552"/>
                <a:gd name="T43" fmla="*/ 33 h 1041"/>
                <a:gd name="T44" fmla="*/ 336 w 552"/>
                <a:gd name="T45" fmla="*/ 9 h 1041"/>
                <a:gd name="T46" fmla="*/ 301 w 552"/>
                <a:gd name="T47" fmla="*/ 52 h 1041"/>
                <a:gd name="T48" fmla="*/ 237 w 552"/>
                <a:gd name="T49" fmla="*/ 113 h 1041"/>
                <a:gd name="T50" fmla="*/ 175 w 552"/>
                <a:gd name="T51" fmla="*/ 168 h 1041"/>
                <a:gd name="T52" fmla="*/ 24 w 552"/>
                <a:gd name="T53" fmla="*/ 184 h 1041"/>
                <a:gd name="T54" fmla="*/ 12 w 552"/>
                <a:gd name="T55" fmla="*/ 187 h 1041"/>
                <a:gd name="T56" fmla="*/ 22 w 552"/>
                <a:gd name="T57" fmla="*/ 284 h 1041"/>
                <a:gd name="T58" fmla="*/ 17 w 552"/>
                <a:gd name="T59" fmla="*/ 328 h 1041"/>
                <a:gd name="T60" fmla="*/ 71 w 552"/>
                <a:gd name="T61" fmla="*/ 354 h 1041"/>
                <a:gd name="T62" fmla="*/ 128 w 552"/>
                <a:gd name="T63" fmla="*/ 442 h 1041"/>
                <a:gd name="T64" fmla="*/ 123 w 552"/>
                <a:gd name="T65" fmla="*/ 546 h 1041"/>
                <a:gd name="T66" fmla="*/ 116 w 552"/>
                <a:gd name="T67" fmla="*/ 598 h 1041"/>
                <a:gd name="T68" fmla="*/ 133 w 552"/>
                <a:gd name="T69" fmla="*/ 617 h 1041"/>
                <a:gd name="T70" fmla="*/ 171 w 552"/>
                <a:gd name="T71" fmla="*/ 622 h 1041"/>
                <a:gd name="T72" fmla="*/ 168 w 552"/>
                <a:gd name="T73" fmla="*/ 662 h 1041"/>
                <a:gd name="T74" fmla="*/ 138 w 552"/>
                <a:gd name="T75" fmla="*/ 672 h 1041"/>
                <a:gd name="T76" fmla="*/ 142 w 552"/>
                <a:gd name="T77" fmla="*/ 776 h 1041"/>
                <a:gd name="T78" fmla="*/ 147 w 552"/>
                <a:gd name="T79" fmla="*/ 849 h 1041"/>
                <a:gd name="T80" fmla="*/ 147 w 552"/>
                <a:gd name="T81" fmla="*/ 915 h 1041"/>
                <a:gd name="T82" fmla="*/ 171 w 552"/>
                <a:gd name="T83" fmla="*/ 939 h 1041"/>
                <a:gd name="T84" fmla="*/ 204 w 552"/>
                <a:gd name="T85" fmla="*/ 963 h 1041"/>
                <a:gd name="T86" fmla="*/ 239 w 552"/>
                <a:gd name="T87" fmla="*/ 1041 h 1041"/>
                <a:gd name="T88" fmla="*/ 303 w 552"/>
                <a:gd name="T89" fmla="*/ 1026 h 1041"/>
                <a:gd name="T90" fmla="*/ 358 w 552"/>
                <a:gd name="T91" fmla="*/ 972 h 1041"/>
                <a:gd name="T92" fmla="*/ 367 w 552"/>
                <a:gd name="T93" fmla="*/ 880 h 1041"/>
                <a:gd name="T94" fmla="*/ 343 w 552"/>
                <a:gd name="T95" fmla="*/ 861 h 1041"/>
                <a:gd name="T96" fmla="*/ 403 w 552"/>
                <a:gd name="T97" fmla="*/ 877 h 1041"/>
                <a:gd name="T98" fmla="*/ 464 w 552"/>
                <a:gd name="T99" fmla="*/ 882 h 1041"/>
                <a:gd name="T100" fmla="*/ 511 w 552"/>
                <a:gd name="T101" fmla="*/ 903 h 1041"/>
                <a:gd name="T102" fmla="*/ 528 w 552"/>
                <a:gd name="T103" fmla="*/ 866 h 1041"/>
                <a:gd name="T104" fmla="*/ 535 w 552"/>
                <a:gd name="T105" fmla="*/ 780 h 1041"/>
                <a:gd name="T106" fmla="*/ 540 w 552"/>
                <a:gd name="T107" fmla="*/ 645 h 1041"/>
                <a:gd name="T108" fmla="*/ 535 w 552"/>
                <a:gd name="T109" fmla="*/ 579 h 1041"/>
                <a:gd name="T110" fmla="*/ 540 w 552"/>
                <a:gd name="T111" fmla="*/ 546 h 1041"/>
                <a:gd name="T112" fmla="*/ 504 w 552"/>
                <a:gd name="T113" fmla="*/ 442 h 1041"/>
                <a:gd name="T114" fmla="*/ 537 w 552"/>
                <a:gd name="T115" fmla="*/ 354 h 1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2" h="1041">
                  <a:moveTo>
                    <a:pt x="393" y="16"/>
                  </a:moveTo>
                  <a:lnTo>
                    <a:pt x="393" y="16"/>
                  </a:lnTo>
                  <a:lnTo>
                    <a:pt x="393" y="16"/>
                  </a:lnTo>
                  <a:lnTo>
                    <a:pt x="381" y="21"/>
                  </a:lnTo>
                  <a:lnTo>
                    <a:pt x="377" y="21"/>
                  </a:lnTo>
                  <a:lnTo>
                    <a:pt x="374" y="19"/>
                  </a:lnTo>
                  <a:lnTo>
                    <a:pt x="374" y="14"/>
                  </a:lnTo>
                  <a:lnTo>
                    <a:pt x="374" y="11"/>
                  </a:lnTo>
                  <a:lnTo>
                    <a:pt x="377" y="11"/>
                  </a:lnTo>
                  <a:lnTo>
                    <a:pt x="379" y="9"/>
                  </a:lnTo>
                  <a:lnTo>
                    <a:pt x="381" y="7"/>
                  </a:lnTo>
                  <a:lnTo>
                    <a:pt x="381" y="2"/>
                  </a:lnTo>
                  <a:lnTo>
                    <a:pt x="381" y="2"/>
                  </a:lnTo>
                  <a:lnTo>
                    <a:pt x="384" y="0"/>
                  </a:lnTo>
                  <a:lnTo>
                    <a:pt x="386" y="0"/>
                  </a:lnTo>
                  <a:lnTo>
                    <a:pt x="388" y="0"/>
                  </a:lnTo>
                  <a:lnTo>
                    <a:pt x="391" y="2"/>
                  </a:lnTo>
                  <a:lnTo>
                    <a:pt x="391" y="4"/>
                  </a:lnTo>
                  <a:lnTo>
                    <a:pt x="391" y="9"/>
                  </a:lnTo>
                  <a:lnTo>
                    <a:pt x="391" y="11"/>
                  </a:lnTo>
                  <a:lnTo>
                    <a:pt x="393" y="14"/>
                  </a:lnTo>
                  <a:lnTo>
                    <a:pt x="393" y="16"/>
                  </a:lnTo>
                  <a:close/>
                  <a:moveTo>
                    <a:pt x="407" y="11"/>
                  </a:moveTo>
                  <a:lnTo>
                    <a:pt x="407" y="11"/>
                  </a:lnTo>
                  <a:lnTo>
                    <a:pt x="407" y="11"/>
                  </a:lnTo>
                  <a:lnTo>
                    <a:pt x="407" y="16"/>
                  </a:lnTo>
                  <a:lnTo>
                    <a:pt x="407" y="28"/>
                  </a:lnTo>
                  <a:lnTo>
                    <a:pt x="407" y="30"/>
                  </a:lnTo>
                  <a:lnTo>
                    <a:pt x="407" y="33"/>
                  </a:lnTo>
                  <a:lnTo>
                    <a:pt x="407" y="35"/>
                  </a:lnTo>
                  <a:lnTo>
                    <a:pt x="405" y="35"/>
                  </a:lnTo>
                  <a:lnTo>
                    <a:pt x="403" y="33"/>
                  </a:lnTo>
                  <a:lnTo>
                    <a:pt x="400" y="30"/>
                  </a:lnTo>
                  <a:lnTo>
                    <a:pt x="398" y="30"/>
                  </a:lnTo>
                  <a:lnTo>
                    <a:pt x="395" y="30"/>
                  </a:lnTo>
                  <a:lnTo>
                    <a:pt x="398" y="21"/>
                  </a:lnTo>
                  <a:lnTo>
                    <a:pt x="398" y="19"/>
                  </a:lnTo>
                  <a:lnTo>
                    <a:pt x="398" y="16"/>
                  </a:lnTo>
                  <a:lnTo>
                    <a:pt x="400" y="9"/>
                  </a:lnTo>
                  <a:lnTo>
                    <a:pt x="400" y="4"/>
                  </a:lnTo>
                  <a:lnTo>
                    <a:pt x="403" y="7"/>
                  </a:lnTo>
                  <a:lnTo>
                    <a:pt x="405" y="7"/>
                  </a:lnTo>
                  <a:lnTo>
                    <a:pt x="407" y="11"/>
                  </a:lnTo>
                  <a:close/>
                  <a:moveTo>
                    <a:pt x="116" y="927"/>
                  </a:moveTo>
                  <a:lnTo>
                    <a:pt x="116" y="927"/>
                  </a:lnTo>
                  <a:lnTo>
                    <a:pt x="121" y="944"/>
                  </a:lnTo>
                  <a:lnTo>
                    <a:pt x="119" y="951"/>
                  </a:lnTo>
                  <a:lnTo>
                    <a:pt x="114" y="955"/>
                  </a:lnTo>
                  <a:lnTo>
                    <a:pt x="107" y="955"/>
                  </a:lnTo>
                  <a:lnTo>
                    <a:pt x="102" y="953"/>
                  </a:lnTo>
                  <a:lnTo>
                    <a:pt x="102" y="948"/>
                  </a:lnTo>
                  <a:lnTo>
                    <a:pt x="102" y="946"/>
                  </a:lnTo>
                  <a:lnTo>
                    <a:pt x="95" y="937"/>
                  </a:lnTo>
                  <a:lnTo>
                    <a:pt x="90" y="932"/>
                  </a:lnTo>
                  <a:lnTo>
                    <a:pt x="93" y="925"/>
                  </a:lnTo>
                  <a:lnTo>
                    <a:pt x="97" y="922"/>
                  </a:lnTo>
                  <a:lnTo>
                    <a:pt x="112" y="918"/>
                  </a:lnTo>
                  <a:lnTo>
                    <a:pt x="116" y="915"/>
                  </a:lnTo>
                  <a:lnTo>
                    <a:pt x="116" y="927"/>
                  </a:lnTo>
                  <a:close/>
                  <a:moveTo>
                    <a:pt x="31" y="120"/>
                  </a:moveTo>
                  <a:lnTo>
                    <a:pt x="31" y="120"/>
                  </a:lnTo>
                  <a:lnTo>
                    <a:pt x="31" y="116"/>
                  </a:lnTo>
                  <a:lnTo>
                    <a:pt x="31" y="108"/>
                  </a:lnTo>
                  <a:lnTo>
                    <a:pt x="31" y="104"/>
                  </a:lnTo>
                  <a:lnTo>
                    <a:pt x="34" y="104"/>
                  </a:lnTo>
                  <a:lnTo>
                    <a:pt x="38" y="104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99"/>
                  </a:lnTo>
                  <a:lnTo>
                    <a:pt x="45" y="94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48" y="104"/>
                  </a:lnTo>
                  <a:lnTo>
                    <a:pt x="52" y="106"/>
                  </a:lnTo>
                  <a:lnTo>
                    <a:pt x="52" y="111"/>
                  </a:lnTo>
                  <a:lnTo>
                    <a:pt x="52" y="116"/>
                  </a:lnTo>
                  <a:lnTo>
                    <a:pt x="50" y="120"/>
                  </a:lnTo>
                  <a:lnTo>
                    <a:pt x="31" y="125"/>
                  </a:lnTo>
                  <a:lnTo>
                    <a:pt x="24" y="132"/>
                  </a:lnTo>
                  <a:lnTo>
                    <a:pt x="26" y="144"/>
                  </a:lnTo>
                  <a:lnTo>
                    <a:pt x="26" y="153"/>
                  </a:lnTo>
                  <a:lnTo>
                    <a:pt x="15" y="153"/>
                  </a:lnTo>
                  <a:lnTo>
                    <a:pt x="17" y="149"/>
                  </a:lnTo>
                  <a:lnTo>
                    <a:pt x="17" y="146"/>
                  </a:lnTo>
                  <a:lnTo>
                    <a:pt x="17" y="142"/>
                  </a:lnTo>
                  <a:lnTo>
                    <a:pt x="17" y="137"/>
                  </a:lnTo>
                  <a:lnTo>
                    <a:pt x="17" y="134"/>
                  </a:lnTo>
                  <a:lnTo>
                    <a:pt x="22" y="130"/>
                  </a:lnTo>
                  <a:lnTo>
                    <a:pt x="26" y="123"/>
                  </a:lnTo>
                  <a:lnTo>
                    <a:pt x="31" y="120"/>
                  </a:lnTo>
                  <a:close/>
                  <a:moveTo>
                    <a:pt x="178" y="960"/>
                  </a:moveTo>
                  <a:lnTo>
                    <a:pt x="178" y="960"/>
                  </a:lnTo>
                  <a:lnTo>
                    <a:pt x="180" y="960"/>
                  </a:lnTo>
                  <a:lnTo>
                    <a:pt x="173" y="967"/>
                  </a:lnTo>
                  <a:lnTo>
                    <a:pt x="173" y="970"/>
                  </a:lnTo>
                  <a:lnTo>
                    <a:pt x="173" y="972"/>
                  </a:lnTo>
                  <a:lnTo>
                    <a:pt x="171" y="979"/>
                  </a:lnTo>
                  <a:lnTo>
                    <a:pt x="171" y="993"/>
                  </a:lnTo>
                  <a:lnTo>
                    <a:pt x="168" y="1005"/>
                  </a:lnTo>
                  <a:lnTo>
                    <a:pt x="166" y="1007"/>
                  </a:lnTo>
                  <a:lnTo>
                    <a:pt x="164" y="1007"/>
                  </a:lnTo>
                  <a:lnTo>
                    <a:pt x="159" y="1007"/>
                  </a:lnTo>
                  <a:lnTo>
                    <a:pt x="159" y="1007"/>
                  </a:lnTo>
                  <a:lnTo>
                    <a:pt x="157" y="1003"/>
                  </a:lnTo>
                  <a:lnTo>
                    <a:pt x="157" y="1000"/>
                  </a:lnTo>
                  <a:lnTo>
                    <a:pt x="142" y="981"/>
                  </a:lnTo>
                  <a:lnTo>
                    <a:pt x="135" y="967"/>
                  </a:lnTo>
                  <a:lnTo>
                    <a:pt x="135" y="958"/>
                  </a:lnTo>
                  <a:lnTo>
                    <a:pt x="135" y="955"/>
                  </a:lnTo>
                  <a:lnTo>
                    <a:pt x="133" y="955"/>
                  </a:lnTo>
                  <a:lnTo>
                    <a:pt x="133" y="953"/>
                  </a:lnTo>
                  <a:lnTo>
                    <a:pt x="138" y="944"/>
                  </a:lnTo>
                  <a:lnTo>
                    <a:pt x="145" y="948"/>
                  </a:lnTo>
                  <a:lnTo>
                    <a:pt x="157" y="946"/>
                  </a:lnTo>
                  <a:lnTo>
                    <a:pt x="166" y="948"/>
                  </a:lnTo>
                  <a:lnTo>
                    <a:pt x="171" y="960"/>
                  </a:lnTo>
                  <a:lnTo>
                    <a:pt x="171" y="963"/>
                  </a:lnTo>
                  <a:lnTo>
                    <a:pt x="173" y="963"/>
                  </a:lnTo>
                  <a:lnTo>
                    <a:pt x="175" y="963"/>
                  </a:lnTo>
                  <a:lnTo>
                    <a:pt x="178" y="960"/>
                  </a:lnTo>
                  <a:lnTo>
                    <a:pt x="178" y="960"/>
                  </a:lnTo>
                  <a:lnTo>
                    <a:pt x="178" y="960"/>
                  </a:lnTo>
                  <a:close/>
                  <a:moveTo>
                    <a:pt x="549" y="291"/>
                  </a:moveTo>
                  <a:lnTo>
                    <a:pt x="549" y="291"/>
                  </a:lnTo>
                  <a:lnTo>
                    <a:pt x="537" y="284"/>
                  </a:lnTo>
                  <a:lnTo>
                    <a:pt x="537" y="279"/>
                  </a:lnTo>
                  <a:lnTo>
                    <a:pt x="535" y="274"/>
                  </a:lnTo>
                  <a:lnTo>
                    <a:pt x="535" y="272"/>
                  </a:lnTo>
                  <a:lnTo>
                    <a:pt x="530" y="272"/>
                  </a:lnTo>
                  <a:lnTo>
                    <a:pt x="528" y="272"/>
                  </a:lnTo>
                  <a:lnTo>
                    <a:pt x="526" y="267"/>
                  </a:lnTo>
                  <a:lnTo>
                    <a:pt x="523" y="265"/>
                  </a:lnTo>
                  <a:lnTo>
                    <a:pt x="519" y="239"/>
                  </a:lnTo>
                  <a:lnTo>
                    <a:pt x="519" y="231"/>
                  </a:lnTo>
                  <a:lnTo>
                    <a:pt x="507" y="215"/>
                  </a:lnTo>
                  <a:lnTo>
                    <a:pt x="504" y="205"/>
                  </a:lnTo>
                  <a:lnTo>
                    <a:pt x="500" y="201"/>
                  </a:lnTo>
                  <a:lnTo>
                    <a:pt x="490" y="189"/>
                  </a:lnTo>
                  <a:lnTo>
                    <a:pt x="488" y="184"/>
                  </a:lnTo>
                  <a:lnTo>
                    <a:pt x="488" y="189"/>
                  </a:lnTo>
                  <a:lnTo>
                    <a:pt x="483" y="184"/>
                  </a:lnTo>
                  <a:lnTo>
                    <a:pt x="485" y="182"/>
                  </a:lnTo>
                  <a:lnTo>
                    <a:pt x="488" y="179"/>
                  </a:lnTo>
                  <a:lnTo>
                    <a:pt x="495" y="179"/>
                  </a:lnTo>
                  <a:lnTo>
                    <a:pt x="492" y="177"/>
                  </a:lnTo>
                  <a:lnTo>
                    <a:pt x="490" y="172"/>
                  </a:lnTo>
                  <a:lnTo>
                    <a:pt x="492" y="168"/>
                  </a:lnTo>
                  <a:lnTo>
                    <a:pt x="502" y="163"/>
                  </a:lnTo>
                  <a:lnTo>
                    <a:pt x="500" y="163"/>
                  </a:lnTo>
                  <a:lnTo>
                    <a:pt x="495" y="163"/>
                  </a:lnTo>
                  <a:lnTo>
                    <a:pt x="492" y="160"/>
                  </a:lnTo>
                  <a:lnTo>
                    <a:pt x="490" y="156"/>
                  </a:lnTo>
                  <a:lnTo>
                    <a:pt x="485" y="160"/>
                  </a:lnTo>
                  <a:lnTo>
                    <a:pt x="483" y="160"/>
                  </a:lnTo>
                  <a:lnTo>
                    <a:pt x="481" y="158"/>
                  </a:lnTo>
                  <a:lnTo>
                    <a:pt x="481" y="153"/>
                  </a:lnTo>
                  <a:lnTo>
                    <a:pt x="478" y="151"/>
                  </a:lnTo>
                  <a:lnTo>
                    <a:pt x="466" y="146"/>
                  </a:lnTo>
                  <a:lnTo>
                    <a:pt x="466" y="144"/>
                  </a:lnTo>
                  <a:lnTo>
                    <a:pt x="469" y="144"/>
                  </a:lnTo>
                  <a:lnTo>
                    <a:pt x="471" y="142"/>
                  </a:lnTo>
                  <a:lnTo>
                    <a:pt x="471" y="139"/>
                  </a:lnTo>
                  <a:lnTo>
                    <a:pt x="474" y="134"/>
                  </a:lnTo>
                  <a:lnTo>
                    <a:pt x="466" y="134"/>
                  </a:lnTo>
                  <a:lnTo>
                    <a:pt x="462" y="137"/>
                  </a:lnTo>
                  <a:lnTo>
                    <a:pt x="459" y="142"/>
                  </a:lnTo>
                  <a:lnTo>
                    <a:pt x="452" y="144"/>
                  </a:lnTo>
                  <a:lnTo>
                    <a:pt x="450" y="144"/>
                  </a:lnTo>
                  <a:lnTo>
                    <a:pt x="445" y="139"/>
                  </a:lnTo>
                  <a:lnTo>
                    <a:pt x="440" y="139"/>
                  </a:lnTo>
                  <a:lnTo>
                    <a:pt x="438" y="139"/>
                  </a:lnTo>
                  <a:lnTo>
                    <a:pt x="436" y="142"/>
                  </a:lnTo>
                  <a:lnTo>
                    <a:pt x="433" y="142"/>
                  </a:lnTo>
                  <a:lnTo>
                    <a:pt x="429" y="137"/>
                  </a:lnTo>
                  <a:lnTo>
                    <a:pt x="431" y="137"/>
                  </a:lnTo>
                  <a:lnTo>
                    <a:pt x="431" y="137"/>
                  </a:lnTo>
                  <a:lnTo>
                    <a:pt x="431" y="134"/>
                  </a:lnTo>
                  <a:lnTo>
                    <a:pt x="445" y="134"/>
                  </a:lnTo>
                  <a:lnTo>
                    <a:pt x="450" y="132"/>
                  </a:lnTo>
                  <a:lnTo>
                    <a:pt x="448" y="125"/>
                  </a:lnTo>
                  <a:lnTo>
                    <a:pt x="452" y="120"/>
                  </a:lnTo>
                  <a:lnTo>
                    <a:pt x="452" y="111"/>
                  </a:lnTo>
                  <a:lnTo>
                    <a:pt x="452" y="106"/>
                  </a:lnTo>
                  <a:lnTo>
                    <a:pt x="457" y="101"/>
                  </a:lnTo>
                  <a:lnTo>
                    <a:pt x="462" y="104"/>
                  </a:lnTo>
                  <a:lnTo>
                    <a:pt x="469" y="104"/>
                  </a:lnTo>
                  <a:lnTo>
                    <a:pt x="474" y="104"/>
                  </a:lnTo>
                  <a:lnTo>
                    <a:pt x="476" y="99"/>
                  </a:lnTo>
                  <a:lnTo>
                    <a:pt x="469" y="97"/>
                  </a:lnTo>
                  <a:lnTo>
                    <a:pt x="459" y="94"/>
                  </a:lnTo>
                  <a:lnTo>
                    <a:pt x="452" y="94"/>
                  </a:lnTo>
                  <a:lnTo>
                    <a:pt x="448" y="99"/>
                  </a:lnTo>
                  <a:lnTo>
                    <a:pt x="445" y="99"/>
                  </a:lnTo>
                  <a:lnTo>
                    <a:pt x="445" y="99"/>
                  </a:lnTo>
                  <a:lnTo>
                    <a:pt x="443" y="97"/>
                  </a:lnTo>
                  <a:lnTo>
                    <a:pt x="443" y="99"/>
                  </a:lnTo>
                  <a:lnTo>
                    <a:pt x="443" y="99"/>
                  </a:lnTo>
                  <a:lnTo>
                    <a:pt x="443" y="101"/>
                  </a:lnTo>
                  <a:lnTo>
                    <a:pt x="440" y="101"/>
                  </a:lnTo>
                  <a:lnTo>
                    <a:pt x="443" y="94"/>
                  </a:lnTo>
                  <a:lnTo>
                    <a:pt x="440" y="90"/>
                  </a:lnTo>
                  <a:lnTo>
                    <a:pt x="436" y="90"/>
                  </a:lnTo>
                  <a:lnTo>
                    <a:pt x="431" y="92"/>
                  </a:lnTo>
                  <a:lnTo>
                    <a:pt x="433" y="99"/>
                  </a:lnTo>
                  <a:lnTo>
                    <a:pt x="429" y="99"/>
                  </a:lnTo>
                  <a:lnTo>
                    <a:pt x="431" y="92"/>
                  </a:lnTo>
                  <a:lnTo>
                    <a:pt x="433" y="66"/>
                  </a:lnTo>
                  <a:lnTo>
                    <a:pt x="433" y="68"/>
                  </a:lnTo>
                  <a:lnTo>
                    <a:pt x="436" y="71"/>
                  </a:lnTo>
                  <a:lnTo>
                    <a:pt x="436" y="73"/>
                  </a:lnTo>
                  <a:lnTo>
                    <a:pt x="438" y="68"/>
                  </a:lnTo>
                  <a:lnTo>
                    <a:pt x="440" y="63"/>
                  </a:lnTo>
                  <a:lnTo>
                    <a:pt x="440" y="59"/>
                  </a:lnTo>
                  <a:lnTo>
                    <a:pt x="440" y="54"/>
                  </a:lnTo>
                  <a:lnTo>
                    <a:pt x="438" y="52"/>
                  </a:lnTo>
                  <a:lnTo>
                    <a:pt x="438" y="54"/>
                  </a:lnTo>
                  <a:lnTo>
                    <a:pt x="438" y="52"/>
                  </a:lnTo>
                  <a:lnTo>
                    <a:pt x="438" y="52"/>
                  </a:lnTo>
                  <a:lnTo>
                    <a:pt x="436" y="52"/>
                  </a:lnTo>
                  <a:lnTo>
                    <a:pt x="433" y="54"/>
                  </a:lnTo>
                  <a:lnTo>
                    <a:pt x="431" y="54"/>
                  </a:lnTo>
                  <a:lnTo>
                    <a:pt x="429" y="52"/>
                  </a:lnTo>
                  <a:lnTo>
                    <a:pt x="426" y="49"/>
                  </a:lnTo>
                  <a:lnTo>
                    <a:pt x="429" y="47"/>
                  </a:lnTo>
                  <a:lnTo>
                    <a:pt x="426" y="42"/>
                  </a:lnTo>
                  <a:lnTo>
                    <a:pt x="424" y="42"/>
                  </a:lnTo>
                  <a:lnTo>
                    <a:pt x="422" y="45"/>
                  </a:lnTo>
                  <a:lnTo>
                    <a:pt x="422" y="47"/>
                  </a:lnTo>
                  <a:lnTo>
                    <a:pt x="417" y="47"/>
                  </a:lnTo>
                  <a:lnTo>
                    <a:pt x="412" y="45"/>
                  </a:lnTo>
                  <a:lnTo>
                    <a:pt x="407" y="47"/>
                  </a:lnTo>
                  <a:lnTo>
                    <a:pt x="405" y="49"/>
                  </a:lnTo>
                  <a:lnTo>
                    <a:pt x="407" y="49"/>
                  </a:lnTo>
                  <a:lnTo>
                    <a:pt x="407" y="52"/>
                  </a:lnTo>
                  <a:lnTo>
                    <a:pt x="407" y="52"/>
                  </a:lnTo>
                  <a:lnTo>
                    <a:pt x="410" y="54"/>
                  </a:lnTo>
                  <a:lnTo>
                    <a:pt x="407" y="56"/>
                  </a:lnTo>
                  <a:lnTo>
                    <a:pt x="405" y="61"/>
                  </a:lnTo>
                  <a:lnTo>
                    <a:pt x="403" y="71"/>
                  </a:lnTo>
                  <a:lnTo>
                    <a:pt x="400" y="61"/>
                  </a:lnTo>
                  <a:lnTo>
                    <a:pt x="398" y="56"/>
                  </a:lnTo>
                  <a:lnTo>
                    <a:pt x="400" y="52"/>
                  </a:lnTo>
                  <a:lnTo>
                    <a:pt x="398" y="49"/>
                  </a:lnTo>
                  <a:lnTo>
                    <a:pt x="395" y="47"/>
                  </a:lnTo>
                  <a:lnTo>
                    <a:pt x="393" y="42"/>
                  </a:lnTo>
                  <a:lnTo>
                    <a:pt x="388" y="42"/>
                  </a:lnTo>
                  <a:lnTo>
                    <a:pt x="388" y="40"/>
                  </a:lnTo>
                  <a:lnTo>
                    <a:pt x="388" y="37"/>
                  </a:lnTo>
                  <a:lnTo>
                    <a:pt x="391" y="37"/>
                  </a:lnTo>
                  <a:lnTo>
                    <a:pt x="391" y="35"/>
                  </a:lnTo>
                  <a:lnTo>
                    <a:pt x="391" y="33"/>
                  </a:lnTo>
                  <a:lnTo>
                    <a:pt x="388" y="33"/>
                  </a:lnTo>
                  <a:lnTo>
                    <a:pt x="386" y="33"/>
                  </a:lnTo>
                  <a:lnTo>
                    <a:pt x="384" y="33"/>
                  </a:lnTo>
                  <a:lnTo>
                    <a:pt x="381" y="30"/>
                  </a:lnTo>
                  <a:lnTo>
                    <a:pt x="381" y="35"/>
                  </a:lnTo>
                  <a:lnTo>
                    <a:pt x="367" y="23"/>
                  </a:lnTo>
                  <a:lnTo>
                    <a:pt x="362" y="23"/>
                  </a:lnTo>
                  <a:lnTo>
                    <a:pt x="362" y="33"/>
                  </a:lnTo>
                  <a:lnTo>
                    <a:pt x="358" y="30"/>
                  </a:lnTo>
                  <a:lnTo>
                    <a:pt x="355" y="28"/>
                  </a:lnTo>
                  <a:lnTo>
                    <a:pt x="353" y="30"/>
                  </a:lnTo>
                  <a:lnTo>
                    <a:pt x="353" y="30"/>
                  </a:lnTo>
                  <a:lnTo>
                    <a:pt x="348" y="33"/>
                  </a:lnTo>
                  <a:lnTo>
                    <a:pt x="348" y="30"/>
                  </a:lnTo>
                  <a:lnTo>
                    <a:pt x="348" y="28"/>
                  </a:lnTo>
                  <a:lnTo>
                    <a:pt x="348" y="26"/>
                  </a:lnTo>
                  <a:lnTo>
                    <a:pt x="346" y="21"/>
                  </a:lnTo>
                  <a:lnTo>
                    <a:pt x="343" y="21"/>
                  </a:lnTo>
                  <a:lnTo>
                    <a:pt x="343" y="26"/>
                  </a:lnTo>
                  <a:lnTo>
                    <a:pt x="343" y="28"/>
                  </a:lnTo>
                  <a:lnTo>
                    <a:pt x="343" y="30"/>
                  </a:lnTo>
                  <a:lnTo>
                    <a:pt x="346" y="33"/>
                  </a:lnTo>
                  <a:lnTo>
                    <a:pt x="341" y="30"/>
                  </a:lnTo>
                  <a:lnTo>
                    <a:pt x="341" y="14"/>
                  </a:lnTo>
                  <a:lnTo>
                    <a:pt x="336" y="9"/>
                  </a:lnTo>
                  <a:lnTo>
                    <a:pt x="334" y="11"/>
                  </a:lnTo>
                  <a:lnTo>
                    <a:pt x="329" y="11"/>
                  </a:lnTo>
                  <a:lnTo>
                    <a:pt x="327" y="9"/>
                  </a:lnTo>
                  <a:lnTo>
                    <a:pt x="327" y="4"/>
                  </a:lnTo>
                  <a:lnTo>
                    <a:pt x="322" y="9"/>
                  </a:lnTo>
                  <a:lnTo>
                    <a:pt x="315" y="11"/>
                  </a:lnTo>
                  <a:lnTo>
                    <a:pt x="308" y="16"/>
                  </a:lnTo>
                  <a:lnTo>
                    <a:pt x="308" y="23"/>
                  </a:lnTo>
                  <a:lnTo>
                    <a:pt x="310" y="40"/>
                  </a:lnTo>
                  <a:lnTo>
                    <a:pt x="308" y="47"/>
                  </a:lnTo>
                  <a:lnTo>
                    <a:pt x="303" y="54"/>
                  </a:lnTo>
                  <a:lnTo>
                    <a:pt x="301" y="52"/>
                  </a:lnTo>
                  <a:lnTo>
                    <a:pt x="294" y="61"/>
                  </a:lnTo>
                  <a:lnTo>
                    <a:pt x="289" y="63"/>
                  </a:lnTo>
                  <a:lnTo>
                    <a:pt x="268" y="68"/>
                  </a:lnTo>
                  <a:lnTo>
                    <a:pt x="261" y="73"/>
                  </a:lnTo>
                  <a:lnTo>
                    <a:pt x="258" y="85"/>
                  </a:lnTo>
                  <a:lnTo>
                    <a:pt x="254" y="92"/>
                  </a:lnTo>
                  <a:lnTo>
                    <a:pt x="249" y="97"/>
                  </a:lnTo>
                  <a:lnTo>
                    <a:pt x="246" y="99"/>
                  </a:lnTo>
                  <a:lnTo>
                    <a:pt x="244" y="101"/>
                  </a:lnTo>
                  <a:lnTo>
                    <a:pt x="242" y="108"/>
                  </a:lnTo>
                  <a:lnTo>
                    <a:pt x="239" y="113"/>
                  </a:lnTo>
                  <a:lnTo>
                    <a:pt x="237" y="113"/>
                  </a:lnTo>
                  <a:lnTo>
                    <a:pt x="228" y="118"/>
                  </a:lnTo>
                  <a:lnTo>
                    <a:pt x="228" y="120"/>
                  </a:lnTo>
                  <a:lnTo>
                    <a:pt x="228" y="120"/>
                  </a:lnTo>
                  <a:lnTo>
                    <a:pt x="228" y="120"/>
                  </a:lnTo>
                  <a:lnTo>
                    <a:pt x="230" y="123"/>
                  </a:lnTo>
                  <a:lnTo>
                    <a:pt x="225" y="125"/>
                  </a:lnTo>
                  <a:lnTo>
                    <a:pt x="216" y="146"/>
                  </a:lnTo>
                  <a:lnTo>
                    <a:pt x="211" y="153"/>
                  </a:lnTo>
                  <a:lnTo>
                    <a:pt x="194" y="170"/>
                  </a:lnTo>
                  <a:lnTo>
                    <a:pt x="190" y="168"/>
                  </a:lnTo>
                  <a:lnTo>
                    <a:pt x="185" y="168"/>
                  </a:lnTo>
                  <a:lnTo>
                    <a:pt x="175" y="168"/>
                  </a:lnTo>
                  <a:lnTo>
                    <a:pt x="157" y="182"/>
                  </a:lnTo>
                  <a:lnTo>
                    <a:pt x="154" y="189"/>
                  </a:lnTo>
                  <a:lnTo>
                    <a:pt x="149" y="196"/>
                  </a:lnTo>
                  <a:lnTo>
                    <a:pt x="145" y="201"/>
                  </a:lnTo>
                  <a:lnTo>
                    <a:pt x="119" y="215"/>
                  </a:lnTo>
                  <a:lnTo>
                    <a:pt x="114" y="217"/>
                  </a:lnTo>
                  <a:lnTo>
                    <a:pt x="107" y="217"/>
                  </a:lnTo>
                  <a:lnTo>
                    <a:pt x="88" y="213"/>
                  </a:lnTo>
                  <a:lnTo>
                    <a:pt x="52" y="213"/>
                  </a:lnTo>
                  <a:lnTo>
                    <a:pt x="41" y="208"/>
                  </a:lnTo>
                  <a:lnTo>
                    <a:pt x="24" y="189"/>
                  </a:lnTo>
                  <a:lnTo>
                    <a:pt x="24" y="184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4" y="170"/>
                  </a:lnTo>
                  <a:lnTo>
                    <a:pt x="22" y="168"/>
                  </a:lnTo>
                  <a:lnTo>
                    <a:pt x="19" y="168"/>
                  </a:lnTo>
                  <a:lnTo>
                    <a:pt x="17" y="168"/>
                  </a:lnTo>
                  <a:lnTo>
                    <a:pt x="15" y="163"/>
                  </a:lnTo>
                  <a:lnTo>
                    <a:pt x="12" y="163"/>
                  </a:lnTo>
                  <a:lnTo>
                    <a:pt x="10" y="168"/>
                  </a:lnTo>
                  <a:lnTo>
                    <a:pt x="7" y="177"/>
                  </a:lnTo>
                  <a:lnTo>
                    <a:pt x="7" y="184"/>
                  </a:lnTo>
                  <a:lnTo>
                    <a:pt x="12" y="187"/>
                  </a:lnTo>
                  <a:lnTo>
                    <a:pt x="17" y="189"/>
                  </a:lnTo>
                  <a:lnTo>
                    <a:pt x="19" y="194"/>
                  </a:lnTo>
                  <a:lnTo>
                    <a:pt x="19" y="203"/>
                  </a:lnTo>
                  <a:lnTo>
                    <a:pt x="19" y="208"/>
                  </a:lnTo>
                  <a:lnTo>
                    <a:pt x="0" y="269"/>
                  </a:lnTo>
                  <a:lnTo>
                    <a:pt x="5" y="269"/>
                  </a:lnTo>
                  <a:lnTo>
                    <a:pt x="7" y="272"/>
                  </a:lnTo>
                  <a:lnTo>
                    <a:pt x="12" y="279"/>
                  </a:lnTo>
                  <a:lnTo>
                    <a:pt x="15" y="281"/>
                  </a:lnTo>
                  <a:lnTo>
                    <a:pt x="17" y="281"/>
                  </a:lnTo>
                  <a:lnTo>
                    <a:pt x="19" y="281"/>
                  </a:lnTo>
                  <a:lnTo>
                    <a:pt x="22" y="284"/>
                  </a:lnTo>
                  <a:lnTo>
                    <a:pt x="22" y="286"/>
                  </a:lnTo>
                  <a:lnTo>
                    <a:pt x="19" y="288"/>
                  </a:lnTo>
                  <a:lnTo>
                    <a:pt x="19" y="288"/>
                  </a:lnTo>
                  <a:lnTo>
                    <a:pt x="19" y="298"/>
                  </a:lnTo>
                  <a:lnTo>
                    <a:pt x="17" y="305"/>
                  </a:lnTo>
                  <a:lnTo>
                    <a:pt x="12" y="310"/>
                  </a:lnTo>
                  <a:lnTo>
                    <a:pt x="5" y="312"/>
                  </a:lnTo>
                  <a:lnTo>
                    <a:pt x="7" y="317"/>
                  </a:lnTo>
                  <a:lnTo>
                    <a:pt x="10" y="326"/>
                  </a:lnTo>
                  <a:lnTo>
                    <a:pt x="12" y="333"/>
                  </a:lnTo>
                  <a:lnTo>
                    <a:pt x="15" y="338"/>
                  </a:lnTo>
                  <a:lnTo>
                    <a:pt x="17" y="328"/>
                  </a:lnTo>
                  <a:lnTo>
                    <a:pt x="19" y="319"/>
                  </a:lnTo>
                  <a:lnTo>
                    <a:pt x="24" y="314"/>
                  </a:lnTo>
                  <a:lnTo>
                    <a:pt x="31" y="317"/>
                  </a:lnTo>
                  <a:lnTo>
                    <a:pt x="29" y="321"/>
                  </a:lnTo>
                  <a:lnTo>
                    <a:pt x="26" y="331"/>
                  </a:lnTo>
                  <a:lnTo>
                    <a:pt x="34" y="333"/>
                  </a:lnTo>
                  <a:lnTo>
                    <a:pt x="48" y="321"/>
                  </a:lnTo>
                  <a:lnTo>
                    <a:pt x="55" y="321"/>
                  </a:lnTo>
                  <a:lnTo>
                    <a:pt x="64" y="328"/>
                  </a:lnTo>
                  <a:lnTo>
                    <a:pt x="67" y="336"/>
                  </a:lnTo>
                  <a:lnTo>
                    <a:pt x="69" y="347"/>
                  </a:lnTo>
                  <a:lnTo>
                    <a:pt x="71" y="354"/>
                  </a:lnTo>
                  <a:lnTo>
                    <a:pt x="78" y="359"/>
                  </a:lnTo>
                  <a:lnTo>
                    <a:pt x="83" y="362"/>
                  </a:lnTo>
                  <a:lnTo>
                    <a:pt x="90" y="371"/>
                  </a:lnTo>
                  <a:lnTo>
                    <a:pt x="95" y="383"/>
                  </a:lnTo>
                  <a:lnTo>
                    <a:pt x="95" y="390"/>
                  </a:lnTo>
                  <a:lnTo>
                    <a:pt x="95" y="411"/>
                  </a:lnTo>
                  <a:lnTo>
                    <a:pt x="95" y="421"/>
                  </a:lnTo>
                  <a:lnTo>
                    <a:pt x="104" y="425"/>
                  </a:lnTo>
                  <a:lnTo>
                    <a:pt x="107" y="423"/>
                  </a:lnTo>
                  <a:lnTo>
                    <a:pt x="114" y="428"/>
                  </a:lnTo>
                  <a:lnTo>
                    <a:pt x="123" y="435"/>
                  </a:lnTo>
                  <a:lnTo>
                    <a:pt x="128" y="442"/>
                  </a:lnTo>
                  <a:lnTo>
                    <a:pt x="128" y="456"/>
                  </a:lnTo>
                  <a:lnTo>
                    <a:pt x="126" y="475"/>
                  </a:lnTo>
                  <a:lnTo>
                    <a:pt x="128" y="499"/>
                  </a:lnTo>
                  <a:lnTo>
                    <a:pt x="131" y="506"/>
                  </a:lnTo>
                  <a:lnTo>
                    <a:pt x="138" y="515"/>
                  </a:lnTo>
                  <a:lnTo>
                    <a:pt x="140" y="522"/>
                  </a:lnTo>
                  <a:lnTo>
                    <a:pt x="140" y="530"/>
                  </a:lnTo>
                  <a:lnTo>
                    <a:pt x="138" y="534"/>
                  </a:lnTo>
                  <a:lnTo>
                    <a:pt x="135" y="541"/>
                  </a:lnTo>
                  <a:lnTo>
                    <a:pt x="133" y="544"/>
                  </a:lnTo>
                  <a:lnTo>
                    <a:pt x="131" y="544"/>
                  </a:lnTo>
                  <a:lnTo>
                    <a:pt x="123" y="546"/>
                  </a:lnTo>
                  <a:lnTo>
                    <a:pt x="114" y="548"/>
                  </a:lnTo>
                  <a:lnTo>
                    <a:pt x="114" y="548"/>
                  </a:lnTo>
                  <a:lnTo>
                    <a:pt x="107" y="553"/>
                  </a:lnTo>
                  <a:lnTo>
                    <a:pt x="107" y="556"/>
                  </a:lnTo>
                  <a:lnTo>
                    <a:pt x="107" y="558"/>
                  </a:lnTo>
                  <a:lnTo>
                    <a:pt x="112" y="553"/>
                  </a:lnTo>
                  <a:lnTo>
                    <a:pt x="116" y="560"/>
                  </a:lnTo>
                  <a:lnTo>
                    <a:pt x="116" y="565"/>
                  </a:lnTo>
                  <a:lnTo>
                    <a:pt x="114" y="575"/>
                  </a:lnTo>
                  <a:lnTo>
                    <a:pt x="114" y="579"/>
                  </a:lnTo>
                  <a:lnTo>
                    <a:pt x="119" y="596"/>
                  </a:lnTo>
                  <a:lnTo>
                    <a:pt x="116" y="598"/>
                  </a:lnTo>
                  <a:lnTo>
                    <a:pt x="116" y="601"/>
                  </a:lnTo>
                  <a:lnTo>
                    <a:pt x="116" y="603"/>
                  </a:lnTo>
                  <a:lnTo>
                    <a:pt x="116" y="608"/>
                  </a:lnTo>
                  <a:lnTo>
                    <a:pt x="119" y="610"/>
                  </a:lnTo>
                  <a:lnTo>
                    <a:pt x="119" y="610"/>
                  </a:lnTo>
                  <a:lnTo>
                    <a:pt x="119" y="610"/>
                  </a:lnTo>
                  <a:lnTo>
                    <a:pt x="126" y="615"/>
                  </a:lnTo>
                  <a:lnTo>
                    <a:pt x="131" y="617"/>
                  </a:lnTo>
                  <a:lnTo>
                    <a:pt x="133" y="619"/>
                  </a:lnTo>
                  <a:lnTo>
                    <a:pt x="131" y="624"/>
                  </a:lnTo>
                  <a:lnTo>
                    <a:pt x="133" y="629"/>
                  </a:lnTo>
                  <a:lnTo>
                    <a:pt x="133" y="617"/>
                  </a:lnTo>
                  <a:lnTo>
                    <a:pt x="135" y="612"/>
                  </a:lnTo>
                  <a:lnTo>
                    <a:pt x="140" y="610"/>
                  </a:lnTo>
                  <a:lnTo>
                    <a:pt x="138" y="610"/>
                  </a:lnTo>
                  <a:lnTo>
                    <a:pt x="135" y="610"/>
                  </a:lnTo>
                  <a:lnTo>
                    <a:pt x="133" y="610"/>
                  </a:lnTo>
                  <a:lnTo>
                    <a:pt x="133" y="612"/>
                  </a:lnTo>
                  <a:lnTo>
                    <a:pt x="131" y="610"/>
                  </a:lnTo>
                  <a:lnTo>
                    <a:pt x="138" y="603"/>
                  </a:lnTo>
                  <a:lnTo>
                    <a:pt x="149" y="603"/>
                  </a:lnTo>
                  <a:lnTo>
                    <a:pt x="159" y="608"/>
                  </a:lnTo>
                  <a:lnTo>
                    <a:pt x="166" y="615"/>
                  </a:lnTo>
                  <a:lnTo>
                    <a:pt x="171" y="622"/>
                  </a:lnTo>
                  <a:lnTo>
                    <a:pt x="171" y="627"/>
                  </a:lnTo>
                  <a:lnTo>
                    <a:pt x="171" y="641"/>
                  </a:lnTo>
                  <a:lnTo>
                    <a:pt x="171" y="645"/>
                  </a:lnTo>
                  <a:lnTo>
                    <a:pt x="168" y="655"/>
                  </a:lnTo>
                  <a:lnTo>
                    <a:pt x="166" y="662"/>
                  </a:lnTo>
                  <a:lnTo>
                    <a:pt x="164" y="667"/>
                  </a:lnTo>
                  <a:lnTo>
                    <a:pt x="164" y="664"/>
                  </a:lnTo>
                  <a:lnTo>
                    <a:pt x="166" y="662"/>
                  </a:lnTo>
                  <a:lnTo>
                    <a:pt x="168" y="660"/>
                  </a:lnTo>
                  <a:lnTo>
                    <a:pt x="168" y="657"/>
                  </a:lnTo>
                  <a:lnTo>
                    <a:pt x="171" y="657"/>
                  </a:lnTo>
                  <a:lnTo>
                    <a:pt x="168" y="662"/>
                  </a:lnTo>
                  <a:lnTo>
                    <a:pt x="164" y="669"/>
                  </a:lnTo>
                  <a:lnTo>
                    <a:pt x="159" y="676"/>
                  </a:lnTo>
                  <a:lnTo>
                    <a:pt x="159" y="683"/>
                  </a:lnTo>
                  <a:lnTo>
                    <a:pt x="164" y="686"/>
                  </a:lnTo>
                  <a:lnTo>
                    <a:pt x="180" y="690"/>
                  </a:lnTo>
                  <a:lnTo>
                    <a:pt x="171" y="693"/>
                  </a:lnTo>
                  <a:lnTo>
                    <a:pt x="164" y="690"/>
                  </a:lnTo>
                  <a:lnTo>
                    <a:pt x="159" y="686"/>
                  </a:lnTo>
                  <a:lnTo>
                    <a:pt x="147" y="672"/>
                  </a:lnTo>
                  <a:lnTo>
                    <a:pt x="145" y="669"/>
                  </a:lnTo>
                  <a:lnTo>
                    <a:pt x="140" y="669"/>
                  </a:lnTo>
                  <a:lnTo>
                    <a:pt x="138" y="672"/>
                  </a:lnTo>
                  <a:lnTo>
                    <a:pt x="140" y="681"/>
                  </a:lnTo>
                  <a:lnTo>
                    <a:pt x="140" y="686"/>
                  </a:lnTo>
                  <a:lnTo>
                    <a:pt x="140" y="688"/>
                  </a:lnTo>
                  <a:lnTo>
                    <a:pt x="142" y="693"/>
                  </a:lnTo>
                  <a:lnTo>
                    <a:pt x="145" y="712"/>
                  </a:lnTo>
                  <a:lnTo>
                    <a:pt x="149" y="728"/>
                  </a:lnTo>
                  <a:lnTo>
                    <a:pt x="152" y="738"/>
                  </a:lnTo>
                  <a:lnTo>
                    <a:pt x="149" y="742"/>
                  </a:lnTo>
                  <a:lnTo>
                    <a:pt x="152" y="747"/>
                  </a:lnTo>
                  <a:lnTo>
                    <a:pt x="149" y="754"/>
                  </a:lnTo>
                  <a:lnTo>
                    <a:pt x="145" y="769"/>
                  </a:lnTo>
                  <a:lnTo>
                    <a:pt x="142" y="776"/>
                  </a:lnTo>
                  <a:lnTo>
                    <a:pt x="133" y="790"/>
                  </a:lnTo>
                  <a:lnTo>
                    <a:pt x="131" y="795"/>
                  </a:lnTo>
                  <a:lnTo>
                    <a:pt x="131" y="797"/>
                  </a:lnTo>
                  <a:lnTo>
                    <a:pt x="133" y="797"/>
                  </a:lnTo>
                  <a:lnTo>
                    <a:pt x="138" y="809"/>
                  </a:lnTo>
                  <a:lnTo>
                    <a:pt x="140" y="811"/>
                  </a:lnTo>
                  <a:lnTo>
                    <a:pt x="138" y="818"/>
                  </a:lnTo>
                  <a:lnTo>
                    <a:pt x="138" y="821"/>
                  </a:lnTo>
                  <a:lnTo>
                    <a:pt x="133" y="830"/>
                  </a:lnTo>
                  <a:lnTo>
                    <a:pt x="131" y="832"/>
                  </a:lnTo>
                  <a:lnTo>
                    <a:pt x="135" y="842"/>
                  </a:lnTo>
                  <a:lnTo>
                    <a:pt x="147" y="849"/>
                  </a:lnTo>
                  <a:lnTo>
                    <a:pt x="147" y="856"/>
                  </a:lnTo>
                  <a:lnTo>
                    <a:pt x="154" y="863"/>
                  </a:lnTo>
                  <a:lnTo>
                    <a:pt x="152" y="873"/>
                  </a:lnTo>
                  <a:lnTo>
                    <a:pt x="138" y="894"/>
                  </a:lnTo>
                  <a:lnTo>
                    <a:pt x="135" y="896"/>
                  </a:lnTo>
                  <a:lnTo>
                    <a:pt x="138" y="899"/>
                  </a:lnTo>
                  <a:lnTo>
                    <a:pt x="140" y="906"/>
                  </a:lnTo>
                  <a:lnTo>
                    <a:pt x="142" y="906"/>
                  </a:lnTo>
                  <a:lnTo>
                    <a:pt x="145" y="906"/>
                  </a:lnTo>
                  <a:lnTo>
                    <a:pt x="147" y="908"/>
                  </a:lnTo>
                  <a:lnTo>
                    <a:pt x="147" y="913"/>
                  </a:lnTo>
                  <a:lnTo>
                    <a:pt x="147" y="915"/>
                  </a:lnTo>
                  <a:lnTo>
                    <a:pt x="149" y="918"/>
                  </a:lnTo>
                  <a:lnTo>
                    <a:pt x="152" y="920"/>
                  </a:lnTo>
                  <a:lnTo>
                    <a:pt x="154" y="922"/>
                  </a:lnTo>
                  <a:lnTo>
                    <a:pt x="152" y="918"/>
                  </a:lnTo>
                  <a:lnTo>
                    <a:pt x="154" y="918"/>
                  </a:lnTo>
                  <a:lnTo>
                    <a:pt x="157" y="918"/>
                  </a:lnTo>
                  <a:lnTo>
                    <a:pt x="159" y="922"/>
                  </a:lnTo>
                  <a:lnTo>
                    <a:pt x="161" y="927"/>
                  </a:lnTo>
                  <a:lnTo>
                    <a:pt x="161" y="937"/>
                  </a:lnTo>
                  <a:lnTo>
                    <a:pt x="164" y="941"/>
                  </a:lnTo>
                  <a:lnTo>
                    <a:pt x="168" y="939"/>
                  </a:lnTo>
                  <a:lnTo>
                    <a:pt x="171" y="939"/>
                  </a:lnTo>
                  <a:lnTo>
                    <a:pt x="173" y="944"/>
                  </a:lnTo>
                  <a:lnTo>
                    <a:pt x="175" y="951"/>
                  </a:lnTo>
                  <a:lnTo>
                    <a:pt x="178" y="953"/>
                  </a:lnTo>
                  <a:lnTo>
                    <a:pt x="178" y="955"/>
                  </a:lnTo>
                  <a:lnTo>
                    <a:pt x="185" y="951"/>
                  </a:lnTo>
                  <a:lnTo>
                    <a:pt x="190" y="953"/>
                  </a:lnTo>
                  <a:lnTo>
                    <a:pt x="187" y="960"/>
                  </a:lnTo>
                  <a:lnTo>
                    <a:pt x="187" y="963"/>
                  </a:lnTo>
                  <a:lnTo>
                    <a:pt x="192" y="963"/>
                  </a:lnTo>
                  <a:lnTo>
                    <a:pt x="199" y="965"/>
                  </a:lnTo>
                  <a:lnTo>
                    <a:pt x="201" y="963"/>
                  </a:lnTo>
                  <a:lnTo>
                    <a:pt x="204" y="963"/>
                  </a:lnTo>
                  <a:lnTo>
                    <a:pt x="211" y="981"/>
                  </a:lnTo>
                  <a:lnTo>
                    <a:pt x="216" y="1003"/>
                  </a:lnTo>
                  <a:lnTo>
                    <a:pt x="223" y="1000"/>
                  </a:lnTo>
                  <a:lnTo>
                    <a:pt x="228" y="1007"/>
                  </a:lnTo>
                  <a:lnTo>
                    <a:pt x="228" y="1017"/>
                  </a:lnTo>
                  <a:lnTo>
                    <a:pt x="223" y="1026"/>
                  </a:lnTo>
                  <a:lnTo>
                    <a:pt x="225" y="1029"/>
                  </a:lnTo>
                  <a:lnTo>
                    <a:pt x="230" y="1029"/>
                  </a:lnTo>
                  <a:lnTo>
                    <a:pt x="235" y="1029"/>
                  </a:lnTo>
                  <a:lnTo>
                    <a:pt x="239" y="1031"/>
                  </a:lnTo>
                  <a:lnTo>
                    <a:pt x="237" y="1038"/>
                  </a:lnTo>
                  <a:lnTo>
                    <a:pt x="239" y="1041"/>
                  </a:lnTo>
                  <a:lnTo>
                    <a:pt x="244" y="1038"/>
                  </a:lnTo>
                  <a:lnTo>
                    <a:pt x="242" y="1029"/>
                  </a:lnTo>
                  <a:lnTo>
                    <a:pt x="246" y="1022"/>
                  </a:lnTo>
                  <a:lnTo>
                    <a:pt x="254" y="1015"/>
                  </a:lnTo>
                  <a:lnTo>
                    <a:pt x="261" y="1010"/>
                  </a:lnTo>
                  <a:lnTo>
                    <a:pt x="268" y="1010"/>
                  </a:lnTo>
                  <a:lnTo>
                    <a:pt x="277" y="1012"/>
                  </a:lnTo>
                  <a:lnTo>
                    <a:pt x="287" y="1019"/>
                  </a:lnTo>
                  <a:lnTo>
                    <a:pt x="291" y="1026"/>
                  </a:lnTo>
                  <a:lnTo>
                    <a:pt x="291" y="1017"/>
                  </a:lnTo>
                  <a:lnTo>
                    <a:pt x="298" y="1024"/>
                  </a:lnTo>
                  <a:lnTo>
                    <a:pt x="303" y="1026"/>
                  </a:lnTo>
                  <a:lnTo>
                    <a:pt x="308" y="1029"/>
                  </a:lnTo>
                  <a:lnTo>
                    <a:pt x="310" y="1026"/>
                  </a:lnTo>
                  <a:lnTo>
                    <a:pt x="313" y="1019"/>
                  </a:lnTo>
                  <a:lnTo>
                    <a:pt x="315" y="1019"/>
                  </a:lnTo>
                  <a:lnTo>
                    <a:pt x="320" y="1017"/>
                  </a:lnTo>
                  <a:lnTo>
                    <a:pt x="320" y="1017"/>
                  </a:lnTo>
                  <a:lnTo>
                    <a:pt x="351" y="979"/>
                  </a:lnTo>
                  <a:lnTo>
                    <a:pt x="353" y="972"/>
                  </a:lnTo>
                  <a:lnTo>
                    <a:pt x="355" y="974"/>
                  </a:lnTo>
                  <a:lnTo>
                    <a:pt x="358" y="974"/>
                  </a:lnTo>
                  <a:lnTo>
                    <a:pt x="360" y="972"/>
                  </a:lnTo>
                  <a:lnTo>
                    <a:pt x="358" y="972"/>
                  </a:lnTo>
                  <a:lnTo>
                    <a:pt x="360" y="958"/>
                  </a:lnTo>
                  <a:lnTo>
                    <a:pt x="365" y="948"/>
                  </a:lnTo>
                  <a:lnTo>
                    <a:pt x="362" y="946"/>
                  </a:lnTo>
                  <a:lnTo>
                    <a:pt x="360" y="944"/>
                  </a:lnTo>
                  <a:lnTo>
                    <a:pt x="360" y="941"/>
                  </a:lnTo>
                  <a:lnTo>
                    <a:pt x="355" y="934"/>
                  </a:lnTo>
                  <a:lnTo>
                    <a:pt x="353" y="927"/>
                  </a:lnTo>
                  <a:lnTo>
                    <a:pt x="351" y="918"/>
                  </a:lnTo>
                  <a:lnTo>
                    <a:pt x="351" y="908"/>
                  </a:lnTo>
                  <a:lnTo>
                    <a:pt x="353" y="901"/>
                  </a:lnTo>
                  <a:lnTo>
                    <a:pt x="355" y="894"/>
                  </a:lnTo>
                  <a:lnTo>
                    <a:pt x="367" y="880"/>
                  </a:lnTo>
                  <a:lnTo>
                    <a:pt x="369" y="877"/>
                  </a:lnTo>
                  <a:lnTo>
                    <a:pt x="367" y="873"/>
                  </a:lnTo>
                  <a:lnTo>
                    <a:pt x="367" y="870"/>
                  </a:lnTo>
                  <a:lnTo>
                    <a:pt x="358" y="875"/>
                  </a:lnTo>
                  <a:lnTo>
                    <a:pt x="355" y="873"/>
                  </a:lnTo>
                  <a:lnTo>
                    <a:pt x="355" y="875"/>
                  </a:lnTo>
                  <a:lnTo>
                    <a:pt x="353" y="873"/>
                  </a:lnTo>
                  <a:lnTo>
                    <a:pt x="351" y="870"/>
                  </a:lnTo>
                  <a:lnTo>
                    <a:pt x="348" y="868"/>
                  </a:lnTo>
                  <a:lnTo>
                    <a:pt x="348" y="866"/>
                  </a:lnTo>
                  <a:lnTo>
                    <a:pt x="348" y="863"/>
                  </a:lnTo>
                  <a:lnTo>
                    <a:pt x="343" y="861"/>
                  </a:lnTo>
                  <a:lnTo>
                    <a:pt x="346" y="858"/>
                  </a:lnTo>
                  <a:lnTo>
                    <a:pt x="348" y="858"/>
                  </a:lnTo>
                  <a:lnTo>
                    <a:pt x="353" y="858"/>
                  </a:lnTo>
                  <a:lnTo>
                    <a:pt x="355" y="861"/>
                  </a:lnTo>
                  <a:lnTo>
                    <a:pt x="360" y="866"/>
                  </a:lnTo>
                  <a:lnTo>
                    <a:pt x="362" y="866"/>
                  </a:lnTo>
                  <a:lnTo>
                    <a:pt x="365" y="863"/>
                  </a:lnTo>
                  <a:lnTo>
                    <a:pt x="379" y="877"/>
                  </a:lnTo>
                  <a:lnTo>
                    <a:pt x="388" y="884"/>
                  </a:lnTo>
                  <a:lnTo>
                    <a:pt x="398" y="887"/>
                  </a:lnTo>
                  <a:lnTo>
                    <a:pt x="398" y="884"/>
                  </a:lnTo>
                  <a:lnTo>
                    <a:pt x="403" y="877"/>
                  </a:lnTo>
                  <a:lnTo>
                    <a:pt x="407" y="870"/>
                  </a:lnTo>
                  <a:lnTo>
                    <a:pt x="412" y="868"/>
                  </a:lnTo>
                  <a:lnTo>
                    <a:pt x="424" y="868"/>
                  </a:lnTo>
                  <a:lnTo>
                    <a:pt x="431" y="868"/>
                  </a:lnTo>
                  <a:lnTo>
                    <a:pt x="436" y="870"/>
                  </a:lnTo>
                  <a:lnTo>
                    <a:pt x="438" y="868"/>
                  </a:lnTo>
                  <a:lnTo>
                    <a:pt x="440" y="870"/>
                  </a:lnTo>
                  <a:lnTo>
                    <a:pt x="445" y="873"/>
                  </a:lnTo>
                  <a:lnTo>
                    <a:pt x="450" y="873"/>
                  </a:lnTo>
                  <a:lnTo>
                    <a:pt x="452" y="875"/>
                  </a:lnTo>
                  <a:lnTo>
                    <a:pt x="457" y="875"/>
                  </a:lnTo>
                  <a:lnTo>
                    <a:pt x="464" y="882"/>
                  </a:lnTo>
                  <a:lnTo>
                    <a:pt x="466" y="884"/>
                  </a:lnTo>
                  <a:lnTo>
                    <a:pt x="469" y="884"/>
                  </a:lnTo>
                  <a:lnTo>
                    <a:pt x="478" y="894"/>
                  </a:lnTo>
                  <a:lnTo>
                    <a:pt x="485" y="896"/>
                  </a:lnTo>
                  <a:lnTo>
                    <a:pt x="490" y="899"/>
                  </a:lnTo>
                  <a:lnTo>
                    <a:pt x="490" y="901"/>
                  </a:lnTo>
                  <a:lnTo>
                    <a:pt x="492" y="901"/>
                  </a:lnTo>
                  <a:lnTo>
                    <a:pt x="497" y="899"/>
                  </a:lnTo>
                  <a:lnTo>
                    <a:pt x="502" y="896"/>
                  </a:lnTo>
                  <a:lnTo>
                    <a:pt x="509" y="896"/>
                  </a:lnTo>
                  <a:lnTo>
                    <a:pt x="514" y="899"/>
                  </a:lnTo>
                  <a:lnTo>
                    <a:pt x="511" y="903"/>
                  </a:lnTo>
                  <a:lnTo>
                    <a:pt x="511" y="906"/>
                  </a:lnTo>
                  <a:lnTo>
                    <a:pt x="514" y="906"/>
                  </a:lnTo>
                  <a:lnTo>
                    <a:pt x="516" y="908"/>
                  </a:lnTo>
                  <a:lnTo>
                    <a:pt x="516" y="899"/>
                  </a:lnTo>
                  <a:lnTo>
                    <a:pt x="523" y="894"/>
                  </a:lnTo>
                  <a:lnTo>
                    <a:pt x="528" y="892"/>
                  </a:lnTo>
                  <a:lnTo>
                    <a:pt x="530" y="887"/>
                  </a:lnTo>
                  <a:lnTo>
                    <a:pt x="530" y="882"/>
                  </a:lnTo>
                  <a:lnTo>
                    <a:pt x="533" y="873"/>
                  </a:lnTo>
                  <a:lnTo>
                    <a:pt x="533" y="870"/>
                  </a:lnTo>
                  <a:lnTo>
                    <a:pt x="530" y="868"/>
                  </a:lnTo>
                  <a:lnTo>
                    <a:pt x="528" y="866"/>
                  </a:lnTo>
                  <a:lnTo>
                    <a:pt x="528" y="863"/>
                  </a:lnTo>
                  <a:lnTo>
                    <a:pt x="530" y="858"/>
                  </a:lnTo>
                  <a:lnTo>
                    <a:pt x="526" y="849"/>
                  </a:lnTo>
                  <a:lnTo>
                    <a:pt x="530" y="837"/>
                  </a:lnTo>
                  <a:lnTo>
                    <a:pt x="537" y="825"/>
                  </a:lnTo>
                  <a:lnTo>
                    <a:pt x="547" y="821"/>
                  </a:lnTo>
                  <a:lnTo>
                    <a:pt x="545" y="818"/>
                  </a:lnTo>
                  <a:lnTo>
                    <a:pt x="537" y="813"/>
                  </a:lnTo>
                  <a:lnTo>
                    <a:pt x="535" y="811"/>
                  </a:lnTo>
                  <a:lnTo>
                    <a:pt x="533" y="804"/>
                  </a:lnTo>
                  <a:lnTo>
                    <a:pt x="533" y="799"/>
                  </a:lnTo>
                  <a:lnTo>
                    <a:pt x="535" y="780"/>
                  </a:lnTo>
                  <a:lnTo>
                    <a:pt x="540" y="757"/>
                  </a:lnTo>
                  <a:lnTo>
                    <a:pt x="540" y="742"/>
                  </a:lnTo>
                  <a:lnTo>
                    <a:pt x="535" y="735"/>
                  </a:lnTo>
                  <a:lnTo>
                    <a:pt x="540" y="707"/>
                  </a:lnTo>
                  <a:lnTo>
                    <a:pt x="540" y="695"/>
                  </a:lnTo>
                  <a:lnTo>
                    <a:pt x="535" y="676"/>
                  </a:lnTo>
                  <a:lnTo>
                    <a:pt x="535" y="672"/>
                  </a:lnTo>
                  <a:lnTo>
                    <a:pt x="535" y="667"/>
                  </a:lnTo>
                  <a:lnTo>
                    <a:pt x="537" y="662"/>
                  </a:lnTo>
                  <a:lnTo>
                    <a:pt x="537" y="660"/>
                  </a:lnTo>
                  <a:lnTo>
                    <a:pt x="537" y="655"/>
                  </a:lnTo>
                  <a:lnTo>
                    <a:pt x="540" y="645"/>
                  </a:lnTo>
                  <a:lnTo>
                    <a:pt x="540" y="643"/>
                  </a:lnTo>
                  <a:lnTo>
                    <a:pt x="540" y="636"/>
                  </a:lnTo>
                  <a:lnTo>
                    <a:pt x="537" y="627"/>
                  </a:lnTo>
                  <a:lnTo>
                    <a:pt x="535" y="622"/>
                  </a:lnTo>
                  <a:lnTo>
                    <a:pt x="535" y="610"/>
                  </a:lnTo>
                  <a:lnTo>
                    <a:pt x="535" y="601"/>
                  </a:lnTo>
                  <a:lnTo>
                    <a:pt x="537" y="591"/>
                  </a:lnTo>
                  <a:lnTo>
                    <a:pt x="540" y="584"/>
                  </a:lnTo>
                  <a:lnTo>
                    <a:pt x="540" y="582"/>
                  </a:lnTo>
                  <a:lnTo>
                    <a:pt x="540" y="582"/>
                  </a:lnTo>
                  <a:lnTo>
                    <a:pt x="537" y="579"/>
                  </a:lnTo>
                  <a:lnTo>
                    <a:pt x="535" y="579"/>
                  </a:lnTo>
                  <a:lnTo>
                    <a:pt x="535" y="577"/>
                  </a:lnTo>
                  <a:lnTo>
                    <a:pt x="537" y="577"/>
                  </a:lnTo>
                  <a:lnTo>
                    <a:pt x="535" y="572"/>
                  </a:lnTo>
                  <a:lnTo>
                    <a:pt x="535" y="567"/>
                  </a:lnTo>
                  <a:lnTo>
                    <a:pt x="535" y="563"/>
                  </a:lnTo>
                  <a:lnTo>
                    <a:pt x="537" y="556"/>
                  </a:lnTo>
                  <a:lnTo>
                    <a:pt x="540" y="556"/>
                  </a:lnTo>
                  <a:lnTo>
                    <a:pt x="542" y="556"/>
                  </a:lnTo>
                  <a:lnTo>
                    <a:pt x="542" y="553"/>
                  </a:lnTo>
                  <a:lnTo>
                    <a:pt x="545" y="548"/>
                  </a:lnTo>
                  <a:lnTo>
                    <a:pt x="542" y="546"/>
                  </a:lnTo>
                  <a:lnTo>
                    <a:pt x="540" y="546"/>
                  </a:lnTo>
                  <a:lnTo>
                    <a:pt x="537" y="548"/>
                  </a:lnTo>
                  <a:lnTo>
                    <a:pt x="537" y="551"/>
                  </a:lnTo>
                  <a:lnTo>
                    <a:pt x="533" y="539"/>
                  </a:lnTo>
                  <a:lnTo>
                    <a:pt x="533" y="525"/>
                  </a:lnTo>
                  <a:lnTo>
                    <a:pt x="542" y="492"/>
                  </a:lnTo>
                  <a:lnTo>
                    <a:pt x="542" y="485"/>
                  </a:lnTo>
                  <a:lnTo>
                    <a:pt x="533" y="480"/>
                  </a:lnTo>
                  <a:lnTo>
                    <a:pt x="526" y="470"/>
                  </a:lnTo>
                  <a:lnTo>
                    <a:pt x="523" y="470"/>
                  </a:lnTo>
                  <a:lnTo>
                    <a:pt x="519" y="468"/>
                  </a:lnTo>
                  <a:lnTo>
                    <a:pt x="514" y="463"/>
                  </a:lnTo>
                  <a:lnTo>
                    <a:pt x="504" y="442"/>
                  </a:lnTo>
                  <a:lnTo>
                    <a:pt x="502" y="437"/>
                  </a:lnTo>
                  <a:lnTo>
                    <a:pt x="500" y="421"/>
                  </a:lnTo>
                  <a:lnTo>
                    <a:pt x="500" y="414"/>
                  </a:lnTo>
                  <a:lnTo>
                    <a:pt x="502" y="404"/>
                  </a:lnTo>
                  <a:lnTo>
                    <a:pt x="504" y="399"/>
                  </a:lnTo>
                  <a:lnTo>
                    <a:pt x="511" y="390"/>
                  </a:lnTo>
                  <a:lnTo>
                    <a:pt x="514" y="385"/>
                  </a:lnTo>
                  <a:lnTo>
                    <a:pt x="519" y="373"/>
                  </a:lnTo>
                  <a:lnTo>
                    <a:pt x="521" y="366"/>
                  </a:lnTo>
                  <a:lnTo>
                    <a:pt x="526" y="364"/>
                  </a:lnTo>
                  <a:lnTo>
                    <a:pt x="533" y="362"/>
                  </a:lnTo>
                  <a:lnTo>
                    <a:pt x="537" y="354"/>
                  </a:lnTo>
                  <a:lnTo>
                    <a:pt x="540" y="338"/>
                  </a:lnTo>
                  <a:lnTo>
                    <a:pt x="547" y="326"/>
                  </a:lnTo>
                  <a:lnTo>
                    <a:pt x="547" y="319"/>
                  </a:lnTo>
                  <a:lnTo>
                    <a:pt x="547" y="310"/>
                  </a:lnTo>
                  <a:lnTo>
                    <a:pt x="549" y="305"/>
                  </a:lnTo>
                  <a:lnTo>
                    <a:pt x="552" y="298"/>
                  </a:lnTo>
                  <a:lnTo>
                    <a:pt x="552" y="293"/>
                  </a:lnTo>
                  <a:lnTo>
                    <a:pt x="549" y="2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Freeform 19">
              <a:extLst>
                <a:ext uri="{FF2B5EF4-FFF2-40B4-BE49-F238E27FC236}">
                  <a16:creationId xmlns:a16="http://schemas.microsoft.com/office/drawing/2014/main" id="{122F1F64-15F8-46E0-8114-D47194B6A9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7413" y="2729349"/>
              <a:ext cx="1068899" cy="1143227"/>
            </a:xfrm>
            <a:custGeom>
              <a:avLst/>
              <a:gdLst>
                <a:gd name="T0" fmla="*/ 208 w 842"/>
                <a:gd name="T1" fmla="*/ 785 h 899"/>
                <a:gd name="T2" fmla="*/ 650 w 842"/>
                <a:gd name="T3" fmla="*/ 809 h 899"/>
                <a:gd name="T4" fmla="*/ 688 w 842"/>
                <a:gd name="T5" fmla="*/ 773 h 899"/>
                <a:gd name="T6" fmla="*/ 676 w 842"/>
                <a:gd name="T7" fmla="*/ 745 h 899"/>
                <a:gd name="T8" fmla="*/ 707 w 842"/>
                <a:gd name="T9" fmla="*/ 724 h 899"/>
                <a:gd name="T10" fmla="*/ 726 w 842"/>
                <a:gd name="T11" fmla="*/ 700 h 899"/>
                <a:gd name="T12" fmla="*/ 733 w 842"/>
                <a:gd name="T13" fmla="*/ 660 h 899"/>
                <a:gd name="T14" fmla="*/ 717 w 842"/>
                <a:gd name="T15" fmla="*/ 627 h 899"/>
                <a:gd name="T16" fmla="*/ 769 w 842"/>
                <a:gd name="T17" fmla="*/ 591 h 899"/>
                <a:gd name="T18" fmla="*/ 764 w 842"/>
                <a:gd name="T19" fmla="*/ 541 h 899"/>
                <a:gd name="T20" fmla="*/ 757 w 842"/>
                <a:gd name="T21" fmla="*/ 513 h 899"/>
                <a:gd name="T22" fmla="*/ 745 w 842"/>
                <a:gd name="T23" fmla="*/ 492 h 899"/>
                <a:gd name="T24" fmla="*/ 771 w 842"/>
                <a:gd name="T25" fmla="*/ 435 h 899"/>
                <a:gd name="T26" fmla="*/ 799 w 842"/>
                <a:gd name="T27" fmla="*/ 425 h 899"/>
                <a:gd name="T28" fmla="*/ 816 w 842"/>
                <a:gd name="T29" fmla="*/ 397 h 899"/>
                <a:gd name="T30" fmla="*/ 799 w 842"/>
                <a:gd name="T31" fmla="*/ 399 h 899"/>
                <a:gd name="T32" fmla="*/ 776 w 842"/>
                <a:gd name="T33" fmla="*/ 364 h 899"/>
                <a:gd name="T34" fmla="*/ 781 w 842"/>
                <a:gd name="T35" fmla="*/ 338 h 899"/>
                <a:gd name="T36" fmla="*/ 776 w 842"/>
                <a:gd name="T37" fmla="*/ 319 h 899"/>
                <a:gd name="T38" fmla="*/ 802 w 842"/>
                <a:gd name="T39" fmla="*/ 253 h 899"/>
                <a:gd name="T40" fmla="*/ 825 w 842"/>
                <a:gd name="T41" fmla="*/ 217 h 899"/>
                <a:gd name="T42" fmla="*/ 818 w 842"/>
                <a:gd name="T43" fmla="*/ 203 h 899"/>
                <a:gd name="T44" fmla="*/ 795 w 842"/>
                <a:gd name="T45" fmla="*/ 210 h 899"/>
                <a:gd name="T46" fmla="*/ 766 w 842"/>
                <a:gd name="T47" fmla="*/ 212 h 899"/>
                <a:gd name="T48" fmla="*/ 669 w 842"/>
                <a:gd name="T49" fmla="*/ 198 h 899"/>
                <a:gd name="T50" fmla="*/ 624 w 842"/>
                <a:gd name="T51" fmla="*/ 156 h 899"/>
                <a:gd name="T52" fmla="*/ 617 w 842"/>
                <a:gd name="T53" fmla="*/ 123 h 899"/>
                <a:gd name="T54" fmla="*/ 634 w 842"/>
                <a:gd name="T55" fmla="*/ 75 h 899"/>
                <a:gd name="T56" fmla="*/ 584 w 842"/>
                <a:gd name="T57" fmla="*/ 80 h 899"/>
                <a:gd name="T58" fmla="*/ 575 w 842"/>
                <a:gd name="T59" fmla="*/ 66 h 899"/>
                <a:gd name="T60" fmla="*/ 525 w 842"/>
                <a:gd name="T61" fmla="*/ 44 h 899"/>
                <a:gd name="T62" fmla="*/ 501 w 842"/>
                <a:gd name="T63" fmla="*/ 61 h 899"/>
                <a:gd name="T64" fmla="*/ 471 w 842"/>
                <a:gd name="T65" fmla="*/ 94 h 899"/>
                <a:gd name="T66" fmla="*/ 411 w 842"/>
                <a:gd name="T67" fmla="*/ 115 h 899"/>
                <a:gd name="T68" fmla="*/ 404 w 842"/>
                <a:gd name="T69" fmla="*/ 104 h 899"/>
                <a:gd name="T70" fmla="*/ 374 w 842"/>
                <a:gd name="T71" fmla="*/ 130 h 899"/>
                <a:gd name="T72" fmla="*/ 296 w 842"/>
                <a:gd name="T73" fmla="*/ 111 h 899"/>
                <a:gd name="T74" fmla="*/ 248 w 842"/>
                <a:gd name="T75" fmla="*/ 99 h 899"/>
                <a:gd name="T76" fmla="*/ 175 w 842"/>
                <a:gd name="T77" fmla="*/ 75 h 899"/>
                <a:gd name="T78" fmla="*/ 111 w 842"/>
                <a:gd name="T79" fmla="*/ 42 h 899"/>
                <a:gd name="T80" fmla="*/ 68 w 842"/>
                <a:gd name="T81" fmla="*/ 4 h 899"/>
                <a:gd name="T82" fmla="*/ 19 w 842"/>
                <a:gd name="T83" fmla="*/ 42 h 899"/>
                <a:gd name="T84" fmla="*/ 23 w 842"/>
                <a:gd name="T85" fmla="*/ 80 h 899"/>
                <a:gd name="T86" fmla="*/ 61 w 842"/>
                <a:gd name="T87" fmla="*/ 123 h 899"/>
                <a:gd name="T88" fmla="*/ 73 w 842"/>
                <a:gd name="T89" fmla="*/ 130 h 899"/>
                <a:gd name="T90" fmla="*/ 99 w 842"/>
                <a:gd name="T91" fmla="*/ 137 h 899"/>
                <a:gd name="T92" fmla="*/ 123 w 842"/>
                <a:gd name="T93" fmla="*/ 156 h 899"/>
                <a:gd name="T94" fmla="*/ 139 w 842"/>
                <a:gd name="T95" fmla="*/ 186 h 899"/>
                <a:gd name="T96" fmla="*/ 310 w 842"/>
                <a:gd name="T97" fmla="*/ 492 h 899"/>
                <a:gd name="T98" fmla="*/ 322 w 842"/>
                <a:gd name="T99" fmla="*/ 629 h 899"/>
                <a:gd name="T100" fmla="*/ 407 w 842"/>
                <a:gd name="T101" fmla="*/ 643 h 899"/>
                <a:gd name="T102" fmla="*/ 492 w 842"/>
                <a:gd name="T103" fmla="*/ 724 h 899"/>
                <a:gd name="T104" fmla="*/ 558 w 842"/>
                <a:gd name="T105" fmla="*/ 785 h 899"/>
                <a:gd name="T106" fmla="*/ 556 w 842"/>
                <a:gd name="T107" fmla="*/ 844 h 899"/>
                <a:gd name="T108" fmla="*/ 615 w 842"/>
                <a:gd name="T109" fmla="*/ 821 h 899"/>
                <a:gd name="T110" fmla="*/ 310 w 842"/>
                <a:gd name="T111" fmla="*/ 690 h 899"/>
                <a:gd name="T112" fmla="*/ 296 w 842"/>
                <a:gd name="T113" fmla="*/ 724 h 899"/>
                <a:gd name="T114" fmla="*/ 222 w 842"/>
                <a:gd name="T115" fmla="*/ 731 h 899"/>
                <a:gd name="T116" fmla="*/ 255 w 842"/>
                <a:gd name="T117" fmla="*/ 695 h 899"/>
                <a:gd name="T118" fmla="*/ 284 w 842"/>
                <a:gd name="T119" fmla="*/ 688 h 899"/>
                <a:gd name="T120" fmla="*/ 482 w 842"/>
                <a:gd name="T121" fmla="*/ 861 h 899"/>
                <a:gd name="T122" fmla="*/ 482 w 842"/>
                <a:gd name="T123" fmla="*/ 861 h 899"/>
                <a:gd name="T124" fmla="*/ 113 w 842"/>
                <a:gd name="T125" fmla="*/ 605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42" h="899">
                  <a:moveTo>
                    <a:pt x="215" y="794"/>
                  </a:moveTo>
                  <a:lnTo>
                    <a:pt x="215" y="794"/>
                  </a:lnTo>
                  <a:lnTo>
                    <a:pt x="215" y="794"/>
                  </a:lnTo>
                  <a:lnTo>
                    <a:pt x="215" y="797"/>
                  </a:lnTo>
                  <a:lnTo>
                    <a:pt x="215" y="799"/>
                  </a:lnTo>
                  <a:lnTo>
                    <a:pt x="213" y="802"/>
                  </a:lnTo>
                  <a:lnTo>
                    <a:pt x="208" y="802"/>
                  </a:lnTo>
                  <a:lnTo>
                    <a:pt x="203" y="802"/>
                  </a:lnTo>
                  <a:lnTo>
                    <a:pt x="201" y="799"/>
                  </a:lnTo>
                  <a:lnTo>
                    <a:pt x="201" y="797"/>
                  </a:lnTo>
                  <a:lnTo>
                    <a:pt x="203" y="794"/>
                  </a:lnTo>
                  <a:lnTo>
                    <a:pt x="206" y="790"/>
                  </a:lnTo>
                  <a:lnTo>
                    <a:pt x="208" y="785"/>
                  </a:lnTo>
                  <a:lnTo>
                    <a:pt x="210" y="785"/>
                  </a:lnTo>
                  <a:lnTo>
                    <a:pt x="210" y="790"/>
                  </a:lnTo>
                  <a:lnTo>
                    <a:pt x="213" y="792"/>
                  </a:lnTo>
                  <a:lnTo>
                    <a:pt x="215" y="794"/>
                  </a:lnTo>
                  <a:close/>
                  <a:moveTo>
                    <a:pt x="291" y="887"/>
                  </a:moveTo>
                  <a:lnTo>
                    <a:pt x="291" y="887"/>
                  </a:lnTo>
                  <a:lnTo>
                    <a:pt x="296" y="891"/>
                  </a:lnTo>
                  <a:lnTo>
                    <a:pt x="296" y="899"/>
                  </a:lnTo>
                  <a:lnTo>
                    <a:pt x="288" y="896"/>
                  </a:lnTo>
                  <a:lnTo>
                    <a:pt x="288" y="889"/>
                  </a:lnTo>
                  <a:lnTo>
                    <a:pt x="291" y="887"/>
                  </a:lnTo>
                  <a:close/>
                  <a:moveTo>
                    <a:pt x="650" y="809"/>
                  </a:moveTo>
                  <a:lnTo>
                    <a:pt x="650" y="809"/>
                  </a:lnTo>
                  <a:lnTo>
                    <a:pt x="650" y="806"/>
                  </a:lnTo>
                  <a:lnTo>
                    <a:pt x="653" y="804"/>
                  </a:lnTo>
                  <a:lnTo>
                    <a:pt x="655" y="802"/>
                  </a:lnTo>
                  <a:lnTo>
                    <a:pt x="658" y="802"/>
                  </a:lnTo>
                  <a:lnTo>
                    <a:pt x="684" y="794"/>
                  </a:lnTo>
                  <a:lnTo>
                    <a:pt x="686" y="794"/>
                  </a:lnTo>
                  <a:lnTo>
                    <a:pt x="686" y="792"/>
                  </a:lnTo>
                  <a:lnTo>
                    <a:pt x="688" y="792"/>
                  </a:lnTo>
                  <a:lnTo>
                    <a:pt x="688" y="790"/>
                  </a:lnTo>
                  <a:lnTo>
                    <a:pt x="688" y="785"/>
                  </a:lnTo>
                  <a:lnTo>
                    <a:pt x="688" y="780"/>
                  </a:lnTo>
                  <a:lnTo>
                    <a:pt x="688" y="776"/>
                  </a:lnTo>
                  <a:lnTo>
                    <a:pt x="688" y="773"/>
                  </a:lnTo>
                  <a:lnTo>
                    <a:pt x="686" y="773"/>
                  </a:lnTo>
                  <a:lnTo>
                    <a:pt x="684" y="771"/>
                  </a:lnTo>
                  <a:lnTo>
                    <a:pt x="674" y="766"/>
                  </a:lnTo>
                  <a:lnTo>
                    <a:pt x="674" y="766"/>
                  </a:lnTo>
                  <a:lnTo>
                    <a:pt x="674" y="764"/>
                  </a:lnTo>
                  <a:lnTo>
                    <a:pt x="674" y="761"/>
                  </a:lnTo>
                  <a:lnTo>
                    <a:pt x="674" y="759"/>
                  </a:lnTo>
                  <a:lnTo>
                    <a:pt x="679" y="754"/>
                  </a:lnTo>
                  <a:lnTo>
                    <a:pt x="679" y="752"/>
                  </a:lnTo>
                  <a:lnTo>
                    <a:pt x="679" y="750"/>
                  </a:lnTo>
                  <a:lnTo>
                    <a:pt x="676" y="747"/>
                  </a:lnTo>
                  <a:lnTo>
                    <a:pt x="676" y="747"/>
                  </a:lnTo>
                  <a:lnTo>
                    <a:pt x="676" y="745"/>
                  </a:lnTo>
                  <a:lnTo>
                    <a:pt x="676" y="742"/>
                  </a:lnTo>
                  <a:lnTo>
                    <a:pt x="676" y="742"/>
                  </a:lnTo>
                  <a:lnTo>
                    <a:pt x="679" y="740"/>
                  </a:lnTo>
                  <a:lnTo>
                    <a:pt x="681" y="740"/>
                  </a:lnTo>
                  <a:lnTo>
                    <a:pt x="681" y="740"/>
                  </a:lnTo>
                  <a:lnTo>
                    <a:pt x="686" y="742"/>
                  </a:lnTo>
                  <a:lnTo>
                    <a:pt x="686" y="742"/>
                  </a:lnTo>
                  <a:lnTo>
                    <a:pt x="688" y="742"/>
                  </a:lnTo>
                  <a:lnTo>
                    <a:pt x="702" y="733"/>
                  </a:lnTo>
                  <a:lnTo>
                    <a:pt x="702" y="733"/>
                  </a:lnTo>
                  <a:lnTo>
                    <a:pt x="705" y="731"/>
                  </a:lnTo>
                  <a:lnTo>
                    <a:pt x="705" y="731"/>
                  </a:lnTo>
                  <a:lnTo>
                    <a:pt x="707" y="724"/>
                  </a:lnTo>
                  <a:lnTo>
                    <a:pt x="710" y="721"/>
                  </a:lnTo>
                  <a:lnTo>
                    <a:pt x="710" y="721"/>
                  </a:lnTo>
                  <a:lnTo>
                    <a:pt x="714" y="719"/>
                  </a:lnTo>
                  <a:lnTo>
                    <a:pt x="717" y="716"/>
                  </a:lnTo>
                  <a:lnTo>
                    <a:pt x="719" y="714"/>
                  </a:lnTo>
                  <a:lnTo>
                    <a:pt x="719" y="712"/>
                  </a:lnTo>
                  <a:lnTo>
                    <a:pt x="721" y="712"/>
                  </a:lnTo>
                  <a:lnTo>
                    <a:pt x="721" y="705"/>
                  </a:lnTo>
                  <a:lnTo>
                    <a:pt x="724" y="702"/>
                  </a:lnTo>
                  <a:lnTo>
                    <a:pt x="724" y="702"/>
                  </a:lnTo>
                  <a:lnTo>
                    <a:pt x="724" y="702"/>
                  </a:lnTo>
                  <a:lnTo>
                    <a:pt x="724" y="700"/>
                  </a:lnTo>
                  <a:lnTo>
                    <a:pt x="726" y="700"/>
                  </a:lnTo>
                  <a:lnTo>
                    <a:pt x="731" y="697"/>
                  </a:lnTo>
                  <a:lnTo>
                    <a:pt x="731" y="697"/>
                  </a:lnTo>
                  <a:lnTo>
                    <a:pt x="733" y="697"/>
                  </a:lnTo>
                  <a:lnTo>
                    <a:pt x="733" y="693"/>
                  </a:lnTo>
                  <a:lnTo>
                    <a:pt x="733" y="688"/>
                  </a:lnTo>
                  <a:lnTo>
                    <a:pt x="731" y="676"/>
                  </a:lnTo>
                  <a:lnTo>
                    <a:pt x="731" y="671"/>
                  </a:lnTo>
                  <a:lnTo>
                    <a:pt x="731" y="669"/>
                  </a:lnTo>
                  <a:lnTo>
                    <a:pt x="731" y="667"/>
                  </a:lnTo>
                  <a:lnTo>
                    <a:pt x="733" y="667"/>
                  </a:lnTo>
                  <a:lnTo>
                    <a:pt x="733" y="664"/>
                  </a:lnTo>
                  <a:lnTo>
                    <a:pt x="733" y="662"/>
                  </a:lnTo>
                  <a:lnTo>
                    <a:pt x="733" y="660"/>
                  </a:lnTo>
                  <a:lnTo>
                    <a:pt x="733" y="657"/>
                  </a:lnTo>
                  <a:lnTo>
                    <a:pt x="733" y="655"/>
                  </a:lnTo>
                  <a:lnTo>
                    <a:pt x="731" y="655"/>
                  </a:lnTo>
                  <a:lnTo>
                    <a:pt x="728" y="653"/>
                  </a:lnTo>
                  <a:lnTo>
                    <a:pt x="726" y="650"/>
                  </a:lnTo>
                  <a:lnTo>
                    <a:pt x="724" y="645"/>
                  </a:lnTo>
                  <a:lnTo>
                    <a:pt x="724" y="645"/>
                  </a:lnTo>
                  <a:lnTo>
                    <a:pt x="721" y="643"/>
                  </a:lnTo>
                  <a:lnTo>
                    <a:pt x="712" y="636"/>
                  </a:lnTo>
                  <a:lnTo>
                    <a:pt x="712" y="634"/>
                  </a:lnTo>
                  <a:lnTo>
                    <a:pt x="714" y="631"/>
                  </a:lnTo>
                  <a:lnTo>
                    <a:pt x="717" y="627"/>
                  </a:lnTo>
                  <a:lnTo>
                    <a:pt x="717" y="627"/>
                  </a:lnTo>
                  <a:lnTo>
                    <a:pt x="719" y="627"/>
                  </a:lnTo>
                  <a:lnTo>
                    <a:pt x="721" y="627"/>
                  </a:lnTo>
                  <a:lnTo>
                    <a:pt x="724" y="627"/>
                  </a:lnTo>
                  <a:lnTo>
                    <a:pt x="726" y="629"/>
                  </a:lnTo>
                  <a:lnTo>
                    <a:pt x="728" y="629"/>
                  </a:lnTo>
                  <a:lnTo>
                    <a:pt x="731" y="627"/>
                  </a:lnTo>
                  <a:lnTo>
                    <a:pt x="736" y="619"/>
                  </a:lnTo>
                  <a:lnTo>
                    <a:pt x="738" y="617"/>
                  </a:lnTo>
                  <a:lnTo>
                    <a:pt x="752" y="608"/>
                  </a:lnTo>
                  <a:lnTo>
                    <a:pt x="766" y="596"/>
                  </a:lnTo>
                  <a:lnTo>
                    <a:pt x="766" y="593"/>
                  </a:lnTo>
                  <a:lnTo>
                    <a:pt x="769" y="591"/>
                  </a:lnTo>
                  <a:lnTo>
                    <a:pt x="769" y="591"/>
                  </a:lnTo>
                  <a:lnTo>
                    <a:pt x="769" y="589"/>
                  </a:lnTo>
                  <a:lnTo>
                    <a:pt x="769" y="586"/>
                  </a:lnTo>
                  <a:lnTo>
                    <a:pt x="769" y="586"/>
                  </a:lnTo>
                  <a:lnTo>
                    <a:pt x="769" y="584"/>
                  </a:lnTo>
                  <a:lnTo>
                    <a:pt x="766" y="582"/>
                  </a:lnTo>
                  <a:lnTo>
                    <a:pt x="766" y="579"/>
                  </a:lnTo>
                  <a:lnTo>
                    <a:pt x="762" y="579"/>
                  </a:lnTo>
                  <a:lnTo>
                    <a:pt x="762" y="577"/>
                  </a:lnTo>
                  <a:lnTo>
                    <a:pt x="762" y="574"/>
                  </a:lnTo>
                  <a:lnTo>
                    <a:pt x="762" y="563"/>
                  </a:lnTo>
                  <a:lnTo>
                    <a:pt x="762" y="556"/>
                  </a:lnTo>
                  <a:lnTo>
                    <a:pt x="764" y="546"/>
                  </a:lnTo>
                  <a:lnTo>
                    <a:pt x="764" y="541"/>
                  </a:lnTo>
                  <a:lnTo>
                    <a:pt x="766" y="537"/>
                  </a:lnTo>
                  <a:lnTo>
                    <a:pt x="769" y="537"/>
                  </a:lnTo>
                  <a:lnTo>
                    <a:pt x="769" y="532"/>
                  </a:lnTo>
                  <a:lnTo>
                    <a:pt x="769" y="532"/>
                  </a:lnTo>
                  <a:lnTo>
                    <a:pt x="769" y="529"/>
                  </a:lnTo>
                  <a:lnTo>
                    <a:pt x="769" y="522"/>
                  </a:lnTo>
                  <a:lnTo>
                    <a:pt x="766" y="520"/>
                  </a:lnTo>
                  <a:lnTo>
                    <a:pt x="766" y="515"/>
                  </a:lnTo>
                  <a:lnTo>
                    <a:pt x="764" y="513"/>
                  </a:lnTo>
                  <a:lnTo>
                    <a:pt x="762" y="511"/>
                  </a:lnTo>
                  <a:lnTo>
                    <a:pt x="759" y="511"/>
                  </a:lnTo>
                  <a:lnTo>
                    <a:pt x="759" y="511"/>
                  </a:lnTo>
                  <a:lnTo>
                    <a:pt x="757" y="513"/>
                  </a:lnTo>
                  <a:lnTo>
                    <a:pt x="757" y="515"/>
                  </a:lnTo>
                  <a:lnTo>
                    <a:pt x="757" y="515"/>
                  </a:lnTo>
                  <a:lnTo>
                    <a:pt x="755" y="515"/>
                  </a:lnTo>
                  <a:lnTo>
                    <a:pt x="752" y="515"/>
                  </a:lnTo>
                  <a:lnTo>
                    <a:pt x="752" y="513"/>
                  </a:lnTo>
                  <a:lnTo>
                    <a:pt x="750" y="511"/>
                  </a:lnTo>
                  <a:lnTo>
                    <a:pt x="750" y="503"/>
                  </a:lnTo>
                  <a:lnTo>
                    <a:pt x="747" y="501"/>
                  </a:lnTo>
                  <a:lnTo>
                    <a:pt x="747" y="499"/>
                  </a:lnTo>
                  <a:lnTo>
                    <a:pt x="747" y="496"/>
                  </a:lnTo>
                  <a:lnTo>
                    <a:pt x="745" y="496"/>
                  </a:lnTo>
                  <a:lnTo>
                    <a:pt x="745" y="494"/>
                  </a:lnTo>
                  <a:lnTo>
                    <a:pt x="745" y="492"/>
                  </a:lnTo>
                  <a:lnTo>
                    <a:pt x="745" y="485"/>
                  </a:lnTo>
                  <a:lnTo>
                    <a:pt x="750" y="470"/>
                  </a:lnTo>
                  <a:lnTo>
                    <a:pt x="755" y="468"/>
                  </a:lnTo>
                  <a:lnTo>
                    <a:pt x="757" y="466"/>
                  </a:lnTo>
                  <a:lnTo>
                    <a:pt x="764" y="461"/>
                  </a:lnTo>
                  <a:lnTo>
                    <a:pt x="764" y="461"/>
                  </a:lnTo>
                  <a:lnTo>
                    <a:pt x="766" y="459"/>
                  </a:lnTo>
                  <a:lnTo>
                    <a:pt x="769" y="456"/>
                  </a:lnTo>
                  <a:lnTo>
                    <a:pt x="769" y="454"/>
                  </a:lnTo>
                  <a:lnTo>
                    <a:pt x="769" y="451"/>
                  </a:lnTo>
                  <a:lnTo>
                    <a:pt x="769" y="449"/>
                  </a:lnTo>
                  <a:lnTo>
                    <a:pt x="769" y="437"/>
                  </a:lnTo>
                  <a:lnTo>
                    <a:pt x="771" y="435"/>
                  </a:lnTo>
                  <a:lnTo>
                    <a:pt x="771" y="432"/>
                  </a:lnTo>
                  <a:lnTo>
                    <a:pt x="773" y="430"/>
                  </a:lnTo>
                  <a:lnTo>
                    <a:pt x="776" y="430"/>
                  </a:lnTo>
                  <a:lnTo>
                    <a:pt x="778" y="430"/>
                  </a:lnTo>
                  <a:lnTo>
                    <a:pt x="785" y="432"/>
                  </a:lnTo>
                  <a:lnTo>
                    <a:pt x="790" y="432"/>
                  </a:lnTo>
                  <a:lnTo>
                    <a:pt x="790" y="432"/>
                  </a:lnTo>
                  <a:lnTo>
                    <a:pt x="792" y="432"/>
                  </a:lnTo>
                  <a:lnTo>
                    <a:pt x="792" y="430"/>
                  </a:lnTo>
                  <a:lnTo>
                    <a:pt x="795" y="428"/>
                  </a:lnTo>
                  <a:lnTo>
                    <a:pt x="797" y="425"/>
                  </a:lnTo>
                  <a:lnTo>
                    <a:pt x="797" y="425"/>
                  </a:lnTo>
                  <a:lnTo>
                    <a:pt x="799" y="425"/>
                  </a:lnTo>
                  <a:lnTo>
                    <a:pt x="799" y="423"/>
                  </a:lnTo>
                  <a:lnTo>
                    <a:pt x="807" y="423"/>
                  </a:lnTo>
                  <a:lnTo>
                    <a:pt x="809" y="423"/>
                  </a:lnTo>
                  <a:lnTo>
                    <a:pt x="809" y="421"/>
                  </a:lnTo>
                  <a:lnTo>
                    <a:pt x="821" y="411"/>
                  </a:lnTo>
                  <a:lnTo>
                    <a:pt x="825" y="406"/>
                  </a:lnTo>
                  <a:lnTo>
                    <a:pt x="825" y="406"/>
                  </a:lnTo>
                  <a:lnTo>
                    <a:pt x="825" y="404"/>
                  </a:lnTo>
                  <a:lnTo>
                    <a:pt x="823" y="399"/>
                  </a:lnTo>
                  <a:lnTo>
                    <a:pt x="821" y="397"/>
                  </a:lnTo>
                  <a:lnTo>
                    <a:pt x="821" y="397"/>
                  </a:lnTo>
                  <a:lnTo>
                    <a:pt x="818" y="397"/>
                  </a:lnTo>
                  <a:lnTo>
                    <a:pt x="816" y="397"/>
                  </a:lnTo>
                  <a:lnTo>
                    <a:pt x="816" y="397"/>
                  </a:lnTo>
                  <a:lnTo>
                    <a:pt x="816" y="399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6"/>
                  </a:lnTo>
                  <a:lnTo>
                    <a:pt x="811" y="406"/>
                  </a:lnTo>
                  <a:lnTo>
                    <a:pt x="811" y="406"/>
                  </a:lnTo>
                  <a:lnTo>
                    <a:pt x="807" y="409"/>
                  </a:lnTo>
                  <a:lnTo>
                    <a:pt x="807" y="409"/>
                  </a:lnTo>
                  <a:lnTo>
                    <a:pt x="802" y="406"/>
                  </a:lnTo>
                  <a:lnTo>
                    <a:pt x="802" y="406"/>
                  </a:lnTo>
                  <a:lnTo>
                    <a:pt x="799" y="404"/>
                  </a:lnTo>
                  <a:lnTo>
                    <a:pt x="799" y="399"/>
                  </a:lnTo>
                  <a:lnTo>
                    <a:pt x="797" y="390"/>
                  </a:lnTo>
                  <a:lnTo>
                    <a:pt x="797" y="385"/>
                  </a:lnTo>
                  <a:lnTo>
                    <a:pt x="797" y="383"/>
                  </a:lnTo>
                  <a:lnTo>
                    <a:pt x="795" y="383"/>
                  </a:lnTo>
                  <a:lnTo>
                    <a:pt x="792" y="380"/>
                  </a:lnTo>
                  <a:lnTo>
                    <a:pt x="781" y="378"/>
                  </a:lnTo>
                  <a:lnTo>
                    <a:pt x="778" y="378"/>
                  </a:lnTo>
                  <a:lnTo>
                    <a:pt x="778" y="378"/>
                  </a:lnTo>
                  <a:lnTo>
                    <a:pt x="778" y="376"/>
                  </a:lnTo>
                  <a:lnTo>
                    <a:pt x="776" y="373"/>
                  </a:lnTo>
                  <a:lnTo>
                    <a:pt x="776" y="366"/>
                  </a:lnTo>
                  <a:lnTo>
                    <a:pt x="776" y="364"/>
                  </a:lnTo>
                  <a:lnTo>
                    <a:pt x="776" y="364"/>
                  </a:lnTo>
                  <a:lnTo>
                    <a:pt x="773" y="362"/>
                  </a:lnTo>
                  <a:lnTo>
                    <a:pt x="766" y="364"/>
                  </a:lnTo>
                  <a:lnTo>
                    <a:pt x="766" y="364"/>
                  </a:lnTo>
                  <a:lnTo>
                    <a:pt x="764" y="364"/>
                  </a:lnTo>
                  <a:lnTo>
                    <a:pt x="764" y="362"/>
                  </a:lnTo>
                  <a:lnTo>
                    <a:pt x="764" y="359"/>
                  </a:lnTo>
                  <a:lnTo>
                    <a:pt x="764" y="357"/>
                  </a:lnTo>
                  <a:lnTo>
                    <a:pt x="769" y="352"/>
                  </a:lnTo>
                  <a:lnTo>
                    <a:pt x="771" y="350"/>
                  </a:lnTo>
                  <a:lnTo>
                    <a:pt x="773" y="350"/>
                  </a:lnTo>
                  <a:lnTo>
                    <a:pt x="773" y="350"/>
                  </a:lnTo>
                  <a:lnTo>
                    <a:pt x="776" y="347"/>
                  </a:lnTo>
                  <a:lnTo>
                    <a:pt x="781" y="338"/>
                  </a:lnTo>
                  <a:lnTo>
                    <a:pt x="783" y="335"/>
                  </a:lnTo>
                  <a:lnTo>
                    <a:pt x="785" y="335"/>
                  </a:lnTo>
                  <a:lnTo>
                    <a:pt x="788" y="333"/>
                  </a:lnTo>
                  <a:lnTo>
                    <a:pt x="788" y="333"/>
                  </a:lnTo>
                  <a:lnTo>
                    <a:pt x="790" y="331"/>
                  </a:lnTo>
                  <a:lnTo>
                    <a:pt x="788" y="326"/>
                  </a:lnTo>
                  <a:lnTo>
                    <a:pt x="788" y="326"/>
                  </a:lnTo>
                  <a:lnTo>
                    <a:pt x="788" y="324"/>
                  </a:lnTo>
                  <a:lnTo>
                    <a:pt x="785" y="324"/>
                  </a:lnTo>
                  <a:lnTo>
                    <a:pt x="778" y="321"/>
                  </a:lnTo>
                  <a:lnTo>
                    <a:pt x="778" y="321"/>
                  </a:lnTo>
                  <a:lnTo>
                    <a:pt x="776" y="319"/>
                  </a:lnTo>
                  <a:lnTo>
                    <a:pt x="776" y="319"/>
                  </a:lnTo>
                  <a:lnTo>
                    <a:pt x="776" y="317"/>
                  </a:lnTo>
                  <a:lnTo>
                    <a:pt x="776" y="314"/>
                  </a:lnTo>
                  <a:lnTo>
                    <a:pt x="781" y="312"/>
                  </a:lnTo>
                  <a:lnTo>
                    <a:pt x="781" y="309"/>
                  </a:lnTo>
                  <a:lnTo>
                    <a:pt x="785" y="309"/>
                  </a:lnTo>
                  <a:lnTo>
                    <a:pt x="788" y="309"/>
                  </a:lnTo>
                  <a:lnTo>
                    <a:pt x="790" y="300"/>
                  </a:lnTo>
                  <a:lnTo>
                    <a:pt x="802" y="269"/>
                  </a:lnTo>
                  <a:lnTo>
                    <a:pt x="797" y="260"/>
                  </a:lnTo>
                  <a:lnTo>
                    <a:pt x="797" y="257"/>
                  </a:lnTo>
                  <a:lnTo>
                    <a:pt x="797" y="255"/>
                  </a:lnTo>
                  <a:lnTo>
                    <a:pt x="797" y="255"/>
                  </a:lnTo>
                  <a:lnTo>
                    <a:pt x="802" y="253"/>
                  </a:lnTo>
                  <a:lnTo>
                    <a:pt x="804" y="250"/>
                  </a:lnTo>
                  <a:lnTo>
                    <a:pt x="807" y="248"/>
                  </a:lnTo>
                  <a:lnTo>
                    <a:pt x="809" y="241"/>
                  </a:lnTo>
                  <a:lnTo>
                    <a:pt x="811" y="241"/>
                  </a:lnTo>
                  <a:lnTo>
                    <a:pt x="816" y="238"/>
                  </a:lnTo>
                  <a:lnTo>
                    <a:pt x="818" y="236"/>
                  </a:lnTo>
                  <a:lnTo>
                    <a:pt x="821" y="234"/>
                  </a:lnTo>
                  <a:lnTo>
                    <a:pt x="821" y="231"/>
                  </a:lnTo>
                  <a:lnTo>
                    <a:pt x="821" y="227"/>
                  </a:lnTo>
                  <a:lnTo>
                    <a:pt x="823" y="220"/>
                  </a:lnTo>
                  <a:lnTo>
                    <a:pt x="823" y="217"/>
                  </a:lnTo>
                  <a:lnTo>
                    <a:pt x="825" y="217"/>
                  </a:lnTo>
                  <a:lnTo>
                    <a:pt x="825" y="217"/>
                  </a:lnTo>
                  <a:lnTo>
                    <a:pt x="828" y="220"/>
                  </a:lnTo>
                  <a:lnTo>
                    <a:pt x="830" y="234"/>
                  </a:lnTo>
                  <a:lnTo>
                    <a:pt x="830" y="234"/>
                  </a:lnTo>
                  <a:lnTo>
                    <a:pt x="833" y="236"/>
                  </a:lnTo>
                  <a:lnTo>
                    <a:pt x="835" y="236"/>
                  </a:lnTo>
                  <a:lnTo>
                    <a:pt x="835" y="236"/>
                  </a:lnTo>
                  <a:lnTo>
                    <a:pt x="837" y="234"/>
                  </a:lnTo>
                  <a:lnTo>
                    <a:pt x="837" y="229"/>
                  </a:lnTo>
                  <a:lnTo>
                    <a:pt x="842" y="222"/>
                  </a:lnTo>
                  <a:lnTo>
                    <a:pt x="842" y="220"/>
                  </a:lnTo>
                  <a:lnTo>
                    <a:pt x="842" y="217"/>
                  </a:lnTo>
                  <a:lnTo>
                    <a:pt x="823" y="205"/>
                  </a:lnTo>
                  <a:lnTo>
                    <a:pt x="818" y="203"/>
                  </a:lnTo>
                  <a:lnTo>
                    <a:pt x="816" y="201"/>
                  </a:lnTo>
                  <a:lnTo>
                    <a:pt x="814" y="201"/>
                  </a:lnTo>
                  <a:lnTo>
                    <a:pt x="814" y="201"/>
                  </a:lnTo>
                  <a:lnTo>
                    <a:pt x="811" y="201"/>
                  </a:lnTo>
                  <a:lnTo>
                    <a:pt x="811" y="203"/>
                  </a:lnTo>
                  <a:lnTo>
                    <a:pt x="807" y="205"/>
                  </a:lnTo>
                  <a:lnTo>
                    <a:pt x="807" y="205"/>
                  </a:lnTo>
                  <a:lnTo>
                    <a:pt x="804" y="208"/>
                  </a:lnTo>
                  <a:lnTo>
                    <a:pt x="799" y="208"/>
                  </a:lnTo>
                  <a:lnTo>
                    <a:pt x="797" y="208"/>
                  </a:lnTo>
                  <a:lnTo>
                    <a:pt x="795" y="208"/>
                  </a:lnTo>
                  <a:lnTo>
                    <a:pt x="795" y="208"/>
                  </a:lnTo>
                  <a:lnTo>
                    <a:pt x="795" y="210"/>
                  </a:lnTo>
                  <a:lnTo>
                    <a:pt x="792" y="215"/>
                  </a:lnTo>
                  <a:lnTo>
                    <a:pt x="790" y="217"/>
                  </a:lnTo>
                  <a:lnTo>
                    <a:pt x="790" y="217"/>
                  </a:lnTo>
                  <a:lnTo>
                    <a:pt x="788" y="217"/>
                  </a:lnTo>
                  <a:lnTo>
                    <a:pt x="788" y="217"/>
                  </a:lnTo>
                  <a:lnTo>
                    <a:pt x="785" y="217"/>
                  </a:lnTo>
                  <a:lnTo>
                    <a:pt x="783" y="217"/>
                  </a:lnTo>
                  <a:lnTo>
                    <a:pt x="778" y="212"/>
                  </a:lnTo>
                  <a:lnTo>
                    <a:pt x="776" y="212"/>
                  </a:lnTo>
                  <a:lnTo>
                    <a:pt x="773" y="210"/>
                  </a:lnTo>
                  <a:lnTo>
                    <a:pt x="771" y="210"/>
                  </a:lnTo>
                  <a:lnTo>
                    <a:pt x="769" y="212"/>
                  </a:lnTo>
                  <a:lnTo>
                    <a:pt x="766" y="212"/>
                  </a:lnTo>
                  <a:lnTo>
                    <a:pt x="762" y="215"/>
                  </a:lnTo>
                  <a:lnTo>
                    <a:pt x="757" y="217"/>
                  </a:lnTo>
                  <a:lnTo>
                    <a:pt x="752" y="217"/>
                  </a:lnTo>
                  <a:lnTo>
                    <a:pt x="721" y="215"/>
                  </a:lnTo>
                  <a:lnTo>
                    <a:pt x="717" y="212"/>
                  </a:lnTo>
                  <a:lnTo>
                    <a:pt x="710" y="208"/>
                  </a:lnTo>
                  <a:lnTo>
                    <a:pt x="705" y="203"/>
                  </a:lnTo>
                  <a:lnTo>
                    <a:pt x="693" y="201"/>
                  </a:lnTo>
                  <a:lnTo>
                    <a:pt x="691" y="201"/>
                  </a:lnTo>
                  <a:lnTo>
                    <a:pt x="676" y="201"/>
                  </a:lnTo>
                  <a:lnTo>
                    <a:pt x="674" y="201"/>
                  </a:lnTo>
                  <a:lnTo>
                    <a:pt x="672" y="201"/>
                  </a:lnTo>
                  <a:lnTo>
                    <a:pt x="669" y="198"/>
                  </a:lnTo>
                  <a:lnTo>
                    <a:pt x="665" y="196"/>
                  </a:lnTo>
                  <a:lnTo>
                    <a:pt x="662" y="194"/>
                  </a:lnTo>
                  <a:lnTo>
                    <a:pt x="660" y="191"/>
                  </a:lnTo>
                  <a:lnTo>
                    <a:pt x="643" y="184"/>
                  </a:lnTo>
                  <a:lnTo>
                    <a:pt x="641" y="182"/>
                  </a:lnTo>
                  <a:lnTo>
                    <a:pt x="636" y="179"/>
                  </a:lnTo>
                  <a:lnTo>
                    <a:pt x="634" y="165"/>
                  </a:lnTo>
                  <a:lnTo>
                    <a:pt x="631" y="163"/>
                  </a:lnTo>
                  <a:lnTo>
                    <a:pt x="631" y="160"/>
                  </a:lnTo>
                  <a:lnTo>
                    <a:pt x="629" y="160"/>
                  </a:lnTo>
                  <a:lnTo>
                    <a:pt x="627" y="158"/>
                  </a:lnTo>
                  <a:lnTo>
                    <a:pt x="624" y="158"/>
                  </a:lnTo>
                  <a:lnTo>
                    <a:pt x="624" y="156"/>
                  </a:lnTo>
                  <a:lnTo>
                    <a:pt x="624" y="149"/>
                  </a:lnTo>
                  <a:lnTo>
                    <a:pt x="624" y="146"/>
                  </a:lnTo>
                  <a:lnTo>
                    <a:pt x="622" y="146"/>
                  </a:lnTo>
                  <a:lnTo>
                    <a:pt x="615" y="141"/>
                  </a:lnTo>
                  <a:lnTo>
                    <a:pt x="613" y="139"/>
                  </a:lnTo>
                  <a:lnTo>
                    <a:pt x="613" y="137"/>
                  </a:lnTo>
                  <a:lnTo>
                    <a:pt x="613" y="134"/>
                  </a:lnTo>
                  <a:lnTo>
                    <a:pt x="613" y="132"/>
                  </a:lnTo>
                  <a:lnTo>
                    <a:pt x="610" y="127"/>
                  </a:lnTo>
                  <a:lnTo>
                    <a:pt x="610" y="125"/>
                  </a:lnTo>
                  <a:lnTo>
                    <a:pt x="613" y="125"/>
                  </a:lnTo>
                  <a:lnTo>
                    <a:pt x="613" y="123"/>
                  </a:lnTo>
                  <a:lnTo>
                    <a:pt x="617" y="123"/>
                  </a:lnTo>
                  <a:lnTo>
                    <a:pt x="620" y="120"/>
                  </a:lnTo>
                  <a:lnTo>
                    <a:pt x="620" y="120"/>
                  </a:lnTo>
                  <a:lnTo>
                    <a:pt x="622" y="115"/>
                  </a:lnTo>
                  <a:lnTo>
                    <a:pt x="622" y="113"/>
                  </a:lnTo>
                  <a:lnTo>
                    <a:pt x="624" y="108"/>
                  </a:lnTo>
                  <a:lnTo>
                    <a:pt x="629" y="101"/>
                  </a:lnTo>
                  <a:lnTo>
                    <a:pt x="629" y="99"/>
                  </a:lnTo>
                  <a:lnTo>
                    <a:pt x="629" y="94"/>
                  </a:lnTo>
                  <a:lnTo>
                    <a:pt x="629" y="89"/>
                  </a:lnTo>
                  <a:lnTo>
                    <a:pt x="631" y="82"/>
                  </a:lnTo>
                  <a:lnTo>
                    <a:pt x="631" y="80"/>
                  </a:lnTo>
                  <a:lnTo>
                    <a:pt x="634" y="78"/>
                  </a:lnTo>
                  <a:lnTo>
                    <a:pt x="634" y="75"/>
                  </a:lnTo>
                  <a:lnTo>
                    <a:pt x="631" y="73"/>
                  </a:lnTo>
                  <a:lnTo>
                    <a:pt x="631" y="73"/>
                  </a:lnTo>
                  <a:lnTo>
                    <a:pt x="629" y="73"/>
                  </a:lnTo>
                  <a:lnTo>
                    <a:pt x="627" y="73"/>
                  </a:lnTo>
                  <a:lnTo>
                    <a:pt x="624" y="73"/>
                  </a:lnTo>
                  <a:lnTo>
                    <a:pt x="615" y="75"/>
                  </a:lnTo>
                  <a:lnTo>
                    <a:pt x="613" y="78"/>
                  </a:lnTo>
                  <a:lnTo>
                    <a:pt x="605" y="82"/>
                  </a:lnTo>
                  <a:lnTo>
                    <a:pt x="603" y="82"/>
                  </a:lnTo>
                  <a:lnTo>
                    <a:pt x="598" y="85"/>
                  </a:lnTo>
                  <a:lnTo>
                    <a:pt x="589" y="82"/>
                  </a:lnTo>
                  <a:lnTo>
                    <a:pt x="587" y="82"/>
                  </a:lnTo>
                  <a:lnTo>
                    <a:pt x="584" y="80"/>
                  </a:lnTo>
                  <a:lnTo>
                    <a:pt x="584" y="80"/>
                  </a:lnTo>
                  <a:lnTo>
                    <a:pt x="584" y="78"/>
                  </a:lnTo>
                  <a:lnTo>
                    <a:pt x="587" y="78"/>
                  </a:lnTo>
                  <a:lnTo>
                    <a:pt x="589" y="73"/>
                  </a:lnTo>
                  <a:lnTo>
                    <a:pt x="589" y="71"/>
                  </a:lnTo>
                  <a:lnTo>
                    <a:pt x="591" y="71"/>
                  </a:lnTo>
                  <a:lnTo>
                    <a:pt x="589" y="68"/>
                  </a:lnTo>
                  <a:lnTo>
                    <a:pt x="587" y="66"/>
                  </a:lnTo>
                  <a:lnTo>
                    <a:pt x="582" y="63"/>
                  </a:lnTo>
                  <a:lnTo>
                    <a:pt x="579" y="63"/>
                  </a:lnTo>
                  <a:lnTo>
                    <a:pt x="577" y="63"/>
                  </a:lnTo>
                  <a:lnTo>
                    <a:pt x="577" y="63"/>
                  </a:lnTo>
                  <a:lnTo>
                    <a:pt x="575" y="66"/>
                  </a:lnTo>
                  <a:lnTo>
                    <a:pt x="575" y="66"/>
                  </a:lnTo>
                  <a:lnTo>
                    <a:pt x="572" y="68"/>
                  </a:lnTo>
                  <a:lnTo>
                    <a:pt x="572" y="68"/>
                  </a:lnTo>
                  <a:lnTo>
                    <a:pt x="561" y="71"/>
                  </a:lnTo>
                  <a:lnTo>
                    <a:pt x="556" y="68"/>
                  </a:lnTo>
                  <a:lnTo>
                    <a:pt x="551" y="66"/>
                  </a:lnTo>
                  <a:lnTo>
                    <a:pt x="539" y="56"/>
                  </a:lnTo>
                  <a:lnTo>
                    <a:pt x="537" y="52"/>
                  </a:lnTo>
                  <a:lnTo>
                    <a:pt x="534" y="49"/>
                  </a:lnTo>
                  <a:lnTo>
                    <a:pt x="534" y="47"/>
                  </a:lnTo>
                  <a:lnTo>
                    <a:pt x="532" y="47"/>
                  </a:lnTo>
                  <a:lnTo>
                    <a:pt x="527" y="44"/>
                  </a:lnTo>
                  <a:lnTo>
                    <a:pt x="525" y="44"/>
                  </a:lnTo>
                  <a:lnTo>
                    <a:pt x="523" y="44"/>
                  </a:lnTo>
                  <a:lnTo>
                    <a:pt x="520" y="44"/>
                  </a:lnTo>
                  <a:lnTo>
                    <a:pt x="520" y="47"/>
                  </a:lnTo>
                  <a:lnTo>
                    <a:pt x="518" y="47"/>
                  </a:lnTo>
                  <a:lnTo>
                    <a:pt x="518" y="49"/>
                  </a:lnTo>
                  <a:lnTo>
                    <a:pt x="516" y="54"/>
                  </a:lnTo>
                  <a:lnTo>
                    <a:pt x="516" y="56"/>
                  </a:lnTo>
                  <a:lnTo>
                    <a:pt x="516" y="56"/>
                  </a:lnTo>
                  <a:lnTo>
                    <a:pt x="511" y="56"/>
                  </a:lnTo>
                  <a:lnTo>
                    <a:pt x="506" y="59"/>
                  </a:lnTo>
                  <a:lnTo>
                    <a:pt x="504" y="59"/>
                  </a:lnTo>
                  <a:lnTo>
                    <a:pt x="504" y="61"/>
                  </a:lnTo>
                  <a:lnTo>
                    <a:pt x="501" y="61"/>
                  </a:lnTo>
                  <a:lnTo>
                    <a:pt x="501" y="63"/>
                  </a:lnTo>
                  <a:lnTo>
                    <a:pt x="501" y="66"/>
                  </a:lnTo>
                  <a:lnTo>
                    <a:pt x="492" y="75"/>
                  </a:lnTo>
                  <a:lnTo>
                    <a:pt x="490" y="78"/>
                  </a:lnTo>
                  <a:lnTo>
                    <a:pt x="468" y="85"/>
                  </a:lnTo>
                  <a:lnTo>
                    <a:pt x="466" y="87"/>
                  </a:lnTo>
                  <a:lnTo>
                    <a:pt x="466" y="87"/>
                  </a:lnTo>
                  <a:lnTo>
                    <a:pt x="466" y="89"/>
                  </a:lnTo>
                  <a:lnTo>
                    <a:pt x="466" y="89"/>
                  </a:lnTo>
                  <a:lnTo>
                    <a:pt x="466" y="92"/>
                  </a:lnTo>
                  <a:lnTo>
                    <a:pt x="468" y="92"/>
                  </a:lnTo>
                  <a:lnTo>
                    <a:pt x="468" y="94"/>
                  </a:lnTo>
                  <a:lnTo>
                    <a:pt x="471" y="94"/>
                  </a:lnTo>
                  <a:lnTo>
                    <a:pt x="473" y="97"/>
                  </a:lnTo>
                  <a:lnTo>
                    <a:pt x="482" y="99"/>
                  </a:lnTo>
                  <a:lnTo>
                    <a:pt x="485" y="99"/>
                  </a:lnTo>
                  <a:lnTo>
                    <a:pt x="485" y="99"/>
                  </a:lnTo>
                  <a:lnTo>
                    <a:pt x="485" y="101"/>
                  </a:lnTo>
                  <a:lnTo>
                    <a:pt x="485" y="104"/>
                  </a:lnTo>
                  <a:lnTo>
                    <a:pt x="482" y="106"/>
                  </a:lnTo>
                  <a:lnTo>
                    <a:pt x="478" y="108"/>
                  </a:lnTo>
                  <a:lnTo>
                    <a:pt x="473" y="108"/>
                  </a:lnTo>
                  <a:lnTo>
                    <a:pt x="468" y="108"/>
                  </a:lnTo>
                  <a:lnTo>
                    <a:pt x="423" y="120"/>
                  </a:lnTo>
                  <a:lnTo>
                    <a:pt x="411" y="115"/>
                  </a:lnTo>
                  <a:lnTo>
                    <a:pt x="411" y="115"/>
                  </a:lnTo>
                  <a:lnTo>
                    <a:pt x="409" y="113"/>
                  </a:lnTo>
                  <a:lnTo>
                    <a:pt x="409" y="111"/>
                  </a:lnTo>
                  <a:lnTo>
                    <a:pt x="409" y="111"/>
                  </a:lnTo>
                  <a:lnTo>
                    <a:pt x="411" y="108"/>
                  </a:lnTo>
                  <a:lnTo>
                    <a:pt x="411" y="106"/>
                  </a:lnTo>
                  <a:lnTo>
                    <a:pt x="414" y="104"/>
                  </a:lnTo>
                  <a:lnTo>
                    <a:pt x="411" y="101"/>
                  </a:lnTo>
                  <a:lnTo>
                    <a:pt x="409" y="101"/>
                  </a:lnTo>
                  <a:lnTo>
                    <a:pt x="409" y="101"/>
                  </a:lnTo>
                  <a:lnTo>
                    <a:pt x="407" y="101"/>
                  </a:lnTo>
                  <a:lnTo>
                    <a:pt x="404" y="101"/>
                  </a:lnTo>
                  <a:lnTo>
                    <a:pt x="404" y="104"/>
                  </a:lnTo>
                  <a:lnTo>
                    <a:pt x="404" y="104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4" y="108"/>
                  </a:lnTo>
                  <a:lnTo>
                    <a:pt x="402" y="108"/>
                  </a:lnTo>
                  <a:lnTo>
                    <a:pt x="400" y="113"/>
                  </a:lnTo>
                  <a:lnTo>
                    <a:pt x="400" y="113"/>
                  </a:lnTo>
                  <a:lnTo>
                    <a:pt x="397" y="118"/>
                  </a:lnTo>
                  <a:lnTo>
                    <a:pt x="388" y="134"/>
                  </a:lnTo>
                  <a:lnTo>
                    <a:pt x="388" y="134"/>
                  </a:lnTo>
                  <a:lnTo>
                    <a:pt x="385" y="134"/>
                  </a:lnTo>
                  <a:lnTo>
                    <a:pt x="381" y="132"/>
                  </a:lnTo>
                  <a:lnTo>
                    <a:pt x="378" y="132"/>
                  </a:lnTo>
                  <a:lnTo>
                    <a:pt x="374" y="130"/>
                  </a:lnTo>
                  <a:lnTo>
                    <a:pt x="374" y="127"/>
                  </a:lnTo>
                  <a:lnTo>
                    <a:pt x="367" y="127"/>
                  </a:lnTo>
                  <a:lnTo>
                    <a:pt x="364" y="125"/>
                  </a:lnTo>
                  <a:lnTo>
                    <a:pt x="364" y="125"/>
                  </a:lnTo>
                  <a:lnTo>
                    <a:pt x="362" y="125"/>
                  </a:lnTo>
                  <a:lnTo>
                    <a:pt x="359" y="123"/>
                  </a:lnTo>
                  <a:lnTo>
                    <a:pt x="348" y="118"/>
                  </a:lnTo>
                  <a:lnTo>
                    <a:pt x="326" y="106"/>
                  </a:lnTo>
                  <a:lnTo>
                    <a:pt x="317" y="104"/>
                  </a:lnTo>
                  <a:lnTo>
                    <a:pt x="300" y="108"/>
                  </a:lnTo>
                  <a:lnTo>
                    <a:pt x="300" y="108"/>
                  </a:lnTo>
                  <a:lnTo>
                    <a:pt x="298" y="111"/>
                  </a:lnTo>
                  <a:lnTo>
                    <a:pt x="296" y="111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3" y="118"/>
                  </a:lnTo>
                  <a:lnTo>
                    <a:pt x="293" y="120"/>
                  </a:lnTo>
                  <a:lnTo>
                    <a:pt x="291" y="123"/>
                  </a:lnTo>
                  <a:lnTo>
                    <a:pt x="281" y="125"/>
                  </a:lnTo>
                  <a:lnTo>
                    <a:pt x="279" y="125"/>
                  </a:lnTo>
                  <a:lnTo>
                    <a:pt x="262" y="113"/>
                  </a:lnTo>
                  <a:lnTo>
                    <a:pt x="260" y="111"/>
                  </a:lnTo>
                  <a:lnTo>
                    <a:pt x="248" y="101"/>
                  </a:lnTo>
                  <a:lnTo>
                    <a:pt x="248" y="101"/>
                  </a:lnTo>
                  <a:lnTo>
                    <a:pt x="248" y="99"/>
                  </a:lnTo>
                  <a:lnTo>
                    <a:pt x="248" y="99"/>
                  </a:lnTo>
                  <a:lnTo>
                    <a:pt x="246" y="97"/>
                  </a:lnTo>
                  <a:lnTo>
                    <a:pt x="246" y="92"/>
                  </a:lnTo>
                  <a:lnTo>
                    <a:pt x="243" y="87"/>
                  </a:lnTo>
                  <a:lnTo>
                    <a:pt x="227" y="87"/>
                  </a:lnTo>
                  <a:lnTo>
                    <a:pt x="222" y="85"/>
                  </a:lnTo>
                  <a:lnTo>
                    <a:pt x="220" y="85"/>
                  </a:lnTo>
                  <a:lnTo>
                    <a:pt x="210" y="75"/>
                  </a:lnTo>
                  <a:lnTo>
                    <a:pt x="208" y="71"/>
                  </a:lnTo>
                  <a:lnTo>
                    <a:pt x="206" y="71"/>
                  </a:lnTo>
                  <a:lnTo>
                    <a:pt x="187" y="68"/>
                  </a:lnTo>
                  <a:lnTo>
                    <a:pt x="184" y="71"/>
                  </a:lnTo>
                  <a:lnTo>
                    <a:pt x="177" y="75"/>
                  </a:lnTo>
                  <a:lnTo>
                    <a:pt x="175" y="75"/>
                  </a:lnTo>
                  <a:lnTo>
                    <a:pt x="168" y="73"/>
                  </a:lnTo>
                  <a:lnTo>
                    <a:pt x="163" y="68"/>
                  </a:lnTo>
                  <a:lnTo>
                    <a:pt x="163" y="66"/>
                  </a:lnTo>
                  <a:lnTo>
                    <a:pt x="158" y="59"/>
                  </a:lnTo>
                  <a:lnTo>
                    <a:pt x="156" y="59"/>
                  </a:lnTo>
                  <a:lnTo>
                    <a:pt x="156" y="56"/>
                  </a:lnTo>
                  <a:lnTo>
                    <a:pt x="154" y="56"/>
                  </a:lnTo>
                  <a:lnTo>
                    <a:pt x="146" y="56"/>
                  </a:lnTo>
                  <a:lnTo>
                    <a:pt x="132" y="47"/>
                  </a:lnTo>
                  <a:lnTo>
                    <a:pt x="120" y="49"/>
                  </a:lnTo>
                  <a:lnTo>
                    <a:pt x="116" y="49"/>
                  </a:lnTo>
                  <a:lnTo>
                    <a:pt x="113" y="44"/>
                  </a:lnTo>
                  <a:lnTo>
                    <a:pt x="111" y="42"/>
                  </a:lnTo>
                  <a:lnTo>
                    <a:pt x="109" y="42"/>
                  </a:lnTo>
                  <a:lnTo>
                    <a:pt x="90" y="28"/>
                  </a:lnTo>
                  <a:lnTo>
                    <a:pt x="87" y="26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1"/>
                  </a:lnTo>
                  <a:lnTo>
                    <a:pt x="92" y="21"/>
                  </a:lnTo>
                  <a:lnTo>
                    <a:pt x="92" y="18"/>
                  </a:lnTo>
                  <a:lnTo>
                    <a:pt x="92" y="16"/>
                  </a:lnTo>
                  <a:lnTo>
                    <a:pt x="90" y="14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68" y="4"/>
                  </a:lnTo>
                  <a:lnTo>
                    <a:pt x="57" y="2"/>
                  </a:lnTo>
                  <a:lnTo>
                    <a:pt x="47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2" y="2"/>
                  </a:lnTo>
                  <a:lnTo>
                    <a:pt x="40" y="4"/>
                  </a:lnTo>
                  <a:lnTo>
                    <a:pt x="35" y="9"/>
                  </a:lnTo>
                  <a:lnTo>
                    <a:pt x="31" y="18"/>
                  </a:lnTo>
                  <a:lnTo>
                    <a:pt x="23" y="28"/>
                  </a:lnTo>
                  <a:lnTo>
                    <a:pt x="21" y="35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42"/>
                  </a:lnTo>
                  <a:lnTo>
                    <a:pt x="19" y="44"/>
                  </a:lnTo>
                  <a:lnTo>
                    <a:pt x="16" y="44"/>
                  </a:lnTo>
                  <a:lnTo>
                    <a:pt x="16" y="47"/>
                  </a:lnTo>
                  <a:lnTo>
                    <a:pt x="7" y="49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2" y="61"/>
                  </a:lnTo>
                  <a:lnTo>
                    <a:pt x="12" y="71"/>
                  </a:lnTo>
                  <a:lnTo>
                    <a:pt x="23" y="80"/>
                  </a:lnTo>
                  <a:lnTo>
                    <a:pt x="49" y="94"/>
                  </a:lnTo>
                  <a:lnTo>
                    <a:pt x="54" y="97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101"/>
                  </a:lnTo>
                  <a:lnTo>
                    <a:pt x="57" y="104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8"/>
                  </a:lnTo>
                  <a:lnTo>
                    <a:pt x="59" y="115"/>
                  </a:lnTo>
                  <a:lnTo>
                    <a:pt x="61" y="118"/>
                  </a:lnTo>
                  <a:lnTo>
                    <a:pt x="61" y="120"/>
                  </a:lnTo>
                  <a:lnTo>
                    <a:pt x="61" y="123"/>
                  </a:lnTo>
                  <a:lnTo>
                    <a:pt x="61" y="125"/>
                  </a:lnTo>
                  <a:lnTo>
                    <a:pt x="61" y="127"/>
                  </a:lnTo>
                  <a:lnTo>
                    <a:pt x="64" y="127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6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73" y="120"/>
                  </a:lnTo>
                  <a:lnTo>
                    <a:pt x="75" y="120"/>
                  </a:lnTo>
                  <a:lnTo>
                    <a:pt x="75" y="123"/>
                  </a:lnTo>
                  <a:lnTo>
                    <a:pt x="75" y="125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73" y="132"/>
                  </a:lnTo>
                  <a:lnTo>
                    <a:pt x="73" y="134"/>
                  </a:lnTo>
                  <a:lnTo>
                    <a:pt x="75" y="134"/>
                  </a:lnTo>
                  <a:lnTo>
                    <a:pt x="78" y="134"/>
                  </a:lnTo>
                  <a:lnTo>
                    <a:pt x="80" y="134"/>
                  </a:lnTo>
                  <a:lnTo>
                    <a:pt x="85" y="132"/>
                  </a:lnTo>
                  <a:lnTo>
                    <a:pt x="87" y="132"/>
                  </a:lnTo>
                  <a:lnTo>
                    <a:pt x="90" y="132"/>
                  </a:lnTo>
                  <a:lnTo>
                    <a:pt x="94" y="134"/>
                  </a:lnTo>
                  <a:lnTo>
                    <a:pt x="97" y="134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9" y="139"/>
                  </a:lnTo>
                  <a:lnTo>
                    <a:pt x="99" y="141"/>
                  </a:lnTo>
                  <a:lnTo>
                    <a:pt x="99" y="144"/>
                  </a:lnTo>
                  <a:lnTo>
                    <a:pt x="102" y="146"/>
                  </a:lnTo>
                  <a:lnTo>
                    <a:pt x="102" y="149"/>
                  </a:lnTo>
                  <a:lnTo>
                    <a:pt x="104" y="151"/>
                  </a:lnTo>
                  <a:lnTo>
                    <a:pt x="106" y="151"/>
                  </a:lnTo>
                  <a:lnTo>
                    <a:pt x="109" y="151"/>
                  </a:lnTo>
                  <a:lnTo>
                    <a:pt x="111" y="151"/>
                  </a:lnTo>
                  <a:lnTo>
                    <a:pt x="113" y="151"/>
                  </a:lnTo>
                  <a:lnTo>
                    <a:pt x="116" y="151"/>
                  </a:lnTo>
                  <a:lnTo>
                    <a:pt x="120" y="153"/>
                  </a:lnTo>
                  <a:lnTo>
                    <a:pt x="123" y="156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25" y="160"/>
                  </a:lnTo>
                  <a:lnTo>
                    <a:pt x="125" y="163"/>
                  </a:lnTo>
                  <a:lnTo>
                    <a:pt x="123" y="168"/>
                  </a:lnTo>
                  <a:lnTo>
                    <a:pt x="120" y="170"/>
                  </a:lnTo>
                  <a:lnTo>
                    <a:pt x="120" y="172"/>
                  </a:lnTo>
                  <a:lnTo>
                    <a:pt x="120" y="175"/>
                  </a:lnTo>
                  <a:lnTo>
                    <a:pt x="118" y="177"/>
                  </a:lnTo>
                  <a:lnTo>
                    <a:pt x="118" y="179"/>
                  </a:lnTo>
                  <a:lnTo>
                    <a:pt x="120" y="179"/>
                  </a:lnTo>
                  <a:lnTo>
                    <a:pt x="132" y="184"/>
                  </a:lnTo>
                  <a:lnTo>
                    <a:pt x="139" y="186"/>
                  </a:lnTo>
                  <a:lnTo>
                    <a:pt x="144" y="189"/>
                  </a:lnTo>
                  <a:lnTo>
                    <a:pt x="156" y="203"/>
                  </a:lnTo>
                  <a:lnTo>
                    <a:pt x="170" y="212"/>
                  </a:lnTo>
                  <a:lnTo>
                    <a:pt x="182" y="227"/>
                  </a:lnTo>
                  <a:lnTo>
                    <a:pt x="196" y="255"/>
                  </a:lnTo>
                  <a:lnTo>
                    <a:pt x="203" y="272"/>
                  </a:lnTo>
                  <a:lnTo>
                    <a:pt x="225" y="371"/>
                  </a:lnTo>
                  <a:lnTo>
                    <a:pt x="236" y="404"/>
                  </a:lnTo>
                  <a:lnTo>
                    <a:pt x="239" y="409"/>
                  </a:lnTo>
                  <a:lnTo>
                    <a:pt x="251" y="414"/>
                  </a:lnTo>
                  <a:lnTo>
                    <a:pt x="255" y="418"/>
                  </a:lnTo>
                  <a:lnTo>
                    <a:pt x="279" y="442"/>
                  </a:lnTo>
                  <a:lnTo>
                    <a:pt x="310" y="492"/>
                  </a:lnTo>
                  <a:lnTo>
                    <a:pt x="314" y="499"/>
                  </a:lnTo>
                  <a:lnTo>
                    <a:pt x="317" y="508"/>
                  </a:lnTo>
                  <a:lnTo>
                    <a:pt x="319" y="525"/>
                  </a:lnTo>
                  <a:lnTo>
                    <a:pt x="322" y="534"/>
                  </a:lnTo>
                  <a:lnTo>
                    <a:pt x="324" y="541"/>
                  </a:lnTo>
                  <a:lnTo>
                    <a:pt x="324" y="546"/>
                  </a:lnTo>
                  <a:lnTo>
                    <a:pt x="324" y="556"/>
                  </a:lnTo>
                  <a:lnTo>
                    <a:pt x="324" y="565"/>
                  </a:lnTo>
                  <a:lnTo>
                    <a:pt x="326" y="570"/>
                  </a:lnTo>
                  <a:lnTo>
                    <a:pt x="322" y="593"/>
                  </a:lnTo>
                  <a:lnTo>
                    <a:pt x="319" y="603"/>
                  </a:lnTo>
                  <a:lnTo>
                    <a:pt x="312" y="610"/>
                  </a:lnTo>
                  <a:lnTo>
                    <a:pt x="322" y="629"/>
                  </a:lnTo>
                  <a:lnTo>
                    <a:pt x="329" y="636"/>
                  </a:lnTo>
                  <a:lnTo>
                    <a:pt x="336" y="631"/>
                  </a:lnTo>
                  <a:lnTo>
                    <a:pt x="333" y="629"/>
                  </a:lnTo>
                  <a:lnTo>
                    <a:pt x="333" y="624"/>
                  </a:lnTo>
                  <a:lnTo>
                    <a:pt x="345" y="617"/>
                  </a:lnTo>
                  <a:lnTo>
                    <a:pt x="362" y="617"/>
                  </a:lnTo>
                  <a:lnTo>
                    <a:pt x="376" y="619"/>
                  </a:lnTo>
                  <a:lnTo>
                    <a:pt x="400" y="627"/>
                  </a:lnTo>
                  <a:lnTo>
                    <a:pt x="404" y="629"/>
                  </a:lnTo>
                  <a:lnTo>
                    <a:pt x="407" y="631"/>
                  </a:lnTo>
                  <a:lnTo>
                    <a:pt x="409" y="638"/>
                  </a:lnTo>
                  <a:lnTo>
                    <a:pt x="409" y="641"/>
                  </a:lnTo>
                  <a:lnTo>
                    <a:pt x="407" y="643"/>
                  </a:lnTo>
                  <a:lnTo>
                    <a:pt x="407" y="645"/>
                  </a:lnTo>
                  <a:lnTo>
                    <a:pt x="407" y="655"/>
                  </a:lnTo>
                  <a:lnTo>
                    <a:pt x="409" y="664"/>
                  </a:lnTo>
                  <a:lnTo>
                    <a:pt x="407" y="671"/>
                  </a:lnTo>
                  <a:lnTo>
                    <a:pt x="400" y="679"/>
                  </a:lnTo>
                  <a:lnTo>
                    <a:pt x="452" y="688"/>
                  </a:lnTo>
                  <a:lnTo>
                    <a:pt x="468" y="695"/>
                  </a:lnTo>
                  <a:lnTo>
                    <a:pt x="478" y="705"/>
                  </a:lnTo>
                  <a:lnTo>
                    <a:pt x="482" y="705"/>
                  </a:lnTo>
                  <a:lnTo>
                    <a:pt x="485" y="707"/>
                  </a:lnTo>
                  <a:lnTo>
                    <a:pt x="487" y="712"/>
                  </a:lnTo>
                  <a:lnTo>
                    <a:pt x="490" y="719"/>
                  </a:lnTo>
                  <a:lnTo>
                    <a:pt x="492" y="724"/>
                  </a:lnTo>
                  <a:lnTo>
                    <a:pt x="508" y="731"/>
                  </a:lnTo>
                  <a:lnTo>
                    <a:pt x="516" y="735"/>
                  </a:lnTo>
                  <a:lnTo>
                    <a:pt x="518" y="745"/>
                  </a:lnTo>
                  <a:lnTo>
                    <a:pt x="523" y="747"/>
                  </a:lnTo>
                  <a:lnTo>
                    <a:pt x="527" y="752"/>
                  </a:lnTo>
                  <a:lnTo>
                    <a:pt x="530" y="759"/>
                  </a:lnTo>
                  <a:lnTo>
                    <a:pt x="534" y="766"/>
                  </a:lnTo>
                  <a:lnTo>
                    <a:pt x="539" y="764"/>
                  </a:lnTo>
                  <a:lnTo>
                    <a:pt x="542" y="761"/>
                  </a:lnTo>
                  <a:lnTo>
                    <a:pt x="544" y="761"/>
                  </a:lnTo>
                  <a:lnTo>
                    <a:pt x="549" y="768"/>
                  </a:lnTo>
                  <a:lnTo>
                    <a:pt x="556" y="778"/>
                  </a:lnTo>
                  <a:lnTo>
                    <a:pt x="558" y="785"/>
                  </a:lnTo>
                  <a:lnTo>
                    <a:pt x="556" y="797"/>
                  </a:lnTo>
                  <a:lnTo>
                    <a:pt x="556" y="806"/>
                  </a:lnTo>
                  <a:lnTo>
                    <a:pt x="553" y="811"/>
                  </a:lnTo>
                  <a:lnTo>
                    <a:pt x="539" y="813"/>
                  </a:lnTo>
                  <a:lnTo>
                    <a:pt x="532" y="816"/>
                  </a:lnTo>
                  <a:lnTo>
                    <a:pt x="527" y="821"/>
                  </a:lnTo>
                  <a:lnTo>
                    <a:pt x="530" y="825"/>
                  </a:lnTo>
                  <a:lnTo>
                    <a:pt x="534" y="832"/>
                  </a:lnTo>
                  <a:lnTo>
                    <a:pt x="539" y="837"/>
                  </a:lnTo>
                  <a:lnTo>
                    <a:pt x="546" y="839"/>
                  </a:lnTo>
                  <a:lnTo>
                    <a:pt x="551" y="844"/>
                  </a:lnTo>
                  <a:lnTo>
                    <a:pt x="556" y="844"/>
                  </a:lnTo>
                  <a:lnTo>
                    <a:pt x="556" y="844"/>
                  </a:lnTo>
                  <a:lnTo>
                    <a:pt x="558" y="844"/>
                  </a:lnTo>
                  <a:lnTo>
                    <a:pt x="561" y="844"/>
                  </a:lnTo>
                  <a:lnTo>
                    <a:pt x="563" y="844"/>
                  </a:lnTo>
                  <a:lnTo>
                    <a:pt x="563" y="839"/>
                  </a:lnTo>
                  <a:lnTo>
                    <a:pt x="568" y="830"/>
                  </a:lnTo>
                  <a:lnTo>
                    <a:pt x="568" y="825"/>
                  </a:lnTo>
                  <a:lnTo>
                    <a:pt x="570" y="821"/>
                  </a:lnTo>
                  <a:lnTo>
                    <a:pt x="575" y="818"/>
                  </a:lnTo>
                  <a:lnTo>
                    <a:pt x="579" y="818"/>
                  </a:lnTo>
                  <a:lnTo>
                    <a:pt x="584" y="818"/>
                  </a:lnTo>
                  <a:lnTo>
                    <a:pt x="608" y="823"/>
                  </a:lnTo>
                  <a:lnTo>
                    <a:pt x="617" y="823"/>
                  </a:lnTo>
                  <a:lnTo>
                    <a:pt x="615" y="821"/>
                  </a:lnTo>
                  <a:lnTo>
                    <a:pt x="617" y="818"/>
                  </a:lnTo>
                  <a:lnTo>
                    <a:pt x="620" y="818"/>
                  </a:lnTo>
                  <a:lnTo>
                    <a:pt x="624" y="818"/>
                  </a:lnTo>
                  <a:lnTo>
                    <a:pt x="627" y="821"/>
                  </a:lnTo>
                  <a:lnTo>
                    <a:pt x="627" y="823"/>
                  </a:lnTo>
                  <a:lnTo>
                    <a:pt x="636" y="825"/>
                  </a:lnTo>
                  <a:lnTo>
                    <a:pt x="646" y="830"/>
                  </a:lnTo>
                  <a:lnTo>
                    <a:pt x="650" y="809"/>
                  </a:lnTo>
                  <a:lnTo>
                    <a:pt x="650" y="809"/>
                  </a:lnTo>
                  <a:close/>
                  <a:moveTo>
                    <a:pt x="305" y="681"/>
                  </a:moveTo>
                  <a:lnTo>
                    <a:pt x="305" y="681"/>
                  </a:lnTo>
                  <a:lnTo>
                    <a:pt x="307" y="686"/>
                  </a:lnTo>
                  <a:lnTo>
                    <a:pt x="310" y="690"/>
                  </a:lnTo>
                  <a:lnTo>
                    <a:pt x="307" y="697"/>
                  </a:lnTo>
                  <a:lnTo>
                    <a:pt x="305" y="702"/>
                  </a:lnTo>
                  <a:lnTo>
                    <a:pt x="300" y="707"/>
                  </a:lnTo>
                  <a:lnTo>
                    <a:pt x="296" y="709"/>
                  </a:lnTo>
                  <a:lnTo>
                    <a:pt x="303" y="712"/>
                  </a:lnTo>
                  <a:lnTo>
                    <a:pt x="307" y="716"/>
                  </a:lnTo>
                  <a:lnTo>
                    <a:pt x="312" y="726"/>
                  </a:lnTo>
                  <a:lnTo>
                    <a:pt x="307" y="731"/>
                  </a:lnTo>
                  <a:lnTo>
                    <a:pt x="305" y="728"/>
                  </a:lnTo>
                  <a:lnTo>
                    <a:pt x="303" y="728"/>
                  </a:lnTo>
                  <a:lnTo>
                    <a:pt x="300" y="728"/>
                  </a:lnTo>
                  <a:lnTo>
                    <a:pt x="296" y="726"/>
                  </a:lnTo>
                  <a:lnTo>
                    <a:pt x="296" y="724"/>
                  </a:lnTo>
                  <a:lnTo>
                    <a:pt x="291" y="716"/>
                  </a:lnTo>
                  <a:lnTo>
                    <a:pt x="288" y="716"/>
                  </a:lnTo>
                  <a:lnTo>
                    <a:pt x="286" y="714"/>
                  </a:lnTo>
                  <a:lnTo>
                    <a:pt x="281" y="712"/>
                  </a:lnTo>
                  <a:lnTo>
                    <a:pt x="277" y="712"/>
                  </a:lnTo>
                  <a:lnTo>
                    <a:pt x="274" y="721"/>
                  </a:lnTo>
                  <a:lnTo>
                    <a:pt x="269" y="714"/>
                  </a:lnTo>
                  <a:lnTo>
                    <a:pt x="260" y="721"/>
                  </a:lnTo>
                  <a:lnTo>
                    <a:pt x="253" y="716"/>
                  </a:lnTo>
                  <a:lnTo>
                    <a:pt x="251" y="724"/>
                  </a:lnTo>
                  <a:lnTo>
                    <a:pt x="251" y="726"/>
                  </a:lnTo>
                  <a:lnTo>
                    <a:pt x="248" y="728"/>
                  </a:lnTo>
                  <a:lnTo>
                    <a:pt x="222" y="731"/>
                  </a:lnTo>
                  <a:lnTo>
                    <a:pt x="215" y="728"/>
                  </a:lnTo>
                  <a:lnTo>
                    <a:pt x="210" y="724"/>
                  </a:lnTo>
                  <a:lnTo>
                    <a:pt x="206" y="712"/>
                  </a:lnTo>
                  <a:lnTo>
                    <a:pt x="208" y="705"/>
                  </a:lnTo>
                  <a:lnTo>
                    <a:pt x="215" y="700"/>
                  </a:lnTo>
                  <a:lnTo>
                    <a:pt x="222" y="695"/>
                  </a:lnTo>
                  <a:lnTo>
                    <a:pt x="229" y="695"/>
                  </a:lnTo>
                  <a:lnTo>
                    <a:pt x="232" y="695"/>
                  </a:lnTo>
                  <a:lnTo>
                    <a:pt x="239" y="697"/>
                  </a:lnTo>
                  <a:lnTo>
                    <a:pt x="243" y="697"/>
                  </a:lnTo>
                  <a:lnTo>
                    <a:pt x="248" y="697"/>
                  </a:lnTo>
                  <a:lnTo>
                    <a:pt x="255" y="697"/>
                  </a:lnTo>
                  <a:lnTo>
                    <a:pt x="255" y="695"/>
                  </a:lnTo>
                  <a:lnTo>
                    <a:pt x="255" y="695"/>
                  </a:lnTo>
                  <a:lnTo>
                    <a:pt x="255" y="695"/>
                  </a:lnTo>
                  <a:lnTo>
                    <a:pt x="253" y="693"/>
                  </a:lnTo>
                  <a:lnTo>
                    <a:pt x="258" y="690"/>
                  </a:lnTo>
                  <a:lnTo>
                    <a:pt x="258" y="688"/>
                  </a:lnTo>
                  <a:lnTo>
                    <a:pt x="258" y="686"/>
                  </a:lnTo>
                  <a:lnTo>
                    <a:pt x="262" y="686"/>
                  </a:lnTo>
                  <a:lnTo>
                    <a:pt x="274" y="686"/>
                  </a:lnTo>
                  <a:lnTo>
                    <a:pt x="274" y="690"/>
                  </a:lnTo>
                  <a:lnTo>
                    <a:pt x="277" y="693"/>
                  </a:lnTo>
                  <a:lnTo>
                    <a:pt x="281" y="693"/>
                  </a:lnTo>
                  <a:lnTo>
                    <a:pt x="284" y="690"/>
                  </a:lnTo>
                  <a:lnTo>
                    <a:pt x="284" y="688"/>
                  </a:lnTo>
                  <a:lnTo>
                    <a:pt x="286" y="686"/>
                  </a:lnTo>
                  <a:lnTo>
                    <a:pt x="288" y="683"/>
                  </a:lnTo>
                  <a:lnTo>
                    <a:pt x="291" y="681"/>
                  </a:lnTo>
                  <a:lnTo>
                    <a:pt x="293" y="669"/>
                  </a:lnTo>
                  <a:lnTo>
                    <a:pt x="293" y="664"/>
                  </a:lnTo>
                  <a:lnTo>
                    <a:pt x="298" y="662"/>
                  </a:lnTo>
                  <a:lnTo>
                    <a:pt x="300" y="662"/>
                  </a:lnTo>
                  <a:lnTo>
                    <a:pt x="305" y="664"/>
                  </a:lnTo>
                  <a:lnTo>
                    <a:pt x="307" y="669"/>
                  </a:lnTo>
                  <a:lnTo>
                    <a:pt x="310" y="671"/>
                  </a:lnTo>
                  <a:lnTo>
                    <a:pt x="307" y="676"/>
                  </a:lnTo>
                  <a:lnTo>
                    <a:pt x="305" y="681"/>
                  </a:lnTo>
                  <a:close/>
                  <a:moveTo>
                    <a:pt x="482" y="861"/>
                  </a:moveTo>
                  <a:lnTo>
                    <a:pt x="482" y="861"/>
                  </a:lnTo>
                  <a:lnTo>
                    <a:pt x="485" y="863"/>
                  </a:lnTo>
                  <a:lnTo>
                    <a:pt x="485" y="865"/>
                  </a:lnTo>
                  <a:lnTo>
                    <a:pt x="485" y="868"/>
                  </a:lnTo>
                  <a:lnTo>
                    <a:pt x="480" y="873"/>
                  </a:lnTo>
                  <a:lnTo>
                    <a:pt x="468" y="861"/>
                  </a:lnTo>
                  <a:lnTo>
                    <a:pt x="464" y="858"/>
                  </a:lnTo>
                  <a:lnTo>
                    <a:pt x="466" y="854"/>
                  </a:lnTo>
                  <a:lnTo>
                    <a:pt x="466" y="849"/>
                  </a:lnTo>
                  <a:lnTo>
                    <a:pt x="468" y="847"/>
                  </a:lnTo>
                  <a:lnTo>
                    <a:pt x="473" y="849"/>
                  </a:lnTo>
                  <a:lnTo>
                    <a:pt x="478" y="851"/>
                  </a:lnTo>
                  <a:lnTo>
                    <a:pt x="482" y="861"/>
                  </a:lnTo>
                  <a:close/>
                  <a:moveTo>
                    <a:pt x="113" y="605"/>
                  </a:moveTo>
                  <a:lnTo>
                    <a:pt x="113" y="605"/>
                  </a:lnTo>
                  <a:lnTo>
                    <a:pt x="116" y="605"/>
                  </a:lnTo>
                  <a:lnTo>
                    <a:pt x="113" y="615"/>
                  </a:lnTo>
                  <a:lnTo>
                    <a:pt x="111" y="622"/>
                  </a:lnTo>
                  <a:lnTo>
                    <a:pt x="104" y="624"/>
                  </a:lnTo>
                  <a:lnTo>
                    <a:pt x="99" y="617"/>
                  </a:lnTo>
                  <a:lnTo>
                    <a:pt x="104" y="600"/>
                  </a:lnTo>
                  <a:lnTo>
                    <a:pt x="106" y="596"/>
                  </a:lnTo>
                  <a:lnTo>
                    <a:pt x="111" y="603"/>
                  </a:lnTo>
                  <a:lnTo>
                    <a:pt x="113" y="603"/>
                  </a:lnTo>
                  <a:lnTo>
                    <a:pt x="113" y="605"/>
                  </a:lnTo>
                  <a:lnTo>
                    <a:pt x="113" y="6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Freeform 21">
              <a:extLst>
                <a:ext uri="{FF2B5EF4-FFF2-40B4-BE49-F238E27FC236}">
                  <a16:creationId xmlns:a16="http://schemas.microsoft.com/office/drawing/2014/main" id="{E236CC40-9213-4BA5-98BC-ABD353CCC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2602" y="4148187"/>
              <a:ext cx="644152" cy="652469"/>
            </a:xfrm>
            <a:custGeom>
              <a:avLst/>
              <a:gdLst>
                <a:gd name="T0" fmla="*/ 483 w 507"/>
                <a:gd name="T1" fmla="*/ 329 h 514"/>
                <a:gd name="T2" fmla="*/ 424 w 507"/>
                <a:gd name="T3" fmla="*/ 381 h 514"/>
                <a:gd name="T4" fmla="*/ 396 w 507"/>
                <a:gd name="T5" fmla="*/ 384 h 514"/>
                <a:gd name="T6" fmla="*/ 388 w 507"/>
                <a:gd name="T7" fmla="*/ 388 h 514"/>
                <a:gd name="T8" fmla="*/ 388 w 507"/>
                <a:gd name="T9" fmla="*/ 426 h 514"/>
                <a:gd name="T10" fmla="*/ 388 w 507"/>
                <a:gd name="T11" fmla="*/ 445 h 514"/>
                <a:gd name="T12" fmla="*/ 384 w 507"/>
                <a:gd name="T13" fmla="*/ 462 h 514"/>
                <a:gd name="T14" fmla="*/ 381 w 507"/>
                <a:gd name="T15" fmla="*/ 471 h 514"/>
                <a:gd name="T16" fmla="*/ 388 w 507"/>
                <a:gd name="T17" fmla="*/ 483 h 514"/>
                <a:gd name="T18" fmla="*/ 379 w 507"/>
                <a:gd name="T19" fmla="*/ 478 h 514"/>
                <a:gd name="T20" fmla="*/ 367 w 507"/>
                <a:gd name="T21" fmla="*/ 473 h 514"/>
                <a:gd name="T22" fmla="*/ 339 w 507"/>
                <a:gd name="T23" fmla="*/ 488 h 514"/>
                <a:gd name="T24" fmla="*/ 291 w 507"/>
                <a:gd name="T25" fmla="*/ 499 h 514"/>
                <a:gd name="T26" fmla="*/ 275 w 507"/>
                <a:gd name="T27" fmla="*/ 481 h 514"/>
                <a:gd name="T28" fmla="*/ 268 w 507"/>
                <a:gd name="T29" fmla="*/ 476 h 514"/>
                <a:gd name="T30" fmla="*/ 254 w 507"/>
                <a:gd name="T31" fmla="*/ 466 h 514"/>
                <a:gd name="T32" fmla="*/ 239 w 507"/>
                <a:gd name="T33" fmla="*/ 478 h 514"/>
                <a:gd name="T34" fmla="*/ 223 w 507"/>
                <a:gd name="T35" fmla="*/ 471 h 514"/>
                <a:gd name="T36" fmla="*/ 194 w 507"/>
                <a:gd name="T37" fmla="*/ 511 h 514"/>
                <a:gd name="T38" fmla="*/ 154 w 507"/>
                <a:gd name="T39" fmla="*/ 469 h 514"/>
                <a:gd name="T40" fmla="*/ 152 w 507"/>
                <a:gd name="T41" fmla="*/ 457 h 514"/>
                <a:gd name="T42" fmla="*/ 161 w 507"/>
                <a:gd name="T43" fmla="*/ 426 h 514"/>
                <a:gd name="T44" fmla="*/ 166 w 507"/>
                <a:gd name="T45" fmla="*/ 405 h 514"/>
                <a:gd name="T46" fmla="*/ 178 w 507"/>
                <a:gd name="T47" fmla="*/ 391 h 514"/>
                <a:gd name="T48" fmla="*/ 183 w 507"/>
                <a:gd name="T49" fmla="*/ 369 h 514"/>
                <a:gd name="T50" fmla="*/ 168 w 507"/>
                <a:gd name="T51" fmla="*/ 358 h 514"/>
                <a:gd name="T52" fmla="*/ 154 w 507"/>
                <a:gd name="T53" fmla="*/ 348 h 514"/>
                <a:gd name="T54" fmla="*/ 140 w 507"/>
                <a:gd name="T55" fmla="*/ 324 h 514"/>
                <a:gd name="T56" fmla="*/ 121 w 507"/>
                <a:gd name="T57" fmla="*/ 315 h 514"/>
                <a:gd name="T58" fmla="*/ 107 w 507"/>
                <a:gd name="T59" fmla="*/ 310 h 514"/>
                <a:gd name="T60" fmla="*/ 88 w 507"/>
                <a:gd name="T61" fmla="*/ 294 h 514"/>
                <a:gd name="T62" fmla="*/ 86 w 507"/>
                <a:gd name="T63" fmla="*/ 279 h 514"/>
                <a:gd name="T64" fmla="*/ 60 w 507"/>
                <a:gd name="T65" fmla="*/ 251 h 514"/>
                <a:gd name="T66" fmla="*/ 48 w 507"/>
                <a:gd name="T67" fmla="*/ 244 h 514"/>
                <a:gd name="T68" fmla="*/ 57 w 507"/>
                <a:gd name="T69" fmla="*/ 230 h 514"/>
                <a:gd name="T70" fmla="*/ 50 w 507"/>
                <a:gd name="T71" fmla="*/ 220 h 514"/>
                <a:gd name="T72" fmla="*/ 26 w 507"/>
                <a:gd name="T73" fmla="*/ 206 h 514"/>
                <a:gd name="T74" fmla="*/ 12 w 507"/>
                <a:gd name="T75" fmla="*/ 180 h 514"/>
                <a:gd name="T76" fmla="*/ 10 w 507"/>
                <a:gd name="T77" fmla="*/ 171 h 514"/>
                <a:gd name="T78" fmla="*/ 5 w 507"/>
                <a:gd name="T79" fmla="*/ 152 h 514"/>
                <a:gd name="T80" fmla="*/ 41 w 507"/>
                <a:gd name="T81" fmla="*/ 119 h 514"/>
                <a:gd name="T82" fmla="*/ 57 w 507"/>
                <a:gd name="T83" fmla="*/ 62 h 514"/>
                <a:gd name="T84" fmla="*/ 107 w 507"/>
                <a:gd name="T85" fmla="*/ 19 h 514"/>
                <a:gd name="T86" fmla="*/ 152 w 507"/>
                <a:gd name="T87" fmla="*/ 12 h 514"/>
                <a:gd name="T88" fmla="*/ 199 w 507"/>
                <a:gd name="T89" fmla="*/ 38 h 514"/>
                <a:gd name="T90" fmla="*/ 197 w 507"/>
                <a:gd name="T91" fmla="*/ 59 h 514"/>
                <a:gd name="T92" fmla="*/ 190 w 507"/>
                <a:gd name="T93" fmla="*/ 64 h 514"/>
                <a:gd name="T94" fmla="*/ 235 w 507"/>
                <a:gd name="T95" fmla="*/ 81 h 514"/>
                <a:gd name="T96" fmla="*/ 242 w 507"/>
                <a:gd name="T97" fmla="*/ 74 h 514"/>
                <a:gd name="T98" fmla="*/ 263 w 507"/>
                <a:gd name="T99" fmla="*/ 76 h 514"/>
                <a:gd name="T100" fmla="*/ 341 w 507"/>
                <a:gd name="T101" fmla="*/ 145 h 514"/>
                <a:gd name="T102" fmla="*/ 365 w 507"/>
                <a:gd name="T103" fmla="*/ 116 h 514"/>
                <a:gd name="T104" fmla="*/ 379 w 507"/>
                <a:gd name="T105" fmla="*/ 126 h 514"/>
                <a:gd name="T106" fmla="*/ 379 w 507"/>
                <a:gd name="T107" fmla="*/ 119 h 514"/>
                <a:gd name="T108" fmla="*/ 388 w 507"/>
                <a:gd name="T109" fmla="*/ 116 h 514"/>
                <a:gd name="T110" fmla="*/ 405 w 507"/>
                <a:gd name="T111" fmla="*/ 109 h 514"/>
                <a:gd name="T112" fmla="*/ 436 w 507"/>
                <a:gd name="T113" fmla="*/ 126 h 514"/>
                <a:gd name="T114" fmla="*/ 438 w 507"/>
                <a:gd name="T115" fmla="*/ 133 h 514"/>
                <a:gd name="T116" fmla="*/ 448 w 507"/>
                <a:gd name="T117" fmla="*/ 190 h 514"/>
                <a:gd name="T118" fmla="*/ 464 w 507"/>
                <a:gd name="T119" fmla="*/ 223 h 514"/>
                <a:gd name="T120" fmla="*/ 488 w 507"/>
                <a:gd name="T121" fmla="*/ 230 h 514"/>
                <a:gd name="T122" fmla="*/ 502 w 507"/>
                <a:gd name="T123" fmla="*/ 24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7" h="514">
                  <a:moveTo>
                    <a:pt x="502" y="244"/>
                  </a:moveTo>
                  <a:lnTo>
                    <a:pt x="502" y="244"/>
                  </a:lnTo>
                  <a:lnTo>
                    <a:pt x="504" y="244"/>
                  </a:lnTo>
                  <a:lnTo>
                    <a:pt x="507" y="246"/>
                  </a:lnTo>
                  <a:lnTo>
                    <a:pt x="490" y="289"/>
                  </a:lnTo>
                  <a:lnTo>
                    <a:pt x="485" y="303"/>
                  </a:lnTo>
                  <a:lnTo>
                    <a:pt x="483" y="329"/>
                  </a:lnTo>
                  <a:lnTo>
                    <a:pt x="481" y="334"/>
                  </a:lnTo>
                  <a:lnTo>
                    <a:pt x="478" y="339"/>
                  </a:lnTo>
                  <a:lnTo>
                    <a:pt x="469" y="360"/>
                  </a:lnTo>
                  <a:lnTo>
                    <a:pt x="459" y="374"/>
                  </a:lnTo>
                  <a:lnTo>
                    <a:pt x="455" y="374"/>
                  </a:lnTo>
                  <a:lnTo>
                    <a:pt x="433" y="376"/>
                  </a:lnTo>
                  <a:lnTo>
                    <a:pt x="424" y="381"/>
                  </a:lnTo>
                  <a:lnTo>
                    <a:pt x="422" y="381"/>
                  </a:lnTo>
                  <a:lnTo>
                    <a:pt x="422" y="381"/>
                  </a:lnTo>
                  <a:lnTo>
                    <a:pt x="410" y="381"/>
                  </a:lnTo>
                  <a:lnTo>
                    <a:pt x="400" y="386"/>
                  </a:lnTo>
                  <a:lnTo>
                    <a:pt x="398" y="386"/>
                  </a:lnTo>
                  <a:lnTo>
                    <a:pt x="398" y="384"/>
                  </a:lnTo>
                  <a:lnTo>
                    <a:pt x="396" y="384"/>
                  </a:lnTo>
                  <a:lnTo>
                    <a:pt x="393" y="381"/>
                  </a:lnTo>
                  <a:lnTo>
                    <a:pt x="393" y="381"/>
                  </a:lnTo>
                  <a:lnTo>
                    <a:pt x="391" y="381"/>
                  </a:lnTo>
                  <a:lnTo>
                    <a:pt x="391" y="384"/>
                  </a:lnTo>
                  <a:lnTo>
                    <a:pt x="388" y="386"/>
                  </a:lnTo>
                  <a:lnTo>
                    <a:pt x="388" y="386"/>
                  </a:lnTo>
                  <a:lnTo>
                    <a:pt x="388" y="388"/>
                  </a:lnTo>
                  <a:lnTo>
                    <a:pt x="388" y="391"/>
                  </a:lnTo>
                  <a:lnTo>
                    <a:pt x="388" y="395"/>
                  </a:lnTo>
                  <a:lnTo>
                    <a:pt x="391" y="405"/>
                  </a:lnTo>
                  <a:lnTo>
                    <a:pt x="391" y="410"/>
                  </a:lnTo>
                  <a:lnTo>
                    <a:pt x="388" y="419"/>
                  </a:lnTo>
                  <a:lnTo>
                    <a:pt x="388" y="424"/>
                  </a:lnTo>
                  <a:lnTo>
                    <a:pt x="388" y="426"/>
                  </a:lnTo>
                  <a:lnTo>
                    <a:pt x="388" y="428"/>
                  </a:lnTo>
                  <a:lnTo>
                    <a:pt x="388" y="428"/>
                  </a:lnTo>
                  <a:lnTo>
                    <a:pt x="388" y="438"/>
                  </a:lnTo>
                  <a:lnTo>
                    <a:pt x="391" y="438"/>
                  </a:lnTo>
                  <a:lnTo>
                    <a:pt x="391" y="440"/>
                  </a:lnTo>
                  <a:lnTo>
                    <a:pt x="391" y="440"/>
                  </a:lnTo>
                  <a:lnTo>
                    <a:pt x="388" y="445"/>
                  </a:lnTo>
                  <a:lnTo>
                    <a:pt x="388" y="445"/>
                  </a:lnTo>
                  <a:lnTo>
                    <a:pt x="388" y="447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4" y="452"/>
                  </a:lnTo>
                  <a:lnTo>
                    <a:pt x="384" y="457"/>
                  </a:lnTo>
                  <a:lnTo>
                    <a:pt x="384" y="462"/>
                  </a:lnTo>
                  <a:lnTo>
                    <a:pt x="384" y="464"/>
                  </a:lnTo>
                  <a:lnTo>
                    <a:pt x="384" y="464"/>
                  </a:lnTo>
                  <a:lnTo>
                    <a:pt x="384" y="466"/>
                  </a:lnTo>
                  <a:lnTo>
                    <a:pt x="381" y="469"/>
                  </a:lnTo>
                  <a:lnTo>
                    <a:pt x="381" y="469"/>
                  </a:lnTo>
                  <a:lnTo>
                    <a:pt x="381" y="471"/>
                  </a:lnTo>
                  <a:lnTo>
                    <a:pt x="381" y="471"/>
                  </a:lnTo>
                  <a:lnTo>
                    <a:pt x="384" y="473"/>
                  </a:lnTo>
                  <a:lnTo>
                    <a:pt x="384" y="473"/>
                  </a:lnTo>
                  <a:lnTo>
                    <a:pt x="386" y="473"/>
                  </a:lnTo>
                  <a:lnTo>
                    <a:pt x="386" y="473"/>
                  </a:lnTo>
                  <a:lnTo>
                    <a:pt x="386" y="476"/>
                  </a:lnTo>
                  <a:lnTo>
                    <a:pt x="388" y="481"/>
                  </a:lnTo>
                  <a:lnTo>
                    <a:pt x="388" y="483"/>
                  </a:lnTo>
                  <a:lnTo>
                    <a:pt x="388" y="483"/>
                  </a:lnTo>
                  <a:lnTo>
                    <a:pt x="386" y="485"/>
                  </a:lnTo>
                  <a:lnTo>
                    <a:pt x="384" y="483"/>
                  </a:lnTo>
                  <a:lnTo>
                    <a:pt x="384" y="483"/>
                  </a:lnTo>
                  <a:lnTo>
                    <a:pt x="381" y="483"/>
                  </a:lnTo>
                  <a:lnTo>
                    <a:pt x="379" y="481"/>
                  </a:lnTo>
                  <a:lnTo>
                    <a:pt x="379" y="478"/>
                  </a:lnTo>
                  <a:lnTo>
                    <a:pt x="379" y="478"/>
                  </a:lnTo>
                  <a:lnTo>
                    <a:pt x="377" y="478"/>
                  </a:lnTo>
                  <a:lnTo>
                    <a:pt x="374" y="476"/>
                  </a:lnTo>
                  <a:lnTo>
                    <a:pt x="374" y="476"/>
                  </a:lnTo>
                  <a:lnTo>
                    <a:pt x="372" y="473"/>
                  </a:lnTo>
                  <a:lnTo>
                    <a:pt x="369" y="473"/>
                  </a:lnTo>
                  <a:lnTo>
                    <a:pt x="367" y="473"/>
                  </a:lnTo>
                  <a:lnTo>
                    <a:pt x="355" y="473"/>
                  </a:lnTo>
                  <a:lnTo>
                    <a:pt x="353" y="473"/>
                  </a:lnTo>
                  <a:lnTo>
                    <a:pt x="346" y="478"/>
                  </a:lnTo>
                  <a:lnTo>
                    <a:pt x="341" y="483"/>
                  </a:lnTo>
                  <a:lnTo>
                    <a:pt x="341" y="483"/>
                  </a:lnTo>
                  <a:lnTo>
                    <a:pt x="339" y="485"/>
                  </a:lnTo>
                  <a:lnTo>
                    <a:pt x="339" y="488"/>
                  </a:lnTo>
                  <a:lnTo>
                    <a:pt x="336" y="490"/>
                  </a:lnTo>
                  <a:lnTo>
                    <a:pt x="303" y="499"/>
                  </a:lnTo>
                  <a:lnTo>
                    <a:pt x="301" y="499"/>
                  </a:lnTo>
                  <a:lnTo>
                    <a:pt x="299" y="499"/>
                  </a:lnTo>
                  <a:lnTo>
                    <a:pt x="296" y="499"/>
                  </a:lnTo>
                  <a:lnTo>
                    <a:pt x="294" y="499"/>
                  </a:lnTo>
                  <a:lnTo>
                    <a:pt x="291" y="499"/>
                  </a:lnTo>
                  <a:lnTo>
                    <a:pt x="289" y="497"/>
                  </a:lnTo>
                  <a:lnTo>
                    <a:pt x="284" y="492"/>
                  </a:lnTo>
                  <a:lnTo>
                    <a:pt x="277" y="488"/>
                  </a:lnTo>
                  <a:lnTo>
                    <a:pt x="275" y="485"/>
                  </a:lnTo>
                  <a:lnTo>
                    <a:pt x="275" y="485"/>
                  </a:lnTo>
                  <a:lnTo>
                    <a:pt x="275" y="483"/>
                  </a:lnTo>
                  <a:lnTo>
                    <a:pt x="275" y="481"/>
                  </a:lnTo>
                  <a:lnTo>
                    <a:pt x="275" y="478"/>
                  </a:lnTo>
                  <a:lnTo>
                    <a:pt x="277" y="471"/>
                  </a:lnTo>
                  <a:lnTo>
                    <a:pt x="277" y="471"/>
                  </a:lnTo>
                  <a:lnTo>
                    <a:pt x="275" y="471"/>
                  </a:lnTo>
                  <a:lnTo>
                    <a:pt x="275" y="471"/>
                  </a:lnTo>
                  <a:lnTo>
                    <a:pt x="268" y="476"/>
                  </a:lnTo>
                  <a:lnTo>
                    <a:pt x="268" y="476"/>
                  </a:lnTo>
                  <a:lnTo>
                    <a:pt x="263" y="476"/>
                  </a:lnTo>
                  <a:lnTo>
                    <a:pt x="263" y="476"/>
                  </a:lnTo>
                  <a:lnTo>
                    <a:pt x="261" y="476"/>
                  </a:lnTo>
                  <a:lnTo>
                    <a:pt x="261" y="473"/>
                  </a:lnTo>
                  <a:lnTo>
                    <a:pt x="254" y="469"/>
                  </a:lnTo>
                  <a:lnTo>
                    <a:pt x="254" y="469"/>
                  </a:lnTo>
                  <a:lnTo>
                    <a:pt x="254" y="466"/>
                  </a:lnTo>
                  <a:lnTo>
                    <a:pt x="251" y="466"/>
                  </a:lnTo>
                  <a:lnTo>
                    <a:pt x="249" y="469"/>
                  </a:lnTo>
                  <a:lnTo>
                    <a:pt x="242" y="469"/>
                  </a:lnTo>
                  <a:lnTo>
                    <a:pt x="242" y="471"/>
                  </a:lnTo>
                  <a:lnTo>
                    <a:pt x="242" y="471"/>
                  </a:lnTo>
                  <a:lnTo>
                    <a:pt x="239" y="476"/>
                  </a:lnTo>
                  <a:lnTo>
                    <a:pt x="239" y="478"/>
                  </a:lnTo>
                  <a:lnTo>
                    <a:pt x="237" y="478"/>
                  </a:lnTo>
                  <a:lnTo>
                    <a:pt x="235" y="478"/>
                  </a:lnTo>
                  <a:lnTo>
                    <a:pt x="235" y="476"/>
                  </a:lnTo>
                  <a:lnTo>
                    <a:pt x="232" y="476"/>
                  </a:lnTo>
                  <a:lnTo>
                    <a:pt x="230" y="473"/>
                  </a:lnTo>
                  <a:lnTo>
                    <a:pt x="230" y="473"/>
                  </a:lnTo>
                  <a:lnTo>
                    <a:pt x="223" y="471"/>
                  </a:lnTo>
                  <a:lnTo>
                    <a:pt x="220" y="473"/>
                  </a:lnTo>
                  <a:lnTo>
                    <a:pt x="218" y="473"/>
                  </a:lnTo>
                  <a:lnTo>
                    <a:pt x="199" y="495"/>
                  </a:lnTo>
                  <a:lnTo>
                    <a:pt x="199" y="497"/>
                  </a:lnTo>
                  <a:lnTo>
                    <a:pt x="199" y="499"/>
                  </a:lnTo>
                  <a:lnTo>
                    <a:pt x="197" y="504"/>
                  </a:lnTo>
                  <a:lnTo>
                    <a:pt x="194" y="511"/>
                  </a:lnTo>
                  <a:lnTo>
                    <a:pt x="194" y="514"/>
                  </a:lnTo>
                  <a:lnTo>
                    <a:pt x="192" y="511"/>
                  </a:lnTo>
                  <a:lnTo>
                    <a:pt x="190" y="507"/>
                  </a:lnTo>
                  <a:lnTo>
                    <a:pt x="185" y="497"/>
                  </a:lnTo>
                  <a:lnTo>
                    <a:pt x="180" y="492"/>
                  </a:lnTo>
                  <a:lnTo>
                    <a:pt x="166" y="483"/>
                  </a:lnTo>
                  <a:lnTo>
                    <a:pt x="154" y="469"/>
                  </a:lnTo>
                  <a:lnTo>
                    <a:pt x="154" y="469"/>
                  </a:lnTo>
                  <a:lnTo>
                    <a:pt x="157" y="462"/>
                  </a:lnTo>
                  <a:lnTo>
                    <a:pt x="157" y="459"/>
                  </a:lnTo>
                  <a:lnTo>
                    <a:pt x="157" y="459"/>
                  </a:lnTo>
                  <a:lnTo>
                    <a:pt x="154" y="459"/>
                  </a:lnTo>
                  <a:lnTo>
                    <a:pt x="154" y="459"/>
                  </a:lnTo>
                  <a:lnTo>
                    <a:pt x="152" y="457"/>
                  </a:lnTo>
                  <a:lnTo>
                    <a:pt x="152" y="455"/>
                  </a:lnTo>
                  <a:lnTo>
                    <a:pt x="152" y="455"/>
                  </a:lnTo>
                  <a:lnTo>
                    <a:pt x="154" y="450"/>
                  </a:lnTo>
                  <a:lnTo>
                    <a:pt x="157" y="447"/>
                  </a:lnTo>
                  <a:lnTo>
                    <a:pt x="161" y="431"/>
                  </a:lnTo>
                  <a:lnTo>
                    <a:pt x="161" y="426"/>
                  </a:lnTo>
                  <a:lnTo>
                    <a:pt x="161" y="426"/>
                  </a:lnTo>
                  <a:lnTo>
                    <a:pt x="161" y="421"/>
                  </a:lnTo>
                  <a:lnTo>
                    <a:pt x="159" y="417"/>
                  </a:lnTo>
                  <a:lnTo>
                    <a:pt x="159" y="417"/>
                  </a:lnTo>
                  <a:lnTo>
                    <a:pt x="161" y="414"/>
                  </a:lnTo>
                  <a:lnTo>
                    <a:pt x="164" y="412"/>
                  </a:lnTo>
                  <a:lnTo>
                    <a:pt x="166" y="407"/>
                  </a:lnTo>
                  <a:lnTo>
                    <a:pt x="166" y="405"/>
                  </a:lnTo>
                  <a:lnTo>
                    <a:pt x="166" y="402"/>
                  </a:lnTo>
                  <a:lnTo>
                    <a:pt x="168" y="402"/>
                  </a:lnTo>
                  <a:lnTo>
                    <a:pt x="171" y="400"/>
                  </a:lnTo>
                  <a:lnTo>
                    <a:pt x="173" y="398"/>
                  </a:lnTo>
                  <a:lnTo>
                    <a:pt x="173" y="398"/>
                  </a:lnTo>
                  <a:lnTo>
                    <a:pt x="175" y="393"/>
                  </a:lnTo>
                  <a:lnTo>
                    <a:pt x="178" y="391"/>
                  </a:lnTo>
                  <a:lnTo>
                    <a:pt x="180" y="388"/>
                  </a:lnTo>
                  <a:lnTo>
                    <a:pt x="183" y="381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3" y="374"/>
                  </a:lnTo>
                  <a:lnTo>
                    <a:pt x="183" y="372"/>
                  </a:lnTo>
                  <a:lnTo>
                    <a:pt x="183" y="369"/>
                  </a:lnTo>
                  <a:lnTo>
                    <a:pt x="180" y="369"/>
                  </a:lnTo>
                  <a:lnTo>
                    <a:pt x="180" y="367"/>
                  </a:lnTo>
                  <a:lnTo>
                    <a:pt x="178" y="365"/>
                  </a:lnTo>
                  <a:lnTo>
                    <a:pt x="173" y="362"/>
                  </a:lnTo>
                  <a:lnTo>
                    <a:pt x="173" y="362"/>
                  </a:lnTo>
                  <a:lnTo>
                    <a:pt x="171" y="360"/>
                  </a:lnTo>
                  <a:lnTo>
                    <a:pt x="168" y="358"/>
                  </a:lnTo>
                  <a:lnTo>
                    <a:pt x="168" y="358"/>
                  </a:lnTo>
                  <a:lnTo>
                    <a:pt x="166" y="358"/>
                  </a:lnTo>
                  <a:lnTo>
                    <a:pt x="159" y="353"/>
                  </a:lnTo>
                  <a:lnTo>
                    <a:pt x="157" y="353"/>
                  </a:lnTo>
                  <a:lnTo>
                    <a:pt x="157" y="353"/>
                  </a:lnTo>
                  <a:lnTo>
                    <a:pt x="154" y="350"/>
                  </a:lnTo>
                  <a:lnTo>
                    <a:pt x="154" y="348"/>
                  </a:lnTo>
                  <a:lnTo>
                    <a:pt x="152" y="346"/>
                  </a:lnTo>
                  <a:lnTo>
                    <a:pt x="149" y="329"/>
                  </a:lnTo>
                  <a:lnTo>
                    <a:pt x="147" y="329"/>
                  </a:lnTo>
                  <a:lnTo>
                    <a:pt x="145" y="327"/>
                  </a:lnTo>
                  <a:lnTo>
                    <a:pt x="145" y="324"/>
                  </a:lnTo>
                  <a:lnTo>
                    <a:pt x="142" y="324"/>
                  </a:lnTo>
                  <a:lnTo>
                    <a:pt x="140" y="324"/>
                  </a:lnTo>
                  <a:lnTo>
                    <a:pt x="140" y="322"/>
                  </a:lnTo>
                  <a:lnTo>
                    <a:pt x="135" y="324"/>
                  </a:lnTo>
                  <a:lnTo>
                    <a:pt x="133" y="324"/>
                  </a:lnTo>
                  <a:lnTo>
                    <a:pt x="133" y="324"/>
                  </a:lnTo>
                  <a:lnTo>
                    <a:pt x="131" y="322"/>
                  </a:lnTo>
                  <a:lnTo>
                    <a:pt x="123" y="317"/>
                  </a:lnTo>
                  <a:lnTo>
                    <a:pt x="121" y="315"/>
                  </a:lnTo>
                  <a:lnTo>
                    <a:pt x="119" y="313"/>
                  </a:lnTo>
                  <a:lnTo>
                    <a:pt x="116" y="313"/>
                  </a:lnTo>
                  <a:lnTo>
                    <a:pt x="114" y="313"/>
                  </a:lnTo>
                  <a:lnTo>
                    <a:pt x="114" y="313"/>
                  </a:lnTo>
                  <a:lnTo>
                    <a:pt x="112" y="313"/>
                  </a:lnTo>
                  <a:lnTo>
                    <a:pt x="109" y="313"/>
                  </a:lnTo>
                  <a:lnTo>
                    <a:pt x="107" y="310"/>
                  </a:lnTo>
                  <a:lnTo>
                    <a:pt x="102" y="303"/>
                  </a:lnTo>
                  <a:lnTo>
                    <a:pt x="100" y="301"/>
                  </a:lnTo>
                  <a:lnTo>
                    <a:pt x="97" y="301"/>
                  </a:lnTo>
                  <a:lnTo>
                    <a:pt x="95" y="298"/>
                  </a:lnTo>
                  <a:lnTo>
                    <a:pt x="93" y="296"/>
                  </a:lnTo>
                  <a:lnTo>
                    <a:pt x="90" y="296"/>
                  </a:lnTo>
                  <a:lnTo>
                    <a:pt x="88" y="294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89"/>
                  </a:lnTo>
                  <a:lnTo>
                    <a:pt x="86" y="287"/>
                  </a:lnTo>
                  <a:lnTo>
                    <a:pt x="86" y="287"/>
                  </a:lnTo>
                  <a:lnTo>
                    <a:pt x="86" y="282"/>
                  </a:lnTo>
                  <a:lnTo>
                    <a:pt x="86" y="279"/>
                  </a:lnTo>
                  <a:lnTo>
                    <a:pt x="86" y="277"/>
                  </a:lnTo>
                  <a:lnTo>
                    <a:pt x="74" y="261"/>
                  </a:lnTo>
                  <a:lnTo>
                    <a:pt x="74" y="258"/>
                  </a:lnTo>
                  <a:lnTo>
                    <a:pt x="69" y="256"/>
                  </a:lnTo>
                  <a:lnTo>
                    <a:pt x="64" y="253"/>
                  </a:lnTo>
                  <a:lnTo>
                    <a:pt x="62" y="251"/>
                  </a:lnTo>
                  <a:lnTo>
                    <a:pt x="60" y="251"/>
                  </a:lnTo>
                  <a:lnTo>
                    <a:pt x="55" y="251"/>
                  </a:lnTo>
                  <a:lnTo>
                    <a:pt x="52" y="251"/>
                  </a:lnTo>
                  <a:lnTo>
                    <a:pt x="50" y="249"/>
                  </a:lnTo>
                  <a:lnTo>
                    <a:pt x="50" y="249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8" y="244"/>
                  </a:lnTo>
                  <a:lnTo>
                    <a:pt x="50" y="244"/>
                  </a:lnTo>
                  <a:lnTo>
                    <a:pt x="50" y="242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5" y="232"/>
                  </a:lnTo>
                  <a:lnTo>
                    <a:pt x="57" y="230"/>
                  </a:lnTo>
                  <a:lnTo>
                    <a:pt x="57" y="230"/>
                  </a:lnTo>
                  <a:lnTo>
                    <a:pt x="60" y="227"/>
                  </a:lnTo>
                  <a:lnTo>
                    <a:pt x="60" y="225"/>
                  </a:lnTo>
                  <a:lnTo>
                    <a:pt x="60" y="223"/>
                  </a:lnTo>
                  <a:lnTo>
                    <a:pt x="57" y="220"/>
                  </a:lnTo>
                  <a:lnTo>
                    <a:pt x="57" y="220"/>
                  </a:lnTo>
                  <a:lnTo>
                    <a:pt x="55" y="220"/>
                  </a:lnTo>
                  <a:lnTo>
                    <a:pt x="50" y="220"/>
                  </a:lnTo>
                  <a:lnTo>
                    <a:pt x="48" y="220"/>
                  </a:lnTo>
                  <a:lnTo>
                    <a:pt x="41" y="218"/>
                  </a:lnTo>
                  <a:lnTo>
                    <a:pt x="38" y="216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1" y="208"/>
                  </a:lnTo>
                  <a:lnTo>
                    <a:pt x="26" y="206"/>
                  </a:lnTo>
                  <a:lnTo>
                    <a:pt x="24" y="206"/>
                  </a:lnTo>
                  <a:lnTo>
                    <a:pt x="22" y="204"/>
                  </a:lnTo>
                  <a:lnTo>
                    <a:pt x="19" y="199"/>
                  </a:lnTo>
                  <a:lnTo>
                    <a:pt x="17" y="197"/>
                  </a:lnTo>
                  <a:lnTo>
                    <a:pt x="17" y="194"/>
                  </a:lnTo>
                  <a:lnTo>
                    <a:pt x="15" y="182"/>
                  </a:lnTo>
                  <a:lnTo>
                    <a:pt x="12" y="180"/>
                  </a:lnTo>
                  <a:lnTo>
                    <a:pt x="12" y="178"/>
                  </a:lnTo>
                  <a:lnTo>
                    <a:pt x="12" y="175"/>
                  </a:lnTo>
                  <a:lnTo>
                    <a:pt x="10" y="175"/>
                  </a:lnTo>
                  <a:lnTo>
                    <a:pt x="10" y="173"/>
                  </a:lnTo>
                  <a:lnTo>
                    <a:pt x="10" y="173"/>
                  </a:lnTo>
                  <a:lnTo>
                    <a:pt x="10" y="171"/>
                  </a:lnTo>
                  <a:lnTo>
                    <a:pt x="10" y="171"/>
                  </a:lnTo>
                  <a:lnTo>
                    <a:pt x="10" y="168"/>
                  </a:lnTo>
                  <a:lnTo>
                    <a:pt x="7" y="168"/>
                  </a:lnTo>
                  <a:lnTo>
                    <a:pt x="7" y="168"/>
                  </a:lnTo>
                  <a:lnTo>
                    <a:pt x="0" y="163"/>
                  </a:lnTo>
                  <a:lnTo>
                    <a:pt x="5" y="156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47"/>
                  </a:lnTo>
                  <a:lnTo>
                    <a:pt x="3" y="145"/>
                  </a:lnTo>
                  <a:lnTo>
                    <a:pt x="3" y="140"/>
                  </a:lnTo>
                  <a:lnTo>
                    <a:pt x="3" y="135"/>
                  </a:lnTo>
                  <a:lnTo>
                    <a:pt x="3" y="128"/>
                  </a:lnTo>
                  <a:lnTo>
                    <a:pt x="34" y="121"/>
                  </a:lnTo>
                  <a:lnTo>
                    <a:pt x="41" y="119"/>
                  </a:lnTo>
                  <a:lnTo>
                    <a:pt x="50" y="109"/>
                  </a:lnTo>
                  <a:lnTo>
                    <a:pt x="52" y="104"/>
                  </a:lnTo>
                  <a:lnTo>
                    <a:pt x="55" y="100"/>
                  </a:lnTo>
                  <a:lnTo>
                    <a:pt x="55" y="88"/>
                  </a:lnTo>
                  <a:lnTo>
                    <a:pt x="60" y="76"/>
                  </a:lnTo>
                  <a:lnTo>
                    <a:pt x="60" y="69"/>
                  </a:lnTo>
                  <a:lnTo>
                    <a:pt x="57" y="62"/>
                  </a:lnTo>
                  <a:lnTo>
                    <a:pt x="50" y="52"/>
                  </a:lnTo>
                  <a:lnTo>
                    <a:pt x="48" y="45"/>
                  </a:lnTo>
                  <a:lnTo>
                    <a:pt x="50" y="38"/>
                  </a:lnTo>
                  <a:lnTo>
                    <a:pt x="52" y="33"/>
                  </a:lnTo>
                  <a:lnTo>
                    <a:pt x="55" y="29"/>
                  </a:lnTo>
                  <a:lnTo>
                    <a:pt x="57" y="26"/>
                  </a:lnTo>
                  <a:lnTo>
                    <a:pt x="107" y="19"/>
                  </a:lnTo>
                  <a:lnTo>
                    <a:pt x="112" y="19"/>
                  </a:lnTo>
                  <a:lnTo>
                    <a:pt x="135" y="3"/>
                  </a:lnTo>
                  <a:lnTo>
                    <a:pt x="138" y="0"/>
                  </a:lnTo>
                  <a:lnTo>
                    <a:pt x="140" y="0"/>
                  </a:lnTo>
                  <a:lnTo>
                    <a:pt x="147" y="7"/>
                  </a:lnTo>
                  <a:lnTo>
                    <a:pt x="152" y="12"/>
                  </a:lnTo>
                  <a:lnTo>
                    <a:pt x="152" y="12"/>
                  </a:lnTo>
                  <a:lnTo>
                    <a:pt x="164" y="12"/>
                  </a:lnTo>
                  <a:lnTo>
                    <a:pt x="171" y="14"/>
                  </a:lnTo>
                  <a:lnTo>
                    <a:pt x="173" y="17"/>
                  </a:lnTo>
                  <a:lnTo>
                    <a:pt x="178" y="19"/>
                  </a:lnTo>
                  <a:lnTo>
                    <a:pt x="183" y="24"/>
                  </a:lnTo>
                  <a:lnTo>
                    <a:pt x="197" y="36"/>
                  </a:lnTo>
                  <a:lnTo>
                    <a:pt x="199" y="38"/>
                  </a:lnTo>
                  <a:lnTo>
                    <a:pt x="199" y="40"/>
                  </a:lnTo>
                  <a:lnTo>
                    <a:pt x="199" y="45"/>
                  </a:lnTo>
                  <a:lnTo>
                    <a:pt x="199" y="50"/>
                  </a:lnTo>
                  <a:lnTo>
                    <a:pt x="199" y="52"/>
                  </a:lnTo>
                  <a:lnTo>
                    <a:pt x="199" y="55"/>
                  </a:lnTo>
                  <a:lnTo>
                    <a:pt x="197" y="57"/>
                  </a:lnTo>
                  <a:lnTo>
                    <a:pt x="197" y="59"/>
                  </a:lnTo>
                  <a:lnTo>
                    <a:pt x="194" y="62"/>
                  </a:lnTo>
                  <a:lnTo>
                    <a:pt x="194" y="62"/>
                  </a:lnTo>
                  <a:lnTo>
                    <a:pt x="194" y="62"/>
                  </a:lnTo>
                  <a:lnTo>
                    <a:pt x="192" y="62"/>
                  </a:lnTo>
                  <a:lnTo>
                    <a:pt x="192" y="62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0" y="69"/>
                  </a:lnTo>
                  <a:lnTo>
                    <a:pt x="192" y="69"/>
                  </a:lnTo>
                  <a:lnTo>
                    <a:pt x="228" y="78"/>
                  </a:lnTo>
                  <a:lnTo>
                    <a:pt x="232" y="81"/>
                  </a:lnTo>
                  <a:lnTo>
                    <a:pt x="232" y="81"/>
                  </a:lnTo>
                  <a:lnTo>
                    <a:pt x="235" y="81"/>
                  </a:lnTo>
                  <a:lnTo>
                    <a:pt x="237" y="81"/>
                  </a:lnTo>
                  <a:lnTo>
                    <a:pt x="237" y="78"/>
                  </a:lnTo>
                  <a:lnTo>
                    <a:pt x="237" y="78"/>
                  </a:lnTo>
                  <a:lnTo>
                    <a:pt x="239" y="76"/>
                  </a:lnTo>
                  <a:lnTo>
                    <a:pt x="239" y="74"/>
                  </a:lnTo>
                  <a:lnTo>
                    <a:pt x="239" y="74"/>
                  </a:lnTo>
                  <a:lnTo>
                    <a:pt x="242" y="74"/>
                  </a:lnTo>
                  <a:lnTo>
                    <a:pt x="246" y="69"/>
                  </a:lnTo>
                  <a:lnTo>
                    <a:pt x="249" y="69"/>
                  </a:lnTo>
                  <a:lnTo>
                    <a:pt x="251" y="69"/>
                  </a:lnTo>
                  <a:lnTo>
                    <a:pt x="254" y="71"/>
                  </a:lnTo>
                  <a:lnTo>
                    <a:pt x="258" y="71"/>
                  </a:lnTo>
                  <a:lnTo>
                    <a:pt x="263" y="74"/>
                  </a:lnTo>
                  <a:lnTo>
                    <a:pt x="263" y="76"/>
                  </a:lnTo>
                  <a:lnTo>
                    <a:pt x="265" y="76"/>
                  </a:lnTo>
                  <a:lnTo>
                    <a:pt x="268" y="81"/>
                  </a:lnTo>
                  <a:lnTo>
                    <a:pt x="272" y="93"/>
                  </a:lnTo>
                  <a:lnTo>
                    <a:pt x="277" y="97"/>
                  </a:lnTo>
                  <a:lnTo>
                    <a:pt x="317" y="130"/>
                  </a:lnTo>
                  <a:lnTo>
                    <a:pt x="336" y="142"/>
                  </a:lnTo>
                  <a:lnTo>
                    <a:pt x="341" y="145"/>
                  </a:lnTo>
                  <a:lnTo>
                    <a:pt x="346" y="145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53" y="135"/>
                  </a:lnTo>
                  <a:lnTo>
                    <a:pt x="360" y="126"/>
                  </a:lnTo>
                  <a:lnTo>
                    <a:pt x="365" y="116"/>
                  </a:lnTo>
                  <a:lnTo>
                    <a:pt x="365" y="116"/>
                  </a:lnTo>
                  <a:lnTo>
                    <a:pt x="367" y="116"/>
                  </a:lnTo>
                  <a:lnTo>
                    <a:pt x="367" y="116"/>
                  </a:lnTo>
                  <a:lnTo>
                    <a:pt x="369" y="116"/>
                  </a:lnTo>
                  <a:lnTo>
                    <a:pt x="369" y="116"/>
                  </a:lnTo>
                  <a:lnTo>
                    <a:pt x="372" y="119"/>
                  </a:lnTo>
                  <a:lnTo>
                    <a:pt x="374" y="121"/>
                  </a:lnTo>
                  <a:lnTo>
                    <a:pt x="379" y="126"/>
                  </a:lnTo>
                  <a:lnTo>
                    <a:pt x="381" y="126"/>
                  </a:lnTo>
                  <a:lnTo>
                    <a:pt x="381" y="126"/>
                  </a:lnTo>
                  <a:lnTo>
                    <a:pt x="384" y="126"/>
                  </a:lnTo>
                  <a:lnTo>
                    <a:pt x="384" y="123"/>
                  </a:lnTo>
                  <a:lnTo>
                    <a:pt x="381" y="121"/>
                  </a:lnTo>
                  <a:lnTo>
                    <a:pt x="381" y="121"/>
                  </a:lnTo>
                  <a:lnTo>
                    <a:pt x="379" y="119"/>
                  </a:lnTo>
                  <a:lnTo>
                    <a:pt x="377" y="116"/>
                  </a:lnTo>
                  <a:lnTo>
                    <a:pt x="377" y="116"/>
                  </a:lnTo>
                  <a:lnTo>
                    <a:pt x="377" y="114"/>
                  </a:lnTo>
                  <a:lnTo>
                    <a:pt x="379" y="114"/>
                  </a:lnTo>
                  <a:lnTo>
                    <a:pt x="381" y="114"/>
                  </a:lnTo>
                  <a:lnTo>
                    <a:pt x="388" y="116"/>
                  </a:lnTo>
                  <a:lnTo>
                    <a:pt x="388" y="116"/>
                  </a:lnTo>
                  <a:lnTo>
                    <a:pt x="391" y="114"/>
                  </a:lnTo>
                  <a:lnTo>
                    <a:pt x="388" y="114"/>
                  </a:lnTo>
                  <a:lnTo>
                    <a:pt x="388" y="111"/>
                  </a:lnTo>
                  <a:lnTo>
                    <a:pt x="391" y="111"/>
                  </a:lnTo>
                  <a:lnTo>
                    <a:pt x="393" y="109"/>
                  </a:lnTo>
                  <a:lnTo>
                    <a:pt x="403" y="109"/>
                  </a:lnTo>
                  <a:lnTo>
                    <a:pt x="405" y="109"/>
                  </a:lnTo>
                  <a:lnTo>
                    <a:pt x="407" y="111"/>
                  </a:lnTo>
                  <a:lnTo>
                    <a:pt x="414" y="114"/>
                  </a:lnTo>
                  <a:lnTo>
                    <a:pt x="424" y="114"/>
                  </a:lnTo>
                  <a:lnTo>
                    <a:pt x="426" y="114"/>
                  </a:lnTo>
                  <a:lnTo>
                    <a:pt x="429" y="114"/>
                  </a:lnTo>
                  <a:lnTo>
                    <a:pt x="436" y="121"/>
                  </a:lnTo>
                  <a:lnTo>
                    <a:pt x="436" y="126"/>
                  </a:lnTo>
                  <a:lnTo>
                    <a:pt x="431" y="128"/>
                  </a:lnTo>
                  <a:lnTo>
                    <a:pt x="431" y="130"/>
                  </a:lnTo>
                  <a:lnTo>
                    <a:pt x="431" y="130"/>
                  </a:lnTo>
                  <a:lnTo>
                    <a:pt x="433" y="130"/>
                  </a:lnTo>
                  <a:lnTo>
                    <a:pt x="433" y="133"/>
                  </a:lnTo>
                  <a:lnTo>
                    <a:pt x="436" y="133"/>
                  </a:lnTo>
                  <a:lnTo>
                    <a:pt x="438" y="133"/>
                  </a:lnTo>
                  <a:lnTo>
                    <a:pt x="438" y="135"/>
                  </a:lnTo>
                  <a:lnTo>
                    <a:pt x="440" y="137"/>
                  </a:lnTo>
                  <a:lnTo>
                    <a:pt x="440" y="140"/>
                  </a:lnTo>
                  <a:lnTo>
                    <a:pt x="440" y="142"/>
                  </a:lnTo>
                  <a:lnTo>
                    <a:pt x="440" y="154"/>
                  </a:lnTo>
                  <a:lnTo>
                    <a:pt x="445" y="171"/>
                  </a:lnTo>
                  <a:lnTo>
                    <a:pt x="448" y="190"/>
                  </a:lnTo>
                  <a:lnTo>
                    <a:pt x="448" y="192"/>
                  </a:lnTo>
                  <a:lnTo>
                    <a:pt x="450" y="194"/>
                  </a:lnTo>
                  <a:lnTo>
                    <a:pt x="457" y="216"/>
                  </a:lnTo>
                  <a:lnTo>
                    <a:pt x="459" y="218"/>
                  </a:lnTo>
                  <a:lnTo>
                    <a:pt x="462" y="223"/>
                  </a:lnTo>
                  <a:lnTo>
                    <a:pt x="464" y="223"/>
                  </a:lnTo>
                  <a:lnTo>
                    <a:pt x="464" y="223"/>
                  </a:lnTo>
                  <a:lnTo>
                    <a:pt x="466" y="223"/>
                  </a:lnTo>
                  <a:lnTo>
                    <a:pt x="474" y="218"/>
                  </a:lnTo>
                  <a:lnTo>
                    <a:pt x="474" y="218"/>
                  </a:lnTo>
                  <a:lnTo>
                    <a:pt x="478" y="218"/>
                  </a:lnTo>
                  <a:lnTo>
                    <a:pt x="478" y="218"/>
                  </a:lnTo>
                  <a:lnTo>
                    <a:pt x="481" y="220"/>
                  </a:lnTo>
                  <a:lnTo>
                    <a:pt x="488" y="230"/>
                  </a:lnTo>
                  <a:lnTo>
                    <a:pt x="490" y="232"/>
                  </a:lnTo>
                  <a:lnTo>
                    <a:pt x="493" y="234"/>
                  </a:lnTo>
                  <a:lnTo>
                    <a:pt x="495" y="234"/>
                  </a:lnTo>
                  <a:lnTo>
                    <a:pt x="497" y="237"/>
                  </a:lnTo>
                  <a:lnTo>
                    <a:pt x="497" y="239"/>
                  </a:lnTo>
                  <a:lnTo>
                    <a:pt x="500" y="242"/>
                  </a:lnTo>
                  <a:lnTo>
                    <a:pt x="502" y="2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Freeform 23">
              <a:extLst>
                <a:ext uri="{FF2B5EF4-FFF2-40B4-BE49-F238E27FC236}">
                  <a16:creationId xmlns:a16="http://schemas.microsoft.com/office/drawing/2014/main" id="{81B63B84-0A53-48D8-AC52-D345A6025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8730" y="4623477"/>
              <a:ext cx="673687" cy="1238848"/>
            </a:xfrm>
            <a:custGeom>
              <a:avLst/>
              <a:gdLst>
                <a:gd name="T0" fmla="*/ 261 w 530"/>
                <a:gd name="T1" fmla="*/ 7 h 975"/>
                <a:gd name="T2" fmla="*/ 275 w 530"/>
                <a:gd name="T3" fmla="*/ 64 h 975"/>
                <a:gd name="T4" fmla="*/ 246 w 530"/>
                <a:gd name="T5" fmla="*/ 128 h 975"/>
                <a:gd name="T6" fmla="*/ 263 w 530"/>
                <a:gd name="T7" fmla="*/ 178 h 975"/>
                <a:gd name="T8" fmla="*/ 339 w 530"/>
                <a:gd name="T9" fmla="*/ 201 h 975"/>
                <a:gd name="T10" fmla="*/ 372 w 530"/>
                <a:gd name="T11" fmla="*/ 220 h 975"/>
                <a:gd name="T12" fmla="*/ 426 w 530"/>
                <a:gd name="T13" fmla="*/ 239 h 975"/>
                <a:gd name="T14" fmla="*/ 462 w 530"/>
                <a:gd name="T15" fmla="*/ 260 h 975"/>
                <a:gd name="T16" fmla="*/ 483 w 530"/>
                <a:gd name="T17" fmla="*/ 322 h 975"/>
                <a:gd name="T18" fmla="*/ 497 w 530"/>
                <a:gd name="T19" fmla="*/ 360 h 975"/>
                <a:gd name="T20" fmla="*/ 514 w 530"/>
                <a:gd name="T21" fmla="*/ 416 h 975"/>
                <a:gd name="T22" fmla="*/ 521 w 530"/>
                <a:gd name="T23" fmla="*/ 428 h 975"/>
                <a:gd name="T24" fmla="*/ 514 w 530"/>
                <a:gd name="T25" fmla="*/ 464 h 975"/>
                <a:gd name="T26" fmla="*/ 488 w 530"/>
                <a:gd name="T27" fmla="*/ 476 h 975"/>
                <a:gd name="T28" fmla="*/ 452 w 530"/>
                <a:gd name="T29" fmla="*/ 473 h 975"/>
                <a:gd name="T30" fmla="*/ 374 w 530"/>
                <a:gd name="T31" fmla="*/ 532 h 975"/>
                <a:gd name="T32" fmla="*/ 343 w 530"/>
                <a:gd name="T33" fmla="*/ 582 h 975"/>
                <a:gd name="T34" fmla="*/ 348 w 530"/>
                <a:gd name="T35" fmla="*/ 610 h 975"/>
                <a:gd name="T36" fmla="*/ 372 w 530"/>
                <a:gd name="T37" fmla="*/ 717 h 975"/>
                <a:gd name="T38" fmla="*/ 339 w 530"/>
                <a:gd name="T39" fmla="*/ 757 h 975"/>
                <a:gd name="T40" fmla="*/ 263 w 530"/>
                <a:gd name="T41" fmla="*/ 916 h 975"/>
                <a:gd name="T42" fmla="*/ 249 w 530"/>
                <a:gd name="T43" fmla="*/ 951 h 975"/>
                <a:gd name="T44" fmla="*/ 142 w 530"/>
                <a:gd name="T45" fmla="*/ 972 h 975"/>
                <a:gd name="T46" fmla="*/ 105 w 530"/>
                <a:gd name="T47" fmla="*/ 946 h 975"/>
                <a:gd name="T48" fmla="*/ 95 w 530"/>
                <a:gd name="T49" fmla="*/ 906 h 975"/>
                <a:gd name="T50" fmla="*/ 88 w 530"/>
                <a:gd name="T51" fmla="*/ 859 h 975"/>
                <a:gd name="T52" fmla="*/ 135 w 530"/>
                <a:gd name="T53" fmla="*/ 819 h 975"/>
                <a:gd name="T54" fmla="*/ 159 w 530"/>
                <a:gd name="T55" fmla="*/ 717 h 975"/>
                <a:gd name="T56" fmla="*/ 131 w 530"/>
                <a:gd name="T57" fmla="*/ 681 h 975"/>
                <a:gd name="T58" fmla="*/ 123 w 530"/>
                <a:gd name="T59" fmla="*/ 667 h 975"/>
                <a:gd name="T60" fmla="*/ 171 w 530"/>
                <a:gd name="T61" fmla="*/ 625 h 975"/>
                <a:gd name="T62" fmla="*/ 225 w 530"/>
                <a:gd name="T63" fmla="*/ 603 h 975"/>
                <a:gd name="T64" fmla="*/ 223 w 530"/>
                <a:gd name="T65" fmla="*/ 530 h 975"/>
                <a:gd name="T66" fmla="*/ 194 w 530"/>
                <a:gd name="T67" fmla="*/ 511 h 975"/>
                <a:gd name="T68" fmla="*/ 90 w 530"/>
                <a:gd name="T69" fmla="*/ 301 h 975"/>
                <a:gd name="T70" fmla="*/ 55 w 530"/>
                <a:gd name="T71" fmla="*/ 263 h 975"/>
                <a:gd name="T72" fmla="*/ 24 w 530"/>
                <a:gd name="T73" fmla="*/ 194 h 975"/>
                <a:gd name="T74" fmla="*/ 15 w 530"/>
                <a:gd name="T75" fmla="*/ 161 h 975"/>
                <a:gd name="T76" fmla="*/ 5 w 530"/>
                <a:gd name="T77" fmla="*/ 125 h 975"/>
                <a:gd name="T78" fmla="*/ 29 w 530"/>
                <a:gd name="T79" fmla="*/ 97 h 975"/>
                <a:gd name="T80" fmla="*/ 41 w 530"/>
                <a:gd name="T81" fmla="*/ 104 h 975"/>
                <a:gd name="T82" fmla="*/ 48 w 530"/>
                <a:gd name="T83" fmla="*/ 97 h 975"/>
                <a:gd name="T84" fmla="*/ 60 w 530"/>
                <a:gd name="T85" fmla="*/ 95 h 975"/>
                <a:gd name="T86" fmla="*/ 69 w 530"/>
                <a:gd name="T87" fmla="*/ 102 h 975"/>
                <a:gd name="T88" fmla="*/ 83 w 530"/>
                <a:gd name="T89" fmla="*/ 97 h 975"/>
                <a:gd name="T90" fmla="*/ 81 w 530"/>
                <a:gd name="T91" fmla="*/ 111 h 975"/>
                <a:gd name="T92" fmla="*/ 97 w 530"/>
                <a:gd name="T93" fmla="*/ 125 h 975"/>
                <a:gd name="T94" fmla="*/ 109 w 530"/>
                <a:gd name="T95" fmla="*/ 125 h 975"/>
                <a:gd name="T96" fmla="*/ 147 w 530"/>
                <a:gd name="T97" fmla="*/ 109 h 975"/>
                <a:gd name="T98" fmla="*/ 175 w 530"/>
                <a:gd name="T99" fmla="*/ 99 h 975"/>
                <a:gd name="T100" fmla="*/ 185 w 530"/>
                <a:gd name="T101" fmla="*/ 104 h 975"/>
                <a:gd name="T102" fmla="*/ 190 w 530"/>
                <a:gd name="T103" fmla="*/ 109 h 975"/>
                <a:gd name="T104" fmla="*/ 192 w 530"/>
                <a:gd name="T105" fmla="*/ 102 h 975"/>
                <a:gd name="T106" fmla="*/ 187 w 530"/>
                <a:gd name="T107" fmla="*/ 97 h 975"/>
                <a:gd name="T108" fmla="*/ 190 w 530"/>
                <a:gd name="T109" fmla="*/ 90 h 975"/>
                <a:gd name="T110" fmla="*/ 192 w 530"/>
                <a:gd name="T111" fmla="*/ 78 h 975"/>
                <a:gd name="T112" fmla="*/ 197 w 530"/>
                <a:gd name="T113" fmla="*/ 66 h 975"/>
                <a:gd name="T114" fmla="*/ 194 w 530"/>
                <a:gd name="T115" fmla="*/ 54 h 975"/>
                <a:gd name="T116" fmla="*/ 197 w 530"/>
                <a:gd name="T117" fmla="*/ 31 h 975"/>
                <a:gd name="T118" fmla="*/ 194 w 530"/>
                <a:gd name="T119" fmla="*/ 12 h 975"/>
                <a:gd name="T120" fmla="*/ 202 w 530"/>
                <a:gd name="T121" fmla="*/ 10 h 975"/>
                <a:gd name="T122" fmla="*/ 228 w 530"/>
                <a:gd name="T123" fmla="*/ 7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0" h="975">
                  <a:moveTo>
                    <a:pt x="239" y="2"/>
                  </a:moveTo>
                  <a:lnTo>
                    <a:pt x="239" y="2"/>
                  </a:lnTo>
                  <a:lnTo>
                    <a:pt x="261" y="0"/>
                  </a:lnTo>
                  <a:lnTo>
                    <a:pt x="265" y="0"/>
                  </a:lnTo>
                  <a:lnTo>
                    <a:pt x="261" y="7"/>
                  </a:lnTo>
                  <a:lnTo>
                    <a:pt x="258" y="17"/>
                  </a:lnTo>
                  <a:lnTo>
                    <a:pt x="258" y="33"/>
                  </a:lnTo>
                  <a:lnTo>
                    <a:pt x="261" y="38"/>
                  </a:lnTo>
                  <a:lnTo>
                    <a:pt x="268" y="54"/>
                  </a:lnTo>
                  <a:lnTo>
                    <a:pt x="275" y="64"/>
                  </a:lnTo>
                  <a:lnTo>
                    <a:pt x="272" y="71"/>
                  </a:lnTo>
                  <a:lnTo>
                    <a:pt x="268" y="76"/>
                  </a:lnTo>
                  <a:lnTo>
                    <a:pt x="265" y="88"/>
                  </a:lnTo>
                  <a:lnTo>
                    <a:pt x="254" y="104"/>
                  </a:lnTo>
                  <a:lnTo>
                    <a:pt x="246" y="128"/>
                  </a:lnTo>
                  <a:lnTo>
                    <a:pt x="244" y="142"/>
                  </a:lnTo>
                  <a:lnTo>
                    <a:pt x="246" y="154"/>
                  </a:lnTo>
                  <a:lnTo>
                    <a:pt x="251" y="166"/>
                  </a:lnTo>
                  <a:lnTo>
                    <a:pt x="263" y="175"/>
                  </a:lnTo>
                  <a:lnTo>
                    <a:pt x="263" y="178"/>
                  </a:lnTo>
                  <a:lnTo>
                    <a:pt x="261" y="187"/>
                  </a:lnTo>
                  <a:lnTo>
                    <a:pt x="272" y="199"/>
                  </a:lnTo>
                  <a:lnTo>
                    <a:pt x="289" y="206"/>
                  </a:lnTo>
                  <a:lnTo>
                    <a:pt x="301" y="208"/>
                  </a:lnTo>
                  <a:lnTo>
                    <a:pt x="339" y="201"/>
                  </a:lnTo>
                  <a:lnTo>
                    <a:pt x="351" y="204"/>
                  </a:lnTo>
                  <a:lnTo>
                    <a:pt x="355" y="206"/>
                  </a:lnTo>
                  <a:lnTo>
                    <a:pt x="362" y="208"/>
                  </a:lnTo>
                  <a:lnTo>
                    <a:pt x="369" y="215"/>
                  </a:lnTo>
                  <a:lnTo>
                    <a:pt x="372" y="220"/>
                  </a:lnTo>
                  <a:lnTo>
                    <a:pt x="374" y="222"/>
                  </a:lnTo>
                  <a:lnTo>
                    <a:pt x="396" y="230"/>
                  </a:lnTo>
                  <a:lnTo>
                    <a:pt x="412" y="239"/>
                  </a:lnTo>
                  <a:lnTo>
                    <a:pt x="419" y="239"/>
                  </a:lnTo>
                  <a:lnTo>
                    <a:pt x="426" y="239"/>
                  </a:lnTo>
                  <a:lnTo>
                    <a:pt x="433" y="239"/>
                  </a:lnTo>
                  <a:lnTo>
                    <a:pt x="438" y="244"/>
                  </a:lnTo>
                  <a:lnTo>
                    <a:pt x="443" y="248"/>
                  </a:lnTo>
                  <a:lnTo>
                    <a:pt x="450" y="256"/>
                  </a:lnTo>
                  <a:lnTo>
                    <a:pt x="462" y="260"/>
                  </a:lnTo>
                  <a:lnTo>
                    <a:pt x="474" y="265"/>
                  </a:lnTo>
                  <a:lnTo>
                    <a:pt x="485" y="263"/>
                  </a:lnTo>
                  <a:lnTo>
                    <a:pt x="478" y="293"/>
                  </a:lnTo>
                  <a:lnTo>
                    <a:pt x="481" y="317"/>
                  </a:lnTo>
                  <a:lnTo>
                    <a:pt x="483" y="322"/>
                  </a:lnTo>
                  <a:lnTo>
                    <a:pt x="485" y="329"/>
                  </a:lnTo>
                  <a:lnTo>
                    <a:pt x="488" y="334"/>
                  </a:lnTo>
                  <a:lnTo>
                    <a:pt x="495" y="341"/>
                  </a:lnTo>
                  <a:lnTo>
                    <a:pt x="497" y="345"/>
                  </a:lnTo>
                  <a:lnTo>
                    <a:pt x="497" y="360"/>
                  </a:lnTo>
                  <a:lnTo>
                    <a:pt x="497" y="383"/>
                  </a:lnTo>
                  <a:lnTo>
                    <a:pt x="500" y="398"/>
                  </a:lnTo>
                  <a:lnTo>
                    <a:pt x="509" y="409"/>
                  </a:lnTo>
                  <a:lnTo>
                    <a:pt x="511" y="414"/>
                  </a:lnTo>
                  <a:lnTo>
                    <a:pt x="514" y="416"/>
                  </a:lnTo>
                  <a:lnTo>
                    <a:pt x="526" y="416"/>
                  </a:lnTo>
                  <a:lnTo>
                    <a:pt x="530" y="416"/>
                  </a:lnTo>
                  <a:lnTo>
                    <a:pt x="526" y="421"/>
                  </a:lnTo>
                  <a:lnTo>
                    <a:pt x="523" y="426"/>
                  </a:lnTo>
                  <a:lnTo>
                    <a:pt x="521" y="428"/>
                  </a:lnTo>
                  <a:lnTo>
                    <a:pt x="526" y="445"/>
                  </a:lnTo>
                  <a:lnTo>
                    <a:pt x="526" y="447"/>
                  </a:lnTo>
                  <a:lnTo>
                    <a:pt x="516" y="459"/>
                  </a:lnTo>
                  <a:lnTo>
                    <a:pt x="516" y="461"/>
                  </a:lnTo>
                  <a:lnTo>
                    <a:pt x="514" y="464"/>
                  </a:lnTo>
                  <a:lnTo>
                    <a:pt x="511" y="469"/>
                  </a:lnTo>
                  <a:lnTo>
                    <a:pt x="509" y="478"/>
                  </a:lnTo>
                  <a:lnTo>
                    <a:pt x="504" y="471"/>
                  </a:lnTo>
                  <a:lnTo>
                    <a:pt x="495" y="471"/>
                  </a:lnTo>
                  <a:lnTo>
                    <a:pt x="488" y="476"/>
                  </a:lnTo>
                  <a:lnTo>
                    <a:pt x="481" y="480"/>
                  </a:lnTo>
                  <a:lnTo>
                    <a:pt x="471" y="473"/>
                  </a:lnTo>
                  <a:lnTo>
                    <a:pt x="466" y="471"/>
                  </a:lnTo>
                  <a:lnTo>
                    <a:pt x="459" y="471"/>
                  </a:lnTo>
                  <a:lnTo>
                    <a:pt x="452" y="473"/>
                  </a:lnTo>
                  <a:lnTo>
                    <a:pt x="422" y="487"/>
                  </a:lnTo>
                  <a:lnTo>
                    <a:pt x="391" y="511"/>
                  </a:lnTo>
                  <a:lnTo>
                    <a:pt x="379" y="525"/>
                  </a:lnTo>
                  <a:lnTo>
                    <a:pt x="377" y="528"/>
                  </a:lnTo>
                  <a:lnTo>
                    <a:pt x="374" y="532"/>
                  </a:lnTo>
                  <a:lnTo>
                    <a:pt x="358" y="547"/>
                  </a:lnTo>
                  <a:lnTo>
                    <a:pt x="351" y="556"/>
                  </a:lnTo>
                  <a:lnTo>
                    <a:pt x="348" y="561"/>
                  </a:lnTo>
                  <a:lnTo>
                    <a:pt x="348" y="575"/>
                  </a:lnTo>
                  <a:lnTo>
                    <a:pt x="343" y="582"/>
                  </a:lnTo>
                  <a:lnTo>
                    <a:pt x="341" y="589"/>
                  </a:lnTo>
                  <a:lnTo>
                    <a:pt x="343" y="599"/>
                  </a:lnTo>
                  <a:lnTo>
                    <a:pt x="346" y="601"/>
                  </a:lnTo>
                  <a:lnTo>
                    <a:pt x="348" y="603"/>
                  </a:lnTo>
                  <a:lnTo>
                    <a:pt x="348" y="610"/>
                  </a:lnTo>
                  <a:lnTo>
                    <a:pt x="358" y="641"/>
                  </a:lnTo>
                  <a:lnTo>
                    <a:pt x="369" y="667"/>
                  </a:lnTo>
                  <a:lnTo>
                    <a:pt x="372" y="679"/>
                  </a:lnTo>
                  <a:lnTo>
                    <a:pt x="374" y="710"/>
                  </a:lnTo>
                  <a:lnTo>
                    <a:pt x="372" y="717"/>
                  </a:lnTo>
                  <a:lnTo>
                    <a:pt x="362" y="731"/>
                  </a:lnTo>
                  <a:lnTo>
                    <a:pt x="358" y="738"/>
                  </a:lnTo>
                  <a:lnTo>
                    <a:pt x="355" y="741"/>
                  </a:lnTo>
                  <a:lnTo>
                    <a:pt x="348" y="750"/>
                  </a:lnTo>
                  <a:lnTo>
                    <a:pt x="339" y="757"/>
                  </a:lnTo>
                  <a:lnTo>
                    <a:pt x="310" y="778"/>
                  </a:lnTo>
                  <a:lnTo>
                    <a:pt x="301" y="790"/>
                  </a:lnTo>
                  <a:lnTo>
                    <a:pt x="268" y="857"/>
                  </a:lnTo>
                  <a:lnTo>
                    <a:pt x="263" y="871"/>
                  </a:lnTo>
                  <a:lnTo>
                    <a:pt x="263" y="916"/>
                  </a:lnTo>
                  <a:lnTo>
                    <a:pt x="261" y="930"/>
                  </a:lnTo>
                  <a:lnTo>
                    <a:pt x="258" y="937"/>
                  </a:lnTo>
                  <a:lnTo>
                    <a:pt x="256" y="942"/>
                  </a:lnTo>
                  <a:lnTo>
                    <a:pt x="251" y="946"/>
                  </a:lnTo>
                  <a:lnTo>
                    <a:pt x="249" y="951"/>
                  </a:lnTo>
                  <a:lnTo>
                    <a:pt x="232" y="958"/>
                  </a:lnTo>
                  <a:lnTo>
                    <a:pt x="228" y="961"/>
                  </a:lnTo>
                  <a:lnTo>
                    <a:pt x="209" y="958"/>
                  </a:lnTo>
                  <a:lnTo>
                    <a:pt x="149" y="975"/>
                  </a:lnTo>
                  <a:lnTo>
                    <a:pt x="142" y="972"/>
                  </a:lnTo>
                  <a:lnTo>
                    <a:pt x="133" y="970"/>
                  </a:lnTo>
                  <a:lnTo>
                    <a:pt x="123" y="968"/>
                  </a:lnTo>
                  <a:lnTo>
                    <a:pt x="116" y="963"/>
                  </a:lnTo>
                  <a:lnTo>
                    <a:pt x="109" y="956"/>
                  </a:lnTo>
                  <a:lnTo>
                    <a:pt x="105" y="946"/>
                  </a:lnTo>
                  <a:lnTo>
                    <a:pt x="102" y="939"/>
                  </a:lnTo>
                  <a:lnTo>
                    <a:pt x="109" y="932"/>
                  </a:lnTo>
                  <a:lnTo>
                    <a:pt x="97" y="920"/>
                  </a:lnTo>
                  <a:lnTo>
                    <a:pt x="95" y="913"/>
                  </a:lnTo>
                  <a:lnTo>
                    <a:pt x="95" y="906"/>
                  </a:lnTo>
                  <a:lnTo>
                    <a:pt x="97" y="897"/>
                  </a:lnTo>
                  <a:lnTo>
                    <a:pt x="97" y="890"/>
                  </a:lnTo>
                  <a:lnTo>
                    <a:pt x="97" y="883"/>
                  </a:lnTo>
                  <a:lnTo>
                    <a:pt x="93" y="873"/>
                  </a:lnTo>
                  <a:lnTo>
                    <a:pt x="88" y="859"/>
                  </a:lnTo>
                  <a:lnTo>
                    <a:pt x="93" y="849"/>
                  </a:lnTo>
                  <a:lnTo>
                    <a:pt x="102" y="842"/>
                  </a:lnTo>
                  <a:lnTo>
                    <a:pt x="133" y="826"/>
                  </a:lnTo>
                  <a:lnTo>
                    <a:pt x="135" y="821"/>
                  </a:lnTo>
                  <a:lnTo>
                    <a:pt x="135" y="819"/>
                  </a:lnTo>
                  <a:lnTo>
                    <a:pt x="140" y="814"/>
                  </a:lnTo>
                  <a:lnTo>
                    <a:pt x="140" y="812"/>
                  </a:lnTo>
                  <a:lnTo>
                    <a:pt x="142" y="793"/>
                  </a:lnTo>
                  <a:lnTo>
                    <a:pt x="157" y="736"/>
                  </a:lnTo>
                  <a:lnTo>
                    <a:pt x="159" y="717"/>
                  </a:lnTo>
                  <a:lnTo>
                    <a:pt x="154" y="703"/>
                  </a:lnTo>
                  <a:lnTo>
                    <a:pt x="147" y="693"/>
                  </a:lnTo>
                  <a:lnTo>
                    <a:pt x="138" y="684"/>
                  </a:lnTo>
                  <a:lnTo>
                    <a:pt x="135" y="681"/>
                  </a:lnTo>
                  <a:lnTo>
                    <a:pt x="131" y="681"/>
                  </a:lnTo>
                  <a:lnTo>
                    <a:pt x="128" y="679"/>
                  </a:lnTo>
                  <a:lnTo>
                    <a:pt x="123" y="677"/>
                  </a:lnTo>
                  <a:lnTo>
                    <a:pt x="123" y="674"/>
                  </a:lnTo>
                  <a:lnTo>
                    <a:pt x="123" y="672"/>
                  </a:lnTo>
                  <a:lnTo>
                    <a:pt x="123" y="667"/>
                  </a:lnTo>
                  <a:lnTo>
                    <a:pt x="123" y="663"/>
                  </a:lnTo>
                  <a:lnTo>
                    <a:pt x="131" y="658"/>
                  </a:lnTo>
                  <a:lnTo>
                    <a:pt x="142" y="651"/>
                  </a:lnTo>
                  <a:lnTo>
                    <a:pt x="159" y="632"/>
                  </a:lnTo>
                  <a:lnTo>
                    <a:pt x="171" y="625"/>
                  </a:lnTo>
                  <a:lnTo>
                    <a:pt x="185" y="620"/>
                  </a:lnTo>
                  <a:lnTo>
                    <a:pt x="209" y="618"/>
                  </a:lnTo>
                  <a:lnTo>
                    <a:pt x="213" y="615"/>
                  </a:lnTo>
                  <a:lnTo>
                    <a:pt x="218" y="613"/>
                  </a:lnTo>
                  <a:lnTo>
                    <a:pt x="225" y="603"/>
                  </a:lnTo>
                  <a:lnTo>
                    <a:pt x="230" y="589"/>
                  </a:lnTo>
                  <a:lnTo>
                    <a:pt x="232" y="573"/>
                  </a:lnTo>
                  <a:lnTo>
                    <a:pt x="230" y="556"/>
                  </a:lnTo>
                  <a:lnTo>
                    <a:pt x="228" y="537"/>
                  </a:lnTo>
                  <a:lnTo>
                    <a:pt x="223" y="530"/>
                  </a:lnTo>
                  <a:lnTo>
                    <a:pt x="218" y="523"/>
                  </a:lnTo>
                  <a:lnTo>
                    <a:pt x="213" y="521"/>
                  </a:lnTo>
                  <a:lnTo>
                    <a:pt x="206" y="521"/>
                  </a:lnTo>
                  <a:lnTo>
                    <a:pt x="202" y="518"/>
                  </a:lnTo>
                  <a:lnTo>
                    <a:pt x="194" y="511"/>
                  </a:lnTo>
                  <a:lnTo>
                    <a:pt x="171" y="473"/>
                  </a:lnTo>
                  <a:lnTo>
                    <a:pt x="140" y="376"/>
                  </a:lnTo>
                  <a:lnTo>
                    <a:pt x="133" y="364"/>
                  </a:lnTo>
                  <a:lnTo>
                    <a:pt x="97" y="308"/>
                  </a:lnTo>
                  <a:lnTo>
                    <a:pt x="90" y="301"/>
                  </a:lnTo>
                  <a:lnTo>
                    <a:pt x="78" y="291"/>
                  </a:lnTo>
                  <a:lnTo>
                    <a:pt x="69" y="286"/>
                  </a:lnTo>
                  <a:lnTo>
                    <a:pt x="64" y="282"/>
                  </a:lnTo>
                  <a:lnTo>
                    <a:pt x="62" y="272"/>
                  </a:lnTo>
                  <a:lnTo>
                    <a:pt x="55" y="263"/>
                  </a:lnTo>
                  <a:lnTo>
                    <a:pt x="48" y="248"/>
                  </a:lnTo>
                  <a:lnTo>
                    <a:pt x="41" y="239"/>
                  </a:lnTo>
                  <a:lnTo>
                    <a:pt x="36" y="232"/>
                  </a:lnTo>
                  <a:lnTo>
                    <a:pt x="22" y="189"/>
                  </a:lnTo>
                  <a:lnTo>
                    <a:pt x="24" y="194"/>
                  </a:lnTo>
                  <a:lnTo>
                    <a:pt x="19" y="185"/>
                  </a:lnTo>
                  <a:lnTo>
                    <a:pt x="17" y="182"/>
                  </a:lnTo>
                  <a:lnTo>
                    <a:pt x="15" y="180"/>
                  </a:lnTo>
                  <a:lnTo>
                    <a:pt x="15" y="178"/>
                  </a:lnTo>
                  <a:lnTo>
                    <a:pt x="15" y="161"/>
                  </a:lnTo>
                  <a:lnTo>
                    <a:pt x="12" y="151"/>
                  </a:lnTo>
                  <a:lnTo>
                    <a:pt x="0" y="140"/>
                  </a:lnTo>
                  <a:lnTo>
                    <a:pt x="0" y="137"/>
                  </a:lnTo>
                  <a:lnTo>
                    <a:pt x="3" y="130"/>
                  </a:lnTo>
                  <a:lnTo>
                    <a:pt x="5" y="125"/>
                  </a:lnTo>
                  <a:lnTo>
                    <a:pt x="5" y="123"/>
                  </a:lnTo>
                  <a:lnTo>
                    <a:pt x="5" y="121"/>
                  </a:lnTo>
                  <a:lnTo>
                    <a:pt x="24" y="99"/>
                  </a:lnTo>
                  <a:lnTo>
                    <a:pt x="26" y="99"/>
                  </a:lnTo>
                  <a:lnTo>
                    <a:pt x="29" y="97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8" y="102"/>
                  </a:lnTo>
                  <a:lnTo>
                    <a:pt x="41" y="102"/>
                  </a:lnTo>
                  <a:lnTo>
                    <a:pt x="41" y="104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5" y="102"/>
                  </a:lnTo>
                  <a:lnTo>
                    <a:pt x="48" y="97"/>
                  </a:lnTo>
                  <a:lnTo>
                    <a:pt x="48" y="97"/>
                  </a:lnTo>
                  <a:lnTo>
                    <a:pt x="48" y="95"/>
                  </a:lnTo>
                  <a:lnTo>
                    <a:pt x="55" y="95"/>
                  </a:lnTo>
                  <a:lnTo>
                    <a:pt x="57" y="92"/>
                  </a:lnTo>
                  <a:lnTo>
                    <a:pt x="60" y="92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7" y="99"/>
                  </a:lnTo>
                  <a:lnTo>
                    <a:pt x="67" y="102"/>
                  </a:lnTo>
                  <a:lnTo>
                    <a:pt x="69" y="102"/>
                  </a:lnTo>
                  <a:lnTo>
                    <a:pt x="69" y="102"/>
                  </a:lnTo>
                  <a:lnTo>
                    <a:pt x="74" y="102"/>
                  </a:lnTo>
                  <a:lnTo>
                    <a:pt x="74" y="102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3" y="97"/>
                  </a:lnTo>
                  <a:lnTo>
                    <a:pt x="83" y="97"/>
                  </a:lnTo>
                  <a:lnTo>
                    <a:pt x="81" y="104"/>
                  </a:lnTo>
                  <a:lnTo>
                    <a:pt x="81" y="107"/>
                  </a:lnTo>
                  <a:lnTo>
                    <a:pt x="81" y="109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3" y="114"/>
                  </a:lnTo>
                  <a:lnTo>
                    <a:pt x="90" y="118"/>
                  </a:lnTo>
                  <a:lnTo>
                    <a:pt x="95" y="123"/>
                  </a:lnTo>
                  <a:lnTo>
                    <a:pt x="97" y="125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5" y="125"/>
                  </a:lnTo>
                  <a:lnTo>
                    <a:pt x="107" y="125"/>
                  </a:lnTo>
                  <a:lnTo>
                    <a:pt x="109" y="125"/>
                  </a:lnTo>
                  <a:lnTo>
                    <a:pt x="142" y="116"/>
                  </a:lnTo>
                  <a:lnTo>
                    <a:pt x="145" y="114"/>
                  </a:lnTo>
                  <a:lnTo>
                    <a:pt x="145" y="111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52" y="104"/>
                  </a:lnTo>
                  <a:lnTo>
                    <a:pt x="159" y="99"/>
                  </a:lnTo>
                  <a:lnTo>
                    <a:pt x="161" y="99"/>
                  </a:lnTo>
                  <a:lnTo>
                    <a:pt x="173" y="99"/>
                  </a:lnTo>
                  <a:lnTo>
                    <a:pt x="175" y="99"/>
                  </a:lnTo>
                  <a:lnTo>
                    <a:pt x="178" y="99"/>
                  </a:lnTo>
                  <a:lnTo>
                    <a:pt x="180" y="102"/>
                  </a:lnTo>
                  <a:lnTo>
                    <a:pt x="180" y="102"/>
                  </a:lnTo>
                  <a:lnTo>
                    <a:pt x="183" y="104"/>
                  </a:lnTo>
                  <a:lnTo>
                    <a:pt x="185" y="104"/>
                  </a:lnTo>
                  <a:lnTo>
                    <a:pt x="185" y="104"/>
                  </a:lnTo>
                  <a:lnTo>
                    <a:pt x="185" y="107"/>
                  </a:lnTo>
                  <a:lnTo>
                    <a:pt x="187" y="109"/>
                  </a:lnTo>
                  <a:lnTo>
                    <a:pt x="190" y="109"/>
                  </a:lnTo>
                  <a:lnTo>
                    <a:pt x="190" y="109"/>
                  </a:lnTo>
                  <a:lnTo>
                    <a:pt x="192" y="111"/>
                  </a:lnTo>
                  <a:lnTo>
                    <a:pt x="194" y="109"/>
                  </a:lnTo>
                  <a:lnTo>
                    <a:pt x="194" y="109"/>
                  </a:lnTo>
                  <a:lnTo>
                    <a:pt x="194" y="107"/>
                  </a:lnTo>
                  <a:lnTo>
                    <a:pt x="192" y="102"/>
                  </a:lnTo>
                  <a:lnTo>
                    <a:pt x="192" y="99"/>
                  </a:lnTo>
                  <a:lnTo>
                    <a:pt x="192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87" y="95"/>
                  </a:lnTo>
                  <a:lnTo>
                    <a:pt x="187" y="95"/>
                  </a:lnTo>
                  <a:lnTo>
                    <a:pt x="190" y="92"/>
                  </a:lnTo>
                  <a:lnTo>
                    <a:pt x="190" y="90"/>
                  </a:lnTo>
                  <a:lnTo>
                    <a:pt x="190" y="90"/>
                  </a:lnTo>
                  <a:lnTo>
                    <a:pt x="190" y="88"/>
                  </a:lnTo>
                  <a:lnTo>
                    <a:pt x="190" y="83"/>
                  </a:lnTo>
                  <a:lnTo>
                    <a:pt x="190" y="78"/>
                  </a:lnTo>
                  <a:lnTo>
                    <a:pt x="192" y="78"/>
                  </a:lnTo>
                  <a:lnTo>
                    <a:pt x="192" y="76"/>
                  </a:lnTo>
                  <a:lnTo>
                    <a:pt x="194" y="73"/>
                  </a:lnTo>
                  <a:lnTo>
                    <a:pt x="194" y="71"/>
                  </a:lnTo>
                  <a:lnTo>
                    <a:pt x="194" y="71"/>
                  </a:lnTo>
                  <a:lnTo>
                    <a:pt x="197" y="66"/>
                  </a:lnTo>
                  <a:lnTo>
                    <a:pt x="197" y="66"/>
                  </a:lnTo>
                  <a:lnTo>
                    <a:pt x="197" y="64"/>
                  </a:lnTo>
                  <a:lnTo>
                    <a:pt x="194" y="64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4" y="52"/>
                  </a:lnTo>
                  <a:lnTo>
                    <a:pt x="194" y="50"/>
                  </a:lnTo>
                  <a:lnTo>
                    <a:pt x="194" y="45"/>
                  </a:lnTo>
                  <a:lnTo>
                    <a:pt x="197" y="36"/>
                  </a:lnTo>
                  <a:lnTo>
                    <a:pt x="197" y="31"/>
                  </a:lnTo>
                  <a:lnTo>
                    <a:pt x="194" y="21"/>
                  </a:lnTo>
                  <a:lnTo>
                    <a:pt x="194" y="17"/>
                  </a:lnTo>
                  <a:lnTo>
                    <a:pt x="194" y="14"/>
                  </a:lnTo>
                  <a:lnTo>
                    <a:pt x="194" y="12"/>
                  </a:lnTo>
                  <a:lnTo>
                    <a:pt x="194" y="12"/>
                  </a:lnTo>
                  <a:lnTo>
                    <a:pt x="197" y="10"/>
                  </a:lnTo>
                  <a:lnTo>
                    <a:pt x="197" y="7"/>
                  </a:lnTo>
                  <a:lnTo>
                    <a:pt x="199" y="7"/>
                  </a:lnTo>
                  <a:lnTo>
                    <a:pt x="199" y="7"/>
                  </a:lnTo>
                  <a:lnTo>
                    <a:pt x="202" y="10"/>
                  </a:lnTo>
                  <a:lnTo>
                    <a:pt x="204" y="10"/>
                  </a:lnTo>
                  <a:lnTo>
                    <a:pt x="204" y="12"/>
                  </a:lnTo>
                  <a:lnTo>
                    <a:pt x="206" y="12"/>
                  </a:lnTo>
                  <a:lnTo>
                    <a:pt x="216" y="7"/>
                  </a:lnTo>
                  <a:lnTo>
                    <a:pt x="228" y="7"/>
                  </a:lnTo>
                  <a:lnTo>
                    <a:pt x="228" y="7"/>
                  </a:lnTo>
                  <a:lnTo>
                    <a:pt x="230" y="7"/>
                  </a:lnTo>
                  <a:lnTo>
                    <a:pt x="239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25">
              <a:extLst>
                <a:ext uri="{FF2B5EF4-FFF2-40B4-BE49-F238E27FC236}">
                  <a16:creationId xmlns:a16="http://schemas.microsoft.com/office/drawing/2014/main" id="{172F0FDE-A704-44A8-9F13-2DEF1F88DB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53134" y="4028662"/>
              <a:ext cx="901532" cy="759339"/>
            </a:xfrm>
            <a:custGeom>
              <a:avLst/>
              <a:gdLst>
                <a:gd name="T0" fmla="*/ 679 w 710"/>
                <a:gd name="T1" fmla="*/ 549 h 598"/>
                <a:gd name="T2" fmla="*/ 686 w 710"/>
                <a:gd name="T3" fmla="*/ 511 h 598"/>
                <a:gd name="T4" fmla="*/ 700 w 710"/>
                <a:gd name="T5" fmla="*/ 492 h 598"/>
                <a:gd name="T6" fmla="*/ 710 w 710"/>
                <a:gd name="T7" fmla="*/ 468 h 598"/>
                <a:gd name="T8" fmla="*/ 698 w 710"/>
                <a:gd name="T9" fmla="*/ 454 h 598"/>
                <a:gd name="T10" fmla="*/ 681 w 710"/>
                <a:gd name="T11" fmla="*/ 442 h 598"/>
                <a:gd name="T12" fmla="*/ 667 w 710"/>
                <a:gd name="T13" fmla="*/ 416 h 598"/>
                <a:gd name="T14" fmla="*/ 643 w 710"/>
                <a:gd name="T15" fmla="*/ 407 h 598"/>
                <a:gd name="T16" fmla="*/ 624 w 710"/>
                <a:gd name="T17" fmla="*/ 395 h 598"/>
                <a:gd name="T18" fmla="*/ 613 w 710"/>
                <a:gd name="T19" fmla="*/ 381 h 598"/>
                <a:gd name="T20" fmla="*/ 591 w 710"/>
                <a:gd name="T21" fmla="*/ 347 h 598"/>
                <a:gd name="T22" fmla="*/ 575 w 710"/>
                <a:gd name="T23" fmla="*/ 340 h 598"/>
                <a:gd name="T24" fmla="*/ 584 w 710"/>
                <a:gd name="T25" fmla="*/ 324 h 598"/>
                <a:gd name="T26" fmla="*/ 575 w 710"/>
                <a:gd name="T27" fmla="*/ 314 h 598"/>
                <a:gd name="T28" fmla="*/ 549 w 710"/>
                <a:gd name="T29" fmla="*/ 298 h 598"/>
                <a:gd name="T30" fmla="*/ 537 w 710"/>
                <a:gd name="T31" fmla="*/ 269 h 598"/>
                <a:gd name="T32" fmla="*/ 527 w 710"/>
                <a:gd name="T33" fmla="*/ 257 h 598"/>
                <a:gd name="T34" fmla="*/ 530 w 710"/>
                <a:gd name="T35" fmla="*/ 222 h 598"/>
                <a:gd name="T36" fmla="*/ 587 w 710"/>
                <a:gd name="T37" fmla="*/ 163 h 598"/>
                <a:gd name="T38" fmla="*/ 525 w 710"/>
                <a:gd name="T39" fmla="*/ 134 h 598"/>
                <a:gd name="T40" fmla="*/ 478 w 710"/>
                <a:gd name="T41" fmla="*/ 134 h 598"/>
                <a:gd name="T42" fmla="*/ 468 w 710"/>
                <a:gd name="T43" fmla="*/ 106 h 598"/>
                <a:gd name="T44" fmla="*/ 468 w 710"/>
                <a:gd name="T45" fmla="*/ 92 h 598"/>
                <a:gd name="T46" fmla="*/ 466 w 710"/>
                <a:gd name="T47" fmla="*/ 78 h 598"/>
                <a:gd name="T48" fmla="*/ 437 w 710"/>
                <a:gd name="T49" fmla="*/ 78 h 598"/>
                <a:gd name="T50" fmla="*/ 407 w 710"/>
                <a:gd name="T51" fmla="*/ 59 h 598"/>
                <a:gd name="T52" fmla="*/ 404 w 710"/>
                <a:gd name="T53" fmla="*/ 45 h 598"/>
                <a:gd name="T54" fmla="*/ 411 w 710"/>
                <a:gd name="T55" fmla="*/ 33 h 598"/>
                <a:gd name="T56" fmla="*/ 390 w 710"/>
                <a:gd name="T57" fmla="*/ 7 h 598"/>
                <a:gd name="T58" fmla="*/ 338 w 710"/>
                <a:gd name="T59" fmla="*/ 23 h 598"/>
                <a:gd name="T60" fmla="*/ 312 w 710"/>
                <a:gd name="T61" fmla="*/ 28 h 598"/>
                <a:gd name="T62" fmla="*/ 303 w 710"/>
                <a:gd name="T63" fmla="*/ 42 h 598"/>
                <a:gd name="T64" fmla="*/ 258 w 710"/>
                <a:gd name="T65" fmla="*/ 68 h 598"/>
                <a:gd name="T66" fmla="*/ 243 w 710"/>
                <a:gd name="T67" fmla="*/ 66 h 598"/>
                <a:gd name="T68" fmla="*/ 206 w 710"/>
                <a:gd name="T69" fmla="*/ 56 h 598"/>
                <a:gd name="T70" fmla="*/ 137 w 710"/>
                <a:gd name="T71" fmla="*/ 40 h 598"/>
                <a:gd name="T72" fmla="*/ 97 w 710"/>
                <a:gd name="T73" fmla="*/ 52 h 598"/>
                <a:gd name="T74" fmla="*/ 92 w 710"/>
                <a:gd name="T75" fmla="*/ 71 h 598"/>
                <a:gd name="T76" fmla="*/ 102 w 710"/>
                <a:gd name="T77" fmla="*/ 85 h 598"/>
                <a:gd name="T78" fmla="*/ 80 w 710"/>
                <a:gd name="T79" fmla="*/ 92 h 598"/>
                <a:gd name="T80" fmla="*/ 52 w 710"/>
                <a:gd name="T81" fmla="*/ 63 h 598"/>
                <a:gd name="T82" fmla="*/ 26 w 710"/>
                <a:gd name="T83" fmla="*/ 87 h 598"/>
                <a:gd name="T84" fmla="*/ 31 w 710"/>
                <a:gd name="T85" fmla="*/ 116 h 598"/>
                <a:gd name="T86" fmla="*/ 31 w 710"/>
                <a:gd name="T87" fmla="*/ 144 h 598"/>
                <a:gd name="T88" fmla="*/ 19 w 710"/>
                <a:gd name="T89" fmla="*/ 160 h 598"/>
                <a:gd name="T90" fmla="*/ 64 w 710"/>
                <a:gd name="T91" fmla="*/ 236 h 598"/>
                <a:gd name="T92" fmla="*/ 123 w 710"/>
                <a:gd name="T93" fmla="*/ 343 h 598"/>
                <a:gd name="T94" fmla="*/ 142 w 710"/>
                <a:gd name="T95" fmla="*/ 326 h 598"/>
                <a:gd name="T96" fmla="*/ 206 w 710"/>
                <a:gd name="T97" fmla="*/ 314 h 598"/>
                <a:gd name="T98" fmla="*/ 246 w 710"/>
                <a:gd name="T99" fmla="*/ 336 h 598"/>
                <a:gd name="T100" fmla="*/ 241 w 710"/>
                <a:gd name="T101" fmla="*/ 390 h 598"/>
                <a:gd name="T102" fmla="*/ 248 w 710"/>
                <a:gd name="T103" fmla="*/ 404 h 598"/>
                <a:gd name="T104" fmla="*/ 317 w 710"/>
                <a:gd name="T105" fmla="*/ 371 h 598"/>
                <a:gd name="T106" fmla="*/ 393 w 710"/>
                <a:gd name="T107" fmla="*/ 376 h 598"/>
                <a:gd name="T108" fmla="*/ 437 w 710"/>
                <a:gd name="T109" fmla="*/ 485 h 598"/>
                <a:gd name="T110" fmla="*/ 449 w 710"/>
                <a:gd name="T111" fmla="*/ 527 h 598"/>
                <a:gd name="T112" fmla="*/ 504 w 710"/>
                <a:gd name="T113" fmla="*/ 541 h 598"/>
                <a:gd name="T114" fmla="*/ 561 w 710"/>
                <a:gd name="T115" fmla="*/ 593 h 598"/>
                <a:gd name="T116" fmla="*/ 608 w 710"/>
                <a:gd name="T117" fmla="*/ 598 h 598"/>
                <a:gd name="T118" fmla="*/ 672 w 710"/>
                <a:gd name="T119" fmla="*/ 556 h 598"/>
                <a:gd name="T120" fmla="*/ 71 w 710"/>
                <a:gd name="T121" fmla="*/ 371 h 598"/>
                <a:gd name="T122" fmla="*/ 102 w 710"/>
                <a:gd name="T123" fmla="*/ 383 h 598"/>
                <a:gd name="T124" fmla="*/ 68 w 710"/>
                <a:gd name="T125" fmla="*/ 38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10" h="598">
                  <a:moveTo>
                    <a:pt x="684" y="553"/>
                  </a:moveTo>
                  <a:lnTo>
                    <a:pt x="684" y="553"/>
                  </a:lnTo>
                  <a:lnTo>
                    <a:pt x="684" y="553"/>
                  </a:lnTo>
                  <a:lnTo>
                    <a:pt x="681" y="553"/>
                  </a:lnTo>
                  <a:lnTo>
                    <a:pt x="681" y="553"/>
                  </a:lnTo>
                  <a:lnTo>
                    <a:pt x="679" y="551"/>
                  </a:lnTo>
                  <a:lnTo>
                    <a:pt x="679" y="549"/>
                  </a:lnTo>
                  <a:lnTo>
                    <a:pt x="679" y="549"/>
                  </a:lnTo>
                  <a:lnTo>
                    <a:pt x="681" y="544"/>
                  </a:lnTo>
                  <a:lnTo>
                    <a:pt x="684" y="541"/>
                  </a:lnTo>
                  <a:lnTo>
                    <a:pt x="688" y="525"/>
                  </a:lnTo>
                  <a:lnTo>
                    <a:pt x="688" y="520"/>
                  </a:lnTo>
                  <a:lnTo>
                    <a:pt x="688" y="520"/>
                  </a:lnTo>
                  <a:lnTo>
                    <a:pt x="688" y="515"/>
                  </a:lnTo>
                  <a:lnTo>
                    <a:pt x="686" y="511"/>
                  </a:lnTo>
                  <a:lnTo>
                    <a:pt x="686" y="511"/>
                  </a:lnTo>
                  <a:lnTo>
                    <a:pt x="688" y="508"/>
                  </a:lnTo>
                  <a:lnTo>
                    <a:pt x="691" y="506"/>
                  </a:lnTo>
                  <a:lnTo>
                    <a:pt x="693" y="501"/>
                  </a:lnTo>
                  <a:lnTo>
                    <a:pt x="693" y="499"/>
                  </a:lnTo>
                  <a:lnTo>
                    <a:pt x="693" y="496"/>
                  </a:lnTo>
                  <a:lnTo>
                    <a:pt x="695" y="496"/>
                  </a:lnTo>
                  <a:lnTo>
                    <a:pt x="698" y="494"/>
                  </a:lnTo>
                  <a:lnTo>
                    <a:pt x="700" y="492"/>
                  </a:lnTo>
                  <a:lnTo>
                    <a:pt x="700" y="492"/>
                  </a:lnTo>
                  <a:lnTo>
                    <a:pt x="702" y="487"/>
                  </a:lnTo>
                  <a:lnTo>
                    <a:pt x="705" y="485"/>
                  </a:lnTo>
                  <a:lnTo>
                    <a:pt x="707" y="482"/>
                  </a:lnTo>
                  <a:lnTo>
                    <a:pt x="710" y="475"/>
                  </a:lnTo>
                  <a:lnTo>
                    <a:pt x="710" y="470"/>
                  </a:lnTo>
                  <a:lnTo>
                    <a:pt x="710" y="470"/>
                  </a:lnTo>
                  <a:lnTo>
                    <a:pt x="710" y="468"/>
                  </a:lnTo>
                  <a:lnTo>
                    <a:pt x="710" y="466"/>
                  </a:lnTo>
                  <a:lnTo>
                    <a:pt x="710" y="463"/>
                  </a:lnTo>
                  <a:lnTo>
                    <a:pt x="707" y="463"/>
                  </a:lnTo>
                  <a:lnTo>
                    <a:pt x="707" y="461"/>
                  </a:lnTo>
                  <a:lnTo>
                    <a:pt x="705" y="459"/>
                  </a:lnTo>
                  <a:lnTo>
                    <a:pt x="700" y="456"/>
                  </a:lnTo>
                  <a:lnTo>
                    <a:pt x="700" y="456"/>
                  </a:lnTo>
                  <a:lnTo>
                    <a:pt x="698" y="454"/>
                  </a:lnTo>
                  <a:lnTo>
                    <a:pt x="695" y="452"/>
                  </a:lnTo>
                  <a:lnTo>
                    <a:pt x="695" y="452"/>
                  </a:lnTo>
                  <a:lnTo>
                    <a:pt x="693" y="452"/>
                  </a:lnTo>
                  <a:lnTo>
                    <a:pt x="686" y="447"/>
                  </a:lnTo>
                  <a:lnTo>
                    <a:pt x="684" y="447"/>
                  </a:lnTo>
                  <a:lnTo>
                    <a:pt x="684" y="447"/>
                  </a:lnTo>
                  <a:lnTo>
                    <a:pt x="681" y="444"/>
                  </a:lnTo>
                  <a:lnTo>
                    <a:pt x="681" y="442"/>
                  </a:lnTo>
                  <a:lnTo>
                    <a:pt x="679" y="440"/>
                  </a:lnTo>
                  <a:lnTo>
                    <a:pt x="676" y="423"/>
                  </a:lnTo>
                  <a:lnTo>
                    <a:pt x="674" y="423"/>
                  </a:lnTo>
                  <a:lnTo>
                    <a:pt x="672" y="421"/>
                  </a:lnTo>
                  <a:lnTo>
                    <a:pt x="672" y="418"/>
                  </a:lnTo>
                  <a:lnTo>
                    <a:pt x="669" y="418"/>
                  </a:lnTo>
                  <a:lnTo>
                    <a:pt x="667" y="418"/>
                  </a:lnTo>
                  <a:lnTo>
                    <a:pt x="667" y="416"/>
                  </a:lnTo>
                  <a:lnTo>
                    <a:pt x="662" y="418"/>
                  </a:lnTo>
                  <a:lnTo>
                    <a:pt x="660" y="418"/>
                  </a:lnTo>
                  <a:lnTo>
                    <a:pt x="660" y="418"/>
                  </a:lnTo>
                  <a:lnTo>
                    <a:pt x="658" y="416"/>
                  </a:lnTo>
                  <a:lnTo>
                    <a:pt x="650" y="411"/>
                  </a:lnTo>
                  <a:lnTo>
                    <a:pt x="648" y="409"/>
                  </a:lnTo>
                  <a:lnTo>
                    <a:pt x="646" y="407"/>
                  </a:lnTo>
                  <a:lnTo>
                    <a:pt x="643" y="407"/>
                  </a:lnTo>
                  <a:lnTo>
                    <a:pt x="641" y="407"/>
                  </a:lnTo>
                  <a:lnTo>
                    <a:pt x="641" y="407"/>
                  </a:lnTo>
                  <a:lnTo>
                    <a:pt x="639" y="407"/>
                  </a:lnTo>
                  <a:lnTo>
                    <a:pt x="636" y="407"/>
                  </a:lnTo>
                  <a:lnTo>
                    <a:pt x="634" y="404"/>
                  </a:lnTo>
                  <a:lnTo>
                    <a:pt x="629" y="397"/>
                  </a:lnTo>
                  <a:lnTo>
                    <a:pt x="627" y="395"/>
                  </a:lnTo>
                  <a:lnTo>
                    <a:pt x="624" y="395"/>
                  </a:lnTo>
                  <a:lnTo>
                    <a:pt x="622" y="392"/>
                  </a:lnTo>
                  <a:lnTo>
                    <a:pt x="620" y="390"/>
                  </a:lnTo>
                  <a:lnTo>
                    <a:pt x="617" y="390"/>
                  </a:lnTo>
                  <a:lnTo>
                    <a:pt x="615" y="388"/>
                  </a:lnTo>
                  <a:lnTo>
                    <a:pt x="613" y="385"/>
                  </a:lnTo>
                  <a:lnTo>
                    <a:pt x="613" y="385"/>
                  </a:lnTo>
                  <a:lnTo>
                    <a:pt x="613" y="383"/>
                  </a:lnTo>
                  <a:lnTo>
                    <a:pt x="613" y="381"/>
                  </a:lnTo>
                  <a:lnTo>
                    <a:pt x="613" y="381"/>
                  </a:lnTo>
                  <a:lnTo>
                    <a:pt x="613" y="376"/>
                  </a:lnTo>
                  <a:lnTo>
                    <a:pt x="613" y="373"/>
                  </a:lnTo>
                  <a:lnTo>
                    <a:pt x="613" y="371"/>
                  </a:lnTo>
                  <a:lnTo>
                    <a:pt x="601" y="355"/>
                  </a:lnTo>
                  <a:lnTo>
                    <a:pt x="601" y="352"/>
                  </a:lnTo>
                  <a:lnTo>
                    <a:pt x="596" y="350"/>
                  </a:lnTo>
                  <a:lnTo>
                    <a:pt x="591" y="347"/>
                  </a:lnTo>
                  <a:lnTo>
                    <a:pt x="589" y="345"/>
                  </a:lnTo>
                  <a:lnTo>
                    <a:pt x="587" y="345"/>
                  </a:lnTo>
                  <a:lnTo>
                    <a:pt x="582" y="345"/>
                  </a:lnTo>
                  <a:lnTo>
                    <a:pt x="579" y="345"/>
                  </a:lnTo>
                  <a:lnTo>
                    <a:pt x="577" y="343"/>
                  </a:lnTo>
                  <a:lnTo>
                    <a:pt x="577" y="343"/>
                  </a:lnTo>
                  <a:lnTo>
                    <a:pt x="575" y="340"/>
                  </a:lnTo>
                  <a:lnTo>
                    <a:pt x="575" y="340"/>
                  </a:lnTo>
                  <a:lnTo>
                    <a:pt x="575" y="338"/>
                  </a:lnTo>
                  <a:lnTo>
                    <a:pt x="577" y="338"/>
                  </a:lnTo>
                  <a:lnTo>
                    <a:pt x="577" y="336"/>
                  </a:lnTo>
                  <a:lnTo>
                    <a:pt x="579" y="328"/>
                  </a:lnTo>
                  <a:lnTo>
                    <a:pt x="579" y="328"/>
                  </a:lnTo>
                  <a:lnTo>
                    <a:pt x="582" y="326"/>
                  </a:lnTo>
                  <a:lnTo>
                    <a:pt x="584" y="324"/>
                  </a:lnTo>
                  <a:lnTo>
                    <a:pt x="584" y="324"/>
                  </a:lnTo>
                  <a:lnTo>
                    <a:pt x="587" y="321"/>
                  </a:lnTo>
                  <a:lnTo>
                    <a:pt x="587" y="319"/>
                  </a:lnTo>
                  <a:lnTo>
                    <a:pt x="587" y="317"/>
                  </a:lnTo>
                  <a:lnTo>
                    <a:pt x="584" y="314"/>
                  </a:lnTo>
                  <a:lnTo>
                    <a:pt x="584" y="314"/>
                  </a:lnTo>
                  <a:lnTo>
                    <a:pt x="582" y="314"/>
                  </a:lnTo>
                  <a:lnTo>
                    <a:pt x="577" y="314"/>
                  </a:lnTo>
                  <a:lnTo>
                    <a:pt x="575" y="314"/>
                  </a:lnTo>
                  <a:lnTo>
                    <a:pt x="568" y="312"/>
                  </a:lnTo>
                  <a:lnTo>
                    <a:pt x="565" y="310"/>
                  </a:lnTo>
                  <a:lnTo>
                    <a:pt x="561" y="305"/>
                  </a:lnTo>
                  <a:lnTo>
                    <a:pt x="561" y="305"/>
                  </a:lnTo>
                  <a:lnTo>
                    <a:pt x="558" y="302"/>
                  </a:lnTo>
                  <a:lnTo>
                    <a:pt x="553" y="300"/>
                  </a:lnTo>
                  <a:lnTo>
                    <a:pt x="551" y="300"/>
                  </a:lnTo>
                  <a:lnTo>
                    <a:pt x="549" y="298"/>
                  </a:lnTo>
                  <a:lnTo>
                    <a:pt x="546" y="293"/>
                  </a:lnTo>
                  <a:lnTo>
                    <a:pt x="544" y="291"/>
                  </a:lnTo>
                  <a:lnTo>
                    <a:pt x="544" y="288"/>
                  </a:lnTo>
                  <a:lnTo>
                    <a:pt x="542" y="276"/>
                  </a:lnTo>
                  <a:lnTo>
                    <a:pt x="539" y="274"/>
                  </a:lnTo>
                  <a:lnTo>
                    <a:pt x="539" y="272"/>
                  </a:lnTo>
                  <a:lnTo>
                    <a:pt x="539" y="269"/>
                  </a:lnTo>
                  <a:lnTo>
                    <a:pt x="537" y="269"/>
                  </a:lnTo>
                  <a:lnTo>
                    <a:pt x="537" y="267"/>
                  </a:lnTo>
                  <a:lnTo>
                    <a:pt x="537" y="267"/>
                  </a:lnTo>
                  <a:lnTo>
                    <a:pt x="537" y="265"/>
                  </a:lnTo>
                  <a:lnTo>
                    <a:pt x="537" y="265"/>
                  </a:lnTo>
                  <a:lnTo>
                    <a:pt x="537" y="262"/>
                  </a:lnTo>
                  <a:lnTo>
                    <a:pt x="534" y="262"/>
                  </a:lnTo>
                  <a:lnTo>
                    <a:pt x="534" y="262"/>
                  </a:lnTo>
                  <a:lnTo>
                    <a:pt x="527" y="257"/>
                  </a:lnTo>
                  <a:lnTo>
                    <a:pt x="532" y="250"/>
                  </a:lnTo>
                  <a:lnTo>
                    <a:pt x="532" y="246"/>
                  </a:lnTo>
                  <a:lnTo>
                    <a:pt x="532" y="246"/>
                  </a:lnTo>
                  <a:lnTo>
                    <a:pt x="532" y="241"/>
                  </a:lnTo>
                  <a:lnTo>
                    <a:pt x="530" y="239"/>
                  </a:lnTo>
                  <a:lnTo>
                    <a:pt x="530" y="234"/>
                  </a:lnTo>
                  <a:lnTo>
                    <a:pt x="530" y="229"/>
                  </a:lnTo>
                  <a:lnTo>
                    <a:pt x="530" y="222"/>
                  </a:lnTo>
                  <a:lnTo>
                    <a:pt x="561" y="215"/>
                  </a:lnTo>
                  <a:lnTo>
                    <a:pt x="568" y="213"/>
                  </a:lnTo>
                  <a:lnTo>
                    <a:pt x="577" y="203"/>
                  </a:lnTo>
                  <a:lnTo>
                    <a:pt x="579" y="198"/>
                  </a:lnTo>
                  <a:lnTo>
                    <a:pt x="582" y="194"/>
                  </a:lnTo>
                  <a:lnTo>
                    <a:pt x="582" y="182"/>
                  </a:lnTo>
                  <a:lnTo>
                    <a:pt x="587" y="170"/>
                  </a:lnTo>
                  <a:lnTo>
                    <a:pt x="587" y="163"/>
                  </a:lnTo>
                  <a:lnTo>
                    <a:pt x="584" y="156"/>
                  </a:lnTo>
                  <a:lnTo>
                    <a:pt x="577" y="146"/>
                  </a:lnTo>
                  <a:lnTo>
                    <a:pt x="544" y="142"/>
                  </a:lnTo>
                  <a:lnTo>
                    <a:pt x="532" y="137"/>
                  </a:lnTo>
                  <a:lnTo>
                    <a:pt x="527" y="134"/>
                  </a:lnTo>
                  <a:lnTo>
                    <a:pt x="527" y="134"/>
                  </a:lnTo>
                  <a:lnTo>
                    <a:pt x="525" y="134"/>
                  </a:lnTo>
                  <a:lnTo>
                    <a:pt x="525" y="134"/>
                  </a:lnTo>
                  <a:lnTo>
                    <a:pt x="523" y="137"/>
                  </a:lnTo>
                  <a:lnTo>
                    <a:pt x="520" y="139"/>
                  </a:lnTo>
                  <a:lnTo>
                    <a:pt x="490" y="142"/>
                  </a:lnTo>
                  <a:lnTo>
                    <a:pt x="487" y="142"/>
                  </a:lnTo>
                  <a:lnTo>
                    <a:pt x="485" y="142"/>
                  </a:lnTo>
                  <a:lnTo>
                    <a:pt x="480" y="137"/>
                  </a:lnTo>
                  <a:lnTo>
                    <a:pt x="480" y="134"/>
                  </a:lnTo>
                  <a:lnTo>
                    <a:pt x="478" y="134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59" y="125"/>
                  </a:lnTo>
                  <a:lnTo>
                    <a:pt x="459" y="125"/>
                  </a:lnTo>
                  <a:lnTo>
                    <a:pt x="459" y="123"/>
                  </a:lnTo>
                  <a:lnTo>
                    <a:pt x="459" y="120"/>
                  </a:lnTo>
                  <a:lnTo>
                    <a:pt x="466" y="108"/>
                  </a:lnTo>
                  <a:lnTo>
                    <a:pt x="468" y="106"/>
                  </a:lnTo>
                  <a:lnTo>
                    <a:pt x="471" y="104"/>
                  </a:lnTo>
                  <a:lnTo>
                    <a:pt x="471" y="101"/>
                  </a:lnTo>
                  <a:lnTo>
                    <a:pt x="471" y="101"/>
                  </a:lnTo>
                  <a:lnTo>
                    <a:pt x="471" y="99"/>
                  </a:lnTo>
                  <a:lnTo>
                    <a:pt x="471" y="97"/>
                  </a:lnTo>
                  <a:lnTo>
                    <a:pt x="468" y="94"/>
                  </a:lnTo>
                  <a:lnTo>
                    <a:pt x="468" y="94"/>
                  </a:lnTo>
                  <a:lnTo>
                    <a:pt x="468" y="92"/>
                  </a:lnTo>
                  <a:lnTo>
                    <a:pt x="471" y="90"/>
                  </a:lnTo>
                  <a:lnTo>
                    <a:pt x="473" y="90"/>
                  </a:lnTo>
                  <a:lnTo>
                    <a:pt x="473" y="87"/>
                  </a:lnTo>
                  <a:lnTo>
                    <a:pt x="473" y="87"/>
                  </a:lnTo>
                  <a:lnTo>
                    <a:pt x="473" y="85"/>
                  </a:lnTo>
                  <a:lnTo>
                    <a:pt x="471" y="82"/>
                  </a:lnTo>
                  <a:lnTo>
                    <a:pt x="468" y="80"/>
                  </a:lnTo>
                  <a:lnTo>
                    <a:pt x="466" y="78"/>
                  </a:lnTo>
                  <a:lnTo>
                    <a:pt x="464" y="78"/>
                  </a:lnTo>
                  <a:lnTo>
                    <a:pt x="456" y="75"/>
                  </a:lnTo>
                  <a:lnTo>
                    <a:pt x="445" y="71"/>
                  </a:lnTo>
                  <a:lnTo>
                    <a:pt x="442" y="71"/>
                  </a:lnTo>
                  <a:lnTo>
                    <a:pt x="442" y="71"/>
                  </a:lnTo>
                  <a:lnTo>
                    <a:pt x="440" y="75"/>
                  </a:lnTo>
                  <a:lnTo>
                    <a:pt x="437" y="78"/>
                  </a:lnTo>
                  <a:lnTo>
                    <a:pt x="437" y="78"/>
                  </a:lnTo>
                  <a:lnTo>
                    <a:pt x="435" y="78"/>
                  </a:lnTo>
                  <a:lnTo>
                    <a:pt x="433" y="80"/>
                  </a:lnTo>
                  <a:lnTo>
                    <a:pt x="426" y="66"/>
                  </a:lnTo>
                  <a:lnTo>
                    <a:pt x="421" y="63"/>
                  </a:lnTo>
                  <a:lnTo>
                    <a:pt x="419" y="63"/>
                  </a:lnTo>
                  <a:lnTo>
                    <a:pt x="414" y="63"/>
                  </a:lnTo>
                  <a:lnTo>
                    <a:pt x="409" y="61"/>
                  </a:lnTo>
                  <a:lnTo>
                    <a:pt x="407" y="59"/>
                  </a:lnTo>
                  <a:lnTo>
                    <a:pt x="407" y="59"/>
                  </a:lnTo>
                  <a:lnTo>
                    <a:pt x="404" y="52"/>
                  </a:lnTo>
                  <a:lnTo>
                    <a:pt x="402" y="49"/>
                  </a:lnTo>
                  <a:lnTo>
                    <a:pt x="402" y="49"/>
                  </a:lnTo>
                  <a:lnTo>
                    <a:pt x="402" y="47"/>
                  </a:lnTo>
                  <a:lnTo>
                    <a:pt x="404" y="45"/>
                  </a:lnTo>
                  <a:lnTo>
                    <a:pt x="404" y="45"/>
                  </a:lnTo>
                  <a:lnTo>
                    <a:pt x="404" y="45"/>
                  </a:lnTo>
                  <a:lnTo>
                    <a:pt x="407" y="42"/>
                  </a:lnTo>
                  <a:lnTo>
                    <a:pt x="407" y="40"/>
                  </a:lnTo>
                  <a:lnTo>
                    <a:pt x="407" y="40"/>
                  </a:lnTo>
                  <a:lnTo>
                    <a:pt x="407" y="37"/>
                  </a:lnTo>
                  <a:lnTo>
                    <a:pt x="407" y="37"/>
                  </a:lnTo>
                  <a:lnTo>
                    <a:pt x="409" y="35"/>
                  </a:lnTo>
                  <a:lnTo>
                    <a:pt x="411" y="35"/>
                  </a:lnTo>
                  <a:lnTo>
                    <a:pt x="411" y="33"/>
                  </a:lnTo>
                  <a:lnTo>
                    <a:pt x="411" y="30"/>
                  </a:lnTo>
                  <a:lnTo>
                    <a:pt x="409" y="21"/>
                  </a:lnTo>
                  <a:lnTo>
                    <a:pt x="407" y="19"/>
                  </a:lnTo>
                  <a:lnTo>
                    <a:pt x="404" y="16"/>
                  </a:lnTo>
                  <a:lnTo>
                    <a:pt x="397" y="14"/>
                  </a:lnTo>
                  <a:lnTo>
                    <a:pt x="397" y="14"/>
                  </a:lnTo>
                  <a:lnTo>
                    <a:pt x="395" y="11"/>
                  </a:lnTo>
                  <a:lnTo>
                    <a:pt x="390" y="7"/>
                  </a:lnTo>
                  <a:lnTo>
                    <a:pt x="388" y="4"/>
                  </a:lnTo>
                  <a:lnTo>
                    <a:pt x="383" y="4"/>
                  </a:lnTo>
                  <a:lnTo>
                    <a:pt x="374" y="2"/>
                  </a:lnTo>
                  <a:lnTo>
                    <a:pt x="371" y="0"/>
                  </a:lnTo>
                  <a:lnTo>
                    <a:pt x="355" y="16"/>
                  </a:lnTo>
                  <a:lnTo>
                    <a:pt x="352" y="19"/>
                  </a:lnTo>
                  <a:lnTo>
                    <a:pt x="350" y="19"/>
                  </a:lnTo>
                  <a:lnTo>
                    <a:pt x="338" y="23"/>
                  </a:lnTo>
                  <a:lnTo>
                    <a:pt x="331" y="30"/>
                  </a:lnTo>
                  <a:lnTo>
                    <a:pt x="324" y="35"/>
                  </a:lnTo>
                  <a:lnTo>
                    <a:pt x="322" y="35"/>
                  </a:lnTo>
                  <a:lnTo>
                    <a:pt x="319" y="33"/>
                  </a:lnTo>
                  <a:lnTo>
                    <a:pt x="317" y="33"/>
                  </a:lnTo>
                  <a:lnTo>
                    <a:pt x="314" y="30"/>
                  </a:lnTo>
                  <a:lnTo>
                    <a:pt x="312" y="30"/>
                  </a:lnTo>
                  <a:lnTo>
                    <a:pt x="312" y="28"/>
                  </a:lnTo>
                  <a:lnTo>
                    <a:pt x="310" y="28"/>
                  </a:lnTo>
                  <a:lnTo>
                    <a:pt x="307" y="28"/>
                  </a:lnTo>
                  <a:lnTo>
                    <a:pt x="307" y="30"/>
                  </a:lnTo>
                  <a:lnTo>
                    <a:pt x="305" y="30"/>
                  </a:lnTo>
                  <a:lnTo>
                    <a:pt x="305" y="33"/>
                  </a:lnTo>
                  <a:lnTo>
                    <a:pt x="305" y="37"/>
                  </a:lnTo>
                  <a:lnTo>
                    <a:pt x="305" y="40"/>
                  </a:lnTo>
                  <a:lnTo>
                    <a:pt x="303" y="42"/>
                  </a:lnTo>
                  <a:lnTo>
                    <a:pt x="300" y="45"/>
                  </a:lnTo>
                  <a:lnTo>
                    <a:pt x="298" y="47"/>
                  </a:lnTo>
                  <a:lnTo>
                    <a:pt x="296" y="47"/>
                  </a:lnTo>
                  <a:lnTo>
                    <a:pt x="274" y="52"/>
                  </a:lnTo>
                  <a:lnTo>
                    <a:pt x="272" y="54"/>
                  </a:lnTo>
                  <a:lnTo>
                    <a:pt x="272" y="54"/>
                  </a:lnTo>
                  <a:lnTo>
                    <a:pt x="270" y="56"/>
                  </a:lnTo>
                  <a:lnTo>
                    <a:pt x="258" y="68"/>
                  </a:lnTo>
                  <a:lnTo>
                    <a:pt x="255" y="71"/>
                  </a:lnTo>
                  <a:lnTo>
                    <a:pt x="253" y="71"/>
                  </a:lnTo>
                  <a:lnTo>
                    <a:pt x="251" y="71"/>
                  </a:lnTo>
                  <a:lnTo>
                    <a:pt x="251" y="71"/>
                  </a:lnTo>
                  <a:lnTo>
                    <a:pt x="248" y="71"/>
                  </a:lnTo>
                  <a:lnTo>
                    <a:pt x="248" y="68"/>
                  </a:lnTo>
                  <a:lnTo>
                    <a:pt x="246" y="66"/>
                  </a:lnTo>
                  <a:lnTo>
                    <a:pt x="243" y="66"/>
                  </a:lnTo>
                  <a:lnTo>
                    <a:pt x="241" y="66"/>
                  </a:lnTo>
                  <a:lnTo>
                    <a:pt x="232" y="68"/>
                  </a:lnTo>
                  <a:lnTo>
                    <a:pt x="222" y="68"/>
                  </a:lnTo>
                  <a:lnTo>
                    <a:pt x="217" y="63"/>
                  </a:lnTo>
                  <a:lnTo>
                    <a:pt x="215" y="59"/>
                  </a:lnTo>
                  <a:lnTo>
                    <a:pt x="213" y="56"/>
                  </a:lnTo>
                  <a:lnTo>
                    <a:pt x="210" y="56"/>
                  </a:lnTo>
                  <a:lnTo>
                    <a:pt x="206" y="56"/>
                  </a:lnTo>
                  <a:lnTo>
                    <a:pt x="201" y="56"/>
                  </a:lnTo>
                  <a:lnTo>
                    <a:pt x="180" y="52"/>
                  </a:lnTo>
                  <a:lnTo>
                    <a:pt x="168" y="49"/>
                  </a:lnTo>
                  <a:lnTo>
                    <a:pt x="156" y="47"/>
                  </a:lnTo>
                  <a:lnTo>
                    <a:pt x="149" y="42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37" y="40"/>
                  </a:lnTo>
                  <a:lnTo>
                    <a:pt x="130" y="40"/>
                  </a:lnTo>
                  <a:lnTo>
                    <a:pt x="123" y="42"/>
                  </a:lnTo>
                  <a:lnTo>
                    <a:pt x="113" y="45"/>
                  </a:lnTo>
                  <a:lnTo>
                    <a:pt x="102" y="45"/>
                  </a:lnTo>
                  <a:lnTo>
                    <a:pt x="99" y="45"/>
                  </a:lnTo>
                  <a:lnTo>
                    <a:pt x="99" y="47"/>
                  </a:lnTo>
                  <a:lnTo>
                    <a:pt x="97" y="49"/>
                  </a:lnTo>
                  <a:lnTo>
                    <a:pt x="97" y="52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2" y="61"/>
                  </a:lnTo>
                  <a:lnTo>
                    <a:pt x="90" y="63"/>
                  </a:lnTo>
                  <a:lnTo>
                    <a:pt x="90" y="66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2" y="71"/>
                  </a:lnTo>
                  <a:lnTo>
                    <a:pt x="92" y="71"/>
                  </a:lnTo>
                  <a:lnTo>
                    <a:pt x="94" y="73"/>
                  </a:lnTo>
                  <a:lnTo>
                    <a:pt x="97" y="75"/>
                  </a:lnTo>
                  <a:lnTo>
                    <a:pt x="99" y="75"/>
                  </a:lnTo>
                  <a:lnTo>
                    <a:pt x="99" y="78"/>
                  </a:lnTo>
                  <a:lnTo>
                    <a:pt x="102" y="80"/>
                  </a:lnTo>
                  <a:lnTo>
                    <a:pt x="102" y="82"/>
                  </a:lnTo>
                  <a:lnTo>
                    <a:pt x="102" y="85"/>
                  </a:lnTo>
                  <a:lnTo>
                    <a:pt x="104" y="87"/>
                  </a:lnTo>
                  <a:lnTo>
                    <a:pt x="104" y="90"/>
                  </a:lnTo>
                  <a:lnTo>
                    <a:pt x="102" y="90"/>
                  </a:lnTo>
                  <a:lnTo>
                    <a:pt x="99" y="90"/>
                  </a:lnTo>
                  <a:lnTo>
                    <a:pt x="97" y="92"/>
                  </a:lnTo>
                  <a:lnTo>
                    <a:pt x="87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78" y="90"/>
                  </a:lnTo>
                  <a:lnTo>
                    <a:pt x="76" y="90"/>
                  </a:lnTo>
                  <a:lnTo>
                    <a:pt x="66" y="75"/>
                  </a:lnTo>
                  <a:lnTo>
                    <a:pt x="64" y="73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59" y="66"/>
                  </a:lnTo>
                  <a:lnTo>
                    <a:pt x="52" y="63"/>
                  </a:lnTo>
                  <a:lnTo>
                    <a:pt x="49" y="63"/>
                  </a:lnTo>
                  <a:lnTo>
                    <a:pt x="47" y="66"/>
                  </a:lnTo>
                  <a:lnTo>
                    <a:pt x="45" y="6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26" y="87"/>
                  </a:lnTo>
                  <a:lnTo>
                    <a:pt x="23" y="87"/>
                  </a:lnTo>
                  <a:lnTo>
                    <a:pt x="23" y="90"/>
                  </a:lnTo>
                  <a:lnTo>
                    <a:pt x="23" y="92"/>
                  </a:lnTo>
                  <a:lnTo>
                    <a:pt x="28" y="99"/>
                  </a:lnTo>
                  <a:lnTo>
                    <a:pt x="31" y="101"/>
                  </a:lnTo>
                  <a:lnTo>
                    <a:pt x="31" y="104"/>
                  </a:lnTo>
                  <a:lnTo>
                    <a:pt x="31" y="106"/>
                  </a:lnTo>
                  <a:lnTo>
                    <a:pt x="31" y="116"/>
                  </a:lnTo>
                  <a:lnTo>
                    <a:pt x="33" y="125"/>
                  </a:lnTo>
                  <a:lnTo>
                    <a:pt x="33" y="132"/>
                  </a:lnTo>
                  <a:lnTo>
                    <a:pt x="33" y="137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3" y="142"/>
                  </a:lnTo>
                  <a:lnTo>
                    <a:pt x="33" y="144"/>
                  </a:lnTo>
                  <a:lnTo>
                    <a:pt x="31" y="144"/>
                  </a:lnTo>
                  <a:lnTo>
                    <a:pt x="28" y="146"/>
                  </a:lnTo>
                  <a:lnTo>
                    <a:pt x="26" y="149"/>
                  </a:lnTo>
                  <a:lnTo>
                    <a:pt x="23" y="149"/>
                  </a:lnTo>
                  <a:lnTo>
                    <a:pt x="21" y="151"/>
                  </a:lnTo>
                  <a:lnTo>
                    <a:pt x="21" y="153"/>
                  </a:lnTo>
                  <a:lnTo>
                    <a:pt x="19" y="156"/>
                  </a:lnTo>
                  <a:lnTo>
                    <a:pt x="19" y="158"/>
                  </a:lnTo>
                  <a:lnTo>
                    <a:pt x="19" y="160"/>
                  </a:lnTo>
                  <a:lnTo>
                    <a:pt x="19" y="163"/>
                  </a:lnTo>
                  <a:lnTo>
                    <a:pt x="19" y="163"/>
                  </a:lnTo>
                  <a:lnTo>
                    <a:pt x="7" y="168"/>
                  </a:lnTo>
                  <a:lnTo>
                    <a:pt x="5" y="170"/>
                  </a:lnTo>
                  <a:lnTo>
                    <a:pt x="0" y="175"/>
                  </a:lnTo>
                  <a:lnTo>
                    <a:pt x="14" y="187"/>
                  </a:lnTo>
                  <a:lnTo>
                    <a:pt x="52" y="222"/>
                  </a:lnTo>
                  <a:lnTo>
                    <a:pt x="64" y="236"/>
                  </a:lnTo>
                  <a:lnTo>
                    <a:pt x="64" y="241"/>
                  </a:lnTo>
                  <a:lnTo>
                    <a:pt x="66" y="250"/>
                  </a:lnTo>
                  <a:lnTo>
                    <a:pt x="68" y="255"/>
                  </a:lnTo>
                  <a:lnTo>
                    <a:pt x="73" y="257"/>
                  </a:lnTo>
                  <a:lnTo>
                    <a:pt x="85" y="262"/>
                  </a:lnTo>
                  <a:lnTo>
                    <a:pt x="118" y="310"/>
                  </a:lnTo>
                  <a:lnTo>
                    <a:pt x="123" y="326"/>
                  </a:lnTo>
                  <a:lnTo>
                    <a:pt x="123" y="343"/>
                  </a:lnTo>
                  <a:lnTo>
                    <a:pt x="135" y="345"/>
                  </a:lnTo>
                  <a:lnTo>
                    <a:pt x="137" y="345"/>
                  </a:lnTo>
                  <a:lnTo>
                    <a:pt x="135" y="340"/>
                  </a:lnTo>
                  <a:lnTo>
                    <a:pt x="132" y="336"/>
                  </a:lnTo>
                  <a:lnTo>
                    <a:pt x="132" y="331"/>
                  </a:lnTo>
                  <a:lnTo>
                    <a:pt x="132" y="326"/>
                  </a:lnTo>
                  <a:lnTo>
                    <a:pt x="137" y="324"/>
                  </a:lnTo>
                  <a:lnTo>
                    <a:pt x="142" y="326"/>
                  </a:lnTo>
                  <a:lnTo>
                    <a:pt x="165" y="333"/>
                  </a:lnTo>
                  <a:lnTo>
                    <a:pt x="173" y="331"/>
                  </a:lnTo>
                  <a:lnTo>
                    <a:pt x="175" y="324"/>
                  </a:lnTo>
                  <a:lnTo>
                    <a:pt x="177" y="319"/>
                  </a:lnTo>
                  <a:lnTo>
                    <a:pt x="184" y="314"/>
                  </a:lnTo>
                  <a:lnTo>
                    <a:pt x="194" y="312"/>
                  </a:lnTo>
                  <a:lnTo>
                    <a:pt x="199" y="312"/>
                  </a:lnTo>
                  <a:lnTo>
                    <a:pt x="206" y="314"/>
                  </a:lnTo>
                  <a:lnTo>
                    <a:pt x="220" y="326"/>
                  </a:lnTo>
                  <a:lnTo>
                    <a:pt x="225" y="326"/>
                  </a:lnTo>
                  <a:lnTo>
                    <a:pt x="227" y="328"/>
                  </a:lnTo>
                  <a:lnTo>
                    <a:pt x="232" y="333"/>
                  </a:lnTo>
                  <a:lnTo>
                    <a:pt x="234" y="336"/>
                  </a:lnTo>
                  <a:lnTo>
                    <a:pt x="236" y="336"/>
                  </a:lnTo>
                  <a:lnTo>
                    <a:pt x="241" y="336"/>
                  </a:lnTo>
                  <a:lnTo>
                    <a:pt x="246" y="336"/>
                  </a:lnTo>
                  <a:lnTo>
                    <a:pt x="251" y="338"/>
                  </a:lnTo>
                  <a:lnTo>
                    <a:pt x="258" y="340"/>
                  </a:lnTo>
                  <a:lnTo>
                    <a:pt x="262" y="347"/>
                  </a:lnTo>
                  <a:lnTo>
                    <a:pt x="265" y="355"/>
                  </a:lnTo>
                  <a:lnTo>
                    <a:pt x="265" y="359"/>
                  </a:lnTo>
                  <a:lnTo>
                    <a:pt x="246" y="381"/>
                  </a:lnTo>
                  <a:lnTo>
                    <a:pt x="243" y="385"/>
                  </a:lnTo>
                  <a:lnTo>
                    <a:pt x="241" y="390"/>
                  </a:lnTo>
                  <a:lnTo>
                    <a:pt x="239" y="392"/>
                  </a:lnTo>
                  <a:lnTo>
                    <a:pt x="234" y="395"/>
                  </a:lnTo>
                  <a:lnTo>
                    <a:pt x="227" y="399"/>
                  </a:lnTo>
                  <a:lnTo>
                    <a:pt x="225" y="407"/>
                  </a:lnTo>
                  <a:lnTo>
                    <a:pt x="227" y="416"/>
                  </a:lnTo>
                  <a:lnTo>
                    <a:pt x="232" y="421"/>
                  </a:lnTo>
                  <a:lnTo>
                    <a:pt x="236" y="414"/>
                  </a:lnTo>
                  <a:lnTo>
                    <a:pt x="248" y="404"/>
                  </a:lnTo>
                  <a:lnTo>
                    <a:pt x="255" y="397"/>
                  </a:lnTo>
                  <a:lnTo>
                    <a:pt x="270" y="390"/>
                  </a:lnTo>
                  <a:lnTo>
                    <a:pt x="274" y="388"/>
                  </a:lnTo>
                  <a:lnTo>
                    <a:pt x="284" y="390"/>
                  </a:lnTo>
                  <a:lnTo>
                    <a:pt x="293" y="392"/>
                  </a:lnTo>
                  <a:lnTo>
                    <a:pt x="300" y="388"/>
                  </a:lnTo>
                  <a:lnTo>
                    <a:pt x="312" y="373"/>
                  </a:lnTo>
                  <a:lnTo>
                    <a:pt x="317" y="371"/>
                  </a:lnTo>
                  <a:lnTo>
                    <a:pt x="333" y="369"/>
                  </a:lnTo>
                  <a:lnTo>
                    <a:pt x="336" y="369"/>
                  </a:lnTo>
                  <a:lnTo>
                    <a:pt x="345" y="359"/>
                  </a:lnTo>
                  <a:lnTo>
                    <a:pt x="355" y="352"/>
                  </a:lnTo>
                  <a:lnTo>
                    <a:pt x="364" y="355"/>
                  </a:lnTo>
                  <a:lnTo>
                    <a:pt x="374" y="359"/>
                  </a:lnTo>
                  <a:lnTo>
                    <a:pt x="383" y="366"/>
                  </a:lnTo>
                  <a:lnTo>
                    <a:pt x="393" y="376"/>
                  </a:lnTo>
                  <a:lnTo>
                    <a:pt x="404" y="388"/>
                  </a:lnTo>
                  <a:lnTo>
                    <a:pt x="442" y="442"/>
                  </a:lnTo>
                  <a:lnTo>
                    <a:pt x="449" y="456"/>
                  </a:lnTo>
                  <a:lnTo>
                    <a:pt x="447" y="473"/>
                  </a:lnTo>
                  <a:lnTo>
                    <a:pt x="447" y="475"/>
                  </a:lnTo>
                  <a:lnTo>
                    <a:pt x="445" y="480"/>
                  </a:lnTo>
                  <a:lnTo>
                    <a:pt x="440" y="482"/>
                  </a:lnTo>
                  <a:lnTo>
                    <a:pt x="437" y="485"/>
                  </a:lnTo>
                  <a:lnTo>
                    <a:pt x="435" y="487"/>
                  </a:lnTo>
                  <a:lnTo>
                    <a:pt x="435" y="489"/>
                  </a:lnTo>
                  <a:lnTo>
                    <a:pt x="437" y="496"/>
                  </a:lnTo>
                  <a:lnTo>
                    <a:pt x="437" y="506"/>
                  </a:lnTo>
                  <a:lnTo>
                    <a:pt x="433" y="520"/>
                  </a:lnTo>
                  <a:lnTo>
                    <a:pt x="435" y="525"/>
                  </a:lnTo>
                  <a:lnTo>
                    <a:pt x="437" y="527"/>
                  </a:lnTo>
                  <a:lnTo>
                    <a:pt x="449" y="527"/>
                  </a:lnTo>
                  <a:lnTo>
                    <a:pt x="454" y="530"/>
                  </a:lnTo>
                  <a:lnTo>
                    <a:pt x="456" y="530"/>
                  </a:lnTo>
                  <a:lnTo>
                    <a:pt x="471" y="539"/>
                  </a:lnTo>
                  <a:lnTo>
                    <a:pt x="478" y="546"/>
                  </a:lnTo>
                  <a:lnTo>
                    <a:pt x="482" y="549"/>
                  </a:lnTo>
                  <a:lnTo>
                    <a:pt x="490" y="549"/>
                  </a:lnTo>
                  <a:lnTo>
                    <a:pt x="497" y="544"/>
                  </a:lnTo>
                  <a:lnTo>
                    <a:pt x="504" y="541"/>
                  </a:lnTo>
                  <a:lnTo>
                    <a:pt x="508" y="544"/>
                  </a:lnTo>
                  <a:lnTo>
                    <a:pt x="532" y="560"/>
                  </a:lnTo>
                  <a:lnTo>
                    <a:pt x="537" y="563"/>
                  </a:lnTo>
                  <a:lnTo>
                    <a:pt x="546" y="565"/>
                  </a:lnTo>
                  <a:lnTo>
                    <a:pt x="558" y="575"/>
                  </a:lnTo>
                  <a:lnTo>
                    <a:pt x="565" y="584"/>
                  </a:lnTo>
                  <a:lnTo>
                    <a:pt x="561" y="591"/>
                  </a:lnTo>
                  <a:lnTo>
                    <a:pt x="561" y="593"/>
                  </a:lnTo>
                  <a:lnTo>
                    <a:pt x="563" y="593"/>
                  </a:lnTo>
                  <a:lnTo>
                    <a:pt x="568" y="591"/>
                  </a:lnTo>
                  <a:lnTo>
                    <a:pt x="570" y="591"/>
                  </a:lnTo>
                  <a:lnTo>
                    <a:pt x="572" y="589"/>
                  </a:lnTo>
                  <a:lnTo>
                    <a:pt x="577" y="589"/>
                  </a:lnTo>
                  <a:lnTo>
                    <a:pt x="591" y="596"/>
                  </a:lnTo>
                  <a:lnTo>
                    <a:pt x="598" y="598"/>
                  </a:lnTo>
                  <a:lnTo>
                    <a:pt x="608" y="598"/>
                  </a:lnTo>
                  <a:lnTo>
                    <a:pt x="613" y="593"/>
                  </a:lnTo>
                  <a:lnTo>
                    <a:pt x="622" y="582"/>
                  </a:lnTo>
                  <a:lnTo>
                    <a:pt x="631" y="567"/>
                  </a:lnTo>
                  <a:lnTo>
                    <a:pt x="636" y="560"/>
                  </a:lnTo>
                  <a:lnTo>
                    <a:pt x="643" y="556"/>
                  </a:lnTo>
                  <a:lnTo>
                    <a:pt x="667" y="553"/>
                  </a:lnTo>
                  <a:lnTo>
                    <a:pt x="672" y="551"/>
                  </a:lnTo>
                  <a:lnTo>
                    <a:pt x="672" y="556"/>
                  </a:lnTo>
                  <a:lnTo>
                    <a:pt x="674" y="558"/>
                  </a:lnTo>
                  <a:lnTo>
                    <a:pt x="681" y="563"/>
                  </a:lnTo>
                  <a:lnTo>
                    <a:pt x="684" y="556"/>
                  </a:lnTo>
                  <a:lnTo>
                    <a:pt x="684" y="553"/>
                  </a:lnTo>
                  <a:close/>
                  <a:moveTo>
                    <a:pt x="68" y="376"/>
                  </a:moveTo>
                  <a:lnTo>
                    <a:pt x="68" y="376"/>
                  </a:lnTo>
                  <a:lnTo>
                    <a:pt x="73" y="373"/>
                  </a:lnTo>
                  <a:lnTo>
                    <a:pt x="71" y="371"/>
                  </a:lnTo>
                  <a:lnTo>
                    <a:pt x="68" y="366"/>
                  </a:lnTo>
                  <a:lnTo>
                    <a:pt x="76" y="366"/>
                  </a:lnTo>
                  <a:lnTo>
                    <a:pt x="97" y="369"/>
                  </a:lnTo>
                  <a:lnTo>
                    <a:pt x="104" y="373"/>
                  </a:lnTo>
                  <a:lnTo>
                    <a:pt x="102" y="376"/>
                  </a:lnTo>
                  <a:lnTo>
                    <a:pt x="102" y="378"/>
                  </a:lnTo>
                  <a:lnTo>
                    <a:pt x="104" y="381"/>
                  </a:lnTo>
                  <a:lnTo>
                    <a:pt x="102" y="383"/>
                  </a:lnTo>
                  <a:lnTo>
                    <a:pt x="99" y="388"/>
                  </a:lnTo>
                  <a:lnTo>
                    <a:pt x="94" y="388"/>
                  </a:lnTo>
                  <a:lnTo>
                    <a:pt x="90" y="388"/>
                  </a:lnTo>
                  <a:lnTo>
                    <a:pt x="85" y="390"/>
                  </a:lnTo>
                  <a:lnTo>
                    <a:pt x="83" y="395"/>
                  </a:lnTo>
                  <a:lnTo>
                    <a:pt x="78" y="392"/>
                  </a:lnTo>
                  <a:lnTo>
                    <a:pt x="71" y="390"/>
                  </a:lnTo>
                  <a:lnTo>
                    <a:pt x="68" y="388"/>
                  </a:lnTo>
                  <a:lnTo>
                    <a:pt x="68" y="378"/>
                  </a:lnTo>
                  <a:lnTo>
                    <a:pt x="68" y="37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27">
              <a:extLst>
                <a:ext uri="{FF2B5EF4-FFF2-40B4-BE49-F238E27FC236}">
                  <a16:creationId xmlns:a16="http://schemas.microsoft.com/office/drawing/2014/main" id="{2C740E1C-2C4B-4400-A77D-34A1A7C2B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5327" y="3727739"/>
              <a:ext cx="471160" cy="417636"/>
            </a:xfrm>
            <a:custGeom>
              <a:avLst/>
              <a:gdLst>
                <a:gd name="T0" fmla="*/ 237 w 371"/>
                <a:gd name="T1" fmla="*/ 5 h 329"/>
                <a:gd name="T2" fmla="*/ 315 w 371"/>
                <a:gd name="T3" fmla="*/ 28 h 329"/>
                <a:gd name="T4" fmla="*/ 350 w 371"/>
                <a:gd name="T5" fmla="*/ 43 h 329"/>
                <a:gd name="T6" fmla="*/ 348 w 371"/>
                <a:gd name="T7" fmla="*/ 80 h 329"/>
                <a:gd name="T8" fmla="*/ 350 w 371"/>
                <a:gd name="T9" fmla="*/ 102 h 329"/>
                <a:gd name="T10" fmla="*/ 352 w 371"/>
                <a:gd name="T11" fmla="*/ 118 h 329"/>
                <a:gd name="T12" fmla="*/ 360 w 371"/>
                <a:gd name="T13" fmla="*/ 133 h 329"/>
                <a:gd name="T14" fmla="*/ 371 w 371"/>
                <a:gd name="T15" fmla="*/ 135 h 329"/>
                <a:gd name="T16" fmla="*/ 357 w 371"/>
                <a:gd name="T17" fmla="*/ 149 h 329"/>
                <a:gd name="T18" fmla="*/ 345 w 371"/>
                <a:gd name="T19" fmla="*/ 166 h 329"/>
                <a:gd name="T20" fmla="*/ 334 w 371"/>
                <a:gd name="T21" fmla="*/ 180 h 329"/>
                <a:gd name="T22" fmla="*/ 312 w 371"/>
                <a:gd name="T23" fmla="*/ 177 h 329"/>
                <a:gd name="T24" fmla="*/ 310 w 371"/>
                <a:gd name="T25" fmla="*/ 194 h 329"/>
                <a:gd name="T26" fmla="*/ 317 w 371"/>
                <a:gd name="T27" fmla="*/ 222 h 329"/>
                <a:gd name="T28" fmla="*/ 317 w 371"/>
                <a:gd name="T29" fmla="*/ 256 h 329"/>
                <a:gd name="T30" fmla="*/ 284 w 371"/>
                <a:gd name="T31" fmla="*/ 270 h 329"/>
                <a:gd name="T32" fmla="*/ 274 w 371"/>
                <a:gd name="T33" fmla="*/ 267 h 329"/>
                <a:gd name="T34" fmla="*/ 267 w 371"/>
                <a:gd name="T35" fmla="*/ 282 h 329"/>
                <a:gd name="T36" fmla="*/ 237 w 371"/>
                <a:gd name="T37" fmla="*/ 293 h 329"/>
                <a:gd name="T38" fmla="*/ 215 w 371"/>
                <a:gd name="T39" fmla="*/ 308 h 329"/>
                <a:gd name="T40" fmla="*/ 189 w 371"/>
                <a:gd name="T41" fmla="*/ 305 h 329"/>
                <a:gd name="T42" fmla="*/ 168 w 371"/>
                <a:gd name="T43" fmla="*/ 293 h 329"/>
                <a:gd name="T44" fmla="*/ 113 w 371"/>
                <a:gd name="T45" fmla="*/ 279 h 329"/>
                <a:gd name="T46" fmla="*/ 66 w 371"/>
                <a:gd name="T47" fmla="*/ 282 h 329"/>
                <a:gd name="T48" fmla="*/ 59 w 371"/>
                <a:gd name="T49" fmla="*/ 298 h 329"/>
                <a:gd name="T50" fmla="*/ 59 w 371"/>
                <a:gd name="T51" fmla="*/ 308 h 329"/>
                <a:gd name="T52" fmla="*/ 69 w 371"/>
                <a:gd name="T53" fmla="*/ 319 h 329"/>
                <a:gd name="T54" fmla="*/ 64 w 371"/>
                <a:gd name="T55" fmla="*/ 329 h 329"/>
                <a:gd name="T56" fmla="*/ 33 w 371"/>
                <a:gd name="T57" fmla="*/ 312 h 329"/>
                <a:gd name="T58" fmla="*/ 24 w 371"/>
                <a:gd name="T59" fmla="*/ 293 h 329"/>
                <a:gd name="T60" fmla="*/ 28 w 371"/>
                <a:gd name="T61" fmla="*/ 279 h 329"/>
                <a:gd name="T62" fmla="*/ 26 w 371"/>
                <a:gd name="T63" fmla="*/ 260 h 329"/>
                <a:gd name="T64" fmla="*/ 19 w 371"/>
                <a:gd name="T65" fmla="*/ 237 h 329"/>
                <a:gd name="T66" fmla="*/ 9 w 371"/>
                <a:gd name="T67" fmla="*/ 220 h 329"/>
                <a:gd name="T68" fmla="*/ 5 w 371"/>
                <a:gd name="T69" fmla="*/ 208 h 329"/>
                <a:gd name="T70" fmla="*/ 26 w 371"/>
                <a:gd name="T71" fmla="*/ 199 h 329"/>
                <a:gd name="T72" fmla="*/ 43 w 371"/>
                <a:gd name="T73" fmla="*/ 187 h 329"/>
                <a:gd name="T74" fmla="*/ 66 w 371"/>
                <a:gd name="T75" fmla="*/ 166 h 329"/>
                <a:gd name="T76" fmla="*/ 61 w 371"/>
                <a:gd name="T77" fmla="*/ 159 h 329"/>
                <a:gd name="T78" fmla="*/ 54 w 371"/>
                <a:gd name="T79" fmla="*/ 149 h 329"/>
                <a:gd name="T80" fmla="*/ 54 w 371"/>
                <a:gd name="T81" fmla="*/ 135 h 329"/>
                <a:gd name="T82" fmla="*/ 73 w 371"/>
                <a:gd name="T83" fmla="*/ 116 h 329"/>
                <a:gd name="T84" fmla="*/ 90 w 371"/>
                <a:gd name="T85" fmla="*/ 102 h 329"/>
                <a:gd name="T86" fmla="*/ 104 w 371"/>
                <a:gd name="T87" fmla="*/ 111 h 329"/>
                <a:gd name="T88" fmla="*/ 113 w 371"/>
                <a:gd name="T89" fmla="*/ 114 h 329"/>
                <a:gd name="T90" fmla="*/ 123 w 371"/>
                <a:gd name="T91" fmla="*/ 111 h 329"/>
                <a:gd name="T92" fmla="*/ 140 w 371"/>
                <a:gd name="T93" fmla="*/ 123 h 329"/>
                <a:gd name="T94" fmla="*/ 147 w 371"/>
                <a:gd name="T95" fmla="*/ 137 h 329"/>
                <a:gd name="T96" fmla="*/ 149 w 371"/>
                <a:gd name="T97" fmla="*/ 149 h 329"/>
                <a:gd name="T98" fmla="*/ 168 w 371"/>
                <a:gd name="T99" fmla="*/ 135 h 329"/>
                <a:gd name="T100" fmla="*/ 189 w 371"/>
                <a:gd name="T101" fmla="*/ 90 h 329"/>
                <a:gd name="T102" fmla="*/ 196 w 371"/>
                <a:gd name="T103" fmla="*/ 66 h 329"/>
                <a:gd name="T104" fmla="*/ 222 w 371"/>
                <a:gd name="T105" fmla="*/ 26 h 329"/>
                <a:gd name="T106" fmla="*/ 225 w 371"/>
                <a:gd name="T107" fmla="*/ 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1" h="329">
                  <a:moveTo>
                    <a:pt x="225" y="7"/>
                  </a:moveTo>
                  <a:lnTo>
                    <a:pt x="225" y="7"/>
                  </a:lnTo>
                  <a:lnTo>
                    <a:pt x="222" y="2"/>
                  </a:lnTo>
                  <a:lnTo>
                    <a:pt x="222" y="0"/>
                  </a:lnTo>
                  <a:lnTo>
                    <a:pt x="229" y="0"/>
                  </a:lnTo>
                  <a:lnTo>
                    <a:pt x="237" y="5"/>
                  </a:lnTo>
                  <a:lnTo>
                    <a:pt x="248" y="12"/>
                  </a:lnTo>
                  <a:lnTo>
                    <a:pt x="260" y="14"/>
                  </a:lnTo>
                  <a:lnTo>
                    <a:pt x="286" y="14"/>
                  </a:lnTo>
                  <a:lnTo>
                    <a:pt x="298" y="17"/>
                  </a:lnTo>
                  <a:lnTo>
                    <a:pt x="303" y="19"/>
                  </a:lnTo>
                  <a:lnTo>
                    <a:pt x="315" y="28"/>
                  </a:lnTo>
                  <a:lnTo>
                    <a:pt x="317" y="31"/>
                  </a:lnTo>
                  <a:lnTo>
                    <a:pt x="324" y="31"/>
                  </a:lnTo>
                  <a:lnTo>
                    <a:pt x="338" y="38"/>
                  </a:lnTo>
                  <a:lnTo>
                    <a:pt x="345" y="40"/>
                  </a:lnTo>
                  <a:lnTo>
                    <a:pt x="350" y="40"/>
                  </a:lnTo>
                  <a:lnTo>
                    <a:pt x="350" y="43"/>
                  </a:lnTo>
                  <a:lnTo>
                    <a:pt x="352" y="59"/>
                  </a:lnTo>
                  <a:lnTo>
                    <a:pt x="352" y="62"/>
                  </a:lnTo>
                  <a:lnTo>
                    <a:pt x="352" y="64"/>
                  </a:lnTo>
                  <a:lnTo>
                    <a:pt x="352" y="66"/>
                  </a:lnTo>
                  <a:lnTo>
                    <a:pt x="350" y="76"/>
                  </a:lnTo>
                  <a:lnTo>
                    <a:pt x="348" y="80"/>
                  </a:lnTo>
                  <a:lnTo>
                    <a:pt x="348" y="83"/>
                  </a:lnTo>
                  <a:lnTo>
                    <a:pt x="348" y="85"/>
                  </a:lnTo>
                  <a:lnTo>
                    <a:pt x="348" y="90"/>
                  </a:lnTo>
                  <a:lnTo>
                    <a:pt x="348" y="92"/>
                  </a:lnTo>
                  <a:lnTo>
                    <a:pt x="350" y="99"/>
                  </a:lnTo>
                  <a:lnTo>
                    <a:pt x="350" y="102"/>
                  </a:lnTo>
                  <a:lnTo>
                    <a:pt x="350" y="104"/>
                  </a:lnTo>
                  <a:lnTo>
                    <a:pt x="350" y="109"/>
                  </a:lnTo>
                  <a:lnTo>
                    <a:pt x="350" y="114"/>
                  </a:lnTo>
                  <a:lnTo>
                    <a:pt x="352" y="116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25"/>
                  </a:lnTo>
                  <a:lnTo>
                    <a:pt x="355" y="128"/>
                  </a:lnTo>
                  <a:lnTo>
                    <a:pt x="357" y="130"/>
                  </a:lnTo>
                  <a:lnTo>
                    <a:pt x="357" y="133"/>
                  </a:lnTo>
                  <a:lnTo>
                    <a:pt x="357" y="133"/>
                  </a:lnTo>
                  <a:lnTo>
                    <a:pt x="360" y="133"/>
                  </a:lnTo>
                  <a:lnTo>
                    <a:pt x="362" y="133"/>
                  </a:lnTo>
                  <a:lnTo>
                    <a:pt x="362" y="133"/>
                  </a:lnTo>
                  <a:lnTo>
                    <a:pt x="369" y="133"/>
                  </a:lnTo>
                  <a:lnTo>
                    <a:pt x="371" y="133"/>
                  </a:lnTo>
                  <a:lnTo>
                    <a:pt x="371" y="135"/>
                  </a:lnTo>
                  <a:lnTo>
                    <a:pt x="371" y="135"/>
                  </a:lnTo>
                  <a:lnTo>
                    <a:pt x="369" y="140"/>
                  </a:lnTo>
                  <a:lnTo>
                    <a:pt x="367" y="142"/>
                  </a:lnTo>
                  <a:lnTo>
                    <a:pt x="364" y="142"/>
                  </a:lnTo>
                  <a:lnTo>
                    <a:pt x="360" y="144"/>
                  </a:lnTo>
                  <a:lnTo>
                    <a:pt x="360" y="147"/>
                  </a:lnTo>
                  <a:lnTo>
                    <a:pt x="357" y="149"/>
                  </a:lnTo>
                  <a:lnTo>
                    <a:pt x="355" y="151"/>
                  </a:lnTo>
                  <a:lnTo>
                    <a:pt x="352" y="156"/>
                  </a:lnTo>
                  <a:lnTo>
                    <a:pt x="350" y="161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5" y="166"/>
                  </a:lnTo>
                  <a:lnTo>
                    <a:pt x="343" y="166"/>
                  </a:lnTo>
                  <a:lnTo>
                    <a:pt x="341" y="168"/>
                  </a:lnTo>
                  <a:lnTo>
                    <a:pt x="341" y="173"/>
                  </a:lnTo>
                  <a:lnTo>
                    <a:pt x="336" y="177"/>
                  </a:lnTo>
                  <a:lnTo>
                    <a:pt x="336" y="177"/>
                  </a:lnTo>
                  <a:lnTo>
                    <a:pt x="334" y="180"/>
                  </a:lnTo>
                  <a:lnTo>
                    <a:pt x="331" y="180"/>
                  </a:lnTo>
                  <a:lnTo>
                    <a:pt x="317" y="175"/>
                  </a:lnTo>
                  <a:lnTo>
                    <a:pt x="315" y="175"/>
                  </a:lnTo>
                  <a:lnTo>
                    <a:pt x="315" y="177"/>
                  </a:lnTo>
                  <a:lnTo>
                    <a:pt x="312" y="177"/>
                  </a:lnTo>
                  <a:lnTo>
                    <a:pt x="312" y="177"/>
                  </a:lnTo>
                  <a:lnTo>
                    <a:pt x="310" y="180"/>
                  </a:lnTo>
                  <a:lnTo>
                    <a:pt x="310" y="182"/>
                  </a:lnTo>
                  <a:lnTo>
                    <a:pt x="310" y="182"/>
                  </a:lnTo>
                  <a:lnTo>
                    <a:pt x="310" y="185"/>
                  </a:lnTo>
                  <a:lnTo>
                    <a:pt x="310" y="189"/>
                  </a:lnTo>
                  <a:lnTo>
                    <a:pt x="310" y="194"/>
                  </a:lnTo>
                  <a:lnTo>
                    <a:pt x="315" y="206"/>
                  </a:lnTo>
                  <a:lnTo>
                    <a:pt x="315" y="208"/>
                  </a:lnTo>
                  <a:lnTo>
                    <a:pt x="315" y="213"/>
                  </a:lnTo>
                  <a:lnTo>
                    <a:pt x="315" y="218"/>
                  </a:lnTo>
                  <a:lnTo>
                    <a:pt x="315" y="220"/>
                  </a:lnTo>
                  <a:lnTo>
                    <a:pt x="317" y="222"/>
                  </a:lnTo>
                  <a:lnTo>
                    <a:pt x="317" y="222"/>
                  </a:lnTo>
                  <a:lnTo>
                    <a:pt x="322" y="227"/>
                  </a:lnTo>
                  <a:lnTo>
                    <a:pt x="338" y="237"/>
                  </a:lnTo>
                  <a:lnTo>
                    <a:pt x="322" y="253"/>
                  </a:lnTo>
                  <a:lnTo>
                    <a:pt x="319" y="256"/>
                  </a:lnTo>
                  <a:lnTo>
                    <a:pt x="317" y="256"/>
                  </a:lnTo>
                  <a:lnTo>
                    <a:pt x="305" y="260"/>
                  </a:lnTo>
                  <a:lnTo>
                    <a:pt x="298" y="267"/>
                  </a:lnTo>
                  <a:lnTo>
                    <a:pt x="291" y="272"/>
                  </a:lnTo>
                  <a:lnTo>
                    <a:pt x="289" y="272"/>
                  </a:lnTo>
                  <a:lnTo>
                    <a:pt x="286" y="270"/>
                  </a:lnTo>
                  <a:lnTo>
                    <a:pt x="284" y="270"/>
                  </a:lnTo>
                  <a:lnTo>
                    <a:pt x="281" y="267"/>
                  </a:lnTo>
                  <a:lnTo>
                    <a:pt x="279" y="267"/>
                  </a:lnTo>
                  <a:lnTo>
                    <a:pt x="279" y="265"/>
                  </a:lnTo>
                  <a:lnTo>
                    <a:pt x="277" y="265"/>
                  </a:lnTo>
                  <a:lnTo>
                    <a:pt x="274" y="265"/>
                  </a:lnTo>
                  <a:lnTo>
                    <a:pt x="274" y="267"/>
                  </a:lnTo>
                  <a:lnTo>
                    <a:pt x="272" y="267"/>
                  </a:lnTo>
                  <a:lnTo>
                    <a:pt x="272" y="270"/>
                  </a:lnTo>
                  <a:lnTo>
                    <a:pt x="272" y="274"/>
                  </a:lnTo>
                  <a:lnTo>
                    <a:pt x="272" y="277"/>
                  </a:lnTo>
                  <a:lnTo>
                    <a:pt x="270" y="279"/>
                  </a:lnTo>
                  <a:lnTo>
                    <a:pt x="267" y="282"/>
                  </a:lnTo>
                  <a:lnTo>
                    <a:pt x="265" y="284"/>
                  </a:lnTo>
                  <a:lnTo>
                    <a:pt x="263" y="284"/>
                  </a:lnTo>
                  <a:lnTo>
                    <a:pt x="241" y="289"/>
                  </a:lnTo>
                  <a:lnTo>
                    <a:pt x="239" y="291"/>
                  </a:lnTo>
                  <a:lnTo>
                    <a:pt x="239" y="291"/>
                  </a:lnTo>
                  <a:lnTo>
                    <a:pt x="237" y="293"/>
                  </a:lnTo>
                  <a:lnTo>
                    <a:pt x="225" y="305"/>
                  </a:lnTo>
                  <a:lnTo>
                    <a:pt x="222" y="308"/>
                  </a:lnTo>
                  <a:lnTo>
                    <a:pt x="220" y="308"/>
                  </a:lnTo>
                  <a:lnTo>
                    <a:pt x="218" y="308"/>
                  </a:lnTo>
                  <a:lnTo>
                    <a:pt x="218" y="308"/>
                  </a:lnTo>
                  <a:lnTo>
                    <a:pt x="215" y="308"/>
                  </a:lnTo>
                  <a:lnTo>
                    <a:pt x="215" y="305"/>
                  </a:lnTo>
                  <a:lnTo>
                    <a:pt x="213" y="303"/>
                  </a:lnTo>
                  <a:lnTo>
                    <a:pt x="210" y="303"/>
                  </a:lnTo>
                  <a:lnTo>
                    <a:pt x="208" y="303"/>
                  </a:lnTo>
                  <a:lnTo>
                    <a:pt x="199" y="305"/>
                  </a:lnTo>
                  <a:lnTo>
                    <a:pt x="189" y="305"/>
                  </a:lnTo>
                  <a:lnTo>
                    <a:pt x="184" y="300"/>
                  </a:lnTo>
                  <a:lnTo>
                    <a:pt x="182" y="296"/>
                  </a:lnTo>
                  <a:lnTo>
                    <a:pt x="180" y="293"/>
                  </a:lnTo>
                  <a:lnTo>
                    <a:pt x="177" y="293"/>
                  </a:lnTo>
                  <a:lnTo>
                    <a:pt x="173" y="293"/>
                  </a:lnTo>
                  <a:lnTo>
                    <a:pt x="168" y="293"/>
                  </a:lnTo>
                  <a:lnTo>
                    <a:pt x="147" y="289"/>
                  </a:lnTo>
                  <a:lnTo>
                    <a:pt x="135" y="286"/>
                  </a:lnTo>
                  <a:lnTo>
                    <a:pt x="123" y="284"/>
                  </a:lnTo>
                  <a:lnTo>
                    <a:pt x="116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04" y="277"/>
                  </a:lnTo>
                  <a:lnTo>
                    <a:pt x="97" y="277"/>
                  </a:lnTo>
                  <a:lnTo>
                    <a:pt x="90" y="279"/>
                  </a:lnTo>
                  <a:lnTo>
                    <a:pt x="80" y="282"/>
                  </a:lnTo>
                  <a:lnTo>
                    <a:pt x="69" y="282"/>
                  </a:lnTo>
                  <a:lnTo>
                    <a:pt x="66" y="282"/>
                  </a:lnTo>
                  <a:lnTo>
                    <a:pt x="66" y="284"/>
                  </a:lnTo>
                  <a:lnTo>
                    <a:pt x="64" y="286"/>
                  </a:lnTo>
                  <a:lnTo>
                    <a:pt x="64" y="289"/>
                  </a:lnTo>
                  <a:lnTo>
                    <a:pt x="61" y="293"/>
                  </a:lnTo>
                  <a:lnTo>
                    <a:pt x="61" y="293"/>
                  </a:lnTo>
                  <a:lnTo>
                    <a:pt x="59" y="298"/>
                  </a:lnTo>
                  <a:lnTo>
                    <a:pt x="57" y="300"/>
                  </a:lnTo>
                  <a:lnTo>
                    <a:pt x="57" y="303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9" y="308"/>
                  </a:lnTo>
                  <a:lnTo>
                    <a:pt x="59" y="308"/>
                  </a:lnTo>
                  <a:lnTo>
                    <a:pt x="61" y="310"/>
                  </a:lnTo>
                  <a:lnTo>
                    <a:pt x="64" y="312"/>
                  </a:lnTo>
                  <a:lnTo>
                    <a:pt x="66" y="312"/>
                  </a:lnTo>
                  <a:lnTo>
                    <a:pt x="66" y="315"/>
                  </a:lnTo>
                  <a:lnTo>
                    <a:pt x="69" y="317"/>
                  </a:lnTo>
                  <a:lnTo>
                    <a:pt x="69" y="319"/>
                  </a:lnTo>
                  <a:lnTo>
                    <a:pt x="69" y="322"/>
                  </a:lnTo>
                  <a:lnTo>
                    <a:pt x="71" y="324"/>
                  </a:lnTo>
                  <a:lnTo>
                    <a:pt x="71" y="327"/>
                  </a:lnTo>
                  <a:lnTo>
                    <a:pt x="69" y="327"/>
                  </a:lnTo>
                  <a:lnTo>
                    <a:pt x="66" y="327"/>
                  </a:lnTo>
                  <a:lnTo>
                    <a:pt x="64" y="329"/>
                  </a:lnTo>
                  <a:lnTo>
                    <a:pt x="54" y="329"/>
                  </a:lnTo>
                  <a:lnTo>
                    <a:pt x="47" y="329"/>
                  </a:lnTo>
                  <a:lnTo>
                    <a:pt x="47" y="329"/>
                  </a:lnTo>
                  <a:lnTo>
                    <a:pt x="45" y="327"/>
                  </a:lnTo>
                  <a:lnTo>
                    <a:pt x="43" y="327"/>
                  </a:lnTo>
                  <a:lnTo>
                    <a:pt x="33" y="312"/>
                  </a:lnTo>
                  <a:lnTo>
                    <a:pt x="31" y="310"/>
                  </a:lnTo>
                  <a:lnTo>
                    <a:pt x="28" y="305"/>
                  </a:lnTo>
                  <a:lnTo>
                    <a:pt x="28" y="305"/>
                  </a:lnTo>
                  <a:lnTo>
                    <a:pt x="26" y="303"/>
                  </a:lnTo>
                  <a:lnTo>
                    <a:pt x="19" y="300"/>
                  </a:lnTo>
                  <a:lnTo>
                    <a:pt x="24" y="293"/>
                  </a:lnTo>
                  <a:lnTo>
                    <a:pt x="24" y="291"/>
                  </a:lnTo>
                  <a:lnTo>
                    <a:pt x="24" y="289"/>
                  </a:lnTo>
                  <a:lnTo>
                    <a:pt x="24" y="289"/>
                  </a:lnTo>
                  <a:lnTo>
                    <a:pt x="21" y="286"/>
                  </a:lnTo>
                  <a:lnTo>
                    <a:pt x="24" y="286"/>
                  </a:lnTo>
                  <a:lnTo>
                    <a:pt x="28" y="279"/>
                  </a:lnTo>
                  <a:lnTo>
                    <a:pt x="31" y="277"/>
                  </a:lnTo>
                  <a:lnTo>
                    <a:pt x="31" y="274"/>
                  </a:lnTo>
                  <a:lnTo>
                    <a:pt x="28" y="272"/>
                  </a:lnTo>
                  <a:lnTo>
                    <a:pt x="28" y="270"/>
                  </a:lnTo>
                  <a:lnTo>
                    <a:pt x="28" y="263"/>
                  </a:lnTo>
                  <a:lnTo>
                    <a:pt x="26" y="260"/>
                  </a:lnTo>
                  <a:lnTo>
                    <a:pt x="26" y="260"/>
                  </a:lnTo>
                  <a:lnTo>
                    <a:pt x="26" y="258"/>
                  </a:lnTo>
                  <a:lnTo>
                    <a:pt x="24" y="258"/>
                  </a:lnTo>
                  <a:lnTo>
                    <a:pt x="24" y="256"/>
                  </a:lnTo>
                  <a:lnTo>
                    <a:pt x="21" y="251"/>
                  </a:lnTo>
                  <a:lnTo>
                    <a:pt x="19" y="237"/>
                  </a:lnTo>
                  <a:lnTo>
                    <a:pt x="19" y="234"/>
                  </a:lnTo>
                  <a:lnTo>
                    <a:pt x="16" y="232"/>
                  </a:lnTo>
                  <a:lnTo>
                    <a:pt x="12" y="227"/>
                  </a:lnTo>
                  <a:lnTo>
                    <a:pt x="12" y="225"/>
                  </a:lnTo>
                  <a:lnTo>
                    <a:pt x="9" y="220"/>
                  </a:lnTo>
                  <a:lnTo>
                    <a:pt x="9" y="220"/>
                  </a:lnTo>
                  <a:lnTo>
                    <a:pt x="7" y="218"/>
                  </a:lnTo>
                  <a:lnTo>
                    <a:pt x="7" y="218"/>
                  </a:lnTo>
                  <a:lnTo>
                    <a:pt x="5" y="215"/>
                  </a:lnTo>
                  <a:lnTo>
                    <a:pt x="2" y="213"/>
                  </a:lnTo>
                  <a:lnTo>
                    <a:pt x="0" y="211"/>
                  </a:lnTo>
                  <a:lnTo>
                    <a:pt x="5" y="208"/>
                  </a:lnTo>
                  <a:lnTo>
                    <a:pt x="14" y="208"/>
                  </a:lnTo>
                  <a:lnTo>
                    <a:pt x="16" y="208"/>
                  </a:lnTo>
                  <a:lnTo>
                    <a:pt x="19" y="206"/>
                  </a:lnTo>
                  <a:lnTo>
                    <a:pt x="19" y="203"/>
                  </a:lnTo>
                  <a:lnTo>
                    <a:pt x="24" y="201"/>
                  </a:lnTo>
                  <a:lnTo>
                    <a:pt x="26" y="199"/>
                  </a:lnTo>
                  <a:lnTo>
                    <a:pt x="31" y="189"/>
                  </a:lnTo>
                  <a:lnTo>
                    <a:pt x="33" y="187"/>
                  </a:lnTo>
                  <a:lnTo>
                    <a:pt x="33" y="185"/>
                  </a:lnTo>
                  <a:lnTo>
                    <a:pt x="35" y="185"/>
                  </a:lnTo>
                  <a:lnTo>
                    <a:pt x="40" y="187"/>
                  </a:lnTo>
                  <a:lnTo>
                    <a:pt x="43" y="187"/>
                  </a:lnTo>
                  <a:lnTo>
                    <a:pt x="45" y="187"/>
                  </a:lnTo>
                  <a:lnTo>
                    <a:pt x="47" y="180"/>
                  </a:lnTo>
                  <a:lnTo>
                    <a:pt x="54" y="175"/>
                  </a:lnTo>
                  <a:lnTo>
                    <a:pt x="59" y="170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9" y="163"/>
                  </a:lnTo>
                  <a:lnTo>
                    <a:pt x="69" y="163"/>
                  </a:lnTo>
                  <a:lnTo>
                    <a:pt x="69" y="163"/>
                  </a:lnTo>
                  <a:lnTo>
                    <a:pt x="66" y="161"/>
                  </a:lnTo>
                  <a:lnTo>
                    <a:pt x="66" y="161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59" y="156"/>
                  </a:lnTo>
                  <a:lnTo>
                    <a:pt x="59" y="156"/>
                  </a:lnTo>
                  <a:lnTo>
                    <a:pt x="57" y="151"/>
                  </a:lnTo>
                  <a:lnTo>
                    <a:pt x="54" y="149"/>
                  </a:lnTo>
                  <a:lnTo>
                    <a:pt x="54" y="149"/>
                  </a:lnTo>
                  <a:lnTo>
                    <a:pt x="52" y="147"/>
                  </a:lnTo>
                  <a:lnTo>
                    <a:pt x="50" y="144"/>
                  </a:lnTo>
                  <a:lnTo>
                    <a:pt x="50" y="142"/>
                  </a:lnTo>
                  <a:lnTo>
                    <a:pt x="52" y="137"/>
                  </a:lnTo>
                  <a:lnTo>
                    <a:pt x="52" y="135"/>
                  </a:lnTo>
                  <a:lnTo>
                    <a:pt x="54" y="135"/>
                  </a:lnTo>
                  <a:lnTo>
                    <a:pt x="61" y="133"/>
                  </a:lnTo>
                  <a:lnTo>
                    <a:pt x="64" y="133"/>
                  </a:lnTo>
                  <a:lnTo>
                    <a:pt x="69" y="125"/>
                  </a:lnTo>
                  <a:lnTo>
                    <a:pt x="71" y="125"/>
                  </a:lnTo>
                  <a:lnTo>
                    <a:pt x="71" y="123"/>
                  </a:lnTo>
                  <a:lnTo>
                    <a:pt x="73" y="116"/>
                  </a:lnTo>
                  <a:lnTo>
                    <a:pt x="85" y="102"/>
                  </a:lnTo>
                  <a:lnTo>
                    <a:pt x="85" y="102"/>
                  </a:lnTo>
                  <a:lnTo>
                    <a:pt x="87" y="99"/>
                  </a:lnTo>
                  <a:lnTo>
                    <a:pt x="87" y="102"/>
                  </a:lnTo>
                  <a:lnTo>
                    <a:pt x="90" y="102"/>
                  </a:lnTo>
                  <a:lnTo>
                    <a:pt x="90" y="102"/>
                  </a:lnTo>
                  <a:lnTo>
                    <a:pt x="92" y="104"/>
                  </a:lnTo>
                  <a:lnTo>
                    <a:pt x="97" y="104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102" y="106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6" y="114"/>
                  </a:lnTo>
                  <a:lnTo>
                    <a:pt x="109" y="114"/>
                  </a:lnTo>
                  <a:lnTo>
                    <a:pt x="111" y="116"/>
                  </a:lnTo>
                  <a:lnTo>
                    <a:pt x="113" y="116"/>
                  </a:lnTo>
                  <a:lnTo>
                    <a:pt x="113" y="114"/>
                  </a:lnTo>
                  <a:lnTo>
                    <a:pt x="116" y="111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21" y="109"/>
                  </a:lnTo>
                  <a:lnTo>
                    <a:pt x="121" y="111"/>
                  </a:lnTo>
                  <a:lnTo>
                    <a:pt x="123" y="111"/>
                  </a:lnTo>
                  <a:lnTo>
                    <a:pt x="135" y="118"/>
                  </a:lnTo>
                  <a:lnTo>
                    <a:pt x="137" y="118"/>
                  </a:lnTo>
                  <a:lnTo>
                    <a:pt x="137" y="121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42" y="133"/>
                  </a:lnTo>
                  <a:lnTo>
                    <a:pt x="142" y="133"/>
                  </a:lnTo>
                  <a:lnTo>
                    <a:pt x="144" y="135"/>
                  </a:lnTo>
                  <a:lnTo>
                    <a:pt x="147" y="137"/>
                  </a:lnTo>
                  <a:lnTo>
                    <a:pt x="147" y="140"/>
                  </a:lnTo>
                  <a:lnTo>
                    <a:pt x="149" y="140"/>
                  </a:lnTo>
                  <a:lnTo>
                    <a:pt x="149" y="142"/>
                  </a:lnTo>
                  <a:lnTo>
                    <a:pt x="149" y="144"/>
                  </a:lnTo>
                  <a:lnTo>
                    <a:pt x="149" y="147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51" y="149"/>
                  </a:lnTo>
                  <a:lnTo>
                    <a:pt x="156" y="147"/>
                  </a:lnTo>
                  <a:lnTo>
                    <a:pt x="168" y="137"/>
                  </a:lnTo>
                  <a:lnTo>
                    <a:pt x="168" y="135"/>
                  </a:lnTo>
                  <a:lnTo>
                    <a:pt x="170" y="133"/>
                  </a:lnTo>
                  <a:lnTo>
                    <a:pt x="170" y="130"/>
                  </a:lnTo>
                  <a:lnTo>
                    <a:pt x="173" y="128"/>
                  </a:lnTo>
                  <a:lnTo>
                    <a:pt x="177" y="116"/>
                  </a:lnTo>
                  <a:lnTo>
                    <a:pt x="182" y="104"/>
                  </a:lnTo>
                  <a:lnTo>
                    <a:pt x="189" y="90"/>
                  </a:lnTo>
                  <a:lnTo>
                    <a:pt x="196" y="80"/>
                  </a:lnTo>
                  <a:lnTo>
                    <a:pt x="199" y="76"/>
                  </a:lnTo>
                  <a:lnTo>
                    <a:pt x="199" y="71"/>
                  </a:lnTo>
                  <a:lnTo>
                    <a:pt x="199" y="71"/>
                  </a:lnTo>
                  <a:lnTo>
                    <a:pt x="199" y="66"/>
                  </a:lnTo>
                  <a:lnTo>
                    <a:pt x="196" y="66"/>
                  </a:lnTo>
                  <a:lnTo>
                    <a:pt x="196" y="62"/>
                  </a:lnTo>
                  <a:lnTo>
                    <a:pt x="199" y="62"/>
                  </a:lnTo>
                  <a:lnTo>
                    <a:pt x="201" y="59"/>
                  </a:lnTo>
                  <a:lnTo>
                    <a:pt x="203" y="57"/>
                  </a:lnTo>
                  <a:lnTo>
                    <a:pt x="222" y="28"/>
                  </a:lnTo>
                  <a:lnTo>
                    <a:pt x="222" y="26"/>
                  </a:lnTo>
                  <a:lnTo>
                    <a:pt x="222" y="26"/>
                  </a:lnTo>
                  <a:lnTo>
                    <a:pt x="222" y="21"/>
                  </a:lnTo>
                  <a:lnTo>
                    <a:pt x="222" y="19"/>
                  </a:lnTo>
                  <a:lnTo>
                    <a:pt x="222" y="17"/>
                  </a:lnTo>
                  <a:lnTo>
                    <a:pt x="222" y="12"/>
                  </a:lnTo>
                  <a:lnTo>
                    <a:pt x="225" y="9"/>
                  </a:lnTo>
                  <a:lnTo>
                    <a:pt x="225" y="7"/>
                  </a:lnTo>
                  <a:lnTo>
                    <a:pt x="225" y="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29">
              <a:extLst>
                <a:ext uri="{FF2B5EF4-FFF2-40B4-BE49-F238E27FC236}">
                  <a16:creationId xmlns:a16="http://schemas.microsoft.com/office/drawing/2014/main" id="{9770223B-BA4E-4C12-AD9A-86BED114A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132" y="3702427"/>
              <a:ext cx="1562561" cy="942143"/>
            </a:xfrm>
            <a:custGeom>
              <a:avLst/>
              <a:gdLst>
                <a:gd name="T0" fmla="*/ 1221 w 1230"/>
                <a:gd name="T1" fmla="*/ 629 h 741"/>
                <a:gd name="T2" fmla="*/ 1214 w 1230"/>
                <a:gd name="T3" fmla="*/ 703 h 741"/>
                <a:gd name="T4" fmla="*/ 1197 w 1230"/>
                <a:gd name="T5" fmla="*/ 738 h 741"/>
                <a:gd name="T6" fmla="*/ 1117 w 1230"/>
                <a:gd name="T7" fmla="*/ 715 h 741"/>
                <a:gd name="T8" fmla="*/ 1083 w 1230"/>
                <a:gd name="T9" fmla="*/ 670 h 741"/>
                <a:gd name="T10" fmla="*/ 1055 w 1230"/>
                <a:gd name="T11" fmla="*/ 622 h 741"/>
                <a:gd name="T12" fmla="*/ 1029 w 1230"/>
                <a:gd name="T13" fmla="*/ 582 h 741"/>
                <a:gd name="T14" fmla="*/ 866 w 1230"/>
                <a:gd name="T15" fmla="*/ 584 h 741"/>
                <a:gd name="T16" fmla="*/ 800 w 1230"/>
                <a:gd name="T17" fmla="*/ 566 h 741"/>
                <a:gd name="T18" fmla="*/ 826 w 1230"/>
                <a:gd name="T19" fmla="*/ 528 h 741"/>
                <a:gd name="T20" fmla="*/ 792 w 1230"/>
                <a:gd name="T21" fmla="*/ 532 h 741"/>
                <a:gd name="T22" fmla="*/ 764 w 1230"/>
                <a:gd name="T23" fmla="*/ 528 h 741"/>
                <a:gd name="T24" fmla="*/ 681 w 1230"/>
                <a:gd name="T25" fmla="*/ 589 h 741"/>
                <a:gd name="T26" fmla="*/ 662 w 1230"/>
                <a:gd name="T27" fmla="*/ 568 h 741"/>
                <a:gd name="T28" fmla="*/ 641 w 1230"/>
                <a:gd name="T29" fmla="*/ 566 h 741"/>
                <a:gd name="T30" fmla="*/ 624 w 1230"/>
                <a:gd name="T31" fmla="*/ 487 h 741"/>
                <a:gd name="T32" fmla="*/ 615 w 1230"/>
                <a:gd name="T33" fmla="*/ 478 h 741"/>
                <a:gd name="T34" fmla="*/ 589 w 1230"/>
                <a:gd name="T35" fmla="*/ 459 h 741"/>
                <a:gd name="T36" fmla="*/ 572 w 1230"/>
                <a:gd name="T37" fmla="*/ 466 h 741"/>
                <a:gd name="T38" fmla="*/ 565 w 1230"/>
                <a:gd name="T39" fmla="*/ 471 h 741"/>
                <a:gd name="T40" fmla="*/ 553 w 1230"/>
                <a:gd name="T41" fmla="*/ 466 h 741"/>
                <a:gd name="T42" fmla="*/ 532 w 1230"/>
                <a:gd name="T43" fmla="*/ 492 h 741"/>
                <a:gd name="T44" fmla="*/ 452 w 1230"/>
                <a:gd name="T45" fmla="*/ 431 h 741"/>
                <a:gd name="T46" fmla="*/ 430 w 1230"/>
                <a:gd name="T47" fmla="*/ 419 h 741"/>
                <a:gd name="T48" fmla="*/ 419 w 1230"/>
                <a:gd name="T49" fmla="*/ 431 h 741"/>
                <a:gd name="T50" fmla="*/ 374 w 1230"/>
                <a:gd name="T51" fmla="*/ 414 h 741"/>
                <a:gd name="T52" fmla="*/ 383 w 1230"/>
                <a:gd name="T53" fmla="*/ 405 h 741"/>
                <a:gd name="T54" fmla="*/ 362 w 1230"/>
                <a:gd name="T55" fmla="*/ 369 h 741"/>
                <a:gd name="T56" fmla="*/ 322 w 1230"/>
                <a:gd name="T57" fmla="*/ 350 h 741"/>
                <a:gd name="T58" fmla="*/ 232 w 1230"/>
                <a:gd name="T59" fmla="*/ 395 h 741"/>
                <a:gd name="T60" fmla="*/ 180 w 1230"/>
                <a:gd name="T61" fmla="*/ 393 h 741"/>
                <a:gd name="T62" fmla="*/ 118 w 1230"/>
                <a:gd name="T63" fmla="*/ 383 h 741"/>
                <a:gd name="T64" fmla="*/ 128 w 1230"/>
                <a:gd name="T65" fmla="*/ 360 h 741"/>
                <a:gd name="T66" fmla="*/ 128 w 1230"/>
                <a:gd name="T67" fmla="*/ 346 h 741"/>
                <a:gd name="T68" fmla="*/ 121 w 1230"/>
                <a:gd name="T69" fmla="*/ 334 h 741"/>
                <a:gd name="T70" fmla="*/ 92 w 1230"/>
                <a:gd name="T71" fmla="*/ 334 h 741"/>
                <a:gd name="T72" fmla="*/ 64 w 1230"/>
                <a:gd name="T73" fmla="*/ 315 h 741"/>
                <a:gd name="T74" fmla="*/ 64 w 1230"/>
                <a:gd name="T75" fmla="*/ 298 h 741"/>
                <a:gd name="T76" fmla="*/ 68 w 1230"/>
                <a:gd name="T77" fmla="*/ 286 h 741"/>
                <a:gd name="T78" fmla="*/ 45 w 1230"/>
                <a:gd name="T79" fmla="*/ 260 h 741"/>
                <a:gd name="T80" fmla="*/ 5 w 1230"/>
                <a:gd name="T81" fmla="*/ 237 h 741"/>
                <a:gd name="T82" fmla="*/ 0 w 1230"/>
                <a:gd name="T83" fmla="*/ 201 h 741"/>
                <a:gd name="T84" fmla="*/ 24 w 1230"/>
                <a:gd name="T85" fmla="*/ 199 h 741"/>
                <a:gd name="T86" fmla="*/ 38 w 1230"/>
                <a:gd name="T87" fmla="*/ 182 h 741"/>
                <a:gd name="T88" fmla="*/ 57 w 1230"/>
                <a:gd name="T89" fmla="*/ 161 h 741"/>
                <a:gd name="T90" fmla="*/ 50 w 1230"/>
                <a:gd name="T91" fmla="*/ 152 h 741"/>
                <a:gd name="T92" fmla="*/ 42 w 1230"/>
                <a:gd name="T93" fmla="*/ 135 h 741"/>
                <a:gd name="T94" fmla="*/ 38 w 1230"/>
                <a:gd name="T95" fmla="*/ 104 h 741"/>
                <a:gd name="T96" fmla="*/ 40 w 1230"/>
                <a:gd name="T97" fmla="*/ 62 h 741"/>
                <a:gd name="T98" fmla="*/ 310 w 1230"/>
                <a:gd name="T99" fmla="*/ 0 h 741"/>
                <a:gd name="T100" fmla="*/ 371 w 1230"/>
                <a:gd name="T101" fmla="*/ 43 h 741"/>
                <a:gd name="T102" fmla="*/ 348 w 1230"/>
                <a:gd name="T103" fmla="*/ 88 h 741"/>
                <a:gd name="T104" fmla="*/ 317 w 1230"/>
                <a:gd name="T105" fmla="*/ 201 h 741"/>
                <a:gd name="T106" fmla="*/ 516 w 1230"/>
                <a:gd name="T107" fmla="*/ 260 h 741"/>
                <a:gd name="T108" fmla="*/ 632 w 1230"/>
                <a:gd name="T109" fmla="*/ 284 h 741"/>
                <a:gd name="T110" fmla="*/ 809 w 1230"/>
                <a:gd name="T111" fmla="*/ 348 h 741"/>
                <a:gd name="T112" fmla="*/ 937 w 1230"/>
                <a:gd name="T113" fmla="*/ 388 h 741"/>
                <a:gd name="T114" fmla="*/ 1027 w 1230"/>
                <a:gd name="T115" fmla="*/ 412 h 741"/>
                <a:gd name="T116" fmla="*/ 1109 w 1230"/>
                <a:gd name="T117" fmla="*/ 471 h 741"/>
                <a:gd name="T118" fmla="*/ 1164 w 1230"/>
                <a:gd name="T119" fmla="*/ 513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0" h="741">
                  <a:moveTo>
                    <a:pt x="1228" y="594"/>
                  </a:moveTo>
                  <a:lnTo>
                    <a:pt x="1228" y="594"/>
                  </a:lnTo>
                  <a:lnTo>
                    <a:pt x="1228" y="596"/>
                  </a:lnTo>
                  <a:lnTo>
                    <a:pt x="1230" y="599"/>
                  </a:lnTo>
                  <a:lnTo>
                    <a:pt x="1228" y="603"/>
                  </a:lnTo>
                  <a:lnTo>
                    <a:pt x="1223" y="611"/>
                  </a:lnTo>
                  <a:lnTo>
                    <a:pt x="1223" y="622"/>
                  </a:lnTo>
                  <a:lnTo>
                    <a:pt x="1221" y="629"/>
                  </a:lnTo>
                  <a:lnTo>
                    <a:pt x="1211" y="639"/>
                  </a:lnTo>
                  <a:lnTo>
                    <a:pt x="1209" y="660"/>
                  </a:lnTo>
                  <a:lnTo>
                    <a:pt x="1206" y="665"/>
                  </a:lnTo>
                  <a:lnTo>
                    <a:pt x="1209" y="674"/>
                  </a:lnTo>
                  <a:lnTo>
                    <a:pt x="1206" y="684"/>
                  </a:lnTo>
                  <a:lnTo>
                    <a:pt x="1206" y="686"/>
                  </a:lnTo>
                  <a:lnTo>
                    <a:pt x="1211" y="698"/>
                  </a:lnTo>
                  <a:lnTo>
                    <a:pt x="1214" y="703"/>
                  </a:lnTo>
                  <a:lnTo>
                    <a:pt x="1214" y="726"/>
                  </a:lnTo>
                  <a:lnTo>
                    <a:pt x="1216" y="729"/>
                  </a:lnTo>
                  <a:lnTo>
                    <a:pt x="1214" y="731"/>
                  </a:lnTo>
                  <a:lnTo>
                    <a:pt x="1211" y="736"/>
                  </a:lnTo>
                  <a:lnTo>
                    <a:pt x="1211" y="738"/>
                  </a:lnTo>
                  <a:lnTo>
                    <a:pt x="1204" y="741"/>
                  </a:lnTo>
                  <a:lnTo>
                    <a:pt x="1199" y="738"/>
                  </a:lnTo>
                  <a:lnTo>
                    <a:pt x="1197" y="738"/>
                  </a:lnTo>
                  <a:lnTo>
                    <a:pt x="1180" y="729"/>
                  </a:lnTo>
                  <a:lnTo>
                    <a:pt x="1176" y="729"/>
                  </a:lnTo>
                  <a:lnTo>
                    <a:pt x="1162" y="731"/>
                  </a:lnTo>
                  <a:lnTo>
                    <a:pt x="1157" y="731"/>
                  </a:lnTo>
                  <a:lnTo>
                    <a:pt x="1150" y="729"/>
                  </a:lnTo>
                  <a:lnTo>
                    <a:pt x="1140" y="726"/>
                  </a:lnTo>
                  <a:lnTo>
                    <a:pt x="1128" y="719"/>
                  </a:lnTo>
                  <a:lnTo>
                    <a:pt x="1117" y="715"/>
                  </a:lnTo>
                  <a:lnTo>
                    <a:pt x="1112" y="715"/>
                  </a:lnTo>
                  <a:lnTo>
                    <a:pt x="1107" y="712"/>
                  </a:lnTo>
                  <a:lnTo>
                    <a:pt x="1081" y="686"/>
                  </a:lnTo>
                  <a:lnTo>
                    <a:pt x="1076" y="684"/>
                  </a:lnTo>
                  <a:lnTo>
                    <a:pt x="1076" y="679"/>
                  </a:lnTo>
                  <a:lnTo>
                    <a:pt x="1081" y="679"/>
                  </a:lnTo>
                  <a:lnTo>
                    <a:pt x="1083" y="674"/>
                  </a:lnTo>
                  <a:lnTo>
                    <a:pt x="1083" y="670"/>
                  </a:lnTo>
                  <a:lnTo>
                    <a:pt x="1079" y="665"/>
                  </a:lnTo>
                  <a:lnTo>
                    <a:pt x="1076" y="663"/>
                  </a:lnTo>
                  <a:lnTo>
                    <a:pt x="1067" y="660"/>
                  </a:lnTo>
                  <a:lnTo>
                    <a:pt x="1062" y="660"/>
                  </a:lnTo>
                  <a:lnTo>
                    <a:pt x="1072" y="648"/>
                  </a:lnTo>
                  <a:lnTo>
                    <a:pt x="1074" y="639"/>
                  </a:lnTo>
                  <a:lnTo>
                    <a:pt x="1067" y="632"/>
                  </a:lnTo>
                  <a:lnTo>
                    <a:pt x="1055" y="622"/>
                  </a:lnTo>
                  <a:lnTo>
                    <a:pt x="1046" y="618"/>
                  </a:lnTo>
                  <a:lnTo>
                    <a:pt x="1041" y="613"/>
                  </a:lnTo>
                  <a:lnTo>
                    <a:pt x="1036" y="608"/>
                  </a:lnTo>
                  <a:lnTo>
                    <a:pt x="1036" y="599"/>
                  </a:lnTo>
                  <a:lnTo>
                    <a:pt x="1034" y="592"/>
                  </a:lnTo>
                  <a:lnTo>
                    <a:pt x="1029" y="587"/>
                  </a:lnTo>
                  <a:lnTo>
                    <a:pt x="1027" y="584"/>
                  </a:lnTo>
                  <a:lnTo>
                    <a:pt x="1029" y="582"/>
                  </a:lnTo>
                  <a:lnTo>
                    <a:pt x="1029" y="580"/>
                  </a:lnTo>
                  <a:lnTo>
                    <a:pt x="1012" y="570"/>
                  </a:lnTo>
                  <a:lnTo>
                    <a:pt x="1005" y="570"/>
                  </a:lnTo>
                  <a:lnTo>
                    <a:pt x="901" y="589"/>
                  </a:lnTo>
                  <a:lnTo>
                    <a:pt x="894" y="589"/>
                  </a:lnTo>
                  <a:lnTo>
                    <a:pt x="875" y="582"/>
                  </a:lnTo>
                  <a:lnTo>
                    <a:pt x="873" y="582"/>
                  </a:lnTo>
                  <a:lnTo>
                    <a:pt x="866" y="584"/>
                  </a:lnTo>
                  <a:lnTo>
                    <a:pt x="863" y="584"/>
                  </a:lnTo>
                  <a:lnTo>
                    <a:pt x="861" y="584"/>
                  </a:lnTo>
                  <a:lnTo>
                    <a:pt x="854" y="580"/>
                  </a:lnTo>
                  <a:lnTo>
                    <a:pt x="852" y="577"/>
                  </a:lnTo>
                  <a:lnTo>
                    <a:pt x="847" y="577"/>
                  </a:lnTo>
                  <a:lnTo>
                    <a:pt x="828" y="573"/>
                  </a:lnTo>
                  <a:lnTo>
                    <a:pt x="809" y="568"/>
                  </a:lnTo>
                  <a:lnTo>
                    <a:pt x="800" y="566"/>
                  </a:lnTo>
                  <a:lnTo>
                    <a:pt x="795" y="561"/>
                  </a:lnTo>
                  <a:lnTo>
                    <a:pt x="802" y="556"/>
                  </a:lnTo>
                  <a:lnTo>
                    <a:pt x="807" y="549"/>
                  </a:lnTo>
                  <a:lnTo>
                    <a:pt x="807" y="542"/>
                  </a:lnTo>
                  <a:lnTo>
                    <a:pt x="797" y="537"/>
                  </a:lnTo>
                  <a:lnTo>
                    <a:pt x="804" y="532"/>
                  </a:lnTo>
                  <a:lnTo>
                    <a:pt x="818" y="532"/>
                  </a:lnTo>
                  <a:lnTo>
                    <a:pt x="826" y="528"/>
                  </a:lnTo>
                  <a:lnTo>
                    <a:pt x="826" y="521"/>
                  </a:lnTo>
                  <a:lnTo>
                    <a:pt x="821" y="521"/>
                  </a:lnTo>
                  <a:lnTo>
                    <a:pt x="807" y="528"/>
                  </a:lnTo>
                  <a:lnTo>
                    <a:pt x="809" y="528"/>
                  </a:lnTo>
                  <a:lnTo>
                    <a:pt x="809" y="525"/>
                  </a:lnTo>
                  <a:lnTo>
                    <a:pt x="802" y="523"/>
                  </a:lnTo>
                  <a:lnTo>
                    <a:pt x="797" y="528"/>
                  </a:lnTo>
                  <a:lnTo>
                    <a:pt x="792" y="532"/>
                  </a:lnTo>
                  <a:lnTo>
                    <a:pt x="785" y="537"/>
                  </a:lnTo>
                  <a:lnTo>
                    <a:pt x="783" y="535"/>
                  </a:lnTo>
                  <a:lnTo>
                    <a:pt x="781" y="532"/>
                  </a:lnTo>
                  <a:lnTo>
                    <a:pt x="778" y="530"/>
                  </a:lnTo>
                  <a:lnTo>
                    <a:pt x="776" y="528"/>
                  </a:lnTo>
                  <a:lnTo>
                    <a:pt x="774" y="525"/>
                  </a:lnTo>
                  <a:lnTo>
                    <a:pt x="766" y="528"/>
                  </a:lnTo>
                  <a:lnTo>
                    <a:pt x="764" y="528"/>
                  </a:lnTo>
                  <a:lnTo>
                    <a:pt x="740" y="530"/>
                  </a:lnTo>
                  <a:lnTo>
                    <a:pt x="719" y="547"/>
                  </a:lnTo>
                  <a:lnTo>
                    <a:pt x="703" y="570"/>
                  </a:lnTo>
                  <a:lnTo>
                    <a:pt x="691" y="596"/>
                  </a:lnTo>
                  <a:lnTo>
                    <a:pt x="688" y="594"/>
                  </a:lnTo>
                  <a:lnTo>
                    <a:pt x="686" y="594"/>
                  </a:lnTo>
                  <a:lnTo>
                    <a:pt x="684" y="592"/>
                  </a:lnTo>
                  <a:lnTo>
                    <a:pt x="681" y="589"/>
                  </a:lnTo>
                  <a:lnTo>
                    <a:pt x="681" y="587"/>
                  </a:lnTo>
                  <a:lnTo>
                    <a:pt x="679" y="584"/>
                  </a:lnTo>
                  <a:lnTo>
                    <a:pt x="677" y="584"/>
                  </a:lnTo>
                  <a:lnTo>
                    <a:pt x="674" y="582"/>
                  </a:lnTo>
                  <a:lnTo>
                    <a:pt x="672" y="580"/>
                  </a:lnTo>
                  <a:lnTo>
                    <a:pt x="665" y="570"/>
                  </a:lnTo>
                  <a:lnTo>
                    <a:pt x="662" y="568"/>
                  </a:lnTo>
                  <a:lnTo>
                    <a:pt x="662" y="568"/>
                  </a:lnTo>
                  <a:lnTo>
                    <a:pt x="658" y="568"/>
                  </a:lnTo>
                  <a:lnTo>
                    <a:pt x="658" y="568"/>
                  </a:lnTo>
                  <a:lnTo>
                    <a:pt x="650" y="573"/>
                  </a:lnTo>
                  <a:lnTo>
                    <a:pt x="648" y="573"/>
                  </a:lnTo>
                  <a:lnTo>
                    <a:pt x="648" y="573"/>
                  </a:lnTo>
                  <a:lnTo>
                    <a:pt x="646" y="573"/>
                  </a:lnTo>
                  <a:lnTo>
                    <a:pt x="643" y="568"/>
                  </a:lnTo>
                  <a:lnTo>
                    <a:pt x="641" y="566"/>
                  </a:lnTo>
                  <a:lnTo>
                    <a:pt x="634" y="544"/>
                  </a:lnTo>
                  <a:lnTo>
                    <a:pt x="632" y="542"/>
                  </a:lnTo>
                  <a:lnTo>
                    <a:pt x="632" y="540"/>
                  </a:lnTo>
                  <a:lnTo>
                    <a:pt x="629" y="521"/>
                  </a:lnTo>
                  <a:lnTo>
                    <a:pt x="624" y="504"/>
                  </a:lnTo>
                  <a:lnTo>
                    <a:pt x="624" y="492"/>
                  </a:lnTo>
                  <a:lnTo>
                    <a:pt x="624" y="490"/>
                  </a:lnTo>
                  <a:lnTo>
                    <a:pt x="624" y="487"/>
                  </a:lnTo>
                  <a:lnTo>
                    <a:pt x="622" y="485"/>
                  </a:lnTo>
                  <a:lnTo>
                    <a:pt x="622" y="483"/>
                  </a:lnTo>
                  <a:lnTo>
                    <a:pt x="620" y="483"/>
                  </a:lnTo>
                  <a:lnTo>
                    <a:pt x="617" y="483"/>
                  </a:lnTo>
                  <a:lnTo>
                    <a:pt x="617" y="480"/>
                  </a:lnTo>
                  <a:lnTo>
                    <a:pt x="615" y="480"/>
                  </a:lnTo>
                  <a:lnTo>
                    <a:pt x="615" y="480"/>
                  </a:lnTo>
                  <a:lnTo>
                    <a:pt x="615" y="478"/>
                  </a:lnTo>
                  <a:lnTo>
                    <a:pt x="620" y="476"/>
                  </a:lnTo>
                  <a:lnTo>
                    <a:pt x="620" y="471"/>
                  </a:lnTo>
                  <a:lnTo>
                    <a:pt x="613" y="464"/>
                  </a:lnTo>
                  <a:lnTo>
                    <a:pt x="610" y="464"/>
                  </a:lnTo>
                  <a:lnTo>
                    <a:pt x="608" y="464"/>
                  </a:lnTo>
                  <a:lnTo>
                    <a:pt x="598" y="464"/>
                  </a:lnTo>
                  <a:lnTo>
                    <a:pt x="591" y="461"/>
                  </a:lnTo>
                  <a:lnTo>
                    <a:pt x="589" y="459"/>
                  </a:lnTo>
                  <a:lnTo>
                    <a:pt x="587" y="459"/>
                  </a:lnTo>
                  <a:lnTo>
                    <a:pt x="577" y="459"/>
                  </a:lnTo>
                  <a:lnTo>
                    <a:pt x="575" y="461"/>
                  </a:lnTo>
                  <a:lnTo>
                    <a:pt x="572" y="461"/>
                  </a:lnTo>
                  <a:lnTo>
                    <a:pt x="572" y="464"/>
                  </a:lnTo>
                  <a:lnTo>
                    <a:pt x="575" y="464"/>
                  </a:lnTo>
                  <a:lnTo>
                    <a:pt x="572" y="466"/>
                  </a:lnTo>
                  <a:lnTo>
                    <a:pt x="572" y="466"/>
                  </a:lnTo>
                  <a:lnTo>
                    <a:pt x="565" y="464"/>
                  </a:lnTo>
                  <a:lnTo>
                    <a:pt x="563" y="464"/>
                  </a:lnTo>
                  <a:lnTo>
                    <a:pt x="561" y="464"/>
                  </a:lnTo>
                  <a:lnTo>
                    <a:pt x="561" y="466"/>
                  </a:lnTo>
                  <a:lnTo>
                    <a:pt x="561" y="466"/>
                  </a:lnTo>
                  <a:lnTo>
                    <a:pt x="563" y="469"/>
                  </a:lnTo>
                  <a:lnTo>
                    <a:pt x="565" y="471"/>
                  </a:lnTo>
                  <a:lnTo>
                    <a:pt x="565" y="471"/>
                  </a:lnTo>
                  <a:lnTo>
                    <a:pt x="568" y="473"/>
                  </a:lnTo>
                  <a:lnTo>
                    <a:pt x="568" y="476"/>
                  </a:lnTo>
                  <a:lnTo>
                    <a:pt x="565" y="476"/>
                  </a:lnTo>
                  <a:lnTo>
                    <a:pt x="565" y="476"/>
                  </a:lnTo>
                  <a:lnTo>
                    <a:pt x="563" y="476"/>
                  </a:lnTo>
                  <a:lnTo>
                    <a:pt x="558" y="471"/>
                  </a:lnTo>
                  <a:lnTo>
                    <a:pt x="556" y="469"/>
                  </a:lnTo>
                  <a:lnTo>
                    <a:pt x="553" y="466"/>
                  </a:lnTo>
                  <a:lnTo>
                    <a:pt x="553" y="466"/>
                  </a:lnTo>
                  <a:lnTo>
                    <a:pt x="551" y="466"/>
                  </a:lnTo>
                  <a:lnTo>
                    <a:pt x="551" y="466"/>
                  </a:lnTo>
                  <a:lnTo>
                    <a:pt x="549" y="466"/>
                  </a:lnTo>
                  <a:lnTo>
                    <a:pt x="549" y="466"/>
                  </a:lnTo>
                  <a:lnTo>
                    <a:pt x="544" y="476"/>
                  </a:lnTo>
                  <a:lnTo>
                    <a:pt x="537" y="485"/>
                  </a:lnTo>
                  <a:lnTo>
                    <a:pt x="532" y="492"/>
                  </a:lnTo>
                  <a:lnTo>
                    <a:pt x="532" y="492"/>
                  </a:lnTo>
                  <a:lnTo>
                    <a:pt x="530" y="495"/>
                  </a:lnTo>
                  <a:lnTo>
                    <a:pt x="525" y="495"/>
                  </a:lnTo>
                  <a:lnTo>
                    <a:pt x="520" y="492"/>
                  </a:lnTo>
                  <a:lnTo>
                    <a:pt x="501" y="480"/>
                  </a:lnTo>
                  <a:lnTo>
                    <a:pt x="461" y="447"/>
                  </a:lnTo>
                  <a:lnTo>
                    <a:pt x="456" y="443"/>
                  </a:lnTo>
                  <a:lnTo>
                    <a:pt x="452" y="431"/>
                  </a:lnTo>
                  <a:lnTo>
                    <a:pt x="449" y="426"/>
                  </a:lnTo>
                  <a:lnTo>
                    <a:pt x="447" y="426"/>
                  </a:lnTo>
                  <a:lnTo>
                    <a:pt x="447" y="424"/>
                  </a:lnTo>
                  <a:lnTo>
                    <a:pt x="442" y="421"/>
                  </a:lnTo>
                  <a:lnTo>
                    <a:pt x="438" y="421"/>
                  </a:lnTo>
                  <a:lnTo>
                    <a:pt x="435" y="419"/>
                  </a:lnTo>
                  <a:lnTo>
                    <a:pt x="433" y="419"/>
                  </a:lnTo>
                  <a:lnTo>
                    <a:pt x="430" y="419"/>
                  </a:lnTo>
                  <a:lnTo>
                    <a:pt x="426" y="424"/>
                  </a:lnTo>
                  <a:lnTo>
                    <a:pt x="423" y="424"/>
                  </a:lnTo>
                  <a:lnTo>
                    <a:pt x="423" y="424"/>
                  </a:lnTo>
                  <a:lnTo>
                    <a:pt x="423" y="426"/>
                  </a:lnTo>
                  <a:lnTo>
                    <a:pt x="421" y="428"/>
                  </a:lnTo>
                  <a:lnTo>
                    <a:pt x="421" y="428"/>
                  </a:lnTo>
                  <a:lnTo>
                    <a:pt x="421" y="431"/>
                  </a:lnTo>
                  <a:lnTo>
                    <a:pt x="419" y="431"/>
                  </a:lnTo>
                  <a:lnTo>
                    <a:pt x="416" y="431"/>
                  </a:lnTo>
                  <a:lnTo>
                    <a:pt x="416" y="431"/>
                  </a:lnTo>
                  <a:lnTo>
                    <a:pt x="412" y="428"/>
                  </a:lnTo>
                  <a:lnTo>
                    <a:pt x="376" y="419"/>
                  </a:lnTo>
                  <a:lnTo>
                    <a:pt x="374" y="419"/>
                  </a:lnTo>
                  <a:lnTo>
                    <a:pt x="374" y="416"/>
                  </a:lnTo>
                  <a:lnTo>
                    <a:pt x="374" y="414"/>
                  </a:lnTo>
                  <a:lnTo>
                    <a:pt x="374" y="414"/>
                  </a:lnTo>
                  <a:lnTo>
                    <a:pt x="376" y="412"/>
                  </a:lnTo>
                  <a:lnTo>
                    <a:pt x="376" y="412"/>
                  </a:lnTo>
                  <a:lnTo>
                    <a:pt x="378" y="412"/>
                  </a:lnTo>
                  <a:lnTo>
                    <a:pt x="378" y="412"/>
                  </a:lnTo>
                  <a:lnTo>
                    <a:pt x="378" y="412"/>
                  </a:lnTo>
                  <a:lnTo>
                    <a:pt x="381" y="409"/>
                  </a:lnTo>
                  <a:lnTo>
                    <a:pt x="381" y="407"/>
                  </a:lnTo>
                  <a:lnTo>
                    <a:pt x="383" y="405"/>
                  </a:lnTo>
                  <a:lnTo>
                    <a:pt x="383" y="402"/>
                  </a:lnTo>
                  <a:lnTo>
                    <a:pt x="383" y="400"/>
                  </a:lnTo>
                  <a:lnTo>
                    <a:pt x="383" y="395"/>
                  </a:lnTo>
                  <a:lnTo>
                    <a:pt x="383" y="390"/>
                  </a:lnTo>
                  <a:lnTo>
                    <a:pt x="383" y="388"/>
                  </a:lnTo>
                  <a:lnTo>
                    <a:pt x="381" y="386"/>
                  </a:lnTo>
                  <a:lnTo>
                    <a:pt x="367" y="374"/>
                  </a:lnTo>
                  <a:lnTo>
                    <a:pt x="362" y="369"/>
                  </a:lnTo>
                  <a:lnTo>
                    <a:pt x="357" y="367"/>
                  </a:lnTo>
                  <a:lnTo>
                    <a:pt x="355" y="364"/>
                  </a:lnTo>
                  <a:lnTo>
                    <a:pt x="348" y="362"/>
                  </a:lnTo>
                  <a:lnTo>
                    <a:pt x="336" y="362"/>
                  </a:lnTo>
                  <a:lnTo>
                    <a:pt x="336" y="362"/>
                  </a:lnTo>
                  <a:lnTo>
                    <a:pt x="331" y="357"/>
                  </a:lnTo>
                  <a:lnTo>
                    <a:pt x="324" y="350"/>
                  </a:lnTo>
                  <a:lnTo>
                    <a:pt x="322" y="350"/>
                  </a:lnTo>
                  <a:lnTo>
                    <a:pt x="319" y="353"/>
                  </a:lnTo>
                  <a:lnTo>
                    <a:pt x="296" y="369"/>
                  </a:lnTo>
                  <a:lnTo>
                    <a:pt x="291" y="369"/>
                  </a:lnTo>
                  <a:lnTo>
                    <a:pt x="241" y="376"/>
                  </a:lnTo>
                  <a:lnTo>
                    <a:pt x="239" y="379"/>
                  </a:lnTo>
                  <a:lnTo>
                    <a:pt x="236" y="383"/>
                  </a:lnTo>
                  <a:lnTo>
                    <a:pt x="234" y="388"/>
                  </a:lnTo>
                  <a:lnTo>
                    <a:pt x="232" y="395"/>
                  </a:lnTo>
                  <a:lnTo>
                    <a:pt x="234" y="402"/>
                  </a:lnTo>
                  <a:lnTo>
                    <a:pt x="201" y="398"/>
                  </a:lnTo>
                  <a:lnTo>
                    <a:pt x="189" y="393"/>
                  </a:lnTo>
                  <a:lnTo>
                    <a:pt x="184" y="390"/>
                  </a:lnTo>
                  <a:lnTo>
                    <a:pt x="184" y="390"/>
                  </a:lnTo>
                  <a:lnTo>
                    <a:pt x="182" y="390"/>
                  </a:lnTo>
                  <a:lnTo>
                    <a:pt x="182" y="390"/>
                  </a:lnTo>
                  <a:lnTo>
                    <a:pt x="180" y="393"/>
                  </a:lnTo>
                  <a:lnTo>
                    <a:pt x="177" y="395"/>
                  </a:lnTo>
                  <a:lnTo>
                    <a:pt x="147" y="398"/>
                  </a:lnTo>
                  <a:lnTo>
                    <a:pt x="144" y="398"/>
                  </a:lnTo>
                  <a:lnTo>
                    <a:pt x="142" y="398"/>
                  </a:lnTo>
                  <a:lnTo>
                    <a:pt x="137" y="393"/>
                  </a:lnTo>
                  <a:lnTo>
                    <a:pt x="137" y="390"/>
                  </a:lnTo>
                  <a:lnTo>
                    <a:pt x="135" y="390"/>
                  </a:lnTo>
                  <a:lnTo>
                    <a:pt x="118" y="383"/>
                  </a:lnTo>
                  <a:lnTo>
                    <a:pt x="116" y="383"/>
                  </a:lnTo>
                  <a:lnTo>
                    <a:pt x="116" y="381"/>
                  </a:lnTo>
                  <a:lnTo>
                    <a:pt x="116" y="381"/>
                  </a:lnTo>
                  <a:lnTo>
                    <a:pt x="116" y="379"/>
                  </a:lnTo>
                  <a:lnTo>
                    <a:pt x="116" y="376"/>
                  </a:lnTo>
                  <a:lnTo>
                    <a:pt x="123" y="364"/>
                  </a:lnTo>
                  <a:lnTo>
                    <a:pt x="125" y="362"/>
                  </a:lnTo>
                  <a:lnTo>
                    <a:pt x="128" y="360"/>
                  </a:lnTo>
                  <a:lnTo>
                    <a:pt x="128" y="357"/>
                  </a:lnTo>
                  <a:lnTo>
                    <a:pt x="128" y="357"/>
                  </a:lnTo>
                  <a:lnTo>
                    <a:pt x="128" y="355"/>
                  </a:lnTo>
                  <a:lnTo>
                    <a:pt x="128" y="353"/>
                  </a:lnTo>
                  <a:lnTo>
                    <a:pt x="125" y="350"/>
                  </a:lnTo>
                  <a:lnTo>
                    <a:pt x="125" y="350"/>
                  </a:lnTo>
                  <a:lnTo>
                    <a:pt x="125" y="348"/>
                  </a:lnTo>
                  <a:lnTo>
                    <a:pt x="128" y="346"/>
                  </a:lnTo>
                  <a:lnTo>
                    <a:pt x="130" y="346"/>
                  </a:lnTo>
                  <a:lnTo>
                    <a:pt x="130" y="343"/>
                  </a:lnTo>
                  <a:lnTo>
                    <a:pt x="130" y="343"/>
                  </a:lnTo>
                  <a:lnTo>
                    <a:pt x="130" y="341"/>
                  </a:lnTo>
                  <a:lnTo>
                    <a:pt x="128" y="338"/>
                  </a:lnTo>
                  <a:lnTo>
                    <a:pt x="125" y="336"/>
                  </a:lnTo>
                  <a:lnTo>
                    <a:pt x="123" y="334"/>
                  </a:lnTo>
                  <a:lnTo>
                    <a:pt x="121" y="334"/>
                  </a:lnTo>
                  <a:lnTo>
                    <a:pt x="113" y="331"/>
                  </a:lnTo>
                  <a:lnTo>
                    <a:pt x="102" y="327"/>
                  </a:lnTo>
                  <a:lnTo>
                    <a:pt x="99" y="327"/>
                  </a:lnTo>
                  <a:lnTo>
                    <a:pt x="99" y="327"/>
                  </a:lnTo>
                  <a:lnTo>
                    <a:pt x="97" y="331"/>
                  </a:lnTo>
                  <a:lnTo>
                    <a:pt x="94" y="334"/>
                  </a:lnTo>
                  <a:lnTo>
                    <a:pt x="94" y="334"/>
                  </a:lnTo>
                  <a:lnTo>
                    <a:pt x="92" y="334"/>
                  </a:lnTo>
                  <a:lnTo>
                    <a:pt x="90" y="336"/>
                  </a:lnTo>
                  <a:lnTo>
                    <a:pt x="83" y="322"/>
                  </a:lnTo>
                  <a:lnTo>
                    <a:pt x="78" y="319"/>
                  </a:lnTo>
                  <a:lnTo>
                    <a:pt x="76" y="319"/>
                  </a:lnTo>
                  <a:lnTo>
                    <a:pt x="71" y="319"/>
                  </a:lnTo>
                  <a:lnTo>
                    <a:pt x="66" y="317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1" y="308"/>
                  </a:lnTo>
                  <a:lnTo>
                    <a:pt x="59" y="305"/>
                  </a:lnTo>
                  <a:lnTo>
                    <a:pt x="59" y="305"/>
                  </a:lnTo>
                  <a:lnTo>
                    <a:pt x="59" y="303"/>
                  </a:lnTo>
                  <a:lnTo>
                    <a:pt x="61" y="301"/>
                  </a:lnTo>
                  <a:lnTo>
                    <a:pt x="61" y="301"/>
                  </a:lnTo>
                  <a:lnTo>
                    <a:pt x="61" y="301"/>
                  </a:lnTo>
                  <a:lnTo>
                    <a:pt x="64" y="298"/>
                  </a:lnTo>
                  <a:lnTo>
                    <a:pt x="64" y="296"/>
                  </a:lnTo>
                  <a:lnTo>
                    <a:pt x="64" y="296"/>
                  </a:lnTo>
                  <a:lnTo>
                    <a:pt x="64" y="293"/>
                  </a:lnTo>
                  <a:lnTo>
                    <a:pt x="64" y="293"/>
                  </a:lnTo>
                  <a:lnTo>
                    <a:pt x="66" y="291"/>
                  </a:lnTo>
                  <a:lnTo>
                    <a:pt x="68" y="291"/>
                  </a:lnTo>
                  <a:lnTo>
                    <a:pt x="68" y="289"/>
                  </a:lnTo>
                  <a:lnTo>
                    <a:pt x="68" y="286"/>
                  </a:lnTo>
                  <a:lnTo>
                    <a:pt x="66" y="277"/>
                  </a:lnTo>
                  <a:lnTo>
                    <a:pt x="64" y="275"/>
                  </a:lnTo>
                  <a:lnTo>
                    <a:pt x="61" y="272"/>
                  </a:lnTo>
                  <a:lnTo>
                    <a:pt x="54" y="270"/>
                  </a:lnTo>
                  <a:lnTo>
                    <a:pt x="54" y="270"/>
                  </a:lnTo>
                  <a:lnTo>
                    <a:pt x="52" y="267"/>
                  </a:lnTo>
                  <a:lnTo>
                    <a:pt x="47" y="263"/>
                  </a:lnTo>
                  <a:lnTo>
                    <a:pt x="45" y="260"/>
                  </a:lnTo>
                  <a:lnTo>
                    <a:pt x="40" y="260"/>
                  </a:lnTo>
                  <a:lnTo>
                    <a:pt x="31" y="258"/>
                  </a:lnTo>
                  <a:lnTo>
                    <a:pt x="28" y="256"/>
                  </a:lnTo>
                  <a:lnTo>
                    <a:pt x="12" y="246"/>
                  </a:lnTo>
                  <a:lnTo>
                    <a:pt x="7" y="241"/>
                  </a:lnTo>
                  <a:lnTo>
                    <a:pt x="7" y="241"/>
                  </a:lnTo>
                  <a:lnTo>
                    <a:pt x="5" y="239"/>
                  </a:lnTo>
                  <a:lnTo>
                    <a:pt x="5" y="237"/>
                  </a:lnTo>
                  <a:lnTo>
                    <a:pt x="5" y="232"/>
                  </a:lnTo>
                  <a:lnTo>
                    <a:pt x="5" y="227"/>
                  </a:lnTo>
                  <a:lnTo>
                    <a:pt x="5" y="225"/>
                  </a:lnTo>
                  <a:lnTo>
                    <a:pt x="0" y="213"/>
                  </a:lnTo>
                  <a:lnTo>
                    <a:pt x="0" y="208"/>
                  </a:lnTo>
                  <a:lnTo>
                    <a:pt x="0" y="204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199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5" y="196"/>
                  </a:lnTo>
                  <a:lnTo>
                    <a:pt x="5" y="194"/>
                  </a:lnTo>
                  <a:lnTo>
                    <a:pt x="7" y="194"/>
                  </a:lnTo>
                  <a:lnTo>
                    <a:pt x="21" y="199"/>
                  </a:lnTo>
                  <a:lnTo>
                    <a:pt x="24" y="199"/>
                  </a:lnTo>
                  <a:lnTo>
                    <a:pt x="26" y="196"/>
                  </a:lnTo>
                  <a:lnTo>
                    <a:pt x="26" y="196"/>
                  </a:lnTo>
                  <a:lnTo>
                    <a:pt x="31" y="192"/>
                  </a:lnTo>
                  <a:lnTo>
                    <a:pt x="31" y="187"/>
                  </a:lnTo>
                  <a:lnTo>
                    <a:pt x="33" y="185"/>
                  </a:lnTo>
                  <a:lnTo>
                    <a:pt x="35" y="185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40" y="180"/>
                  </a:lnTo>
                  <a:lnTo>
                    <a:pt x="42" y="175"/>
                  </a:lnTo>
                  <a:lnTo>
                    <a:pt x="45" y="170"/>
                  </a:lnTo>
                  <a:lnTo>
                    <a:pt x="47" y="168"/>
                  </a:lnTo>
                  <a:lnTo>
                    <a:pt x="50" y="166"/>
                  </a:lnTo>
                  <a:lnTo>
                    <a:pt x="50" y="163"/>
                  </a:lnTo>
                  <a:lnTo>
                    <a:pt x="54" y="161"/>
                  </a:lnTo>
                  <a:lnTo>
                    <a:pt x="57" y="161"/>
                  </a:lnTo>
                  <a:lnTo>
                    <a:pt x="59" y="159"/>
                  </a:lnTo>
                  <a:lnTo>
                    <a:pt x="61" y="154"/>
                  </a:lnTo>
                  <a:lnTo>
                    <a:pt x="61" y="154"/>
                  </a:lnTo>
                  <a:lnTo>
                    <a:pt x="61" y="152"/>
                  </a:lnTo>
                  <a:lnTo>
                    <a:pt x="59" y="152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50" y="152"/>
                  </a:lnTo>
                  <a:lnTo>
                    <a:pt x="47" y="152"/>
                  </a:lnTo>
                  <a:lnTo>
                    <a:pt x="47" y="152"/>
                  </a:lnTo>
                  <a:lnTo>
                    <a:pt x="47" y="149"/>
                  </a:lnTo>
                  <a:lnTo>
                    <a:pt x="45" y="147"/>
                  </a:lnTo>
                  <a:lnTo>
                    <a:pt x="42" y="144"/>
                  </a:lnTo>
                  <a:lnTo>
                    <a:pt x="42" y="137"/>
                  </a:lnTo>
                  <a:lnTo>
                    <a:pt x="42" y="137"/>
                  </a:lnTo>
                  <a:lnTo>
                    <a:pt x="42" y="135"/>
                  </a:lnTo>
                  <a:lnTo>
                    <a:pt x="40" y="133"/>
                  </a:lnTo>
                  <a:lnTo>
                    <a:pt x="40" y="128"/>
                  </a:lnTo>
                  <a:lnTo>
                    <a:pt x="40" y="123"/>
                  </a:lnTo>
                  <a:lnTo>
                    <a:pt x="40" y="121"/>
                  </a:lnTo>
                  <a:lnTo>
                    <a:pt x="40" y="118"/>
                  </a:lnTo>
                  <a:lnTo>
                    <a:pt x="38" y="111"/>
                  </a:lnTo>
                  <a:lnTo>
                    <a:pt x="38" y="109"/>
                  </a:lnTo>
                  <a:lnTo>
                    <a:pt x="38" y="104"/>
                  </a:lnTo>
                  <a:lnTo>
                    <a:pt x="38" y="102"/>
                  </a:lnTo>
                  <a:lnTo>
                    <a:pt x="38" y="99"/>
                  </a:lnTo>
                  <a:lnTo>
                    <a:pt x="40" y="95"/>
                  </a:lnTo>
                  <a:lnTo>
                    <a:pt x="42" y="85"/>
                  </a:lnTo>
                  <a:lnTo>
                    <a:pt x="42" y="83"/>
                  </a:lnTo>
                  <a:lnTo>
                    <a:pt x="42" y="81"/>
                  </a:lnTo>
                  <a:lnTo>
                    <a:pt x="42" y="78"/>
                  </a:lnTo>
                  <a:lnTo>
                    <a:pt x="40" y="62"/>
                  </a:lnTo>
                  <a:lnTo>
                    <a:pt x="40" y="59"/>
                  </a:lnTo>
                  <a:lnTo>
                    <a:pt x="47" y="59"/>
                  </a:lnTo>
                  <a:lnTo>
                    <a:pt x="83" y="52"/>
                  </a:lnTo>
                  <a:lnTo>
                    <a:pt x="121" y="55"/>
                  </a:lnTo>
                  <a:lnTo>
                    <a:pt x="135" y="52"/>
                  </a:lnTo>
                  <a:lnTo>
                    <a:pt x="184" y="33"/>
                  </a:lnTo>
                  <a:lnTo>
                    <a:pt x="234" y="26"/>
                  </a:lnTo>
                  <a:lnTo>
                    <a:pt x="310" y="0"/>
                  </a:lnTo>
                  <a:lnTo>
                    <a:pt x="338" y="2"/>
                  </a:lnTo>
                  <a:lnTo>
                    <a:pt x="338" y="2"/>
                  </a:lnTo>
                  <a:lnTo>
                    <a:pt x="348" y="5"/>
                  </a:lnTo>
                  <a:lnTo>
                    <a:pt x="355" y="14"/>
                  </a:lnTo>
                  <a:lnTo>
                    <a:pt x="362" y="12"/>
                  </a:lnTo>
                  <a:lnTo>
                    <a:pt x="362" y="19"/>
                  </a:lnTo>
                  <a:lnTo>
                    <a:pt x="364" y="26"/>
                  </a:lnTo>
                  <a:lnTo>
                    <a:pt x="371" y="43"/>
                  </a:lnTo>
                  <a:lnTo>
                    <a:pt x="371" y="47"/>
                  </a:lnTo>
                  <a:lnTo>
                    <a:pt x="374" y="55"/>
                  </a:lnTo>
                  <a:lnTo>
                    <a:pt x="371" y="59"/>
                  </a:lnTo>
                  <a:lnTo>
                    <a:pt x="367" y="69"/>
                  </a:lnTo>
                  <a:lnTo>
                    <a:pt x="362" y="76"/>
                  </a:lnTo>
                  <a:lnTo>
                    <a:pt x="357" y="78"/>
                  </a:lnTo>
                  <a:lnTo>
                    <a:pt x="350" y="83"/>
                  </a:lnTo>
                  <a:lnTo>
                    <a:pt x="348" y="88"/>
                  </a:lnTo>
                  <a:lnTo>
                    <a:pt x="341" y="99"/>
                  </a:lnTo>
                  <a:lnTo>
                    <a:pt x="331" y="111"/>
                  </a:lnTo>
                  <a:lnTo>
                    <a:pt x="303" y="135"/>
                  </a:lnTo>
                  <a:lnTo>
                    <a:pt x="298" y="147"/>
                  </a:lnTo>
                  <a:lnTo>
                    <a:pt x="298" y="163"/>
                  </a:lnTo>
                  <a:lnTo>
                    <a:pt x="303" y="180"/>
                  </a:lnTo>
                  <a:lnTo>
                    <a:pt x="310" y="192"/>
                  </a:lnTo>
                  <a:lnTo>
                    <a:pt x="317" y="201"/>
                  </a:lnTo>
                  <a:lnTo>
                    <a:pt x="329" y="208"/>
                  </a:lnTo>
                  <a:lnTo>
                    <a:pt x="350" y="218"/>
                  </a:lnTo>
                  <a:lnTo>
                    <a:pt x="369" y="220"/>
                  </a:lnTo>
                  <a:lnTo>
                    <a:pt x="376" y="222"/>
                  </a:lnTo>
                  <a:lnTo>
                    <a:pt x="381" y="225"/>
                  </a:lnTo>
                  <a:lnTo>
                    <a:pt x="442" y="241"/>
                  </a:lnTo>
                  <a:lnTo>
                    <a:pt x="497" y="258"/>
                  </a:lnTo>
                  <a:lnTo>
                    <a:pt x="516" y="260"/>
                  </a:lnTo>
                  <a:lnTo>
                    <a:pt x="523" y="263"/>
                  </a:lnTo>
                  <a:lnTo>
                    <a:pt x="530" y="267"/>
                  </a:lnTo>
                  <a:lnTo>
                    <a:pt x="542" y="272"/>
                  </a:lnTo>
                  <a:lnTo>
                    <a:pt x="620" y="284"/>
                  </a:lnTo>
                  <a:lnTo>
                    <a:pt x="629" y="286"/>
                  </a:lnTo>
                  <a:lnTo>
                    <a:pt x="629" y="286"/>
                  </a:lnTo>
                  <a:lnTo>
                    <a:pt x="629" y="284"/>
                  </a:lnTo>
                  <a:lnTo>
                    <a:pt x="632" y="284"/>
                  </a:lnTo>
                  <a:lnTo>
                    <a:pt x="639" y="289"/>
                  </a:lnTo>
                  <a:lnTo>
                    <a:pt x="695" y="296"/>
                  </a:lnTo>
                  <a:lnTo>
                    <a:pt x="745" y="310"/>
                  </a:lnTo>
                  <a:lnTo>
                    <a:pt x="771" y="322"/>
                  </a:lnTo>
                  <a:lnTo>
                    <a:pt x="783" y="331"/>
                  </a:lnTo>
                  <a:lnTo>
                    <a:pt x="800" y="346"/>
                  </a:lnTo>
                  <a:lnTo>
                    <a:pt x="804" y="348"/>
                  </a:lnTo>
                  <a:lnTo>
                    <a:pt x="809" y="348"/>
                  </a:lnTo>
                  <a:lnTo>
                    <a:pt x="823" y="355"/>
                  </a:lnTo>
                  <a:lnTo>
                    <a:pt x="844" y="372"/>
                  </a:lnTo>
                  <a:lnTo>
                    <a:pt x="852" y="374"/>
                  </a:lnTo>
                  <a:lnTo>
                    <a:pt x="859" y="374"/>
                  </a:lnTo>
                  <a:lnTo>
                    <a:pt x="871" y="379"/>
                  </a:lnTo>
                  <a:lnTo>
                    <a:pt x="899" y="379"/>
                  </a:lnTo>
                  <a:lnTo>
                    <a:pt x="901" y="381"/>
                  </a:lnTo>
                  <a:lnTo>
                    <a:pt x="937" y="388"/>
                  </a:lnTo>
                  <a:lnTo>
                    <a:pt x="970" y="402"/>
                  </a:lnTo>
                  <a:lnTo>
                    <a:pt x="996" y="402"/>
                  </a:lnTo>
                  <a:lnTo>
                    <a:pt x="1008" y="405"/>
                  </a:lnTo>
                  <a:lnTo>
                    <a:pt x="1008" y="414"/>
                  </a:lnTo>
                  <a:lnTo>
                    <a:pt x="1012" y="414"/>
                  </a:lnTo>
                  <a:lnTo>
                    <a:pt x="1020" y="409"/>
                  </a:lnTo>
                  <a:lnTo>
                    <a:pt x="1024" y="409"/>
                  </a:lnTo>
                  <a:lnTo>
                    <a:pt x="1027" y="412"/>
                  </a:lnTo>
                  <a:lnTo>
                    <a:pt x="1027" y="416"/>
                  </a:lnTo>
                  <a:lnTo>
                    <a:pt x="1029" y="419"/>
                  </a:lnTo>
                  <a:lnTo>
                    <a:pt x="1038" y="424"/>
                  </a:lnTo>
                  <a:lnTo>
                    <a:pt x="1041" y="426"/>
                  </a:lnTo>
                  <a:lnTo>
                    <a:pt x="1043" y="447"/>
                  </a:lnTo>
                  <a:lnTo>
                    <a:pt x="1072" y="461"/>
                  </a:lnTo>
                  <a:lnTo>
                    <a:pt x="1105" y="473"/>
                  </a:lnTo>
                  <a:lnTo>
                    <a:pt x="1109" y="471"/>
                  </a:lnTo>
                  <a:lnTo>
                    <a:pt x="1112" y="473"/>
                  </a:lnTo>
                  <a:lnTo>
                    <a:pt x="1121" y="483"/>
                  </a:lnTo>
                  <a:lnTo>
                    <a:pt x="1126" y="485"/>
                  </a:lnTo>
                  <a:lnTo>
                    <a:pt x="1138" y="492"/>
                  </a:lnTo>
                  <a:lnTo>
                    <a:pt x="1150" y="504"/>
                  </a:lnTo>
                  <a:lnTo>
                    <a:pt x="1154" y="509"/>
                  </a:lnTo>
                  <a:lnTo>
                    <a:pt x="1162" y="511"/>
                  </a:lnTo>
                  <a:lnTo>
                    <a:pt x="1164" y="513"/>
                  </a:lnTo>
                  <a:lnTo>
                    <a:pt x="1190" y="537"/>
                  </a:lnTo>
                  <a:lnTo>
                    <a:pt x="1221" y="582"/>
                  </a:lnTo>
                  <a:lnTo>
                    <a:pt x="1223" y="582"/>
                  </a:lnTo>
                  <a:lnTo>
                    <a:pt x="1223" y="584"/>
                  </a:lnTo>
                  <a:lnTo>
                    <a:pt x="1225" y="584"/>
                  </a:lnTo>
                  <a:lnTo>
                    <a:pt x="1225" y="592"/>
                  </a:lnTo>
                  <a:lnTo>
                    <a:pt x="1228" y="5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31">
              <a:extLst>
                <a:ext uri="{FF2B5EF4-FFF2-40B4-BE49-F238E27FC236}">
                  <a16:creationId xmlns:a16="http://schemas.microsoft.com/office/drawing/2014/main" id="{62FC01C3-5E47-49A0-8F7B-BEE17E762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04478" y="5434845"/>
              <a:ext cx="1479581" cy="1954595"/>
            </a:xfrm>
            <a:custGeom>
              <a:avLst/>
              <a:gdLst>
                <a:gd name="T0" fmla="*/ 989 w 1164"/>
                <a:gd name="T1" fmla="*/ 14 h 1538"/>
                <a:gd name="T2" fmla="*/ 989 w 1164"/>
                <a:gd name="T3" fmla="*/ 0 h 1538"/>
                <a:gd name="T4" fmla="*/ 327 w 1164"/>
                <a:gd name="T5" fmla="*/ 163 h 1538"/>
                <a:gd name="T6" fmla="*/ 788 w 1164"/>
                <a:gd name="T7" fmla="*/ 144 h 1538"/>
                <a:gd name="T8" fmla="*/ 727 w 1164"/>
                <a:gd name="T9" fmla="*/ 161 h 1538"/>
                <a:gd name="T10" fmla="*/ 395 w 1164"/>
                <a:gd name="T11" fmla="*/ 1372 h 1538"/>
                <a:gd name="T12" fmla="*/ 14 w 1164"/>
                <a:gd name="T13" fmla="*/ 537 h 1538"/>
                <a:gd name="T14" fmla="*/ 334 w 1164"/>
                <a:gd name="T15" fmla="*/ 1528 h 1538"/>
                <a:gd name="T16" fmla="*/ 303 w 1164"/>
                <a:gd name="T17" fmla="*/ 1533 h 1538"/>
                <a:gd name="T18" fmla="*/ 334 w 1164"/>
                <a:gd name="T19" fmla="*/ 1528 h 1538"/>
                <a:gd name="T20" fmla="*/ 892 w 1164"/>
                <a:gd name="T21" fmla="*/ 125 h 1538"/>
                <a:gd name="T22" fmla="*/ 43 w 1164"/>
                <a:gd name="T23" fmla="*/ 1039 h 1538"/>
                <a:gd name="T24" fmla="*/ 38 w 1164"/>
                <a:gd name="T25" fmla="*/ 1008 h 1538"/>
                <a:gd name="T26" fmla="*/ 932 w 1164"/>
                <a:gd name="T27" fmla="*/ 173 h 1538"/>
                <a:gd name="T28" fmla="*/ 935 w 1164"/>
                <a:gd name="T29" fmla="*/ 194 h 1538"/>
                <a:gd name="T30" fmla="*/ 930 w 1164"/>
                <a:gd name="T31" fmla="*/ 149 h 1538"/>
                <a:gd name="T32" fmla="*/ 918 w 1164"/>
                <a:gd name="T33" fmla="*/ 163 h 1538"/>
                <a:gd name="T34" fmla="*/ 1141 w 1164"/>
                <a:gd name="T35" fmla="*/ 222 h 1538"/>
                <a:gd name="T36" fmla="*/ 1131 w 1164"/>
                <a:gd name="T37" fmla="*/ 192 h 1538"/>
                <a:gd name="T38" fmla="*/ 1046 w 1164"/>
                <a:gd name="T39" fmla="*/ 248 h 1538"/>
                <a:gd name="T40" fmla="*/ 1032 w 1164"/>
                <a:gd name="T41" fmla="*/ 232 h 1538"/>
                <a:gd name="T42" fmla="*/ 982 w 1164"/>
                <a:gd name="T43" fmla="*/ 291 h 1538"/>
                <a:gd name="T44" fmla="*/ 937 w 1164"/>
                <a:gd name="T45" fmla="*/ 279 h 1538"/>
                <a:gd name="T46" fmla="*/ 864 w 1164"/>
                <a:gd name="T47" fmla="*/ 319 h 1538"/>
                <a:gd name="T48" fmla="*/ 693 w 1164"/>
                <a:gd name="T49" fmla="*/ 390 h 1538"/>
                <a:gd name="T50" fmla="*/ 615 w 1164"/>
                <a:gd name="T51" fmla="*/ 412 h 1538"/>
                <a:gd name="T52" fmla="*/ 552 w 1164"/>
                <a:gd name="T53" fmla="*/ 433 h 1538"/>
                <a:gd name="T54" fmla="*/ 490 w 1164"/>
                <a:gd name="T55" fmla="*/ 397 h 1538"/>
                <a:gd name="T56" fmla="*/ 412 w 1164"/>
                <a:gd name="T57" fmla="*/ 359 h 1538"/>
                <a:gd name="T58" fmla="*/ 384 w 1164"/>
                <a:gd name="T59" fmla="*/ 376 h 1538"/>
                <a:gd name="T60" fmla="*/ 339 w 1164"/>
                <a:gd name="T61" fmla="*/ 393 h 1538"/>
                <a:gd name="T62" fmla="*/ 324 w 1164"/>
                <a:gd name="T63" fmla="*/ 440 h 1538"/>
                <a:gd name="T64" fmla="*/ 232 w 1164"/>
                <a:gd name="T65" fmla="*/ 412 h 1538"/>
                <a:gd name="T66" fmla="*/ 211 w 1164"/>
                <a:gd name="T67" fmla="*/ 435 h 1538"/>
                <a:gd name="T68" fmla="*/ 161 w 1164"/>
                <a:gd name="T69" fmla="*/ 478 h 1538"/>
                <a:gd name="T70" fmla="*/ 149 w 1164"/>
                <a:gd name="T71" fmla="*/ 535 h 1538"/>
                <a:gd name="T72" fmla="*/ 152 w 1164"/>
                <a:gd name="T73" fmla="*/ 570 h 1538"/>
                <a:gd name="T74" fmla="*/ 156 w 1164"/>
                <a:gd name="T75" fmla="*/ 606 h 1538"/>
                <a:gd name="T76" fmla="*/ 223 w 1164"/>
                <a:gd name="T77" fmla="*/ 662 h 1538"/>
                <a:gd name="T78" fmla="*/ 350 w 1164"/>
                <a:gd name="T79" fmla="*/ 672 h 1538"/>
                <a:gd name="T80" fmla="*/ 419 w 1164"/>
                <a:gd name="T81" fmla="*/ 681 h 1538"/>
                <a:gd name="T82" fmla="*/ 464 w 1164"/>
                <a:gd name="T83" fmla="*/ 714 h 1538"/>
                <a:gd name="T84" fmla="*/ 604 w 1164"/>
                <a:gd name="T85" fmla="*/ 774 h 1538"/>
                <a:gd name="T86" fmla="*/ 731 w 1164"/>
                <a:gd name="T87" fmla="*/ 776 h 1538"/>
                <a:gd name="T88" fmla="*/ 916 w 1164"/>
                <a:gd name="T89" fmla="*/ 885 h 1538"/>
                <a:gd name="T90" fmla="*/ 987 w 1164"/>
                <a:gd name="T91" fmla="*/ 908 h 1538"/>
                <a:gd name="T92" fmla="*/ 1065 w 1164"/>
                <a:gd name="T93" fmla="*/ 892 h 1538"/>
                <a:gd name="T94" fmla="*/ 1096 w 1164"/>
                <a:gd name="T95" fmla="*/ 866 h 1538"/>
                <a:gd name="T96" fmla="*/ 1117 w 1164"/>
                <a:gd name="T97" fmla="*/ 769 h 1538"/>
                <a:gd name="T98" fmla="*/ 1141 w 1164"/>
                <a:gd name="T99" fmla="*/ 743 h 1538"/>
                <a:gd name="T100" fmla="*/ 1129 w 1164"/>
                <a:gd name="T101" fmla="*/ 726 h 1538"/>
                <a:gd name="T102" fmla="*/ 1105 w 1164"/>
                <a:gd name="T103" fmla="*/ 693 h 1538"/>
                <a:gd name="T104" fmla="*/ 1091 w 1164"/>
                <a:gd name="T105" fmla="*/ 653 h 1538"/>
                <a:gd name="T106" fmla="*/ 1098 w 1164"/>
                <a:gd name="T107" fmla="*/ 639 h 1538"/>
                <a:gd name="T108" fmla="*/ 1039 w 1164"/>
                <a:gd name="T109" fmla="*/ 556 h 1538"/>
                <a:gd name="T110" fmla="*/ 1063 w 1164"/>
                <a:gd name="T111" fmla="*/ 461 h 1538"/>
                <a:gd name="T112" fmla="*/ 1100 w 1164"/>
                <a:gd name="T113" fmla="*/ 338 h 1538"/>
                <a:gd name="T114" fmla="*/ 116 w 1164"/>
                <a:gd name="T115" fmla="*/ 532 h 1538"/>
                <a:gd name="T116" fmla="*/ 88 w 1164"/>
                <a:gd name="T117" fmla="*/ 530 h 1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64" h="1538">
                  <a:moveTo>
                    <a:pt x="989" y="0"/>
                  </a:moveTo>
                  <a:lnTo>
                    <a:pt x="989" y="0"/>
                  </a:lnTo>
                  <a:lnTo>
                    <a:pt x="992" y="0"/>
                  </a:lnTo>
                  <a:lnTo>
                    <a:pt x="994" y="0"/>
                  </a:lnTo>
                  <a:lnTo>
                    <a:pt x="994" y="5"/>
                  </a:lnTo>
                  <a:lnTo>
                    <a:pt x="992" y="7"/>
                  </a:lnTo>
                  <a:lnTo>
                    <a:pt x="992" y="9"/>
                  </a:lnTo>
                  <a:lnTo>
                    <a:pt x="992" y="14"/>
                  </a:lnTo>
                  <a:lnTo>
                    <a:pt x="989" y="14"/>
                  </a:lnTo>
                  <a:lnTo>
                    <a:pt x="984" y="14"/>
                  </a:lnTo>
                  <a:lnTo>
                    <a:pt x="977" y="9"/>
                  </a:lnTo>
                  <a:lnTo>
                    <a:pt x="977" y="9"/>
                  </a:lnTo>
                  <a:lnTo>
                    <a:pt x="980" y="7"/>
                  </a:lnTo>
                  <a:lnTo>
                    <a:pt x="982" y="5"/>
                  </a:lnTo>
                  <a:lnTo>
                    <a:pt x="984" y="2"/>
                  </a:lnTo>
                  <a:lnTo>
                    <a:pt x="984" y="0"/>
                  </a:lnTo>
                  <a:lnTo>
                    <a:pt x="987" y="0"/>
                  </a:lnTo>
                  <a:lnTo>
                    <a:pt x="989" y="0"/>
                  </a:lnTo>
                  <a:close/>
                  <a:moveTo>
                    <a:pt x="332" y="156"/>
                  </a:moveTo>
                  <a:lnTo>
                    <a:pt x="332" y="156"/>
                  </a:lnTo>
                  <a:lnTo>
                    <a:pt x="336" y="156"/>
                  </a:lnTo>
                  <a:lnTo>
                    <a:pt x="339" y="158"/>
                  </a:lnTo>
                  <a:lnTo>
                    <a:pt x="341" y="158"/>
                  </a:lnTo>
                  <a:lnTo>
                    <a:pt x="334" y="165"/>
                  </a:lnTo>
                  <a:lnTo>
                    <a:pt x="332" y="168"/>
                  </a:lnTo>
                  <a:lnTo>
                    <a:pt x="327" y="168"/>
                  </a:lnTo>
                  <a:lnTo>
                    <a:pt x="327" y="163"/>
                  </a:lnTo>
                  <a:lnTo>
                    <a:pt x="327" y="161"/>
                  </a:lnTo>
                  <a:lnTo>
                    <a:pt x="332" y="156"/>
                  </a:lnTo>
                  <a:close/>
                  <a:moveTo>
                    <a:pt x="795" y="137"/>
                  </a:moveTo>
                  <a:lnTo>
                    <a:pt x="795" y="137"/>
                  </a:lnTo>
                  <a:lnTo>
                    <a:pt x="798" y="139"/>
                  </a:lnTo>
                  <a:lnTo>
                    <a:pt x="800" y="142"/>
                  </a:lnTo>
                  <a:lnTo>
                    <a:pt x="800" y="144"/>
                  </a:lnTo>
                  <a:lnTo>
                    <a:pt x="795" y="144"/>
                  </a:lnTo>
                  <a:lnTo>
                    <a:pt x="788" y="144"/>
                  </a:lnTo>
                  <a:lnTo>
                    <a:pt x="786" y="139"/>
                  </a:lnTo>
                  <a:lnTo>
                    <a:pt x="783" y="135"/>
                  </a:lnTo>
                  <a:lnTo>
                    <a:pt x="786" y="132"/>
                  </a:lnTo>
                  <a:lnTo>
                    <a:pt x="790" y="135"/>
                  </a:lnTo>
                  <a:lnTo>
                    <a:pt x="795" y="137"/>
                  </a:lnTo>
                  <a:close/>
                  <a:moveTo>
                    <a:pt x="724" y="168"/>
                  </a:moveTo>
                  <a:lnTo>
                    <a:pt x="724" y="168"/>
                  </a:lnTo>
                  <a:lnTo>
                    <a:pt x="722" y="163"/>
                  </a:lnTo>
                  <a:lnTo>
                    <a:pt x="727" y="161"/>
                  </a:lnTo>
                  <a:lnTo>
                    <a:pt x="729" y="165"/>
                  </a:lnTo>
                  <a:lnTo>
                    <a:pt x="724" y="168"/>
                  </a:lnTo>
                  <a:close/>
                  <a:moveTo>
                    <a:pt x="393" y="1365"/>
                  </a:moveTo>
                  <a:lnTo>
                    <a:pt x="393" y="1365"/>
                  </a:lnTo>
                  <a:lnTo>
                    <a:pt x="398" y="1365"/>
                  </a:lnTo>
                  <a:lnTo>
                    <a:pt x="400" y="1367"/>
                  </a:lnTo>
                  <a:lnTo>
                    <a:pt x="400" y="1370"/>
                  </a:lnTo>
                  <a:lnTo>
                    <a:pt x="400" y="1372"/>
                  </a:lnTo>
                  <a:lnTo>
                    <a:pt x="395" y="1372"/>
                  </a:lnTo>
                  <a:lnTo>
                    <a:pt x="393" y="1372"/>
                  </a:lnTo>
                  <a:lnTo>
                    <a:pt x="391" y="1370"/>
                  </a:lnTo>
                  <a:lnTo>
                    <a:pt x="391" y="1367"/>
                  </a:lnTo>
                  <a:lnTo>
                    <a:pt x="393" y="1365"/>
                  </a:lnTo>
                  <a:lnTo>
                    <a:pt x="393" y="1365"/>
                  </a:lnTo>
                  <a:close/>
                  <a:moveTo>
                    <a:pt x="17" y="532"/>
                  </a:moveTo>
                  <a:lnTo>
                    <a:pt x="17" y="532"/>
                  </a:lnTo>
                  <a:lnTo>
                    <a:pt x="19" y="535"/>
                  </a:lnTo>
                  <a:lnTo>
                    <a:pt x="14" y="537"/>
                  </a:lnTo>
                  <a:lnTo>
                    <a:pt x="7" y="532"/>
                  </a:lnTo>
                  <a:lnTo>
                    <a:pt x="3" y="527"/>
                  </a:lnTo>
                  <a:lnTo>
                    <a:pt x="0" y="523"/>
                  </a:lnTo>
                  <a:lnTo>
                    <a:pt x="3" y="520"/>
                  </a:lnTo>
                  <a:lnTo>
                    <a:pt x="7" y="518"/>
                  </a:lnTo>
                  <a:lnTo>
                    <a:pt x="12" y="520"/>
                  </a:lnTo>
                  <a:lnTo>
                    <a:pt x="14" y="527"/>
                  </a:lnTo>
                  <a:lnTo>
                    <a:pt x="17" y="532"/>
                  </a:lnTo>
                  <a:close/>
                  <a:moveTo>
                    <a:pt x="334" y="1528"/>
                  </a:moveTo>
                  <a:lnTo>
                    <a:pt x="334" y="1528"/>
                  </a:lnTo>
                  <a:lnTo>
                    <a:pt x="334" y="1533"/>
                  </a:lnTo>
                  <a:lnTo>
                    <a:pt x="334" y="1535"/>
                  </a:lnTo>
                  <a:lnTo>
                    <a:pt x="332" y="1538"/>
                  </a:lnTo>
                  <a:lnTo>
                    <a:pt x="329" y="1538"/>
                  </a:lnTo>
                  <a:lnTo>
                    <a:pt x="327" y="1535"/>
                  </a:lnTo>
                  <a:lnTo>
                    <a:pt x="324" y="1538"/>
                  </a:lnTo>
                  <a:lnTo>
                    <a:pt x="310" y="1533"/>
                  </a:lnTo>
                  <a:lnTo>
                    <a:pt x="303" y="1533"/>
                  </a:lnTo>
                  <a:lnTo>
                    <a:pt x="301" y="1531"/>
                  </a:lnTo>
                  <a:lnTo>
                    <a:pt x="303" y="1528"/>
                  </a:lnTo>
                  <a:lnTo>
                    <a:pt x="310" y="1528"/>
                  </a:lnTo>
                  <a:lnTo>
                    <a:pt x="315" y="1528"/>
                  </a:lnTo>
                  <a:lnTo>
                    <a:pt x="329" y="1526"/>
                  </a:lnTo>
                  <a:lnTo>
                    <a:pt x="334" y="1528"/>
                  </a:lnTo>
                  <a:lnTo>
                    <a:pt x="334" y="1528"/>
                  </a:lnTo>
                  <a:lnTo>
                    <a:pt x="334" y="1528"/>
                  </a:lnTo>
                  <a:lnTo>
                    <a:pt x="334" y="1528"/>
                  </a:lnTo>
                  <a:close/>
                  <a:moveTo>
                    <a:pt x="878" y="132"/>
                  </a:moveTo>
                  <a:lnTo>
                    <a:pt x="878" y="132"/>
                  </a:lnTo>
                  <a:lnTo>
                    <a:pt x="866" y="125"/>
                  </a:lnTo>
                  <a:lnTo>
                    <a:pt x="873" y="118"/>
                  </a:lnTo>
                  <a:lnTo>
                    <a:pt x="883" y="116"/>
                  </a:lnTo>
                  <a:lnTo>
                    <a:pt x="890" y="116"/>
                  </a:lnTo>
                  <a:lnTo>
                    <a:pt x="892" y="121"/>
                  </a:lnTo>
                  <a:lnTo>
                    <a:pt x="892" y="123"/>
                  </a:lnTo>
                  <a:lnTo>
                    <a:pt x="892" y="125"/>
                  </a:lnTo>
                  <a:lnTo>
                    <a:pt x="890" y="130"/>
                  </a:lnTo>
                  <a:lnTo>
                    <a:pt x="890" y="135"/>
                  </a:lnTo>
                  <a:lnTo>
                    <a:pt x="878" y="132"/>
                  </a:lnTo>
                  <a:close/>
                  <a:moveTo>
                    <a:pt x="71" y="1022"/>
                  </a:moveTo>
                  <a:lnTo>
                    <a:pt x="71" y="1022"/>
                  </a:lnTo>
                  <a:lnTo>
                    <a:pt x="74" y="1031"/>
                  </a:lnTo>
                  <a:lnTo>
                    <a:pt x="69" y="1046"/>
                  </a:lnTo>
                  <a:lnTo>
                    <a:pt x="57" y="1046"/>
                  </a:lnTo>
                  <a:lnTo>
                    <a:pt x="43" y="1039"/>
                  </a:lnTo>
                  <a:lnTo>
                    <a:pt x="33" y="1029"/>
                  </a:lnTo>
                  <a:lnTo>
                    <a:pt x="33" y="1027"/>
                  </a:lnTo>
                  <a:lnTo>
                    <a:pt x="29" y="1020"/>
                  </a:lnTo>
                  <a:lnTo>
                    <a:pt x="26" y="1012"/>
                  </a:lnTo>
                  <a:lnTo>
                    <a:pt x="31" y="1010"/>
                  </a:lnTo>
                  <a:lnTo>
                    <a:pt x="33" y="1010"/>
                  </a:lnTo>
                  <a:lnTo>
                    <a:pt x="33" y="1008"/>
                  </a:lnTo>
                  <a:lnTo>
                    <a:pt x="36" y="1005"/>
                  </a:lnTo>
                  <a:lnTo>
                    <a:pt x="38" y="1008"/>
                  </a:lnTo>
                  <a:lnTo>
                    <a:pt x="43" y="1010"/>
                  </a:lnTo>
                  <a:lnTo>
                    <a:pt x="43" y="1010"/>
                  </a:lnTo>
                  <a:lnTo>
                    <a:pt x="48" y="1010"/>
                  </a:lnTo>
                  <a:lnTo>
                    <a:pt x="50" y="1012"/>
                  </a:lnTo>
                  <a:lnTo>
                    <a:pt x="50" y="1012"/>
                  </a:lnTo>
                  <a:lnTo>
                    <a:pt x="52" y="1008"/>
                  </a:lnTo>
                  <a:lnTo>
                    <a:pt x="67" y="1017"/>
                  </a:lnTo>
                  <a:lnTo>
                    <a:pt x="71" y="1022"/>
                  </a:lnTo>
                  <a:close/>
                  <a:moveTo>
                    <a:pt x="932" y="173"/>
                  </a:moveTo>
                  <a:lnTo>
                    <a:pt x="932" y="173"/>
                  </a:lnTo>
                  <a:lnTo>
                    <a:pt x="932" y="180"/>
                  </a:lnTo>
                  <a:lnTo>
                    <a:pt x="937" y="180"/>
                  </a:lnTo>
                  <a:lnTo>
                    <a:pt x="942" y="184"/>
                  </a:lnTo>
                  <a:lnTo>
                    <a:pt x="947" y="189"/>
                  </a:lnTo>
                  <a:lnTo>
                    <a:pt x="949" y="194"/>
                  </a:lnTo>
                  <a:lnTo>
                    <a:pt x="947" y="196"/>
                  </a:lnTo>
                  <a:lnTo>
                    <a:pt x="942" y="201"/>
                  </a:lnTo>
                  <a:lnTo>
                    <a:pt x="935" y="194"/>
                  </a:lnTo>
                  <a:lnTo>
                    <a:pt x="928" y="189"/>
                  </a:lnTo>
                  <a:lnTo>
                    <a:pt x="925" y="182"/>
                  </a:lnTo>
                  <a:lnTo>
                    <a:pt x="930" y="173"/>
                  </a:lnTo>
                  <a:lnTo>
                    <a:pt x="932" y="173"/>
                  </a:lnTo>
                  <a:close/>
                  <a:moveTo>
                    <a:pt x="925" y="137"/>
                  </a:moveTo>
                  <a:lnTo>
                    <a:pt x="925" y="137"/>
                  </a:lnTo>
                  <a:lnTo>
                    <a:pt x="925" y="144"/>
                  </a:lnTo>
                  <a:lnTo>
                    <a:pt x="928" y="147"/>
                  </a:lnTo>
                  <a:lnTo>
                    <a:pt x="930" y="149"/>
                  </a:lnTo>
                  <a:lnTo>
                    <a:pt x="932" y="149"/>
                  </a:lnTo>
                  <a:lnTo>
                    <a:pt x="932" y="151"/>
                  </a:lnTo>
                  <a:lnTo>
                    <a:pt x="923" y="154"/>
                  </a:lnTo>
                  <a:lnTo>
                    <a:pt x="925" y="158"/>
                  </a:lnTo>
                  <a:lnTo>
                    <a:pt x="928" y="161"/>
                  </a:lnTo>
                  <a:lnTo>
                    <a:pt x="930" y="161"/>
                  </a:lnTo>
                  <a:lnTo>
                    <a:pt x="930" y="163"/>
                  </a:lnTo>
                  <a:lnTo>
                    <a:pt x="925" y="165"/>
                  </a:lnTo>
                  <a:lnTo>
                    <a:pt x="918" y="163"/>
                  </a:lnTo>
                  <a:lnTo>
                    <a:pt x="914" y="161"/>
                  </a:lnTo>
                  <a:lnTo>
                    <a:pt x="909" y="158"/>
                  </a:lnTo>
                  <a:lnTo>
                    <a:pt x="906" y="156"/>
                  </a:lnTo>
                  <a:lnTo>
                    <a:pt x="906" y="149"/>
                  </a:lnTo>
                  <a:lnTo>
                    <a:pt x="906" y="142"/>
                  </a:lnTo>
                  <a:lnTo>
                    <a:pt x="911" y="137"/>
                  </a:lnTo>
                  <a:lnTo>
                    <a:pt x="923" y="137"/>
                  </a:lnTo>
                  <a:lnTo>
                    <a:pt x="925" y="137"/>
                  </a:lnTo>
                  <a:close/>
                  <a:moveTo>
                    <a:pt x="1141" y="222"/>
                  </a:moveTo>
                  <a:lnTo>
                    <a:pt x="1141" y="222"/>
                  </a:lnTo>
                  <a:lnTo>
                    <a:pt x="1145" y="215"/>
                  </a:lnTo>
                  <a:lnTo>
                    <a:pt x="1157" y="203"/>
                  </a:lnTo>
                  <a:lnTo>
                    <a:pt x="1160" y="203"/>
                  </a:lnTo>
                  <a:lnTo>
                    <a:pt x="1162" y="201"/>
                  </a:lnTo>
                  <a:lnTo>
                    <a:pt x="1164" y="199"/>
                  </a:lnTo>
                  <a:lnTo>
                    <a:pt x="1164" y="196"/>
                  </a:lnTo>
                  <a:lnTo>
                    <a:pt x="1152" y="196"/>
                  </a:lnTo>
                  <a:lnTo>
                    <a:pt x="1131" y="192"/>
                  </a:lnTo>
                  <a:lnTo>
                    <a:pt x="1122" y="192"/>
                  </a:lnTo>
                  <a:lnTo>
                    <a:pt x="1117" y="196"/>
                  </a:lnTo>
                  <a:lnTo>
                    <a:pt x="1108" y="210"/>
                  </a:lnTo>
                  <a:lnTo>
                    <a:pt x="1096" y="220"/>
                  </a:lnTo>
                  <a:lnTo>
                    <a:pt x="1091" y="222"/>
                  </a:lnTo>
                  <a:lnTo>
                    <a:pt x="1086" y="229"/>
                  </a:lnTo>
                  <a:lnTo>
                    <a:pt x="1063" y="244"/>
                  </a:lnTo>
                  <a:lnTo>
                    <a:pt x="1053" y="246"/>
                  </a:lnTo>
                  <a:lnTo>
                    <a:pt x="1046" y="248"/>
                  </a:lnTo>
                  <a:lnTo>
                    <a:pt x="1041" y="248"/>
                  </a:lnTo>
                  <a:lnTo>
                    <a:pt x="1037" y="246"/>
                  </a:lnTo>
                  <a:lnTo>
                    <a:pt x="1034" y="241"/>
                  </a:lnTo>
                  <a:lnTo>
                    <a:pt x="1034" y="229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32"/>
                  </a:lnTo>
                  <a:lnTo>
                    <a:pt x="1032" y="232"/>
                  </a:lnTo>
                  <a:lnTo>
                    <a:pt x="1032" y="234"/>
                  </a:lnTo>
                  <a:lnTo>
                    <a:pt x="1034" y="236"/>
                  </a:lnTo>
                  <a:lnTo>
                    <a:pt x="1025" y="262"/>
                  </a:lnTo>
                  <a:lnTo>
                    <a:pt x="1018" y="274"/>
                  </a:lnTo>
                  <a:lnTo>
                    <a:pt x="1001" y="286"/>
                  </a:lnTo>
                  <a:lnTo>
                    <a:pt x="996" y="289"/>
                  </a:lnTo>
                  <a:lnTo>
                    <a:pt x="992" y="293"/>
                  </a:lnTo>
                  <a:lnTo>
                    <a:pt x="984" y="293"/>
                  </a:lnTo>
                  <a:lnTo>
                    <a:pt x="982" y="291"/>
                  </a:lnTo>
                  <a:lnTo>
                    <a:pt x="980" y="286"/>
                  </a:lnTo>
                  <a:lnTo>
                    <a:pt x="977" y="286"/>
                  </a:lnTo>
                  <a:lnTo>
                    <a:pt x="975" y="286"/>
                  </a:lnTo>
                  <a:lnTo>
                    <a:pt x="963" y="289"/>
                  </a:lnTo>
                  <a:lnTo>
                    <a:pt x="956" y="286"/>
                  </a:lnTo>
                  <a:lnTo>
                    <a:pt x="951" y="286"/>
                  </a:lnTo>
                  <a:lnTo>
                    <a:pt x="949" y="286"/>
                  </a:lnTo>
                  <a:lnTo>
                    <a:pt x="942" y="279"/>
                  </a:lnTo>
                  <a:lnTo>
                    <a:pt x="937" y="279"/>
                  </a:lnTo>
                  <a:lnTo>
                    <a:pt x="930" y="279"/>
                  </a:lnTo>
                  <a:lnTo>
                    <a:pt x="925" y="279"/>
                  </a:lnTo>
                  <a:lnTo>
                    <a:pt x="923" y="281"/>
                  </a:lnTo>
                  <a:lnTo>
                    <a:pt x="918" y="286"/>
                  </a:lnTo>
                  <a:lnTo>
                    <a:pt x="895" y="298"/>
                  </a:lnTo>
                  <a:lnTo>
                    <a:pt x="890" y="298"/>
                  </a:lnTo>
                  <a:lnTo>
                    <a:pt x="878" y="300"/>
                  </a:lnTo>
                  <a:lnTo>
                    <a:pt x="876" y="303"/>
                  </a:lnTo>
                  <a:lnTo>
                    <a:pt x="864" y="319"/>
                  </a:lnTo>
                  <a:lnTo>
                    <a:pt x="857" y="331"/>
                  </a:lnTo>
                  <a:lnTo>
                    <a:pt x="847" y="341"/>
                  </a:lnTo>
                  <a:lnTo>
                    <a:pt x="809" y="362"/>
                  </a:lnTo>
                  <a:lnTo>
                    <a:pt x="795" y="369"/>
                  </a:lnTo>
                  <a:lnTo>
                    <a:pt x="783" y="364"/>
                  </a:lnTo>
                  <a:lnTo>
                    <a:pt x="769" y="376"/>
                  </a:lnTo>
                  <a:lnTo>
                    <a:pt x="753" y="386"/>
                  </a:lnTo>
                  <a:lnTo>
                    <a:pt x="734" y="388"/>
                  </a:lnTo>
                  <a:lnTo>
                    <a:pt x="693" y="390"/>
                  </a:lnTo>
                  <a:lnTo>
                    <a:pt x="684" y="395"/>
                  </a:lnTo>
                  <a:lnTo>
                    <a:pt x="679" y="395"/>
                  </a:lnTo>
                  <a:lnTo>
                    <a:pt x="672" y="397"/>
                  </a:lnTo>
                  <a:lnTo>
                    <a:pt x="665" y="395"/>
                  </a:lnTo>
                  <a:lnTo>
                    <a:pt x="649" y="390"/>
                  </a:lnTo>
                  <a:lnTo>
                    <a:pt x="646" y="395"/>
                  </a:lnTo>
                  <a:lnTo>
                    <a:pt x="625" y="402"/>
                  </a:lnTo>
                  <a:lnTo>
                    <a:pt x="620" y="407"/>
                  </a:lnTo>
                  <a:lnTo>
                    <a:pt x="615" y="412"/>
                  </a:lnTo>
                  <a:lnTo>
                    <a:pt x="613" y="416"/>
                  </a:lnTo>
                  <a:lnTo>
                    <a:pt x="599" y="421"/>
                  </a:lnTo>
                  <a:lnTo>
                    <a:pt x="587" y="430"/>
                  </a:lnTo>
                  <a:lnTo>
                    <a:pt x="580" y="435"/>
                  </a:lnTo>
                  <a:lnTo>
                    <a:pt x="559" y="435"/>
                  </a:lnTo>
                  <a:lnTo>
                    <a:pt x="552" y="435"/>
                  </a:lnTo>
                  <a:lnTo>
                    <a:pt x="552" y="435"/>
                  </a:lnTo>
                  <a:lnTo>
                    <a:pt x="552" y="435"/>
                  </a:lnTo>
                  <a:lnTo>
                    <a:pt x="552" y="433"/>
                  </a:lnTo>
                  <a:lnTo>
                    <a:pt x="547" y="430"/>
                  </a:lnTo>
                  <a:lnTo>
                    <a:pt x="533" y="430"/>
                  </a:lnTo>
                  <a:lnTo>
                    <a:pt x="521" y="426"/>
                  </a:lnTo>
                  <a:lnTo>
                    <a:pt x="509" y="419"/>
                  </a:lnTo>
                  <a:lnTo>
                    <a:pt x="497" y="416"/>
                  </a:lnTo>
                  <a:lnTo>
                    <a:pt x="495" y="414"/>
                  </a:lnTo>
                  <a:lnTo>
                    <a:pt x="492" y="409"/>
                  </a:lnTo>
                  <a:lnTo>
                    <a:pt x="490" y="404"/>
                  </a:lnTo>
                  <a:lnTo>
                    <a:pt x="490" y="397"/>
                  </a:lnTo>
                  <a:lnTo>
                    <a:pt x="481" y="393"/>
                  </a:lnTo>
                  <a:lnTo>
                    <a:pt x="440" y="402"/>
                  </a:lnTo>
                  <a:lnTo>
                    <a:pt x="433" y="390"/>
                  </a:lnTo>
                  <a:lnTo>
                    <a:pt x="433" y="388"/>
                  </a:lnTo>
                  <a:lnTo>
                    <a:pt x="431" y="374"/>
                  </a:lnTo>
                  <a:lnTo>
                    <a:pt x="429" y="371"/>
                  </a:lnTo>
                  <a:lnTo>
                    <a:pt x="414" y="364"/>
                  </a:lnTo>
                  <a:lnTo>
                    <a:pt x="412" y="364"/>
                  </a:lnTo>
                  <a:lnTo>
                    <a:pt x="412" y="359"/>
                  </a:lnTo>
                  <a:lnTo>
                    <a:pt x="412" y="357"/>
                  </a:lnTo>
                  <a:lnTo>
                    <a:pt x="410" y="357"/>
                  </a:lnTo>
                  <a:lnTo>
                    <a:pt x="407" y="357"/>
                  </a:lnTo>
                  <a:lnTo>
                    <a:pt x="402" y="362"/>
                  </a:lnTo>
                  <a:lnTo>
                    <a:pt x="398" y="364"/>
                  </a:lnTo>
                  <a:lnTo>
                    <a:pt x="393" y="367"/>
                  </a:lnTo>
                  <a:lnTo>
                    <a:pt x="391" y="369"/>
                  </a:lnTo>
                  <a:lnTo>
                    <a:pt x="384" y="367"/>
                  </a:lnTo>
                  <a:lnTo>
                    <a:pt x="384" y="376"/>
                  </a:lnTo>
                  <a:lnTo>
                    <a:pt x="376" y="381"/>
                  </a:lnTo>
                  <a:lnTo>
                    <a:pt x="367" y="383"/>
                  </a:lnTo>
                  <a:lnTo>
                    <a:pt x="360" y="383"/>
                  </a:lnTo>
                  <a:lnTo>
                    <a:pt x="348" y="381"/>
                  </a:lnTo>
                  <a:lnTo>
                    <a:pt x="343" y="381"/>
                  </a:lnTo>
                  <a:lnTo>
                    <a:pt x="341" y="381"/>
                  </a:lnTo>
                  <a:lnTo>
                    <a:pt x="336" y="386"/>
                  </a:lnTo>
                  <a:lnTo>
                    <a:pt x="336" y="388"/>
                  </a:lnTo>
                  <a:lnTo>
                    <a:pt x="339" y="393"/>
                  </a:lnTo>
                  <a:lnTo>
                    <a:pt x="329" y="404"/>
                  </a:lnTo>
                  <a:lnTo>
                    <a:pt x="329" y="409"/>
                  </a:lnTo>
                  <a:lnTo>
                    <a:pt x="334" y="412"/>
                  </a:lnTo>
                  <a:lnTo>
                    <a:pt x="334" y="416"/>
                  </a:lnTo>
                  <a:lnTo>
                    <a:pt x="336" y="421"/>
                  </a:lnTo>
                  <a:lnTo>
                    <a:pt x="336" y="423"/>
                  </a:lnTo>
                  <a:lnTo>
                    <a:pt x="336" y="426"/>
                  </a:lnTo>
                  <a:lnTo>
                    <a:pt x="334" y="428"/>
                  </a:lnTo>
                  <a:lnTo>
                    <a:pt x="324" y="440"/>
                  </a:lnTo>
                  <a:lnTo>
                    <a:pt x="298" y="456"/>
                  </a:lnTo>
                  <a:lnTo>
                    <a:pt x="284" y="461"/>
                  </a:lnTo>
                  <a:lnTo>
                    <a:pt x="272" y="456"/>
                  </a:lnTo>
                  <a:lnTo>
                    <a:pt x="272" y="452"/>
                  </a:lnTo>
                  <a:lnTo>
                    <a:pt x="268" y="449"/>
                  </a:lnTo>
                  <a:lnTo>
                    <a:pt x="258" y="447"/>
                  </a:lnTo>
                  <a:lnTo>
                    <a:pt x="253" y="445"/>
                  </a:lnTo>
                  <a:lnTo>
                    <a:pt x="244" y="428"/>
                  </a:lnTo>
                  <a:lnTo>
                    <a:pt x="232" y="412"/>
                  </a:lnTo>
                  <a:lnTo>
                    <a:pt x="230" y="404"/>
                  </a:lnTo>
                  <a:lnTo>
                    <a:pt x="225" y="404"/>
                  </a:lnTo>
                  <a:lnTo>
                    <a:pt x="223" y="404"/>
                  </a:lnTo>
                  <a:lnTo>
                    <a:pt x="220" y="400"/>
                  </a:lnTo>
                  <a:lnTo>
                    <a:pt x="216" y="409"/>
                  </a:lnTo>
                  <a:lnTo>
                    <a:pt x="220" y="419"/>
                  </a:lnTo>
                  <a:lnTo>
                    <a:pt x="220" y="428"/>
                  </a:lnTo>
                  <a:lnTo>
                    <a:pt x="216" y="435"/>
                  </a:lnTo>
                  <a:lnTo>
                    <a:pt x="211" y="435"/>
                  </a:lnTo>
                  <a:lnTo>
                    <a:pt x="206" y="435"/>
                  </a:lnTo>
                  <a:lnTo>
                    <a:pt x="201" y="435"/>
                  </a:lnTo>
                  <a:lnTo>
                    <a:pt x="199" y="440"/>
                  </a:lnTo>
                  <a:lnTo>
                    <a:pt x="199" y="447"/>
                  </a:lnTo>
                  <a:lnTo>
                    <a:pt x="194" y="452"/>
                  </a:lnTo>
                  <a:lnTo>
                    <a:pt x="187" y="461"/>
                  </a:lnTo>
                  <a:lnTo>
                    <a:pt x="175" y="459"/>
                  </a:lnTo>
                  <a:lnTo>
                    <a:pt x="168" y="468"/>
                  </a:lnTo>
                  <a:lnTo>
                    <a:pt x="161" y="478"/>
                  </a:lnTo>
                  <a:lnTo>
                    <a:pt x="152" y="485"/>
                  </a:lnTo>
                  <a:lnTo>
                    <a:pt x="154" y="487"/>
                  </a:lnTo>
                  <a:lnTo>
                    <a:pt x="156" y="494"/>
                  </a:lnTo>
                  <a:lnTo>
                    <a:pt x="154" y="501"/>
                  </a:lnTo>
                  <a:lnTo>
                    <a:pt x="154" y="513"/>
                  </a:lnTo>
                  <a:lnTo>
                    <a:pt x="149" y="530"/>
                  </a:lnTo>
                  <a:lnTo>
                    <a:pt x="147" y="530"/>
                  </a:lnTo>
                  <a:lnTo>
                    <a:pt x="147" y="532"/>
                  </a:lnTo>
                  <a:lnTo>
                    <a:pt x="149" y="535"/>
                  </a:lnTo>
                  <a:lnTo>
                    <a:pt x="149" y="537"/>
                  </a:lnTo>
                  <a:lnTo>
                    <a:pt x="154" y="542"/>
                  </a:lnTo>
                  <a:lnTo>
                    <a:pt x="154" y="544"/>
                  </a:lnTo>
                  <a:lnTo>
                    <a:pt x="154" y="549"/>
                  </a:lnTo>
                  <a:lnTo>
                    <a:pt x="154" y="556"/>
                  </a:lnTo>
                  <a:lnTo>
                    <a:pt x="154" y="556"/>
                  </a:lnTo>
                  <a:lnTo>
                    <a:pt x="152" y="568"/>
                  </a:lnTo>
                  <a:lnTo>
                    <a:pt x="154" y="570"/>
                  </a:lnTo>
                  <a:lnTo>
                    <a:pt x="152" y="570"/>
                  </a:lnTo>
                  <a:lnTo>
                    <a:pt x="147" y="575"/>
                  </a:lnTo>
                  <a:lnTo>
                    <a:pt x="147" y="572"/>
                  </a:lnTo>
                  <a:lnTo>
                    <a:pt x="142" y="577"/>
                  </a:lnTo>
                  <a:lnTo>
                    <a:pt x="142" y="582"/>
                  </a:lnTo>
                  <a:lnTo>
                    <a:pt x="145" y="587"/>
                  </a:lnTo>
                  <a:lnTo>
                    <a:pt x="149" y="591"/>
                  </a:lnTo>
                  <a:lnTo>
                    <a:pt x="154" y="596"/>
                  </a:lnTo>
                  <a:lnTo>
                    <a:pt x="156" y="601"/>
                  </a:lnTo>
                  <a:lnTo>
                    <a:pt x="156" y="606"/>
                  </a:lnTo>
                  <a:lnTo>
                    <a:pt x="159" y="613"/>
                  </a:lnTo>
                  <a:lnTo>
                    <a:pt x="164" y="620"/>
                  </a:lnTo>
                  <a:lnTo>
                    <a:pt x="168" y="627"/>
                  </a:lnTo>
                  <a:lnTo>
                    <a:pt x="175" y="634"/>
                  </a:lnTo>
                  <a:lnTo>
                    <a:pt x="182" y="636"/>
                  </a:lnTo>
                  <a:lnTo>
                    <a:pt x="194" y="634"/>
                  </a:lnTo>
                  <a:lnTo>
                    <a:pt x="199" y="634"/>
                  </a:lnTo>
                  <a:lnTo>
                    <a:pt x="206" y="641"/>
                  </a:lnTo>
                  <a:lnTo>
                    <a:pt x="223" y="662"/>
                  </a:lnTo>
                  <a:lnTo>
                    <a:pt x="232" y="667"/>
                  </a:lnTo>
                  <a:lnTo>
                    <a:pt x="244" y="667"/>
                  </a:lnTo>
                  <a:lnTo>
                    <a:pt x="272" y="658"/>
                  </a:lnTo>
                  <a:lnTo>
                    <a:pt x="298" y="653"/>
                  </a:lnTo>
                  <a:lnTo>
                    <a:pt x="324" y="650"/>
                  </a:lnTo>
                  <a:lnTo>
                    <a:pt x="336" y="653"/>
                  </a:lnTo>
                  <a:lnTo>
                    <a:pt x="346" y="662"/>
                  </a:lnTo>
                  <a:lnTo>
                    <a:pt x="348" y="665"/>
                  </a:lnTo>
                  <a:lnTo>
                    <a:pt x="350" y="672"/>
                  </a:lnTo>
                  <a:lnTo>
                    <a:pt x="353" y="677"/>
                  </a:lnTo>
                  <a:lnTo>
                    <a:pt x="358" y="679"/>
                  </a:lnTo>
                  <a:lnTo>
                    <a:pt x="360" y="677"/>
                  </a:lnTo>
                  <a:lnTo>
                    <a:pt x="365" y="674"/>
                  </a:lnTo>
                  <a:lnTo>
                    <a:pt x="407" y="672"/>
                  </a:lnTo>
                  <a:lnTo>
                    <a:pt x="407" y="674"/>
                  </a:lnTo>
                  <a:lnTo>
                    <a:pt x="412" y="679"/>
                  </a:lnTo>
                  <a:lnTo>
                    <a:pt x="414" y="679"/>
                  </a:lnTo>
                  <a:lnTo>
                    <a:pt x="419" y="681"/>
                  </a:lnTo>
                  <a:lnTo>
                    <a:pt x="421" y="681"/>
                  </a:lnTo>
                  <a:lnTo>
                    <a:pt x="426" y="686"/>
                  </a:lnTo>
                  <a:lnTo>
                    <a:pt x="433" y="691"/>
                  </a:lnTo>
                  <a:lnTo>
                    <a:pt x="436" y="691"/>
                  </a:lnTo>
                  <a:lnTo>
                    <a:pt x="445" y="705"/>
                  </a:lnTo>
                  <a:lnTo>
                    <a:pt x="450" y="707"/>
                  </a:lnTo>
                  <a:lnTo>
                    <a:pt x="455" y="707"/>
                  </a:lnTo>
                  <a:lnTo>
                    <a:pt x="457" y="710"/>
                  </a:lnTo>
                  <a:lnTo>
                    <a:pt x="464" y="714"/>
                  </a:lnTo>
                  <a:lnTo>
                    <a:pt x="481" y="721"/>
                  </a:lnTo>
                  <a:lnTo>
                    <a:pt x="499" y="731"/>
                  </a:lnTo>
                  <a:lnTo>
                    <a:pt x="509" y="736"/>
                  </a:lnTo>
                  <a:lnTo>
                    <a:pt x="523" y="738"/>
                  </a:lnTo>
                  <a:lnTo>
                    <a:pt x="537" y="738"/>
                  </a:lnTo>
                  <a:lnTo>
                    <a:pt x="549" y="740"/>
                  </a:lnTo>
                  <a:lnTo>
                    <a:pt x="561" y="745"/>
                  </a:lnTo>
                  <a:lnTo>
                    <a:pt x="592" y="769"/>
                  </a:lnTo>
                  <a:lnTo>
                    <a:pt x="604" y="774"/>
                  </a:lnTo>
                  <a:lnTo>
                    <a:pt x="618" y="778"/>
                  </a:lnTo>
                  <a:lnTo>
                    <a:pt x="632" y="778"/>
                  </a:lnTo>
                  <a:lnTo>
                    <a:pt x="644" y="781"/>
                  </a:lnTo>
                  <a:lnTo>
                    <a:pt x="667" y="792"/>
                  </a:lnTo>
                  <a:lnTo>
                    <a:pt x="682" y="792"/>
                  </a:lnTo>
                  <a:lnTo>
                    <a:pt x="686" y="790"/>
                  </a:lnTo>
                  <a:lnTo>
                    <a:pt x="691" y="785"/>
                  </a:lnTo>
                  <a:lnTo>
                    <a:pt x="693" y="785"/>
                  </a:lnTo>
                  <a:lnTo>
                    <a:pt x="731" y="776"/>
                  </a:lnTo>
                  <a:lnTo>
                    <a:pt x="743" y="776"/>
                  </a:lnTo>
                  <a:lnTo>
                    <a:pt x="774" y="783"/>
                  </a:lnTo>
                  <a:lnTo>
                    <a:pt x="798" y="795"/>
                  </a:lnTo>
                  <a:lnTo>
                    <a:pt x="833" y="818"/>
                  </a:lnTo>
                  <a:lnTo>
                    <a:pt x="843" y="828"/>
                  </a:lnTo>
                  <a:lnTo>
                    <a:pt x="878" y="882"/>
                  </a:lnTo>
                  <a:lnTo>
                    <a:pt x="883" y="887"/>
                  </a:lnTo>
                  <a:lnTo>
                    <a:pt x="911" y="887"/>
                  </a:lnTo>
                  <a:lnTo>
                    <a:pt x="916" y="885"/>
                  </a:lnTo>
                  <a:lnTo>
                    <a:pt x="923" y="889"/>
                  </a:lnTo>
                  <a:lnTo>
                    <a:pt x="942" y="892"/>
                  </a:lnTo>
                  <a:lnTo>
                    <a:pt x="947" y="897"/>
                  </a:lnTo>
                  <a:lnTo>
                    <a:pt x="954" y="904"/>
                  </a:lnTo>
                  <a:lnTo>
                    <a:pt x="973" y="901"/>
                  </a:lnTo>
                  <a:lnTo>
                    <a:pt x="980" y="906"/>
                  </a:lnTo>
                  <a:lnTo>
                    <a:pt x="984" y="904"/>
                  </a:lnTo>
                  <a:lnTo>
                    <a:pt x="984" y="904"/>
                  </a:lnTo>
                  <a:lnTo>
                    <a:pt x="987" y="908"/>
                  </a:lnTo>
                  <a:lnTo>
                    <a:pt x="1006" y="892"/>
                  </a:lnTo>
                  <a:lnTo>
                    <a:pt x="1018" y="889"/>
                  </a:lnTo>
                  <a:lnTo>
                    <a:pt x="1032" y="892"/>
                  </a:lnTo>
                  <a:lnTo>
                    <a:pt x="1046" y="897"/>
                  </a:lnTo>
                  <a:lnTo>
                    <a:pt x="1053" y="899"/>
                  </a:lnTo>
                  <a:lnTo>
                    <a:pt x="1058" y="897"/>
                  </a:lnTo>
                  <a:lnTo>
                    <a:pt x="1058" y="894"/>
                  </a:lnTo>
                  <a:lnTo>
                    <a:pt x="1060" y="892"/>
                  </a:lnTo>
                  <a:lnTo>
                    <a:pt x="1065" y="892"/>
                  </a:lnTo>
                  <a:lnTo>
                    <a:pt x="1070" y="894"/>
                  </a:lnTo>
                  <a:lnTo>
                    <a:pt x="1074" y="897"/>
                  </a:lnTo>
                  <a:lnTo>
                    <a:pt x="1079" y="901"/>
                  </a:lnTo>
                  <a:lnTo>
                    <a:pt x="1086" y="906"/>
                  </a:lnTo>
                  <a:lnTo>
                    <a:pt x="1093" y="906"/>
                  </a:lnTo>
                  <a:lnTo>
                    <a:pt x="1100" y="904"/>
                  </a:lnTo>
                  <a:lnTo>
                    <a:pt x="1105" y="897"/>
                  </a:lnTo>
                  <a:lnTo>
                    <a:pt x="1105" y="889"/>
                  </a:lnTo>
                  <a:lnTo>
                    <a:pt x="1096" y="866"/>
                  </a:lnTo>
                  <a:lnTo>
                    <a:pt x="1086" y="854"/>
                  </a:lnTo>
                  <a:lnTo>
                    <a:pt x="1084" y="847"/>
                  </a:lnTo>
                  <a:lnTo>
                    <a:pt x="1086" y="842"/>
                  </a:lnTo>
                  <a:lnTo>
                    <a:pt x="1086" y="837"/>
                  </a:lnTo>
                  <a:lnTo>
                    <a:pt x="1096" y="790"/>
                  </a:lnTo>
                  <a:lnTo>
                    <a:pt x="1100" y="781"/>
                  </a:lnTo>
                  <a:lnTo>
                    <a:pt x="1108" y="776"/>
                  </a:lnTo>
                  <a:lnTo>
                    <a:pt x="1112" y="774"/>
                  </a:lnTo>
                  <a:lnTo>
                    <a:pt x="1117" y="769"/>
                  </a:lnTo>
                  <a:lnTo>
                    <a:pt x="1122" y="764"/>
                  </a:lnTo>
                  <a:lnTo>
                    <a:pt x="1129" y="764"/>
                  </a:lnTo>
                  <a:lnTo>
                    <a:pt x="1129" y="759"/>
                  </a:lnTo>
                  <a:lnTo>
                    <a:pt x="1126" y="757"/>
                  </a:lnTo>
                  <a:lnTo>
                    <a:pt x="1126" y="757"/>
                  </a:lnTo>
                  <a:lnTo>
                    <a:pt x="1131" y="755"/>
                  </a:lnTo>
                  <a:lnTo>
                    <a:pt x="1126" y="752"/>
                  </a:lnTo>
                  <a:lnTo>
                    <a:pt x="1138" y="743"/>
                  </a:lnTo>
                  <a:lnTo>
                    <a:pt x="1141" y="743"/>
                  </a:lnTo>
                  <a:lnTo>
                    <a:pt x="1143" y="743"/>
                  </a:lnTo>
                  <a:lnTo>
                    <a:pt x="1145" y="745"/>
                  </a:lnTo>
                  <a:lnTo>
                    <a:pt x="1148" y="743"/>
                  </a:lnTo>
                  <a:lnTo>
                    <a:pt x="1145" y="736"/>
                  </a:lnTo>
                  <a:lnTo>
                    <a:pt x="1143" y="731"/>
                  </a:lnTo>
                  <a:lnTo>
                    <a:pt x="1138" y="731"/>
                  </a:lnTo>
                  <a:lnTo>
                    <a:pt x="1134" y="733"/>
                  </a:lnTo>
                  <a:lnTo>
                    <a:pt x="1129" y="731"/>
                  </a:lnTo>
                  <a:lnTo>
                    <a:pt x="1129" y="726"/>
                  </a:lnTo>
                  <a:lnTo>
                    <a:pt x="1129" y="721"/>
                  </a:lnTo>
                  <a:lnTo>
                    <a:pt x="1134" y="724"/>
                  </a:lnTo>
                  <a:lnTo>
                    <a:pt x="1136" y="714"/>
                  </a:lnTo>
                  <a:lnTo>
                    <a:pt x="1131" y="707"/>
                  </a:lnTo>
                  <a:lnTo>
                    <a:pt x="1126" y="705"/>
                  </a:lnTo>
                  <a:lnTo>
                    <a:pt x="1119" y="707"/>
                  </a:lnTo>
                  <a:lnTo>
                    <a:pt x="1112" y="705"/>
                  </a:lnTo>
                  <a:lnTo>
                    <a:pt x="1108" y="698"/>
                  </a:lnTo>
                  <a:lnTo>
                    <a:pt x="1105" y="693"/>
                  </a:lnTo>
                  <a:lnTo>
                    <a:pt x="1110" y="691"/>
                  </a:lnTo>
                  <a:lnTo>
                    <a:pt x="1110" y="688"/>
                  </a:lnTo>
                  <a:lnTo>
                    <a:pt x="1105" y="686"/>
                  </a:lnTo>
                  <a:lnTo>
                    <a:pt x="1100" y="691"/>
                  </a:lnTo>
                  <a:lnTo>
                    <a:pt x="1091" y="684"/>
                  </a:lnTo>
                  <a:lnTo>
                    <a:pt x="1086" y="672"/>
                  </a:lnTo>
                  <a:lnTo>
                    <a:pt x="1089" y="662"/>
                  </a:lnTo>
                  <a:lnTo>
                    <a:pt x="1086" y="658"/>
                  </a:lnTo>
                  <a:lnTo>
                    <a:pt x="1091" y="653"/>
                  </a:lnTo>
                  <a:lnTo>
                    <a:pt x="1093" y="653"/>
                  </a:lnTo>
                  <a:lnTo>
                    <a:pt x="1096" y="655"/>
                  </a:lnTo>
                  <a:lnTo>
                    <a:pt x="1096" y="662"/>
                  </a:lnTo>
                  <a:lnTo>
                    <a:pt x="1098" y="658"/>
                  </a:lnTo>
                  <a:lnTo>
                    <a:pt x="1100" y="653"/>
                  </a:lnTo>
                  <a:lnTo>
                    <a:pt x="1103" y="650"/>
                  </a:lnTo>
                  <a:lnTo>
                    <a:pt x="1110" y="655"/>
                  </a:lnTo>
                  <a:lnTo>
                    <a:pt x="1105" y="646"/>
                  </a:lnTo>
                  <a:lnTo>
                    <a:pt x="1098" y="639"/>
                  </a:lnTo>
                  <a:lnTo>
                    <a:pt x="1091" y="636"/>
                  </a:lnTo>
                  <a:lnTo>
                    <a:pt x="1079" y="636"/>
                  </a:lnTo>
                  <a:lnTo>
                    <a:pt x="1053" y="627"/>
                  </a:lnTo>
                  <a:lnTo>
                    <a:pt x="1051" y="624"/>
                  </a:lnTo>
                  <a:lnTo>
                    <a:pt x="1048" y="620"/>
                  </a:lnTo>
                  <a:lnTo>
                    <a:pt x="1046" y="613"/>
                  </a:lnTo>
                  <a:lnTo>
                    <a:pt x="1039" y="572"/>
                  </a:lnTo>
                  <a:lnTo>
                    <a:pt x="1037" y="563"/>
                  </a:lnTo>
                  <a:lnTo>
                    <a:pt x="1039" y="556"/>
                  </a:lnTo>
                  <a:lnTo>
                    <a:pt x="1041" y="544"/>
                  </a:lnTo>
                  <a:lnTo>
                    <a:pt x="1055" y="523"/>
                  </a:lnTo>
                  <a:lnTo>
                    <a:pt x="1058" y="506"/>
                  </a:lnTo>
                  <a:lnTo>
                    <a:pt x="1058" y="497"/>
                  </a:lnTo>
                  <a:lnTo>
                    <a:pt x="1060" y="483"/>
                  </a:lnTo>
                  <a:lnTo>
                    <a:pt x="1058" y="475"/>
                  </a:lnTo>
                  <a:lnTo>
                    <a:pt x="1060" y="471"/>
                  </a:lnTo>
                  <a:lnTo>
                    <a:pt x="1063" y="466"/>
                  </a:lnTo>
                  <a:lnTo>
                    <a:pt x="1063" y="461"/>
                  </a:lnTo>
                  <a:lnTo>
                    <a:pt x="1063" y="456"/>
                  </a:lnTo>
                  <a:lnTo>
                    <a:pt x="1058" y="449"/>
                  </a:lnTo>
                  <a:lnTo>
                    <a:pt x="1055" y="445"/>
                  </a:lnTo>
                  <a:lnTo>
                    <a:pt x="1058" y="438"/>
                  </a:lnTo>
                  <a:lnTo>
                    <a:pt x="1065" y="421"/>
                  </a:lnTo>
                  <a:lnTo>
                    <a:pt x="1072" y="414"/>
                  </a:lnTo>
                  <a:lnTo>
                    <a:pt x="1077" y="404"/>
                  </a:lnTo>
                  <a:lnTo>
                    <a:pt x="1079" y="390"/>
                  </a:lnTo>
                  <a:lnTo>
                    <a:pt x="1100" y="338"/>
                  </a:lnTo>
                  <a:lnTo>
                    <a:pt x="1129" y="284"/>
                  </a:lnTo>
                  <a:lnTo>
                    <a:pt x="1134" y="262"/>
                  </a:lnTo>
                  <a:lnTo>
                    <a:pt x="1145" y="232"/>
                  </a:lnTo>
                  <a:lnTo>
                    <a:pt x="1141" y="234"/>
                  </a:lnTo>
                  <a:lnTo>
                    <a:pt x="1141" y="227"/>
                  </a:lnTo>
                  <a:lnTo>
                    <a:pt x="1141" y="222"/>
                  </a:lnTo>
                  <a:close/>
                  <a:moveTo>
                    <a:pt x="111" y="532"/>
                  </a:moveTo>
                  <a:lnTo>
                    <a:pt x="111" y="532"/>
                  </a:lnTo>
                  <a:lnTo>
                    <a:pt x="116" y="532"/>
                  </a:lnTo>
                  <a:lnTo>
                    <a:pt x="111" y="537"/>
                  </a:lnTo>
                  <a:lnTo>
                    <a:pt x="107" y="537"/>
                  </a:lnTo>
                  <a:lnTo>
                    <a:pt x="102" y="537"/>
                  </a:lnTo>
                  <a:lnTo>
                    <a:pt x="97" y="535"/>
                  </a:lnTo>
                  <a:lnTo>
                    <a:pt x="93" y="537"/>
                  </a:lnTo>
                  <a:lnTo>
                    <a:pt x="90" y="537"/>
                  </a:lnTo>
                  <a:lnTo>
                    <a:pt x="85" y="535"/>
                  </a:lnTo>
                  <a:lnTo>
                    <a:pt x="83" y="530"/>
                  </a:lnTo>
                  <a:lnTo>
                    <a:pt x="88" y="530"/>
                  </a:lnTo>
                  <a:lnTo>
                    <a:pt x="90" y="527"/>
                  </a:lnTo>
                  <a:lnTo>
                    <a:pt x="93" y="525"/>
                  </a:lnTo>
                  <a:lnTo>
                    <a:pt x="97" y="525"/>
                  </a:lnTo>
                  <a:lnTo>
                    <a:pt x="100" y="527"/>
                  </a:lnTo>
                  <a:lnTo>
                    <a:pt x="104" y="530"/>
                  </a:lnTo>
                  <a:lnTo>
                    <a:pt x="111" y="53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33">
              <a:extLst>
                <a:ext uri="{FF2B5EF4-FFF2-40B4-BE49-F238E27FC236}">
                  <a16:creationId xmlns:a16="http://schemas.microsoft.com/office/drawing/2014/main" id="{13CF104A-AFC2-43DF-AC7F-1A15E2998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1677" y="3348069"/>
              <a:ext cx="689158" cy="646844"/>
            </a:xfrm>
            <a:custGeom>
              <a:avLst/>
              <a:gdLst>
                <a:gd name="T0" fmla="*/ 263 w 542"/>
                <a:gd name="T1" fmla="*/ 80 h 509"/>
                <a:gd name="T2" fmla="*/ 404 w 542"/>
                <a:gd name="T3" fmla="*/ 196 h 509"/>
                <a:gd name="T4" fmla="*/ 520 w 542"/>
                <a:gd name="T5" fmla="*/ 267 h 509"/>
                <a:gd name="T6" fmla="*/ 542 w 542"/>
                <a:gd name="T7" fmla="*/ 305 h 509"/>
                <a:gd name="T8" fmla="*/ 539 w 542"/>
                <a:gd name="T9" fmla="*/ 324 h 509"/>
                <a:gd name="T10" fmla="*/ 513 w 542"/>
                <a:gd name="T11" fmla="*/ 364 h 509"/>
                <a:gd name="T12" fmla="*/ 499 w 542"/>
                <a:gd name="T13" fmla="*/ 402 h 509"/>
                <a:gd name="T14" fmla="*/ 473 w 542"/>
                <a:gd name="T15" fmla="*/ 445 h 509"/>
                <a:gd name="T16" fmla="*/ 466 w 542"/>
                <a:gd name="T17" fmla="*/ 440 h 509"/>
                <a:gd name="T18" fmla="*/ 457 w 542"/>
                <a:gd name="T19" fmla="*/ 428 h 509"/>
                <a:gd name="T20" fmla="*/ 452 w 542"/>
                <a:gd name="T21" fmla="*/ 416 h 509"/>
                <a:gd name="T22" fmla="*/ 430 w 542"/>
                <a:gd name="T23" fmla="*/ 412 h 509"/>
                <a:gd name="T24" fmla="*/ 419 w 542"/>
                <a:gd name="T25" fmla="*/ 404 h 509"/>
                <a:gd name="T26" fmla="*/ 404 w 542"/>
                <a:gd name="T27" fmla="*/ 400 h 509"/>
                <a:gd name="T28" fmla="*/ 386 w 542"/>
                <a:gd name="T29" fmla="*/ 423 h 509"/>
                <a:gd name="T30" fmla="*/ 367 w 542"/>
                <a:gd name="T31" fmla="*/ 442 h 509"/>
                <a:gd name="T32" fmla="*/ 378 w 542"/>
                <a:gd name="T33" fmla="*/ 457 h 509"/>
                <a:gd name="T34" fmla="*/ 383 w 542"/>
                <a:gd name="T35" fmla="*/ 464 h 509"/>
                <a:gd name="T36" fmla="*/ 357 w 542"/>
                <a:gd name="T37" fmla="*/ 485 h 509"/>
                <a:gd name="T38" fmla="*/ 336 w 542"/>
                <a:gd name="T39" fmla="*/ 501 h 509"/>
                <a:gd name="T40" fmla="*/ 291 w 542"/>
                <a:gd name="T41" fmla="*/ 494 h 509"/>
                <a:gd name="T42" fmla="*/ 263 w 542"/>
                <a:gd name="T43" fmla="*/ 490 h 509"/>
                <a:gd name="T44" fmla="*/ 248 w 542"/>
                <a:gd name="T45" fmla="*/ 490 h 509"/>
                <a:gd name="T46" fmla="*/ 218 w 542"/>
                <a:gd name="T47" fmla="*/ 473 h 509"/>
                <a:gd name="T48" fmla="*/ 196 w 542"/>
                <a:gd name="T49" fmla="*/ 494 h 509"/>
                <a:gd name="T50" fmla="*/ 177 w 542"/>
                <a:gd name="T51" fmla="*/ 494 h 509"/>
                <a:gd name="T52" fmla="*/ 137 w 542"/>
                <a:gd name="T53" fmla="*/ 478 h 509"/>
                <a:gd name="T54" fmla="*/ 123 w 542"/>
                <a:gd name="T55" fmla="*/ 478 h 509"/>
                <a:gd name="T56" fmla="*/ 123 w 542"/>
                <a:gd name="T57" fmla="*/ 454 h 509"/>
                <a:gd name="T58" fmla="*/ 113 w 542"/>
                <a:gd name="T59" fmla="*/ 442 h 509"/>
                <a:gd name="T60" fmla="*/ 31 w 542"/>
                <a:gd name="T61" fmla="*/ 412 h 509"/>
                <a:gd name="T62" fmla="*/ 9 w 542"/>
                <a:gd name="T63" fmla="*/ 412 h 509"/>
                <a:gd name="T64" fmla="*/ 0 w 542"/>
                <a:gd name="T65" fmla="*/ 381 h 509"/>
                <a:gd name="T66" fmla="*/ 19 w 542"/>
                <a:gd name="T67" fmla="*/ 350 h 509"/>
                <a:gd name="T68" fmla="*/ 59 w 542"/>
                <a:gd name="T69" fmla="*/ 360 h 509"/>
                <a:gd name="T70" fmla="*/ 76 w 542"/>
                <a:gd name="T71" fmla="*/ 355 h 509"/>
                <a:gd name="T72" fmla="*/ 87 w 542"/>
                <a:gd name="T73" fmla="*/ 352 h 509"/>
                <a:gd name="T74" fmla="*/ 85 w 542"/>
                <a:gd name="T75" fmla="*/ 341 h 509"/>
                <a:gd name="T76" fmla="*/ 99 w 542"/>
                <a:gd name="T77" fmla="*/ 329 h 509"/>
                <a:gd name="T78" fmla="*/ 85 w 542"/>
                <a:gd name="T79" fmla="*/ 324 h 509"/>
                <a:gd name="T80" fmla="*/ 76 w 542"/>
                <a:gd name="T81" fmla="*/ 317 h 509"/>
                <a:gd name="T82" fmla="*/ 64 w 542"/>
                <a:gd name="T83" fmla="*/ 305 h 509"/>
                <a:gd name="T84" fmla="*/ 47 w 542"/>
                <a:gd name="T85" fmla="*/ 284 h 509"/>
                <a:gd name="T86" fmla="*/ 28 w 542"/>
                <a:gd name="T87" fmla="*/ 274 h 509"/>
                <a:gd name="T88" fmla="*/ 31 w 542"/>
                <a:gd name="T89" fmla="*/ 248 h 509"/>
                <a:gd name="T90" fmla="*/ 16 w 542"/>
                <a:gd name="T91" fmla="*/ 241 h 509"/>
                <a:gd name="T92" fmla="*/ 19 w 542"/>
                <a:gd name="T93" fmla="*/ 222 h 509"/>
                <a:gd name="T94" fmla="*/ 21 w 542"/>
                <a:gd name="T95" fmla="*/ 208 h 509"/>
                <a:gd name="T96" fmla="*/ 12 w 542"/>
                <a:gd name="T97" fmla="*/ 199 h 509"/>
                <a:gd name="T98" fmla="*/ 12 w 542"/>
                <a:gd name="T99" fmla="*/ 187 h 509"/>
                <a:gd name="T100" fmla="*/ 21 w 542"/>
                <a:gd name="T101" fmla="*/ 170 h 509"/>
                <a:gd name="T102" fmla="*/ 45 w 542"/>
                <a:gd name="T103" fmla="*/ 170 h 509"/>
                <a:gd name="T104" fmla="*/ 68 w 542"/>
                <a:gd name="T105" fmla="*/ 168 h 509"/>
                <a:gd name="T106" fmla="*/ 76 w 542"/>
                <a:gd name="T107" fmla="*/ 135 h 509"/>
                <a:gd name="T108" fmla="*/ 64 w 542"/>
                <a:gd name="T109" fmla="*/ 130 h 509"/>
                <a:gd name="T110" fmla="*/ 87 w 542"/>
                <a:gd name="T111" fmla="*/ 109 h 509"/>
                <a:gd name="T112" fmla="*/ 102 w 542"/>
                <a:gd name="T113" fmla="*/ 92 h 509"/>
                <a:gd name="T114" fmla="*/ 104 w 542"/>
                <a:gd name="T115" fmla="*/ 78 h 509"/>
                <a:gd name="T116" fmla="*/ 116 w 542"/>
                <a:gd name="T117" fmla="*/ 57 h 509"/>
                <a:gd name="T118" fmla="*/ 128 w 542"/>
                <a:gd name="T119" fmla="*/ 59 h 509"/>
                <a:gd name="T120" fmla="*/ 154 w 542"/>
                <a:gd name="T121" fmla="*/ 50 h 509"/>
                <a:gd name="T122" fmla="*/ 161 w 542"/>
                <a:gd name="T123" fmla="*/ 35 h 509"/>
                <a:gd name="T124" fmla="*/ 177 w 542"/>
                <a:gd name="T125" fmla="*/ 21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2" h="509">
                  <a:moveTo>
                    <a:pt x="215" y="2"/>
                  </a:moveTo>
                  <a:lnTo>
                    <a:pt x="215" y="2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39" y="40"/>
                  </a:lnTo>
                  <a:lnTo>
                    <a:pt x="255" y="69"/>
                  </a:lnTo>
                  <a:lnTo>
                    <a:pt x="263" y="80"/>
                  </a:lnTo>
                  <a:lnTo>
                    <a:pt x="286" y="109"/>
                  </a:lnTo>
                  <a:lnTo>
                    <a:pt x="291" y="113"/>
                  </a:lnTo>
                  <a:lnTo>
                    <a:pt x="293" y="118"/>
                  </a:lnTo>
                  <a:lnTo>
                    <a:pt x="345" y="166"/>
                  </a:lnTo>
                  <a:lnTo>
                    <a:pt x="369" y="177"/>
                  </a:lnTo>
                  <a:lnTo>
                    <a:pt x="393" y="189"/>
                  </a:lnTo>
                  <a:lnTo>
                    <a:pt x="404" y="196"/>
                  </a:lnTo>
                  <a:lnTo>
                    <a:pt x="421" y="215"/>
                  </a:lnTo>
                  <a:lnTo>
                    <a:pt x="468" y="248"/>
                  </a:lnTo>
                  <a:lnTo>
                    <a:pt x="480" y="253"/>
                  </a:lnTo>
                  <a:lnTo>
                    <a:pt x="499" y="258"/>
                  </a:lnTo>
                  <a:lnTo>
                    <a:pt x="511" y="258"/>
                  </a:lnTo>
                  <a:lnTo>
                    <a:pt x="516" y="260"/>
                  </a:lnTo>
                  <a:lnTo>
                    <a:pt x="520" y="267"/>
                  </a:lnTo>
                  <a:lnTo>
                    <a:pt x="525" y="284"/>
                  </a:lnTo>
                  <a:lnTo>
                    <a:pt x="527" y="291"/>
                  </a:lnTo>
                  <a:lnTo>
                    <a:pt x="532" y="298"/>
                  </a:lnTo>
                  <a:lnTo>
                    <a:pt x="539" y="298"/>
                  </a:lnTo>
                  <a:lnTo>
                    <a:pt x="539" y="298"/>
                  </a:lnTo>
                  <a:lnTo>
                    <a:pt x="539" y="300"/>
                  </a:lnTo>
                  <a:lnTo>
                    <a:pt x="542" y="305"/>
                  </a:lnTo>
                  <a:lnTo>
                    <a:pt x="542" y="305"/>
                  </a:lnTo>
                  <a:lnTo>
                    <a:pt x="542" y="307"/>
                  </a:lnTo>
                  <a:lnTo>
                    <a:pt x="539" y="310"/>
                  </a:lnTo>
                  <a:lnTo>
                    <a:pt x="539" y="315"/>
                  </a:lnTo>
                  <a:lnTo>
                    <a:pt x="539" y="317"/>
                  </a:lnTo>
                  <a:lnTo>
                    <a:pt x="539" y="319"/>
                  </a:lnTo>
                  <a:lnTo>
                    <a:pt x="539" y="324"/>
                  </a:lnTo>
                  <a:lnTo>
                    <a:pt x="539" y="324"/>
                  </a:lnTo>
                  <a:lnTo>
                    <a:pt x="539" y="326"/>
                  </a:lnTo>
                  <a:lnTo>
                    <a:pt x="520" y="355"/>
                  </a:lnTo>
                  <a:lnTo>
                    <a:pt x="518" y="357"/>
                  </a:lnTo>
                  <a:lnTo>
                    <a:pt x="516" y="360"/>
                  </a:lnTo>
                  <a:lnTo>
                    <a:pt x="513" y="360"/>
                  </a:lnTo>
                  <a:lnTo>
                    <a:pt x="513" y="364"/>
                  </a:lnTo>
                  <a:lnTo>
                    <a:pt x="516" y="364"/>
                  </a:lnTo>
                  <a:lnTo>
                    <a:pt x="516" y="369"/>
                  </a:lnTo>
                  <a:lnTo>
                    <a:pt x="516" y="369"/>
                  </a:lnTo>
                  <a:lnTo>
                    <a:pt x="516" y="374"/>
                  </a:lnTo>
                  <a:lnTo>
                    <a:pt x="513" y="378"/>
                  </a:lnTo>
                  <a:lnTo>
                    <a:pt x="506" y="388"/>
                  </a:lnTo>
                  <a:lnTo>
                    <a:pt x="499" y="402"/>
                  </a:lnTo>
                  <a:lnTo>
                    <a:pt x="494" y="414"/>
                  </a:lnTo>
                  <a:lnTo>
                    <a:pt x="490" y="426"/>
                  </a:lnTo>
                  <a:lnTo>
                    <a:pt x="487" y="428"/>
                  </a:lnTo>
                  <a:lnTo>
                    <a:pt x="487" y="431"/>
                  </a:lnTo>
                  <a:lnTo>
                    <a:pt x="485" y="433"/>
                  </a:lnTo>
                  <a:lnTo>
                    <a:pt x="485" y="435"/>
                  </a:lnTo>
                  <a:lnTo>
                    <a:pt x="473" y="445"/>
                  </a:lnTo>
                  <a:lnTo>
                    <a:pt x="468" y="447"/>
                  </a:lnTo>
                  <a:lnTo>
                    <a:pt x="466" y="447"/>
                  </a:lnTo>
                  <a:lnTo>
                    <a:pt x="466" y="447"/>
                  </a:lnTo>
                  <a:lnTo>
                    <a:pt x="466" y="447"/>
                  </a:lnTo>
                  <a:lnTo>
                    <a:pt x="466" y="445"/>
                  </a:lnTo>
                  <a:lnTo>
                    <a:pt x="466" y="442"/>
                  </a:lnTo>
                  <a:lnTo>
                    <a:pt x="466" y="440"/>
                  </a:lnTo>
                  <a:lnTo>
                    <a:pt x="466" y="438"/>
                  </a:lnTo>
                  <a:lnTo>
                    <a:pt x="464" y="438"/>
                  </a:lnTo>
                  <a:lnTo>
                    <a:pt x="464" y="435"/>
                  </a:lnTo>
                  <a:lnTo>
                    <a:pt x="461" y="433"/>
                  </a:lnTo>
                  <a:lnTo>
                    <a:pt x="459" y="431"/>
                  </a:lnTo>
                  <a:lnTo>
                    <a:pt x="459" y="431"/>
                  </a:lnTo>
                  <a:lnTo>
                    <a:pt x="457" y="428"/>
                  </a:lnTo>
                  <a:lnTo>
                    <a:pt x="457" y="426"/>
                  </a:lnTo>
                  <a:lnTo>
                    <a:pt x="457" y="421"/>
                  </a:lnTo>
                  <a:lnTo>
                    <a:pt x="457" y="421"/>
                  </a:lnTo>
                  <a:lnTo>
                    <a:pt x="457" y="419"/>
                  </a:lnTo>
                  <a:lnTo>
                    <a:pt x="454" y="419"/>
                  </a:lnTo>
                  <a:lnTo>
                    <a:pt x="454" y="416"/>
                  </a:lnTo>
                  <a:lnTo>
                    <a:pt x="452" y="416"/>
                  </a:lnTo>
                  <a:lnTo>
                    <a:pt x="440" y="409"/>
                  </a:lnTo>
                  <a:lnTo>
                    <a:pt x="438" y="409"/>
                  </a:lnTo>
                  <a:lnTo>
                    <a:pt x="438" y="407"/>
                  </a:lnTo>
                  <a:lnTo>
                    <a:pt x="435" y="407"/>
                  </a:lnTo>
                  <a:lnTo>
                    <a:pt x="435" y="407"/>
                  </a:lnTo>
                  <a:lnTo>
                    <a:pt x="433" y="409"/>
                  </a:lnTo>
                  <a:lnTo>
                    <a:pt x="430" y="412"/>
                  </a:lnTo>
                  <a:lnTo>
                    <a:pt x="430" y="414"/>
                  </a:lnTo>
                  <a:lnTo>
                    <a:pt x="428" y="414"/>
                  </a:lnTo>
                  <a:lnTo>
                    <a:pt x="426" y="412"/>
                  </a:lnTo>
                  <a:lnTo>
                    <a:pt x="423" y="412"/>
                  </a:lnTo>
                  <a:lnTo>
                    <a:pt x="421" y="409"/>
                  </a:lnTo>
                  <a:lnTo>
                    <a:pt x="421" y="409"/>
                  </a:lnTo>
                  <a:lnTo>
                    <a:pt x="419" y="404"/>
                  </a:lnTo>
                  <a:lnTo>
                    <a:pt x="416" y="404"/>
                  </a:lnTo>
                  <a:lnTo>
                    <a:pt x="416" y="404"/>
                  </a:lnTo>
                  <a:lnTo>
                    <a:pt x="414" y="402"/>
                  </a:lnTo>
                  <a:lnTo>
                    <a:pt x="409" y="402"/>
                  </a:lnTo>
                  <a:lnTo>
                    <a:pt x="407" y="400"/>
                  </a:lnTo>
                  <a:lnTo>
                    <a:pt x="407" y="400"/>
                  </a:lnTo>
                  <a:lnTo>
                    <a:pt x="404" y="400"/>
                  </a:lnTo>
                  <a:lnTo>
                    <a:pt x="404" y="397"/>
                  </a:lnTo>
                  <a:lnTo>
                    <a:pt x="402" y="400"/>
                  </a:lnTo>
                  <a:lnTo>
                    <a:pt x="402" y="400"/>
                  </a:lnTo>
                  <a:lnTo>
                    <a:pt x="390" y="414"/>
                  </a:lnTo>
                  <a:lnTo>
                    <a:pt x="388" y="421"/>
                  </a:lnTo>
                  <a:lnTo>
                    <a:pt x="388" y="423"/>
                  </a:lnTo>
                  <a:lnTo>
                    <a:pt x="386" y="423"/>
                  </a:lnTo>
                  <a:lnTo>
                    <a:pt x="381" y="431"/>
                  </a:lnTo>
                  <a:lnTo>
                    <a:pt x="378" y="431"/>
                  </a:lnTo>
                  <a:lnTo>
                    <a:pt x="371" y="433"/>
                  </a:lnTo>
                  <a:lnTo>
                    <a:pt x="369" y="433"/>
                  </a:lnTo>
                  <a:lnTo>
                    <a:pt x="369" y="435"/>
                  </a:lnTo>
                  <a:lnTo>
                    <a:pt x="367" y="440"/>
                  </a:lnTo>
                  <a:lnTo>
                    <a:pt x="367" y="442"/>
                  </a:lnTo>
                  <a:lnTo>
                    <a:pt x="369" y="445"/>
                  </a:lnTo>
                  <a:lnTo>
                    <a:pt x="371" y="447"/>
                  </a:lnTo>
                  <a:lnTo>
                    <a:pt x="371" y="447"/>
                  </a:lnTo>
                  <a:lnTo>
                    <a:pt x="374" y="449"/>
                  </a:lnTo>
                  <a:lnTo>
                    <a:pt x="376" y="454"/>
                  </a:lnTo>
                  <a:lnTo>
                    <a:pt x="376" y="454"/>
                  </a:lnTo>
                  <a:lnTo>
                    <a:pt x="378" y="457"/>
                  </a:lnTo>
                  <a:lnTo>
                    <a:pt x="378" y="457"/>
                  </a:lnTo>
                  <a:lnTo>
                    <a:pt x="383" y="459"/>
                  </a:lnTo>
                  <a:lnTo>
                    <a:pt x="383" y="459"/>
                  </a:lnTo>
                  <a:lnTo>
                    <a:pt x="386" y="461"/>
                  </a:lnTo>
                  <a:lnTo>
                    <a:pt x="386" y="461"/>
                  </a:lnTo>
                  <a:lnTo>
                    <a:pt x="386" y="461"/>
                  </a:lnTo>
                  <a:lnTo>
                    <a:pt x="383" y="464"/>
                  </a:lnTo>
                  <a:lnTo>
                    <a:pt x="381" y="466"/>
                  </a:lnTo>
                  <a:lnTo>
                    <a:pt x="376" y="468"/>
                  </a:lnTo>
                  <a:lnTo>
                    <a:pt x="371" y="473"/>
                  </a:lnTo>
                  <a:lnTo>
                    <a:pt x="364" y="478"/>
                  </a:lnTo>
                  <a:lnTo>
                    <a:pt x="362" y="485"/>
                  </a:lnTo>
                  <a:lnTo>
                    <a:pt x="360" y="485"/>
                  </a:lnTo>
                  <a:lnTo>
                    <a:pt x="357" y="485"/>
                  </a:lnTo>
                  <a:lnTo>
                    <a:pt x="352" y="483"/>
                  </a:lnTo>
                  <a:lnTo>
                    <a:pt x="350" y="483"/>
                  </a:lnTo>
                  <a:lnTo>
                    <a:pt x="350" y="485"/>
                  </a:lnTo>
                  <a:lnTo>
                    <a:pt x="348" y="487"/>
                  </a:lnTo>
                  <a:lnTo>
                    <a:pt x="343" y="497"/>
                  </a:lnTo>
                  <a:lnTo>
                    <a:pt x="341" y="499"/>
                  </a:lnTo>
                  <a:lnTo>
                    <a:pt x="336" y="501"/>
                  </a:lnTo>
                  <a:lnTo>
                    <a:pt x="336" y="504"/>
                  </a:lnTo>
                  <a:lnTo>
                    <a:pt x="333" y="506"/>
                  </a:lnTo>
                  <a:lnTo>
                    <a:pt x="331" y="506"/>
                  </a:lnTo>
                  <a:lnTo>
                    <a:pt x="322" y="506"/>
                  </a:lnTo>
                  <a:lnTo>
                    <a:pt x="317" y="509"/>
                  </a:lnTo>
                  <a:lnTo>
                    <a:pt x="298" y="497"/>
                  </a:lnTo>
                  <a:lnTo>
                    <a:pt x="291" y="494"/>
                  </a:lnTo>
                  <a:lnTo>
                    <a:pt x="286" y="494"/>
                  </a:lnTo>
                  <a:lnTo>
                    <a:pt x="281" y="494"/>
                  </a:lnTo>
                  <a:lnTo>
                    <a:pt x="277" y="494"/>
                  </a:lnTo>
                  <a:lnTo>
                    <a:pt x="270" y="490"/>
                  </a:lnTo>
                  <a:lnTo>
                    <a:pt x="267" y="490"/>
                  </a:lnTo>
                  <a:lnTo>
                    <a:pt x="265" y="490"/>
                  </a:lnTo>
                  <a:lnTo>
                    <a:pt x="263" y="490"/>
                  </a:lnTo>
                  <a:lnTo>
                    <a:pt x="263" y="492"/>
                  </a:lnTo>
                  <a:lnTo>
                    <a:pt x="260" y="492"/>
                  </a:lnTo>
                  <a:lnTo>
                    <a:pt x="258" y="492"/>
                  </a:lnTo>
                  <a:lnTo>
                    <a:pt x="253" y="492"/>
                  </a:lnTo>
                  <a:lnTo>
                    <a:pt x="251" y="492"/>
                  </a:lnTo>
                  <a:lnTo>
                    <a:pt x="248" y="492"/>
                  </a:lnTo>
                  <a:lnTo>
                    <a:pt x="248" y="490"/>
                  </a:lnTo>
                  <a:lnTo>
                    <a:pt x="246" y="490"/>
                  </a:lnTo>
                  <a:lnTo>
                    <a:pt x="246" y="487"/>
                  </a:lnTo>
                  <a:lnTo>
                    <a:pt x="244" y="480"/>
                  </a:lnTo>
                  <a:lnTo>
                    <a:pt x="241" y="480"/>
                  </a:lnTo>
                  <a:lnTo>
                    <a:pt x="241" y="478"/>
                  </a:lnTo>
                  <a:lnTo>
                    <a:pt x="236" y="475"/>
                  </a:lnTo>
                  <a:lnTo>
                    <a:pt x="218" y="473"/>
                  </a:lnTo>
                  <a:lnTo>
                    <a:pt x="215" y="473"/>
                  </a:lnTo>
                  <a:lnTo>
                    <a:pt x="213" y="473"/>
                  </a:lnTo>
                  <a:lnTo>
                    <a:pt x="213" y="475"/>
                  </a:lnTo>
                  <a:lnTo>
                    <a:pt x="210" y="478"/>
                  </a:lnTo>
                  <a:lnTo>
                    <a:pt x="206" y="485"/>
                  </a:lnTo>
                  <a:lnTo>
                    <a:pt x="203" y="490"/>
                  </a:lnTo>
                  <a:lnTo>
                    <a:pt x="196" y="494"/>
                  </a:lnTo>
                  <a:lnTo>
                    <a:pt x="192" y="494"/>
                  </a:lnTo>
                  <a:lnTo>
                    <a:pt x="187" y="497"/>
                  </a:lnTo>
                  <a:lnTo>
                    <a:pt x="184" y="497"/>
                  </a:lnTo>
                  <a:lnTo>
                    <a:pt x="182" y="497"/>
                  </a:lnTo>
                  <a:lnTo>
                    <a:pt x="180" y="494"/>
                  </a:lnTo>
                  <a:lnTo>
                    <a:pt x="180" y="494"/>
                  </a:lnTo>
                  <a:lnTo>
                    <a:pt x="177" y="494"/>
                  </a:lnTo>
                  <a:lnTo>
                    <a:pt x="177" y="492"/>
                  </a:lnTo>
                  <a:lnTo>
                    <a:pt x="177" y="492"/>
                  </a:lnTo>
                  <a:lnTo>
                    <a:pt x="175" y="490"/>
                  </a:lnTo>
                  <a:lnTo>
                    <a:pt x="175" y="490"/>
                  </a:lnTo>
                  <a:lnTo>
                    <a:pt x="170" y="487"/>
                  </a:lnTo>
                  <a:lnTo>
                    <a:pt x="139" y="478"/>
                  </a:lnTo>
                  <a:lnTo>
                    <a:pt x="137" y="478"/>
                  </a:lnTo>
                  <a:lnTo>
                    <a:pt x="135" y="478"/>
                  </a:lnTo>
                  <a:lnTo>
                    <a:pt x="135" y="478"/>
                  </a:lnTo>
                  <a:lnTo>
                    <a:pt x="130" y="480"/>
                  </a:lnTo>
                  <a:lnTo>
                    <a:pt x="128" y="480"/>
                  </a:lnTo>
                  <a:lnTo>
                    <a:pt x="125" y="480"/>
                  </a:lnTo>
                  <a:lnTo>
                    <a:pt x="123" y="480"/>
                  </a:lnTo>
                  <a:lnTo>
                    <a:pt x="123" y="478"/>
                  </a:lnTo>
                  <a:lnTo>
                    <a:pt x="123" y="478"/>
                  </a:lnTo>
                  <a:lnTo>
                    <a:pt x="123" y="475"/>
                  </a:lnTo>
                  <a:lnTo>
                    <a:pt x="123" y="473"/>
                  </a:lnTo>
                  <a:lnTo>
                    <a:pt x="121" y="464"/>
                  </a:lnTo>
                  <a:lnTo>
                    <a:pt x="121" y="461"/>
                  </a:lnTo>
                  <a:lnTo>
                    <a:pt x="121" y="459"/>
                  </a:lnTo>
                  <a:lnTo>
                    <a:pt x="123" y="454"/>
                  </a:lnTo>
                  <a:lnTo>
                    <a:pt x="123" y="452"/>
                  </a:lnTo>
                  <a:lnTo>
                    <a:pt x="123" y="449"/>
                  </a:lnTo>
                  <a:lnTo>
                    <a:pt x="123" y="449"/>
                  </a:lnTo>
                  <a:lnTo>
                    <a:pt x="123" y="447"/>
                  </a:lnTo>
                  <a:lnTo>
                    <a:pt x="121" y="445"/>
                  </a:lnTo>
                  <a:lnTo>
                    <a:pt x="118" y="442"/>
                  </a:lnTo>
                  <a:lnTo>
                    <a:pt x="113" y="442"/>
                  </a:lnTo>
                  <a:lnTo>
                    <a:pt x="109" y="440"/>
                  </a:lnTo>
                  <a:lnTo>
                    <a:pt x="104" y="435"/>
                  </a:lnTo>
                  <a:lnTo>
                    <a:pt x="102" y="435"/>
                  </a:lnTo>
                  <a:lnTo>
                    <a:pt x="102" y="433"/>
                  </a:lnTo>
                  <a:lnTo>
                    <a:pt x="97" y="433"/>
                  </a:lnTo>
                  <a:lnTo>
                    <a:pt x="92" y="435"/>
                  </a:lnTo>
                  <a:lnTo>
                    <a:pt x="31" y="412"/>
                  </a:lnTo>
                  <a:lnTo>
                    <a:pt x="31" y="412"/>
                  </a:lnTo>
                  <a:lnTo>
                    <a:pt x="28" y="414"/>
                  </a:lnTo>
                  <a:lnTo>
                    <a:pt x="26" y="414"/>
                  </a:lnTo>
                  <a:lnTo>
                    <a:pt x="24" y="414"/>
                  </a:lnTo>
                  <a:lnTo>
                    <a:pt x="16" y="414"/>
                  </a:lnTo>
                  <a:lnTo>
                    <a:pt x="12" y="414"/>
                  </a:lnTo>
                  <a:lnTo>
                    <a:pt x="9" y="412"/>
                  </a:lnTo>
                  <a:lnTo>
                    <a:pt x="9" y="412"/>
                  </a:lnTo>
                  <a:lnTo>
                    <a:pt x="7" y="409"/>
                  </a:lnTo>
                  <a:lnTo>
                    <a:pt x="5" y="404"/>
                  </a:lnTo>
                  <a:lnTo>
                    <a:pt x="5" y="402"/>
                  </a:lnTo>
                  <a:lnTo>
                    <a:pt x="0" y="383"/>
                  </a:lnTo>
                  <a:lnTo>
                    <a:pt x="0" y="383"/>
                  </a:lnTo>
                  <a:lnTo>
                    <a:pt x="0" y="381"/>
                  </a:lnTo>
                  <a:lnTo>
                    <a:pt x="9" y="371"/>
                  </a:lnTo>
                  <a:lnTo>
                    <a:pt x="16" y="364"/>
                  </a:lnTo>
                  <a:lnTo>
                    <a:pt x="16" y="362"/>
                  </a:lnTo>
                  <a:lnTo>
                    <a:pt x="16" y="360"/>
                  </a:lnTo>
                  <a:lnTo>
                    <a:pt x="19" y="360"/>
                  </a:lnTo>
                  <a:lnTo>
                    <a:pt x="19" y="355"/>
                  </a:lnTo>
                  <a:lnTo>
                    <a:pt x="19" y="350"/>
                  </a:lnTo>
                  <a:lnTo>
                    <a:pt x="21" y="350"/>
                  </a:lnTo>
                  <a:lnTo>
                    <a:pt x="21" y="348"/>
                  </a:lnTo>
                  <a:lnTo>
                    <a:pt x="35" y="352"/>
                  </a:lnTo>
                  <a:lnTo>
                    <a:pt x="47" y="352"/>
                  </a:lnTo>
                  <a:lnTo>
                    <a:pt x="52" y="355"/>
                  </a:lnTo>
                  <a:lnTo>
                    <a:pt x="57" y="360"/>
                  </a:lnTo>
                  <a:lnTo>
                    <a:pt x="59" y="360"/>
                  </a:lnTo>
                  <a:lnTo>
                    <a:pt x="61" y="360"/>
                  </a:lnTo>
                  <a:lnTo>
                    <a:pt x="66" y="360"/>
                  </a:lnTo>
                  <a:lnTo>
                    <a:pt x="68" y="360"/>
                  </a:lnTo>
                  <a:lnTo>
                    <a:pt x="71" y="360"/>
                  </a:lnTo>
                  <a:lnTo>
                    <a:pt x="73" y="357"/>
                  </a:lnTo>
                  <a:lnTo>
                    <a:pt x="73" y="355"/>
                  </a:lnTo>
                  <a:lnTo>
                    <a:pt x="76" y="355"/>
                  </a:lnTo>
                  <a:lnTo>
                    <a:pt x="78" y="357"/>
                  </a:lnTo>
                  <a:lnTo>
                    <a:pt x="83" y="357"/>
                  </a:lnTo>
                  <a:lnTo>
                    <a:pt x="83" y="357"/>
                  </a:lnTo>
                  <a:lnTo>
                    <a:pt x="85" y="355"/>
                  </a:lnTo>
                  <a:lnTo>
                    <a:pt x="85" y="355"/>
                  </a:lnTo>
                  <a:lnTo>
                    <a:pt x="87" y="352"/>
                  </a:lnTo>
                  <a:lnTo>
                    <a:pt x="87" y="352"/>
                  </a:lnTo>
                  <a:lnTo>
                    <a:pt x="87" y="350"/>
                  </a:lnTo>
                  <a:lnTo>
                    <a:pt x="87" y="350"/>
                  </a:lnTo>
                  <a:lnTo>
                    <a:pt x="87" y="348"/>
                  </a:lnTo>
                  <a:lnTo>
                    <a:pt x="85" y="345"/>
                  </a:lnTo>
                  <a:lnTo>
                    <a:pt x="85" y="345"/>
                  </a:lnTo>
                  <a:lnTo>
                    <a:pt x="85" y="343"/>
                  </a:lnTo>
                  <a:lnTo>
                    <a:pt x="85" y="341"/>
                  </a:lnTo>
                  <a:lnTo>
                    <a:pt x="90" y="338"/>
                  </a:lnTo>
                  <a:lnTo>
                    <a:pt x="99" y="334"/>
                  </a:lnTo>
                  <a:lnTo>
                    <a:pt x="104" y="331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2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5" y="329"/>
                  </a:lnTo>
                  <a:lnTo>
                    <a:pt x="90" y="329"/>
                  </a:lnTo>
                  <a:lnTo>
                    <a:pt x="90" y="329"/>
                  </a:lnTo>
                  <a:lnTo>
                    <a:pt x="87" y="326"/>
                  </a:lnTo>
                  <a:lnTo>
                    <a:pt x="87" y="326"/>
                  </a:lnTo>
                  <a:lnTo>
                    <a:pt x="85" y="324"/>
                  </a:lnTo>
                  <a:lnTo>
                    <a:pt x="85" y="322"/>
                  </a:lnTo>
                  <a:lnTo>
                    <a:pt x="85" y="322"/>
                  </a:lnTo>
                  <a:lnTo>
                    <a:pt x="83" y="319"/>
                  </a:lnTo>
                  <a:lnTo>
                    <a:pt x="83" y="319"/>
                  </a:lnTo>
                  <a:lnTo>
                    <a:pt x="83" y="319"/>
                  </a:lnTo>
                  <a:lnTo>
                    <a:pt x="80" y="317"/>
                  </a:lnTo>
                  <a:lnTo>
                    <a:pt x="76" y="317"/>
                  </a:lnTo>
                  <a:lnTo>
                    <a:pt x="73" y="317"/>
                  </a:lnTo>
                  <a:lnTo>
                    <a:pt x="71" y="317"/>
                  </a:lnTo>
                  <a:lnTo>
                    <a:pt x="71" y="315"/>
                  </a:lnTo>
                  <a:lnTo>
                    <a:pt x="71" y="315"/>
                  </a:lnTo>
                  <a:lnTo>
                    <a:pt x="64" y="307"/>
                  </a:lnTo>
                  <a:lnTo>
                    <a:pt x="64" y="307"/>
                  </a:lnTo>
                  <a:lnTo>
                    <a:pt x="64" y="305"/>
                  </a:lnTo>
                  <a:lnTo>
                    <a:pt x="57" y="300"/>
                  </a:lnTo>
                  <a:lnTo>
                    <a:pt x="54" y="300"/>
                  </a:lnTo>
                  <a:lnTo>
                    <a:pt x="54" y="298"/>
                  </a:lnTo>
                  <a:lnTo>
                    <a:pt x="52" y="296"/>
                  </a:lnTo>
                  <a:lnTo>
                    <a:pt x="50" y="293"/>
                  </a:lnTo>
                  <a:lnTo>
                    <a:pt x="50" y="286"/>
                  </a:lnTo>
                  <a:lnTo>
                    <a:pt x="47" y="284"/>
                  </a:lnTo>
                  <a:lnTo>
                    <a:pt x="47" y="284"/>
                  </a:lnTo>
                  <a:lnTo>
                    <a:pt x="45" y="281"/>
                  </a:lnTo>
                  <a:lnTo>
                    <a:pt x="42" y="279"/>
                  </a:lnTo>
                  <a:lnTo>
                    <a:pt x="40" y="279"/>
                  </a:lnTo>
                  <a:lnTo>
                    <a:pt x="31" y="277"/>
                  </a:lnTo>
                  <a:lnTo>
                    <a:pt x="31" y="274"/>
                  </a:lnTo>
                  <a:lnTo>
                    <a:pt x="28" y="274"/>
                  </a:lnTo>
                  <a:lnTo>
                    <a:pt x="28" y="272"/>
                  </a:lnTo>
                  <a:lnTo>
                    <a:pt x="28" y="267"/>
                  </a:lnTo>
                  <a:lnTo>
                    <a:pt x="28" y="265"/>
                  </a:lnTo>
                  <a:lnTo>
                    <a:pt x="28" y="265"/>
                  </a:lnTo>
                  <a:lnTo>
                    <a:pt x="31" y="255"/>
                  </a:lnTo>
                  <a:lnTo>
                    <a:pt x="33" y="251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28" y="248"/>
                  </a:lnTo>
                  <a:lnTo>
                    <a:pt x="24" y="246"/>
                  </a:lnTo>
                  <a:lnTo>
                    <a:pt x="21" y="246"/>
                  </a:lnTo>
                  <a:lnTo>
                    <a:pt x="19" y="244"/>
                  </a:lnTo>
                  <a:lnTo>
                    <a:pt x="16" y="244"/>
                  </a:lnTo>
                  <a:lnTo>
                    <a:pt x="16" y="241"/>
                  </a:lnTo>
                  <a:lnTo>
                    <a:pt x="14" y="239"/>
                  </a:lnTo>
                  <a:lnTo>
                    <a:pt x="14" y="237"/>
                  </a:lnTo>
                  <a:lnTo>
                    <a:pt x="14" y="232"/>
                  </a:lnTo>
                  <a:lnTo>
                    <a:pt x="14" y="229"/>
                  </a:lnTo>
                  <a:lnTo>
                    <a:pt x="14" y="229"/>
                  </a:lnTo>
                  <a:lnTo>
                    <a:pt x="14" y="227"/>
                  </a:lnTo>
                  <a:lnTo>
                    <a:pt x="19" y="222"/>
                  </a:lnTo>
                  <a:lnTo>
                    <a:pt x="19" y="222"/>
                  </a:lnTo>
                  <a:lnTo>
                    <a:pt x="21" y="220"/>
                  </a:lnTo>
                  <a:lnTo>
                    <a:pt x="21" y="215"/>
                  </a:lnTo>
                  <a:lnTo>
                    <a:pt x="21" y="213"/>
                  </a:lnTo>
                  <a:lnTo>
                    <a:pt x="21" y="210"/>
                  </a:lnTo>
                  <a:lnTo>
                    <a:pt x="21" y="208"/>
                  </a:lnTo>
                  <a:lnTo>
                    <a:pt x="21" y="208"/>
                  </a:lnTo>
                  <a:lnTo>
                    <a:pt x="21" y="206"/>
                  </a:lnTo>
                  <a:lnTo>
                    <a:pt x="21" y="203"/>
                  </a:lnTo>
                  <a:lnTo>
                    <a:pt x="19" y="203"/>
                  </a:lnTo>
                  <a:lnTo>
                    <a:pt x="19" y="201"/>
                  </a:lnTo>
                  <a:lnTo>
                    <a:pt x="16" y="201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6"/>
                  </a:lnTo>
                  <a:lnTo>
                    <a:pt x="9" y="196"/>
                  </a:lnTo>
                  <a:lnTo>
                    <a:pt x="9" y="194"/>
                  </a:lnTo>
                  <a:lnTo>
                    <a:pt x="9" y="192"/>
                  </a:lnTo>
                  <a:lnTo>
                    <a:pt x="9" y="189"/>
                  </a:lnTo>
                  <a:lnTo>
                    <a:pt x="12" y="189"/>
                  </a:lnTo>
                  <a:lnTo>
                    <a:pt x="12" y="187"/>
                  </a:lnTo>
                  <a:lnTo>
                    <a:pt x="16" y="187"/>
                  </a:lnTo>
                  <a:lnTo>
                    <a:pt x="19" y="187"/>
                  </a:lnTo>
                  <a:lnTo>
                    <a:pt x="19" y="182"/>
                  </a:lnTo>
                  <a:lnTo>
                    <a:pt x="21" y="180"/>
                  </a:lnTo>
                  <a:lnTo>
                    <a:pt x="21" y="175"/>
                  </a:lnTo>
                  <a:lnTo>
                    <a:pt x="21" y="173"/>
                  </a:lnTo>
                  <a:lnTo>
                    <a:pt x="21" y="170"/>
                  </a:lnTo>
                  <a:lnTo>
                    <a:pt x="24" y="170"/>
                  </a:lnTo>
                  <a:lnTo>
                    <a:pt x="24" y="170"/>
                  </a:lnTo>
                  <a:lnTo>
                    <a:pt x="28" y="170"/>
                  </a:lnTo>
                  <a:lnTo>
                    <a:pt x="33" y="170"/>
                  </a:lnTo>
                  <a:lnTo>
                    <a:pt x="35" y="170"/>
                  </a:lnTo>
                  <a:lnTo>
                    <a:pt x="45" y="170"/>
                  </a:lnTo>
                  <a:lnTo>
                    <a:pt x="45" y="170"/>
                  </a:lnTo>
                  <a:lnTo>
                    <a:pt x="50" y="170"/>
                  </a:lnTo>
                  <a:lnTo>
                    <a:pt x="50" y="170"/>
                  </a:lnTo>
                  <a:lnTo>
                    <a:pt x="54" y="170"/>
                  </a:lnTo>
                  <a:lnTo>
                    <a:pt x="54" y="170"/>
                  </a:lnTo>
                  <a:lnTo>
                    <a:pt x="59" y="170"/>
                  </a:lnTo>
                  <a:lnTo>
                    <a:pt x="66" y="168"/>
                  </a:lnTo>
                  <a:lnTo>
                    <a:pt x="68" y="168"/>
                  </a:lnTo>
                  <a:lnTo>
                    <a:pt x="68" y="168"/>
                  </a:lnTo>
                  <a:lnTo>
                    <a:pt x="78" y="161"/>
                  </a:lnTo>
                  <a:lnTo>
                    <a:pt x="80" y="142"/>
                  </a:lnTo>
                  <a:lnTo>
                    <a:pt x="80" y="140"/>
                  </a:lnTo>
                  <a:lnTo>
                    <a:pt x="78" y="135"/>
                  </a:lnTo>
                  <a:lnTo>
                    <a:pt x="78" y="135"/>
                  </a:lnTo>
                  <a:lnTo>
                    <a:pt x="76" y="135"/>
                  </a:lnTo>
                  <a:lnTo>
                    <a:pt x="76" y="132"/>
                  </a:lnTo>
                  <a:lnTo>
                    <a:pt x="73" y="132"/>
                  </a:lnTo>
                  <a:lnTo>
                    <a:pt x="71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6" y="130"/>
                  </a:lnTo>
                  <a:lnTo>
                    <a:pt x="64" y="130"/>
                  </a:lnTo>
                  <a:lnTo>
                    <a:pt x="64" y="128"/>
                  </a:lnTo>
                  <a:lnTo>
                    <a:pt x="61" y="125"/>
                  </a:lnTo>
                  <a:lnTo>
                    <a:pt x="61" y="123"/>
                  </a:lnTo>
                  <a:lnTo>
                    <a:pt x="61" y="121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7" y="109"/>
                  </a:lnTo>
                  <a:lnTo>
                    <a:pt x="87" y="106"/>
                  </a:lnTo>
                  <a:lnTo>
                    <a:pt x="87" y="104"/>
                  </a:lnTo>
                  <a:lnTo>
                    <a:pt x="90" y="102"/>
                  </a:lnTo>
                  <a:lnTo>
                    <a:pt x="90" y="97"/>
                  </a:lnTo>
                  <a:lnTo>
                    <a:pt x="92" y="95"/>
                  </a:lnTo>
                  <a:lnTo>
                    <a:pt x="97" y="92"/>
                  </a:lnTo>
                  <a:lnTo>
                    <a:pt x="102" y="92"/>
                  </a:lnTo>
                  <a:lnTo>
                    <a:pt x="102" y="90"/>
                  </a:lnTo>
                  <a:lnTo>
                    <a:pt x="104" y="87"/>
                  </a:lnTo>
                  <a:lnTo>
                    <a:pt x="104" y="87"/>
                  </a:lnTo>
                  <a:lnTo>
                    <a:pt x="104" y="85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78"/>
                  </a:lnTo>
                  <a:lnTo>
                    <a:pt x="106" y="76"/>
                  </a:lnTo>
                  <a:lnTo>
                    <a:pt x="106" y="73"/>
                  </a:lnTo>
                  <a:lnTo>
                    <a:pt x="109" y="71"/>
                  </a:lnTo>
                  <a:lnTo>
                    <a:pt x="111" y="64"/>
                  </a:lnTo>
                  <a:lnTo>
                    <a:pt x="111" y="59"/>
                  </a:lnTo>
                  <a:lnTo>
                    <a:pt x="113" y="57"/>
                  </a:lnTo>
                  <a:lnTo>
                    <a:pt x="116" y="57"/>
                  </a:lnTo>
                  <a:lnTo>
                    <a:pt x="116" y="57"/>
                  </a:lnTo>
                  <a:lnTo>
                    <a:pt x="118" y="57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3" y="59"/>
                  </a:lnTo>
                  <a:lnTo>
                    <a:pt x="125" y="59"/>
                  </a:lnTo>
                  <a:lnTo>
                    <a:pt x="128" y="59"/>
                  </a:lnTo>
                  <a:lnTo>
                    <a:pt x="135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42" y="54"/>
                  </a:lnTo>
                  <a:lnTo>
                    <a:pt x="142" y="54"/>
                  </a:lnTo>
                  <a:lnTo>
                    <a:pt x="144" y="54"/>
                  </a:lnTo>
                  <a:lnTo>
                    <a:pt x="154" y="50"/>
                  </a:lnTo>
                  <a:lnTo>
                    <a:pt x="158" y="47"/>
                  </a:lnTo>
                  <a:lnTo>
                    <a:pt x="158" y="45"/>
                  </a:lnTo>
                  <a:lnTo>
                    <a:pt x="161" y="45"/>
                  </a:lnTo>
                  <a:lnTo>
                    <a:pt x="161" y="42"/>
                  </a:lnTo>
                  <a:lnTo>
                    <a:pt x="161" y="40"/>
                  </a:lnTo>
                  <a:lnTo>
                    <a:pt x="161" y="40"/>
                  </a:lnTo>
                  <a:lnTo>
                    <a:pt x="161" y="35"/>
                  </a:lnTo>
                  <a:lnTo>
                    <a:pt x="161" y="33"/>
                  </a:lnTo>
                  <a:lnTo>
                    <a:pt x="161" y="31"/>
                  </a:lnTo>
                  <a:lnTo>
                    <a:pt x="163" y="28"/>
                  </a:lnTo>
                  <a:lnTo>
                    <a:pt x="166" y="26"/>
                  </a:lnTo>
                  <a:lnTo>
                    <a:pt x="168" y="26"/>
                  </a:lnTo>
                  <a:lnTo>
                    <a:pt x="173" y="24"/>
                  </a:lnTo>
                  <a:lnTo>
                    <a:pt x="177" y="21"/>
                  </a:lnTo>
                  <a:lnTo>
                    <a:pt x="194" y="12"/>
                  </a:lnTo>
                  <a:lnTo>
                    <a:pt x="215" y="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35">
              <a:extLst>
                <a:ext uri="{FF2B5EF4-FFF2-40B4-BE49-F238E27FC236}">
                  <a16:creationId xmlns:a16="http://schemas.microsoft.com/office/drawing/2014/main" id="{49666D8A-131A-4DD7-B112-DF8F5BF93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8902" y="4502545"/>
              <a:ext cx="5626" cy="9844"/>
            </a:xfrm>
            <a:custGeom>
              <a:avLst/>
              <a:gdLst>
                <a:gd name="T0" fmla="*/ 0 w 5"/>
                <a:gd name="T1" fmla="*/ 5 h 8"/>
                <a:gd name="T2" fmla="*/ 0 w 5"/>
                <a:gd name="T3" fmla="*/ 5 h 8"/>
                <a:gd name="T4" fmla="*/ 3 w 5"/>
                <a:gd name="T5" fmla="*/ 3 h 8"/>
                <a:gd name="T6" fmla="*/ 5 w 5"/>
                <a:gd name="T7" fmla="*/ 0 h 8"/>
                <a:gd name="T8" fmla="*/ 3 w 5"/>
                <a:gd name="T9" fmla="*/ 5 h 8"/>
                <a:gd name="T10" fmla="*/ 0 w 5"/>
                <a:gd name="T11" fmla="*/ 8 h 8"/>
                <a:gd name="T12" fmla="*/ 0 w 5"/>
                <a:gd name="T1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8">
                  <a:moveTo>
                    <a:pt x="0" y="5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5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36">
              <a:extLst>
                <a:ext uri="{FF2B5EF4-FFF2-40B4-BE49-F238E27FC236}">
                  <a16:creationId xmlns:a16="http://schemas.microsoft.com/office/drawing/2014/main" id="{EE1A1333-21BA-4069-A48B-D35F7B9DB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8902" y="4502545"/>
              <a:ext cx="5626" cy="9844"/>
            </a:xfrm>
            <a:custGeom>
              <a:avLst/>
              <a:gdLst>
                <a:gd name="T0" fmla="*/ 0 w 5"/>
                <a:gd name="T1" fmla="*/ 5 h 8"/>
                <a:gd name="T2" fmla="*/ 0 w 5"/>
                <a:gd name="T3" fmla="*/ 5 h 8"/>
                <a:gd name="T4" fmla="*/ 3 w 5"/>
                <a:gd name="T5" fmla="*/ 3 h 8"/>
                <a:gd name="T6" fmla="*/ 5 w 5"/>
                <a:gd name="T7" fmla="*/ 0 h 8"/>
                <a:gd name="T8" fmla="*/ 3 w 5"/>
                <a:gd name="T9" fmla="*/ 5 h 8"/>
                <a:gd name="T10" fmla="*/ 0 w 5"/>
                <a:gd name="T11" fmla="*/ 8 h 8"/>
                <a:gd name="T12" fmla="*/ 0 w 5"/>
                <a:gd name="T1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8">
                  <a:moveTo>
                    <a:pt x="0" y="5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5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5"/>
                  </a:lnTo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37">
              <a:extLst>
                <a:ext uri="{FF2B5EF4-FFF2-40B4-BE49-F238E27FC236}">
                  <a16:creationId xmlns:a16="http://schemas.microsoft.com/office/drawing/2014/main" id="{4708F47D-6A94-45AB-A74A-B2B7BFCDAE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7370" y="3474626"/>
              <a:ext cx="1077337" cy="826836"/>
            </a:xfrm>
            <a:custGeom>
              <a:avLst/>
              <a:gdLst>
                <a:gd name="T0" fmla="*/ 840 w 847"/>
                <a:gd name="T1" fmla="*/ 492 h 651"/>
                <a:gd name="T2" fmla="*/ 806 w 847"/>
                <a:gd name="T3" fmla="*/ 526 h 651"/>
                <a:gd name="T4" fmla="*/ 816 w 847"/>
                <a:gd name="T5" fmla="*/ 575 h 651"/>
                <a:gd name="T6" fmla="*/ 802 w 847"/>
                <a:gd name="T7" fmla="*/ 596 h 651"/>
                <a:gd name="T8" fmla="*/ 735 w 847"/>
                <a:gd name="T9" fmla="*/ 611 h 651"/>
                <a:gd name="T10" fmla="*/ 648 w 847"/>
                <a:gd name="T11" fmla="*/ 608 h 651"/>
                <a:gd name="T12" fmla="*/ 556 w 847"/>
                <a:gd name="T13" fmla="*/ 632 h 651"/>
                <a:gd name="T14" fmla="*/ 428 w 847"/>
                <a:gd name="T15" fmla="*/ 570 h 651"/>
                <a:gd name="T16" fmla="*/ 284 w 847"/>
                <a:gd name="T17" fmla="*/ 476 h 651"/>
                <a:gd name="T18" fmla="*/ 206 w 847"/>
                <a:gd name="T19" fmla="*/ 388 h 651"/>
                <a:gd name="T20" fmla="*/ 137 w 847"/>
                <a:gd name="T21" fmla="*/ 369 h 651"/>
                <a:gd name="T22" fmla="*/ 68 w 847"/>
                <a:gd name="T23" fmla="*/ 275 h 651"/>
                <a:gd name="T24" fmla="*/ 40 w 847"/>
                <a:gd name="T25" fmla="*/ 208 h 651"/>
                <a:gd name="T26" fmla="*/ 28 w 847"/>
                <a:gd name="T27" fmla="*/ 180 h 651"/>
                <a:gd name="T28" fmla="*/ 30 w 847"/>
                <a:gd name="T29" fmla="*/ 156 h 651"/>
                <a:gd name="T30" fmla="*/ 61 w 847"/>
                <a:gd name="T31" fmla="*/ 138 h 651"/>
                <a:gd name="T32" fmla="*/ 78 w 847"/>
                <a:gd name="T33" fmla="*/ 116 h 651"/>
                <a:gd name="T34" fmla="*/ 85 w 847"/>
                <a:gd name="T35" fmla="*/ 81 h 651"/>
                <a:gd name="T36" fmla="*/ 78 w 847"/>
                <a:gd name="T37" fmla="*/ 59 h 651"/>
                <a:gd name="T38" fmla="*/ 82 w 847"/>
                <a:gd name="T39" fmla="*/ 43 h 651"/>
                <a:gd name="T40" fmla="*/ 137 w 847"/>
                <a:gd name="T41" fmla="*/ 59 h 651"/>
                <a:gd name="T42" fmla="*/ 127 w 847"/>
                <a:gd name="T43" fmla="*/ 78 h 651"/>
                <a:gd name="T44" fmla="*/ 172 w 847"/>
                <a:gd name="T45" fmla="*/ 97 h 651"/>
                <a:gd name="T46" fmla="*/ 198 w 847"/>
                <a:gd name="T47" fmla="*/ 83 h 651"/>
                <a:gd name="T48" fmla="*/ 239 w 847"/>
                <a:gd name="T49" fmla="*/ 126 h 651"/>
                <a:gd name="T50" fmla="*/ 260 w 847"/>
                <a:gd name="T51" fmla="*/ 152 h 651"/>
                <a:gd name="T52" fmla="*/ 305 w 847"/>
                <a:gd name="T53" fmla="*/ 175 h 651"/>
                <a:gd name="T54" fmla="*/ 326 w 847"/>
                <a:gd name="T55" fmla="*/ 187 h 651"/>
                <a:gd name="T56" fmla="*/ 355 w 847"/>
                <a:gd name="T57" fmla="*/ 168 h 651"/>
                <a:gd name="T58" fmla="*/ 357 w 847"/>
                <a:gd name="T59" fmla="*/ 149 h 651"/>
                <a:gd name="T60" fmla="*/ 388 w 847"/>
                <a:gd name="T61" fmla="*/ 145 h 651"/>
                <a:gd name="T62" fmla="*/ 397 w 847"/>
                <a:gd name="T63" fmla="*/ 126 h 651"/>
                <a:gd name="T64" fmla="*/ 433 w 847"/>
                <a:gd name="T65" fmla="*/ 76 h 651"/>
                <a:gd name="T66" fmla="*/ 473 w 847"/>
                <a:gd name="T67" fmla="*/ 62 h 651"/>
                <a:gd name="T68" fmla="*/ 506 w 847"/>
                <a:gd name="T69" fmla="*/ 48 h 651"/>
                <a:gd name="T70" fmla="*/ 513 w 847"/>
                <a:gd name="T71" fmla="*/ 22 h 651"/>
                <a:gd name="T72" fmla="*/ 534 w 847"/>
                <a:gd name="T73" fmla="*/ 0 h 651"/>
                <a:gd name="T74" fmla="*/ 565 w 847"/>
                <a:gd name="T75" fmla="*/ 31 h 651"/>
                <a:gd name="T76" fmla="*/ 577 w 847"/>
                <a:gd name="T77" fmla="*/ 62 h 651"/>
                <a:gd name="T78" fmla="*/ 534 w 847"/>
                <a:gd name="T79" fmla="*/ 71 h 651"/>
                <a:gd name="T80" fmla="*/ 515 w 847"/>
                <a:gd name="T81" fmla="*/ 88 h 651"/>
                <a:gd name="T82" fmla="*/ 518 w 847"/>
                <a:gd name="T83" fmla="*/ 102 h 651"/>
                <a:gd name="T84" fmla="*/ 518 w 847"/>
                <a:gd name="T85" fmla="*/ 123 h 651"/>
                <a:gd name="T86" fmla="*/ 523 w 847"/>
                <a:gd name="T87" fmla="*/ 147 h 651"/>
                <a:gd name="T88" fmla="*/ 530 w 847"/>
                <a:gd name="T89" fmla="*/ 175 h 651"/>
                <a:gd name="T90" fmla="*/ 553 w 847"/>
                <a:gd name="T91" fmla="*/ 201 h 651"/>
                <a:gd name="T92" fmla="*/ 582 w 847"/>
                <a:gd name="T93" fmla="*/ 220 h 651"/>
                <a:gd name="T94" fmla="*/ 598 w 847"/>
                <a:gd name="T95" fmla="*/ 230 h 651"/>
                <a:gd name="T96" fmla="*/ 584 w 847"/>
                <a:gd name="T97" fmla="*/ 246 h 651"/>
                <a:gd name="T98" fmla="*/ 575 w 847"/>
                <a:gd name="T99" fmla="*/ 256 h 651"/>
                <a:gd name="T100" fmla="*/ 534 w 847"/>
                <a:gd name="T101" fmla="*/ 253 h 651"/>
                <a:gd name="T102" fmla="*/ 499 w 847"/>
                <a:gd name="T103" fmla="*/ 284 h 651"/>
                <a:gd name="T104" fmla="*/ 527 w 847"/>
                <a:gd name="T105" fmla="*/ 315 h 651"/>
                <a:gd name="T106" fmla="*/ 620 w 847"/>
                <a:gd name="T107" fmla="*/ 346 h 651"/>
                <a:gd name="T108" fmla="*/ 622 w 847"/>
                <a:gd name="T109" fmla="*/ 379 h 651"/>
                <a:gd name="T110" fmla="*/ 674 w 847"/>
                <a:gd name="T111" fmla="*/ 391 h 651"/>
                <a:gd name="T112" fmla="*/ 695 w 847"/>
                <a:gd name="T113" fmla="*/ 395 h 651"/>
                <a:gd name="T114" fmla="*/ 743 w 847"/>
                <a:gd name="T115" fmla="*/ 381 h 651"/>
                <a:gd name="T116" fmla="*/ 764 w 847"/>
                <a:gd name="T117" fmla="*/ 391 h 651"/>
                <a:gd name="T118" fmla="*/ 823 w 847"/>
                <a:gd name="T119" fmla="*/ 417 h 651"/>
                <a:gd name="T120" fmla="*/ 840 w 847"/>
                <a:gd name="T121" fmla="*/ 457 h 651"/>
                <a:gd name="T122" fmla="*/ 336 w 847"/>
                <a:gd name="T123" fmla="*/ 395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47" h="651">
                  <a:moveTo>
                    <a:pt x="844" y="471"/>
                  </a:moveTo>
                  <a:lnTo>
                    <a:pt x="844" y="471"/>
                  </a:lnTo>
                  <a:lnTo>
                    <a:pt x="847" y="473"/>
                  </a:lnTo>
                  <a:lnTo>
                    <a:pt x="847" y="476"/>
                  </a:lnTo>
                  <a:lnTo>
                    <a:pt x="844" y="478"/>
                  </a:lnTo>
                  <a:lnTo>
                    <a:pt x="840" y="485"/>
                  </a:lnTo>
                  <a:lnTo>
                    <a:pt x="837" y="485"/>
                  </a:lnTo>
                  <a:lnTo>
                    <a:pt x="840" y="488"/>
                  </a:lnTo>
                  <a:lnTo>
                    <a:pt x="840" y="488"/>
                  </a:lnTo>
                  <a:lnTo>
                    <a:pt x="840" y="490"/>
                  </a:lnTo>
                  <a:lnTo>
                    <a:pt x="840" y="492"/>
                  </a:lnTo>
                  <a:lnTo>
                    <a:pt x="835" y="499"/>
                  </a:lnTo>
                  <a:lnTo>
                    <a:pt x="832" y="499"/>
                  </a:lnTo>
                  <a:lnTo>
                    <a:pt x="830" y="502"/>
                  </a:lnTo>
                  <a:lnTo>
                    <a:pt x="828" y="504"/>
                  </a:lnTo>
                  <a:lnTo>
                    <a:pt x="821" y="514"/>
                  </a:lnTo>
                  <a:lnTo>
                    <a:pt x="821" y="514"/>
                  </a:lnTo>
                  <a:lnTo>
                    <a:pt x="816" y="518"/>
                  </a:lnTo>
                  <a:lnTo>
                    <a:pt x="816" y="518"/>
                  </a:lnTo>
                  <a:lnTo>
                    <a:pt x="809" y="523"/>
                  </a:lnTo>
                  <a:lnTo>
                    <a:pt x="806" y="523"/>
                  </a:lnTo>
                  <a:lnTo>
                    <a:pt x="806" y="526"/>
                  </a:lnTo>
                  <a:lnTo>
                    <a:pt x="806" y="528"/>
                  </a:lnTo>
                  <a:lnTo>
                    <a:pt x="811" y="535"/>
                  </a:lnTo>
                  <a:lnTo>
                    <a:pt x="814" y="537"/>
                  </a:lnTo>
                  <a:lnTo>
                    <a:pt x="814" y="540"/>
                  </a:lnTo>
                  <a:lnTo>
                    <a:pt x="814" y="542"/>
                  </a:lnTo>
                  <a:lnTo>
                    <a:pt x="814" y="552"/>
                  </a:lnTo>
                  <a:lnTo>
                    <a:pt x="816" y="561"/>
                  </a:lnTo>
                  <a:lnTo>
                    <a:pt x="816" y="568"/>
                  </a:lnTo>
                  <a:lnTo>
                    <a:pt x="816" y="573"/>
                  </a:lnTo>
                  <a:lnTo>
                    <a:pt x="816" y="575"/>
                  </a:lnTo>
                  <a:lnTo>
                    <a:pt x="816" y="575"/>
                  </a:lnTo>
                  <a:lnTo>
                    <a:pt x="816" y="578"/>
                  </a:lnTo>
                  <a:lnTo>
                    <a:pt x="816" y="580"/>
                  </a:lnTo>
                  <a:lnTo>
                    <a:pt x="814" y="580"/>
                  </a:lnTo>
                  <a:lnTo>
                    <a:pt x="811" y="582"/>
                  </a:lnTo>
                  <a:lnTo>
                    <a:pt x="809" y="585"/>
                  </a:lnTo>
                  <a:lnTo>
                    <a:pt x="806" y="585"/>
                  </a:lnTo>
                  <a:lnTo>
                    <a:pt x="804" y="587"/>
                  </a:lnTo>
                  <a:lnTo>
                    <a:pt x="804" y="589"/>
                  </a:lnTo>
                  <a:lnTo>
                    <a:pt x="802" y="592"/>
                  </a:lnTo>
                  <a:lnTo>
                    <a:pt x="802" y="594"/>
                  </a:lnTo>
                  <a:lnTo>
                    <a:pt x="802" y="596"/>
                  </a:lnTo>
                  <a:lnTo>
                    <a:pt x="802" y="599"/>
                  </a:lnTo>
                  <a:lnTo>
                    <a:pt x="802" y="599"/>
                  </a:lnTo>
                  <a:lnTo>
                    <a:pt x="790" y="604"/>
                  </a:lnTo>
                  <a:lnTo>
                    <a:pt x="788" y="606"/>
                  </a:lnTo>
                  <a:lnTo>
                    <a:pt x="783" y="611"/>
                  </a:lnTo>
                  <a:lnTo>
                    <a:pt x="776" y="604"/>
                  </a:lnTo>
                  <a:lnTo>
                    <a:pt x="771" y="604"/>
                  </a:lnTo>
                  <a:lnTo>
                    <a:pt x="762" y="608"/>
                  </a:lnTo>
                  <a:lnTo>
                    <a:pt x="757" y="608"/>
                  </a:lnTo>
                  <a:lnTo>
                    <a:pt x="754" y="606"/>
                  </a:lnTo>
                  <a:lnTo>
                    <a:pt x="735" y="611"/>
                  </a:lnTo>
                  <a:lnTo>
                    <a:pt x="726" y="620"/>
                  </a:lnTo>
                  <a:lnTo>
                    <a:pt x="733" y="632"/>
                  </a:lnTo>
                  <a:lnTo>
                    <a:pt x="721" y="634"/>
                  </a:lnTo>
                  <a:lnTo>
                    <a:pt x="719" y="634"/>
                  </a:lnTo>
                  <a:lnTo>
                    <a:pt x="717" y="630"/>
                  </a:lnTo>
                  <a:lnTo>
                    <a:pt x="714" y="627"/>
                  </a:lnTo>
                  <a:lnTo>
                    <a:pt x="712" y="625"/>
                  </a:lnTo>
                  <a:lnTo>
                    <a:pt x="709" y="630"/>
                  </a:lnTo>
                  <a:lnTo>
                    <a:pt x="707" y="630"/>
                  </a:lnTo>
                  <a:lnTo>
                    <a:pt x="700" y="623"/>
                  </a:lnTo>
                  <a:lnTo>
                    <a:pt x="648" y="608"/>
                  </a:lnTo>
                  <a:lnTo>
                    <a:pt x="636" y="611"/>
                  </a:lnTo>
                  <a:lnTo>
                    <a:pt x="612" y="618"/>
                  </a:lnTo>
                  <a:lnTo>
                    <a:pt x="605" y="623"/>
                  </a:lnTo>
                  <a:lnTo>
                    <a:pt x="596" y="632"/>
                  </a:lnTo>
                  <a:lnTo>
                    <a:pt x="584" y="637"/>
                  </a:lnTo>
                  <a:lnTo>
                    <a:pt x="579" y="649"/>
                  </a:lnTo>
                  <a:lnTo>
                    <a:pt x="572" y="651"/>
                  </a:lnTo>
                  <a:lnTo>
                    <a:pt x="565" y="651"/>
                  </a:lnTo>
                  <a:lnTo>
                    <a:pt x="560" y="646"/>
                  </a:lnTo>
                  <a:lnTo>
                    <a:pt x="560" y="639"/>
                  </a:lnTo>
                  <a:lnTo>
                    <a:pt x="556" y="632"/>
                  </a:lnTo>
                  <a:lnTo>
                    <a:pt x="551" y="627"/>
                  </a:lnTo>
                  <a:lnTo>
                    <a:pt x="544" y="615"/>
                  </a:lnTo>
                  <a:lnTo>
                    <a:pt x="537" y="611"/>
                  </a:lnTo>
                  <a:lnTo>
                    <a:pt x="518" y="592"/>
                  </a:lnTo>
                  <a:lnTo>
                    <a:pt x="506" y="587"/>
                  </a:lnTo>
                  <a:lnTo>
                    <a:pt x="497" y="582"/>
                  </a:lnTo>
                  <a:lnTo>
                    <a:pt x="489" y="580"/>
                  </a:lnTo>
                  <a:lnTo>
                    <a:pt x="463" y="582"/>
                  </a:lnTo>
                  <a:lnTo>
                    <a:pt x="461" y="582"/>
                  </a:lnTo>
                  <a:lnTo>
                    <a:pt x="435" y="573"/>
                  </a:lnTo>
                  <a:lnTo>
                    <a:pt x="428" y="570"/>
                  </a:lnTo>
                  <a:lnTo>
                    <a:pt x="426" y="573"/>
                  </a:lnTo>
                  <a:lnTo>
                    <a:pt x="423" y="578"/>
                  </a:lnTo>
                  <a:lnTo>
                    <a:pt x="418" y="575"/>
                  </a:lnTo>
                  <a:lnTo>
                    <a:pt x="390" y="542"/>
                  </a:lnTo>
                  <a:lnTo>
                    <a:pt x="352" y="511"/>
                  </a:lnTo>
                  <a:lnTo>
                    <a:pt x="317" y="485"/>
                  </a:lnTo>
                  <a:lnTo>
                    <a:pt x="310" y="483"/>
                  </a:lnTo>
                  <a:lnTo>
                    <a:pt x="303" y="481"/>
                  </a:lnTo>
                  <a:lnTo>
                    <a:pt x="298" y="478"/>
                  </a:lnTo>
                  <a:lnTo>
                    <a:pt x="293" y="478"/>
                  </a:lnTo>
                  <a:lnTo>
                    <a:pt x="284" y="476"/>
                  </a:lnTo>
                  <a:lnTo>
                    <a:pt x="281" y="476"/>
                  </a:lnTo>
                  <a:lnTo>
                    <a:pt x="276" y="471"/>
                  </a:lnTo>
                  <a:lnTo>
                    <a:pt x="272" y="464"/>
                  </a:lnTo>
                  <a:lnTo>
                    <a:pt x="269" y="457"/>
                  </a:lnTo>
                  <a:lnTo>
                    <a:pt x="269" y="447"/>
                  </a:lnTo>
                  <a:lnTo>
                    <a:pt x="267" y="440"/>
                  </a:lnTo>
                  <a:lnTo>
                    <a:pt x="262" y="431"/>
                  </a:lnTo>
                  <a:lnTo>
                    <a:pt x="253" y="419"/>
                  </a:lnTo>
                  <a:lnTo>
                    <a:pt x="243" y="410"/>
                  </a:lnTo>
                  <a:lnTo>
                    <a:pt x="210" y="391"/>
                  </a:lnTo>
                  <a:lnTo>
                    <a:pt x="206" y="388"/>
                  </a:lnTo>
                  <a:lnTo>
                    <a:pt x="203" y="386"/>
                  </a:lnTo>
                  <a:lnTo>
                    <a:pt x="201" y="381"/>
                  </a:lnTo>
                  <a:lnTo>
                    <a:pt x="198" y="379"/>
                  </a:lnTo>
                  <a:lnTo>
                    <a:pt x="189" y="379"/>
                  </a:lnTo>
                  <a:lnTo>
                    <a:pt x="187" y="376"/>
                  </a:lnTo>
                  <a:lnTo>
                    <a:pt x="182" y="372"/>
                  </a:lnTo>
                  <a:lnTo>
                    <a:pt x="175" y="369"/>
                  </a:lnTo>
                  <a:lnTo>
                    <a:pt x="170" y="367"/>
                  </a:lnTo>
                  <a:lnTo>
                    <a:pt x="163" y="365"/>
                  </a:lnTo>
                  <a:lnTo>
                    <a:pt x="139" y="369"/>
                  </a:lnTo>
                  <a:lnTo>
                    <a:pt x="137" y="369"/>
                  </a:lnTo>
                  <a:lnTo>
                    <a:pt x="135" y="365"/>
                  </a:lnTo>
                  <a:lnTo>
                    <a:pt x="127" y="358"/>
                  </a:lnTo>
                  <a:lnTo>
                    <a:pt x="123" y="350"/>
                  </a:lnTo>
                  <a:lnTo>
                    <a:pt x="118" y="348"/>
                  </a:lnTo>
                  <a:lnTo>
                    <a:pt x="116" y="341"/>
                  </a:lnTo>
                  <a:lnTo>
                    <a:pt x="106" y="334"/>
                  </a:lnTo>
                  <a:lnTo>
                    <a:pt x="104" y="329"/>
                  </a:lnTo>
                  <a:lnTo>
                    <a:pt x="104" y="324"/>
                  </a:lnTo>
                  <a:lnTo>
                    <a:pt x="99" y="317"/>
                  </a:lnTo>
                  <a:lnTo>
                    <a:pt x="78" y="284"/>
                  </a:lnTo>
                  <a:lnTo>
                    <a:pt x="68" y="275"/>
                  </a:lnTo>
                  <a:lnTo>
                    <a:pt x="28" y="249"/>
                  </a:lnTo>
                  <a:lnTo>
                    <a:pt x="12" y="249"/>
                  </a:lnTo>
                  <a:lnTo>
                    <a:pt x="0" y="244"/>
                  </a:lnTo>
                  <a:lnTo>
                    <a:pt x="4" y="223"/>
                  </a:lnTo>
                  <a:lnTo>
                    <a:pt x="4" y="223"/>
                  </a:lnTo>
                  <a:lnTo>
                    <a:pt x="4" y="220"/>
                  </a:lnTo>
                  <a:lnTo>
                    <a:pt x="7" y="218"/>
                  </a:lnTo>
                  <a:lnTo>
                    <a:pt x="9" y="216"/>
                  </a:lnTo>
                  <a:lnTo>
                    <a:pt x="12" y="216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0" y="206"/>
                  </a:lnTo>
                  <a:lnTo>
                    <a:pt x="42" y="206"/>
                  </a:lnTo>
                  <a:lnTo>
                    <a:pt x="42" y="204"/>
                  </a:lnTo>
                  <a:lnTo>
                    <a:pt x="42" y="199"/>
                  </a:lnTo>
                  <a:lnTo>
                    <a:pt x="42" y="194"/>
                  </a:lnTo>
                  <a:lnTo>
                    <a:pt x="42" y="190"/>
                  </a:lnTo>
                  <a:lnTo>
                    <a:pt x="42" y="187"/>
                  </a:lnTo>
                  <a:lnTo>
                    <a:pt x="40" y="187"/>
                  </a:lnTo>
                  <a:lnTo>
                    <a:pt x="38" y="185"/>
                  </a:lnTo>
                  <a:lnTo>
                    <a:pt x="28" y="180"/>
                  </a:lnTo>
                  <a:lnTo>
                    <a:pt x="28" y="180"/>
                  </a:lnTo>
                  <a:lnTo>
                    <a:pt x="28" y="178"/>
                  </a:lnTo>
                  <a:lnTo>
                    <a:pt x="28" y="175"/>
                  </a:lnTo>
                  <a:lnTo>
                    <a:pt x="28" y="173"/>
                  </a:lnTo>
                  <a:lnTo>
                    <a:pt x="33" y="168"/>
                  </a:lnTo>
                  <a:lnTo>
                    <a:pt x="33" y="166"/>
                  </a:lnTo>
                  <a:lnTo>
                    <a:pt x="33" y="164"/>
                  </a:lnTo>
                  <a:lnTo>
                    <a:pt x="30" y="161"/>
                  </a:lnTo>
                  <a:lnTo>
                    <a:pt x="30" y="161"/>
                  </a:lnTo>
                  <a:lnTo>
                    <a:pt x="30" y="159"/>
                  </a:lnTo>
                  <a:lnTo>
                    <a:pt x="30" y="156"/>
                  </a:lnTo>
                  <a:lnTo>
                    <a:pt x="30" y="156"/>
                  </a:lnTo>
                  <a:lnTo>
                    <a:pt x="33" y="154"/>
                  </a:lnTo>
                  <a:lnTo>
                    <a:pt x="35" y="154"/>
                  </a:lnTo>
                  <a:lnTo>
                    <a:pt x="35" y="154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2" y="156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9" y="145"/>
                  </a:lnTo>
                  <a:lnTo>
                    <a:pt x="59" y="145"/>
                  </a:lnTo>
                  <a:lnTo>
                    <a:pt x="61" y="138"/>
                  </a:lnTo>
                  <a:lnTo>
                    <a:pt x="64" y="135"/>
                  </a:lnTo>
                  <a:lnTo>
                    <a:pt x="64" y="135"/>
                  </a:lnTo>
                  <a:lnTo>
                    <a:pt x="68" y="133"/>
                  </a:lnTo>
                  <a:lnTo>
                    <a:pt x="71" y="130"/>
                  </a:lnTo>
                  <a:lnTo>
                    <a:pt x="73" y="128"/>
                  </a:lnTo>
                  <a:lnTo>
                    <a:pt x="73" y="126"/>
                  </a:lnTo>
                  <a:lnTo>
                    <a:pt x="75" y="126"/>
                  </a:lnTo>
                  <a:lnTo>
                    <a:pt x="75" y="119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4"/>
                  </a:lnTo>
                  <a:lnTo>
                    <a:pt x="80" y="114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7" y="111"/>
                  </a:lnTo>
                  <a:lnTo>
                    <a:pt x="87" y="107"/>
                  </a:lnTo>
                  <a:lnTo>
                    <a:pt x="87" y="102"/>
                  </a:lnTo>
                  <a:lnTo>
                    <a:pt x="85" y="90"/>
                  </a:lnTo>
                  <a:lnTo>
                    <a:pt x="85" y="85"/>
                  </a:lnTo>
                  <a:lnTo>
                    <a:pt x="85" y="83"/>
                  </a:lnTo>
                  <a:lnTo>
                    <a:pt x="85" y="81"/>
                  </a:lnTo>
                  <a:lnTo>
                    <a:pt x="87" y="81"/>
                  </a:lnTo>
                  <a:lnTo>
                    <a:pt x="87" y="78"/>
                  </a:lnTo>
                  <a:lnTo>
                    <a:pt x="87" y="76"/>
                  </a:lnTo>
                  <a:lnTo>
                    <a:pt x="87" y="74"/>
                  </a:lnTo>
                  <a:lnTo>
                    <a:pt x="87" y="71"/>
                  </a:lnTo>
                  <a:lnTo>
                    <a:pt x="87" y="69"/>
                  </a:lnTo>
                  <a:lnTo>
                    <a:pt x="85" y="69"/>
                  </a:lnTo>
                  <a:lnTo>
                    <a:pt x="82" y="67"/>
                  </a:lnTo>
                  <a:lnTo>
                    <a:pt x="80" y="64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5" y="57"/>
                  </a:lnTo>
                  <a:lnTo>
                    <a:pt x="66" y="50"/>
                  </a:lnTo>
                  <a:lnTo>
                    <a:pt x="66" y="48"/>
                  </a:lnTo>
                  <a:lnTo>
                    <a:pt x="68" y="45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73" y="41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0" y="43"/>
                  </a:lnTo>
                  <a:lnTo>
                    <a:pt x="82" y="43"/>
                  </a:lnTo>
                  <a:lnTo>
                    <a:pt x="85" y="41"/>
                  </a:lnTo>
                  <a:lnTo>
                    <a:pt x="90" y="33"/>
                  </a:lnTo>
                  <a:lnTo>
                    <a:pt x="92" y="31"/>
                  </a:lnTo>
                  <a:lnTo>
                    <a:pt x="106" y="22"/>
                  </a:lnTo>
                  <a:lnTo>
                    <a:pt x="123" y="45"/>
                  </a:lnTo>
                  <a:lnTo>
                    <a:pt x="130" y="50"/>
                  </a:lnTo>
                  <a:lnTo>
                    <a:pt x="132" y="52"/>
                  </a:lnTo>
                  <a:lnTo>
                    <a:pt x="137" y="55"/>
                  </a:lnTo>
                  <a:lnTo>
                    <a:pt x="137" y="57"/>
                  </a:lnTo>
                  <a:lnTo>
                    <a:pt x="139" y="57"/>
                  </a:lnTo>
                  <a:lnTo>
                    <a:pt x="137" y="59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64"/>
                  </a:lnTo>
                  <a:lnTo>
                    <a:pt x="137" y="64"/>
                  </a:lnTo>
                  <a:lnTo>
                    <a:pt x="135" y="67"/>
                  </a:lnTo>
                  <a:lnTo>
                    <a:pt x="130" y="69"/>
                  </a:lnTo>
                  <a:lnTo>
                    <a:pt x="130" y="71"/>
                  </a:lnTo>
                  <a:lnTo>
                    <a:pt x="127" y="74"/>
                  </a:lnTo>
                  <a:lnTo>
                    <a:pt x="127" y="74"/>
                  </a:lnTo>
                  <a:lnTo>
                    <a:pt x="127" y="76"/>
                  </a:lnTo>
                  <a:lnTo>
                    <a:pt x="127" y="78"/>
                  </a:lnTo>
                  <a:lnTo>
                    <a:pt x="127" y="81"/>
                  </a:lnTo>
                  <a:lnTo>
                    <a:pt x="135" y="85"/>
                  </a:lnTo>
                  <a:lnTo>
                    <a:pt x="137" y="88"/>
                  </a:lnTo>
                  <a:lnTo>
                    <a:pt x="139" y="88"/>
                  </a:lnTo>
                  <a:lnTo>
                    <a:pt x="146" y="93"/>
                  </a:lnTo>
                  <a:lnTo>
                    <a:pt x="151" y="95"/>
                  </a:lnTo>
                  <a:lnTo>
                    <a:pt x="158" y="102"/>
                  </a:lnTo>
                  <a:lnTo>
                    <a:pt x="161" y="102"/>
                  </a:lnTo>
                  <a:lnTo>
                    <a:pt x="163" y="102"/>
                  </a:lnTo>
                  <a:lnTo>
                    <a:pt x="163" y="102"/>
                  </a:lnTo>
                  <a:lnTo>
                    <a:pt x="172" y="97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9" y="93"/>
                  </a:lnTo>
                  <a:lnTo>
                    <a:pt x="191" y="93"/>
                  </a:lnTo>
                  <a:lnTo>
                    <a:pt x="191" y="93"/>
                  </a:lnTo>
                  <a:lnTo>
                    <a:pt x="194" y="93"/>
                  </a:lnTo>
                  <a:lnTo>
                    <a:pt x="194" y="90"/>
                  </a:lnTo>
                  <a:lnTo>
                    <a:pt x="194" y="90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8" y="83"/>
                  </a:lnTo>
                  <a:lnTo>
                    <a:pt x="198" y="83"/>
                  </a:lnTo>
                  <a:lnTo>
                    <a:pt x="215" y="90"/>
                  </a:lnTo>
                  <a:lnTo>
                    <a:pt x="220" y="90"/>
                  </a:lnTo>
                  <a:lnTo>
                    <a:pt x="220" y="90"/>
                  </a:lnTo>
                  <a:lnTo>
                    <a:pt x="224" y="93"/>
                  </a:lnTo>
                  <a:lnTo>
                    <a:pt x="227" y="95"/>
                  </a:lnTo>
                  <a:lnTo>
                    <a:pt x="229" y="102"/>
                  </a:lnTo>
                  <a:lnTo>
                    <a:pt x="232" y="111"/>
                  </a:lnTo>
                  <a:lnTo>
                    <a:pt x="232" y="119"/>
                  </a:lnTo>
                  <a:lnTo>
                    <a:pt x="236" y="126"/>
                  </a:lnTo>
                  <a:lnTo>
                    <a:pt x="239" y="126"/>
                  </a:lnTo>
                  <a:lnTo>
                    <a:pt x="241" y="126"/>
                  </a:lnTo>
                  <a:lnTo>
                    <a:pt x="241" y="123"/>
                  </a:lnTo>
                  <a:lnTo>
                    <a:pt x="241" y="126"/>
                  </a:lnTo>
                  <a:lnTo>
                    <a:pt x="243" y="133"/>
                  </a:lnTo>
                  <a:lnTo>
                    <a:pt x="243" y="138"/>
                  </a:lnTo>
                  <a:lnTo>
                    <a:pt x="246" y="145"/>
                  </a:lnTo>
                  <a:lnTo>
                    <a:pt x="248" y="147"/>
                  </a:lnTo>
                  <a:lnTo>
                    <a:pt x="248" y="149"/>
                  </a:lnTo>
                  <a:lnTo>
                    <a:pt x="253" y="152"/>
                  </a:lnTo>
                  <a:lnTo>
                    <a:pt x="255" y="156"/>
                  </a:lnTo>
                  <a:lnTo>
                    <a:pt x="260" y="152"/>
                  </a:lnTo>
                  <a:lnTo>
                    <a:pt x="267" y="152"/>
                  </a:lnTo>
                  <a:lnTo>
                    <a:pt x="286" y="164"/>
                  </a:lnTo>
                  <a:lnTo>
                    <a:pt x="293" y="171"/>
                  </a:lnTo>
                  <a:lnTo>
                    <a:pt x="293" y="171"/>
                  </a:lnTo>
                  <a:lnTo>
                    <a:pt x="295" y="175"/>
                  </a:lnTo>
                  <a:lnTo>
                    <a:pt x="295" y="175"/>
                  </a:lnTo>
                  <a:lnTo>
                    <a:pt x="295" y="175"/>
                  </a:lnTo>
                  <a:lnTo>
                    <a:pt x="298" y="175"/>
                  </a:lnTo>
                  <a:lnTo>
                    <a:pt x="298" y="175"/>
                  </a:lnTo>
                  <a:lnTo>
                    <a:pt x="300" y="175"/>
                  </a:lnTo>
                  <a:lnTo>
                    <a:pt x="305" y="175"/>
                  </a:lnTo>
                  <a:lnTo>
                    <a:pt x="305" y="178"/>
                  </a:lnTo>
                  <a:lnTo>
                    <a:pt x="305" y="180"/>
                  </a:lnTo>
                  <a:lnTo>
                    <a:pt x="305" y="182"/>
                  </a:lnTo>
                  <a:lnTo>
                    <a:pt x="303" y="185"/>
                  </a:lnTo>
                  <a:lnTo>
                    <a:pt x="300" y="190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0" y="190"/>
                  </a:lnTo>
                  <a:lnTo>
                    <a:pt x="312" y="192"/>
                  </a:lnTo>
                  <a:lnTo>
                    <a:pt x="324" y="187"/>
                  </a:lnTo>
                  <a:lnTo>
                    <a:pt x="326" y="187"/>
                  </a:lnTo>
                  <a:lnTo>
                    <a:pt x="329" y="187"/>
                  </a:lnTo>
                  <a:lnTo>
                    <a:pt x="331" y="192"/>
                  </a:lnTo>
                  <a:lnTo>
                    <a:pt x="333" y="194"/>
                  </a:lnTo>
                  <a:lnTo>
                    <a:pt x="333" y="194"/>
                  </a:lnTo>
                  <a:lnTo>
                    <a:pt x="336" y="194"/>
                  </a:lnTo>
                  <a:lnTo>
                    <a:pt x="338" y="190"/>
                  </a:lnTo>
                  <a:lnTo>
                    <a:pt x="345" y="185"/>
                  </a:lnTo>
                  <a:lnTo>
                    <a:pt x="350" y="180"/>
                  </a:lnTo>
                  <a:lnTo>
                    <a:pt x="350" y="178"/>
                  </a:lnTo>
                  <a:lnTo>
                    <a:pt x="352" y="173"/>
                  </a:lnTo>
                  <a:lnTo>
                    <a:pt x="355" y="168"/>
                  </a:lnTo>
                  <a:lnTo>
                    <a:pt x="355" y="164"/>
                  </a:lnTo>
                  <a:lnTo>
                    <a:pt x="355" y="161"/>
                  </a:lnTo>
                  <a:lnTo>
                    <a:pt x="355" y="161"/>
                  </a:lnTo>
                  <a:lnTo>
                    <a:pt x="352" y="159"/>
                  </a:lnTo>
                  <a:lnTo>
                    <a:pt x="352" y="159"/>
                  </a:lnTo>
                  <a:lnTo>
                    <a:pt x="352" y="156"/>
                  </a:lnTo>
                  <a:lnTo>
                    <a:pt x="352" y="154"/>
                  </a:lnTo>
                  <a:lnTo>
                    <a:pt x="352" y="152"/>
                  </a:lnTo>
                  <a:lnTo>
                    <a:pt x="355" y="149"/>
                  </a:lnTo>
                  <a:lnTo>
                    <a:pt x="355" y="149"/>
                  </a:lnTo>
                  <a:lnTo>
                    <a:pt x="357" y="149"/>
                  </a:lnTo>
                  <a:lnTo>
                    <a:pt x="357" y="152"/>
                  </a:lnTo>
                  <a:lnTo>
                    <a:pt x="364" y="156"/>
                  </a:lnTo>
                  <a:lnTo>
                    <a:pt x="366" y="159"/>
                  </a:lnTo>
                  <a:lnTo>
                    <a:pt x="371" y="156"/>
                  </a:lnTo>
                  <a:lnTo>
                    <a:pt x="381" y="154"/>
                  </a:lnTo>
                  <a:lnTo>
                    <a:pt x="385" y="152"/>
                  </a:lnTo>
                  <a:lnTo>
                    <a:pt x="388" y="149"/>
                  </a:lnTo>
                  <a:lnTo>
                    <a:pt x="388" y="149"/>
                  </a:lnTo>
                  <a:lnTo>
                    <a:pt x="388" y="147"/>
                  </a:lnTo>
                  <a:lnTo>
                    <a:pt x="388" y="147"/>
                  </a:lnTo>
                  <a:lnTo>
                    <a:pt x="388" y="145"/>
                  </a:lnTo>
                  <a:lnTo>
                    <a:pt x="388" y="142"/>
                  </a:lnTo>
                  <a:lnTo>
                    <a:pt x="383" y="138"/>
                  </a:lnTo>
                  <a:lnTo>
                    <a:pt x="383" y="138"/>
                  </a:lnTo>
                  <a:lnTo>
                    <a:pt x="383" y="135"/>
                  </a:lnTo>
                  <a:lnTo>
                    <a:pt x="383" y="133"/>
                  </a:lnTo>
                  <a:lnTo>
                    <a:pt x="383" y="133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7" y="126"/>
                  </a:lnTo>
                  <a:lnTo>
                    <a:pt x="397" y="126"/>
                  </a:lnTo>
                  <a:lnTo>
                    <a:pt x="400" y="119"/>
                  </a:lnTo>
                  <a:lnTo>
                    <a:pt x="400" y="116"/>
                  </a:lnTo>
                  <a:lnTo>
                    <a:pt x="426" y="97"/>
                  </a:lnTo>
                  <a:lnTo>
                    <a:pt x="428" y="95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28" y="90"/>
                  </a:lnTo>
                  <a:lnTo>
                    <a:pt x="428" y="90"/>
                  </a:lnTo>
                  <a:lnTo>
                    <a:pt x="426" y="88"/>
                  </a:lnTo>
                  <a:lnTo>
                    <a:pt x="426" y="85"/>
                  </a:lnTo>
                  <a:lnTo>
                    <a:pt x="433" y="76"/>
                  </a:lnTo>
                  <a:lnTo>
                    <a:pt x="459" y="71"/>
                  </a:lnTo>
                  <a:lnTo>
                    <a:pt x="461" y="71"/>
                  </a:lnTo>
                  <a:lnTo>
                    <a:pt x="463" y="71"/>
                  </a:lnTo>
                  <a:lnTo>
                    <a:pt x="463" y="69"/>
                  </a:lnTo>
                  <a:lnTo>
                    <a:pt x="463" y="69"/>
                  </a:lnTo>
                  <a:lnTo>
                    <a:pt x="463" y="64"/>
                  </a:lnTo>
                  <a:lnTo>
                    <a:pt x="466" y="62"/>
                  </a:lnTo>
                  <a:lnTo>
                    <a:pt x="466" y="59"/>
                  </a:lnTo>
                  <a:lnTo>
                    <a:pt x="468" y="59"/>
                  </a:lnTo>
                  <a:lnTo>
                    <a:pt x="468" y="59"/>
                  </a:lnTo>
                  <a:lnTo>
                    <a:pt x="473" y="62"/>
                  </a:lnTo>
                  <a:lnTo>
                    <a:pt x="473" y="62"/>
                  </a:lnTo>
                  <a:lnTo>
                    <a:pt x="478" y="62"/>
                  </a:lnTo>
                  <a:lnTo>
                    <a:pt x="480" y="62"/>
                  </a:lnTo>
                  <a:lnTo>
                    <a:pt x="489" y="57"/>
                  </a:lnTo>
                  <a:lnTo>
                    <a:pt x="489" y="57"/>
                  </a:lnTo>
                  <a:lnTo>
                    <a:pt x="494" y="50"/>
                  </a:lnTo>
                  <a:lnTo>
                    <a:pt x="497" y="50"/>
                  </a:lnTo>
                  <a:lnTo>
                    <a:pt x="499" y="50"/>
                  </a:lnTo>
                  <a:lnTo>
                    <a:pt x="504" y="50"/>
                  </a:lnTo>
                  <a:lnTo>
                    <a:pt x="506" y="50"/>
                  </a:lnTo>
                  <a:lnTo>
                    <a:pt x="506" y="48"/>
                  </a:lnTo>
                  <a:lnTo>
                    <a:pt x="508" y="48"/>
                  </a:lnTo>
                  <a:lnTo>
                    <a:pt x="508" y="45"/>
                  </a:lnTo>
                  <a:lnTo>
                    <a:pt x="508" y="43"/>
                  </a:lnTo>
                  <a:lnTo>
                    <a:pt x="508" y="38"/>
                  </a:lnTo>
                  <a:lnTo>
                    <a:pt x="511" y="36"/>
                  </a:lnTo>
                  <a:lnTo>
                    <a:pt x="511" y="33"/>
                  </a:lnTo>
                  <a:lnTo>
                    <a:pt x="513" y="29"/>
                  </a:lnTo>
                  <a:lnTo>
                    <a:pt x="513" y="26"/>
                  </a:lnTo>
                  <a:lnTo>
                    <a:pt x="515" y="26"/>
                  </a:lnTo>
                  <a:lnTo>
                    <a:pt x="513" y="24"/>
                  </a:lnTo>
                  <a:lnTo>
                    <a:pt x="513" y="22"/>
                  </a:lnTo>
                  <a:lnTo>
                    <a:pt x="513" y="19"/>
                  </a:lnTo>
                  <a:lnTo>
                    <a:pt x="511" y="19"/>
                  </a:lnTo>
                  <a:lnTo>
                    <a:pt x="511" y="17"/>
                  </a:lnTo>
                  <a:lnTo>
                    <a:pt x="511" y="14"/>
                  </a:lnTo>
                  <a:lnTo>
                    <a:pt x="511" y="12"/>
                  </a:lnTo>
                  <a:lnTo>
                    <a:pt x="513" y="7"/>
                  </a:lnTo>
                  <a:lnTo>
                    <a:pt x="527" y="5"/>
                  </a:lnTo>
                  <a:lnTo>
                    <a:pt x="530" y="5"/>
                  </a:lnTo>
                  <a:lnTo>
                    <a:pt x="530" y="5"/>
                  </a:lnTo>
                  <a:lnTo>
                    <a:pt x="534" y="0"/>
                  </a:lnTo>
                  <a:lnTo>
                    <a:pt x="534" y="0"/>
                  </a:lnTo>
                  <a:lnTo>
                    <a:pt x="534" y="0"/>
                  </a:lnTo>
                  <a:lnTo>
                    <a:pt x="537" y="0"/>
                  </a:lnTo>
                  <a:lnTo>
                    <a:pt x="539" y="3"/>
                  </a:lnTo>
                  <a:lnTo>
                    <a:pt x="549" y="7"/>
                  </a:lnTo>
                  <a:lnTo>
                    <a:pt x="551" y="10"/>
                  </a:lnTo>
                  <a:lnTo>
                    <a:pt x="560" y="22"/>
                  </a:lnTo>
                  <a:lnTo>
                    <a:pt x="560" y="24"/>
                  </a:lnTo>
                  <a:lnTo>
                    <a:pt x="560" y="26"/>
                  </a:lnTo>
                  <a:lnTo>
                    <a:pt x="563" y="29"/>
                  </a:lnTo>
                  <a:lnTo>
                    <a:pt x="563" y="31"/>
                  </a:lnTo>
                  <a:lnTo>
                    <a:pt x="565" y="31"/>
                  </a:lnTo>
                  <a:lnTo>
                    <a:pt x="567" y="33"/>
                  </a:lnTo>
                  <a:lnTo>
                    <a:pt x="567" y="33"/>
                  </a:lnTo>
                  <a:lnTo>
                    <a:pt x="570" y="33"/>
                  </a:lnTo>
                  <a:lnTo>
                    <a:pt x="572" y="33"/>
                  </a:lnTo>
                  <a:lnTo>
                    <a:pt x="575" y="33"/>
                  </a:lnTo>
                  <a:lnTo>
                    <a:pt x="575" y="36"/>
                  </a:lnTo>
                  <a:lnTo>
                    <a:pt x="577" y="36"/>
                  </a:lnTo>
                  <a:lnTo>
                    <a:pt x="577" y="36"/>
                  </a:lnTo>
                  <a:lnTo>
                    <a:pt x="579" y="41"/>
                  </a:lnTo>
                  <a:lnTo>
                    <a:pt x="579" y="43"/>
                  </a:lnTo>
                  <a:lnTo>
                    <a:pt x="577" y="62"/>
                  </a:lnTo>
                  <a:lnTo>
                    <a:pt x="567" y="69"/>
                  </a:lnTo>
                  <a:lnTo>
                    <a:pt x="567" y="69"/>
                  </a:lnTo>
                  <a:lnTo>
                    <a:pt x="565" y="69"/>
                  </a:lnTo>
                  <a:lnTo>
                    <a:pt x="558" y="71"/>
                  </a:lnTo>
                  <a:lnTo>
                    <a:pt x="553" y="71"/>
                  </a:lnTo>
                  <a:lnTo>
                    <a:pt x="553" y="71"/>
                  </a:lnTo>
                  <a:lnTo>
                    <a:pt x="549" y="71"/>
                  </a:lnTo>
                  <a:lnTo>
                    <a:pt x="549" y="71"/>
                  </a:lnTo>
                  <a:lnTo>
                    <a:pt x="544" y="71"/>
                  </a:lnTo>
                  <a:lnTo>
                    <a:pt x="544" y="71"/>
                  </a:lnTo>
                  <a:lnTo>
                    <a:pt x="534" y="71"/>
                  </a:lnTo>
                  <a:lnTo>
                    <a:pt x="532" y="71"/>
                  </a:lnTo>
                  <a:lnTo>
                    <a:pt x="527" y="71"/>
                  </a:lnTo>
                  <a:lnTo>
                    <a:pt x="523" y="71"/>
                  </a:lnTo>
                  <a:lnTo>
                    <a:pt x="523" y="71"/>
                  </a:lnTo>
                  <a:lnTo>
                    <a:pt x="520" y="71"/>
                  </a:lnTo>
                  <a:lnTo>
                    <a:pt x="520" y="74"/>
                  </a:lnTo>
                  <a:lnTo>
                    <a:pt x="520" y="76"/>
                  </a:lnTo>
                  <a:lnTo>
                    <a:pt x="520" y="81"/>
                  </a:lnTo>
                  <a:lnTo>
                    <a:pt x="518" y="83"/>
                  </a:lnTo>
                  <a:lnTo>
                    <a:pt x="518" y="88"/>
                  </a:lnTo>
                  <a:lnTo>
                    <a:pt x="515" y="88"/>
                  </a:lnTo>
                  <a:lnTo>
                    <a:pt x="511" y="88"/>
                  </a:lnTo>
                  <a:lnTo>
                    <a:pt x="511" y="90"/>
                  </a:lnTo>
                  <a:lnTo>
                    <a:pt x="508" y="90"/>
                  </a:lnTo>
                  <a:lnTo>
                    <a:pt x="508" y="93"/>
                  </a:lnTo>
                  <a:lnTo>
                    <a:pt x="508" y="95"/>
                  </a:lnTo>
                  <a:lnTo>
                    <a:pt x="508" y="97"/>
                  </a:lnTo>
                  <a:lnTo>
                    <a:pt x="511" y="97"/>
                  </a:lnTo>
                  <a:lnTo>
                    <a:pt x="511" y="100"/>
                  </a:lnTo>
                  <a:lnTo>
                    <a:pt x="515" y="100"/>
                  </a:lnTo>
                  <a:lnTo>
                    <a:pt x="515" y="102"/>
                  </a:lnTo>
                  <a:lnTo>
                    <a:pt x="518" y="102"/>
                  </a:lnTo>
                  <a:lnTo>
                    <a:pt x="518" y="104"/>
                  </a:lnTo>
                  <a:lnTo>
                    <a:pt x="520" y="104"/>
                  </a:lnTo>
                  <a:lnTo>
                    <a:pt x="520" y="107"/>
                  </a:lnTo>
                  <a:lnTo>
                    <a:pt x="520" y="109"/>
                  </a:lnTo>
                  <a:lnTo>
                    <a:pt x="520" y="109"/>
                  </a:lnTo>
                  <a:lnTo>
                    <a:pt x="520" y="111"/>
                  </a:lnTo>
                  <a:lnTo>
                    <a:pt x="520" y="114"/>
                  </a:lnTo>
                  <a:lnTo>
                    <a:pt x="520" y="116"/>
                  </a:lnTo>
                  <a:lnTo>
                    <a:pt x="520" y="121"/>
                  </a:lnTo>
                  <a:lnTo>
                    <a:pt x="518" y="123"/>
                  </a:lnTo>
                  <a:lnTo>
                    <a:pt x="518" y="123"/>
                  </a:lnTo>
                  <a:lnTo>
                    <a:pt x="513" y="128"/>
                  </a:lnTo>
                  <a:lnTo>
                    <a:pt x="513" y="130"/>
                  </a:lnTo>
                  <a:lnTo>
                    <a:pt x="513" y="130"/>
                  </a:lnTo>
                  <a:lnTo>
                    <a:pt x="513" y="133"/>
                  </a:lnTo>
                  <a:lnTo>
                    <a:pt x="513" y="138"/>
                  </a:lnTo>
                  <a:lnTo>
                    <a:pt x="513" y="140"/>
                  </a:lnTo>
                  <a:lnTo>
                    <a:pt x="515" y="142"/>
                  </a:lnTo>
                  <a:lnTo>
                    <a:pt x="515" y="145"/>
                  </a:lnTo>
                  <a:lnTo>
                    <a:pt x="518" y="145"/>
                  </a:lnTo>
                  <a:lnTo>
                    <a:pt x="520" y="147"/>
                  </a:lnTo>
                  <a:lnTo>
                    <a:pt x="523" y="147"/>
                  </a:lnTo>
                  <a:lnTo>
                    <a:pt x="527" y="149"/>
                  </a:lnTo>
                  <a:lnTo>
                    <a:pt x="530" y="149"/>
                  </a:lnTo>
                  <a:lnTo>
                    <a:pt x="530" y="149"/>
                  </a:lnTo>
                  <a:lnTo>
                    <a:pt x="532" y="152"/>
                  </a:lnTo>
                  <a:lnTo>
                    <a:pt x="530" y="156"/>
                  </a:lnTo>
                  <a:lnTo>
                    <a:pt x="527" y="166"/>
                  </a:lnTo>
                  <a:lnTo>
                    <a:pt x="527" y="166"/>
                  </a:lnTo>
                  <a:lnTo>
                    <a:pt x="527" y="168"/>
                  </a:lnTo>
                  <a:lnTo>
                    <a:pt x="527" y="173"/>
                  </a:lnTo>
                  <a:lnTo>
                    <a:pt x="527" y="175"/>
                  </a:lnTo>
                  <a:lnTo>
                    <a:pt x="530" y="175"/>
                  </a:lnTo>
                  <a:lnTo>
                    <a:pt x="530" y="178"/>
                  </a:lnTo>
                  <a:lnTo>
                    <a:pt x="539" y="180"/>
                  </a:lnTo>
                  <a:lnTo>
                    <a:pt x="541" y="180"/>
                  </a:lnTo>
                  <a:lnTo>
                    <a:pt x="544" y="182"/>
                  </a:lnTo>
                  <a:lnTo>
                    <a:pt x="546" y="185"/>
                  </a:lnTo>
                  <a:lnTo>
                    <a:pt x="546" y="185"/>
                  </a:lnTo>
                  <a:lnTo>
                    <a:pt x="549" y="187"/>
                  </a:lnTo>
                  <a:lnTo>
                    <a:pt x="549" y="194"/>
                  </a:lnTo>
                  <a:lnTo>
                    <a:pt x="551" y="197"/>
                  </a:lnTo>
                  <a:lnTo>
                    <a:pt x="553" y="199"/>
                  </a:lnTo>
                  <a:lnTo>
                    <a:pt x="553" y="201"/>
                  </a:lnTo>
                  <a:lnTo>
                    <a:pt x="556" y="201"/>
                  </a:lnTo>
                  <a:lnTo>
                    <a:pt x="563" y="206"/>
                  </a:lnTo>
                  <a:lnTo>
                    <a:pt x="563" y="208"/>
                  </a:lnTo>
                  <a:lnTo>
                    <a:pt x="563" y="208"/>
                  </a:lnTo>
                  <a:lnTo>
                    <a:pt x="570" y="216"/>
                  </a:lnTo>
                  <a:lnTo>
                    <a:pt x="570" y="216"/>
                  </a:lnTo>
                  <a:lnTo>
                    <a:pt x="570" y="218"/>
                  </a:lnTo>
                  <a:lnTo>
                    <a:pt x="572" y="218"/>
                  </a:lnTo>
                  <a:lnTo>
                    <a:pt x="575" y="218"/>
                  </a:lnTo>
                  <a:lnTo>
                    <a:pt x="579" y="218"/>
                  </a:lnTo>
                  <a:lnTo>
                    <a:pt x="582" y="220"/>
                  </a:lnTo>
                  <a:lnTo>
                    <a:pt x="582" y="220"/>
                  </a:lnTo>
                  <a:lnTo>
                    <a:pt x="582" y="220"/>
                  </a:lnTo>
                  <a:lnTo>
                    <a:pt x="584" y="223"/>
                  </a:lnTo>
                  <a:lnTo>
                    <a:pt x="584" y="223"/>
                  </a:lnTo>
                  <a:lnTo>
                    <a:pt x="584" y="225"/>
                  </a:lnTo>
                  <a:lnTo>
                    <a:pt x="586" y="227"/>
                  </a:lnTo>
                  <a:lnTo>
                    <a:pt x="586" y="227"/>
                  </a:lnTo>
                  <a:lnTo>
                    <a:pt x="589" y="230"/>
                  </a:lnTo>
                  <a:lnTo>
                    <a:pt x="589" y="230"/>
                  </a:lnTo>
                  <a:lnTo>
                    <a:pt x="594" y="230"/>
                  </a:lnTo>
                  <a:lnTo>
                    <a:pt x="598" y="230"/>
                  </a:lnTo>
                  <a:lnTo>
                    <a:pt x="598" y="230"/>
                  </a:lnTo>
                  <a:lnTo>
                    <a:pt x="601" y="230"/>
                  </a:lnTo>
                  <a:lnTo>
                    <a:pt x="603" y="230"/>
                  </a:lnTo>
                  <a:lnTo>
                    <a:pt x="603" y="230"/>
                  </a:lnTo>
                  <a:lnTo>
                    <a:pt x="603" y="232"/>
                  </a:lnTo>
                  <a:lnTo>
                    <a:pt x="598" y="235"/>
                  </a:lnTo>
                  <a:lnTo>
                    <a:pt x="589" y="239"/>
                  </a:lnTo>
                  <a:lnTo>
                    <a:pt x="584" y="242"/>
                  </a:lnTo>
                  <a:lnTo>
                    <a:pt x="584" y="244"/>
                  </a:lnTo>
                  <a:lnTo>
                    <a:pt x="584" y="246"/>
                  </a:lnTo>
                  <a:lnTo>
                    <a:pt x="584" y="246"/>
                  </a:lnTo>
                  <a:lnTo>
                    <a:pt x="586" y="249"/>
                  </a:lnTo>
                  <a:lnTo>
                    <a:pt x="586" y="251"/>
                  </a:lnTo>
                  <a:lnTo>
                    <a:pt x="586" y="251"/>
                  </a:lnTo>
                  <a:lnTo>
                    <a:pt x="586" y="253"/>
                  </a:lnTo>
                  <a:lnTo>
                    <a:pt x="586" y="253"/>
                  </a:lnTo>
                  <a:lnTo>
                    <a:pt x="584" y="256"/>
                  </a:lnTo>
                  <a:lnTo>
                    <a:pt x="584" y="256"/>
                  </a:lnTo>
                  <a:lnTo>
                    <a:pt x="582" y="258"/>
                  </a:lnTo>
                  <a:lnTo>
                    <a:pt x="582" y="258"/>
                  </a:lnTo>
                  <a:lnTo>
                    <a:pt x="577" y="258"/>
                  </a:lnTo>
                  <a:lnTo>
                    <a:pt x="575" y="256"/>
                  </a:lnTo>
                  <a:lnTo>
                    <a:pt x="572" y="256"/>
                  </a:lnTo>
                  <a:lnTo>
                    <a:pt x="572" y="258"/>
                  </a:lnTo>
                  <a:lnTo>
                    <a:pt x="570" y="261"/>
                  </a:lnTo>
                  <a:lnTo>
                    <a:pt x="567" y="261"/>
                  </a:lnTo>
                  <a:lnTo>
                    <a:pt x="565" y="261"/>
                  </a:lnTo>
                  <a:lnTo>
                    <a:pt x="560" y="261"/>
                  </a:lnTo>
                  <a:lnTo>
                    <a:pt x="558" y="261"/>
                  </a:lnTo>
                  <a:lnTo>
                    <a:pt x="556" y="261"/>
                  </a:lnTo>
                  <a:lnTo>
                    <a:pt x="551" y="256"/>
                  </a:lnTo>
                  <a:lnTo>
                    <a:pt x="546" y="253"/>
                  </a:lnTo>
                  <a:lnTo>
                    <a:pt x="534" y="253"/>
                  </a:lnTo>
                  <a:lnTo>
                    <a:pt x="520" y="249"/>
                  </a:lnTo>
                  <a:lnTo>
                    <a:pt x="520" y="251"/>
                  </a:lnTo>
                  <a:lnTo>
                    <a:pt x="518" y="251"/>
                  </a:lnTo>
                  <a:lnTo>
                    <a:pt x="518" y="256"/>
                  </a:lnTo>
                  <a:lnTo>
                    <a:pt x="518" y="261"/>
                  </a:lnTo>
                  <a:lnTo>
                    <a:pt x="515" y="261"/>
                  </a:lnTo>
                  <a:lnTo>
                    <a:pt x="515" y="263"/>
                  </a:lnTo>
                  <a:lnTo>
                    <a:pt x="515" y="265"/>
                  </a:lnTo>
                  <a:lnTo>
                    <a:pt x="508" y="272"/>
                  </a:lnTo>
                  <a:lnTo>
                    <a:pt x="499" y="282"/>
                  </a:lnTo>
                  <a:lnTo>
                    <a:pt x="499" y="284"/>
                  </a:lnTo>
                  <a:lnTo>
                    <a:pt x="499" y="284"/>
                  </a:lnTo>
                  <a:lnTo>
                    <a:pt x="504" y="303"/>
                  </a:lnTo>
                  <a:lnTo>
                    <a:pt x="504" y="305"/>
                  </a:lnTo>
                  <a:lnTo>
                    <a:pt x="506" y="310"/>
                  </a:lnTo>
                  <a:lnTo>
                    <a:pt x="508" y="313"/>
                  </a:lnTo>
                  <a:lnTo>
                    <a:pt x="508" y="313"/>
                  </a:lnTo>
                  <a:lnTo>
                    <a:pt x="511" y="315"/>
                  </a:lnTo>
                  <a:lnTo>
                    <a:pt x="515" y="315"/>
                  </a:lnTo>
                  <a:lnTo>
                    <a:pt x="523" y="315"/>
                  </a:lnTo>
                  <a:lnTo>
                    <a:pt x="525" y="315"/>
                  </a:lnTo>
                  <a:lnTo>
                    <a:pt x="527" y="315"/>
                  </a:lnTo>
                  <a:lnTo>
                    <a:pt x="530" y="313"/>
                  </a:lnTo>
                  <a:lnTo>
                    <a:pt x="530" y="313"/>
                  </a:lnTo>
                  <a:lnTo>
                    <a:pt x="591" y="336"/>
                  </a:lnTo>
                  <a:lnTo>
                    <a:pt x="596" y="334"/>
                  </a:lnTo>
                  <a:lnTo>
                    <a:pt x="601" y="334"/>
                  </a:lnTo>
                  <a:lnTo>
                    <a:pt x="601" y="336"/>
                  </a:lnTo>
                  <a:lnTo>
                    <a:pt x="603" y="336"/>
                  </a:lnTo>
                  <a:lnTo>
                    <a:pt x="608" y="341"/>
                  </a:lnTo>
                  <a:lnTo>
                    <a:pt x="612" y="343"/>
                  </a:lnTo>
                  <a:lnTo>
                    <a:pt x="617" y="343"/>
                  </a:lnTo>
                  <a:lnTo>
                    <a:pt x="620" y="346"/>
                  </a:lnTo>
                  <a:lnTo>
                    <a:pt x="622" y="348"/>
                  </a:lnTo>
                  <a:lnTo>
                    <a:pt x="622" y="350"/>
                  </a:lnTo>
                  <a:lnTo>
                    <a:pt x="622" y="350"/>
                  </a:lnTo>
                  <a:lnTo>
                    <a:pt x="622" y="353"/>
                  </a:lnTo>
                  <a:lnTo>
                    <a:pt x="622" y="355"/>
                  </a:lnTo>
                  <a:lnTo>
                    <a:pt x="620" y="360"/>
                  </a:lnTo>
                  <a:lnTo>
                    <a:pt x="620" y="362"/>
                  </a:lnTo>
                  <a:lnTo>
                    <a:pt x="620" y="365"/>
                  </a:lnTo>
                  <a:lnTo>
                    <a:pt x="622" y="374"/>
                  </a:lnTo>
                  <a:lnTo>
                    <a:pt x="622" y="376"/>
                  </a:lnTo>
                  <a:lnTo>
                    <a:pt x="622" y="379"/>
                  </a:lnTo>
                  <a:lnTo>
                    <a:pt x="622" y="379"/>
                  </a:lnTo>
                  <a:lnTo>
                    <a:pt x="622" y="381"/>
                  </a:lnTo>
                  <a:lnTo>
                    <a:pt x="624" y="381"/>
                  </a:lnTo>
                  <a:lnTo>
                    <a:pt x="627" y="381"/>
                  </a:lnTo>
                  <a:lnTo>
                    <a:pt x="629" y="381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6" y="379"/>
                  </a:lnTo>
                  <a:lnTo>
                    <a:pt x="638" y="379"/>
                  </a:lnTo>
                  <a:lnTo>
                    <a:pt x="669" y="388"/>
                  </a:lnTo>
                  <a:lnTo>
                    <a:pt x="674" y="391"/>
                  </a:lnTo>
                  <a:lnTo>
                    <a:pt x="674" y="391"/>
                  </a:lnTo>
                  <a:lnTo>
                    <a:pt x="676" y="393"/>
                  </a:lnTo>
                  <a:lnTo>
                    <a:pt x="676" y="393"/>
                  </a:lnTo>
                  <a:lnTo>
                    <a:pt x="676" y="395"/>
                  </a:lnTo>
                  <a:lnTo>
                    <a:pt x="679" y="395"/>
                  </a:lnTo>
                  <a:lnTo>
                    <a:pt x="679" y="395"/>
                  </a:lnTo>
                  <a:lnTo>
                    <a:pt x="681" y="398"/>
                  </a:lnTo>
                  <a:lnTo>
                    <a:pt x="683" y="398"/>
                  </a:lnTo>
                  <a:lnTo>
                    <a:pt x="686" y="398"/>
                  </a:lnTo>
                  <a:lnTo>
                    <a:pt x="691" y="395"/>
                  </a:lnTo>
                  <a:lnTo>
                    <a:pt x="695" y="395"/>
                  </a:lnTo>
                  <a:lnTo>
                    <a:pt x="702" y="391"/>
                  </a:lnTo>
                  <a:lnTo>
                    <a:pt x="705" y="386"/>
                  </a:lnTo>
                  <a:lnTo>
                    <a:pt x="709" y="379"/>
                  </a:lnTo>
                  <a:lnTo>
                    <a:pt x="712" y="376"/>
                  </a:lnTo>
                  <a:lnTo>
                    <a:pt x="712" y="374"/>
                  </a:lnTo>
                  <a:lnTo>
                    <a:pt x="714" y="374"/>
                  </a:lnTo>
                  <a:lnTo>
                    <a:pt x="717" y="374"/>
                  </a:lnTo>
                  <a:lnTo>
                    <a:pt x="735" y="376"/>
                  </a:lnTo>
                  <a:lnTo>
                    <a:pt x="740" y="379"/>
                  </a:lnTo>
                  <a:lnTo>
                    <a:pt x="740" y="381"/>
                  </a:lnTo>
                  <a:lnTo>
                    <a:pt x="743" y="381"/>
                  </a:lnTo>
                  <a:lnTo>
                    <a:pt x="745" y="388"/>
                  </a:lnTo>
                  <a:lnTo>
                    <a:pt x="745" y="391"/>
                  </a:lnTo>
                  <a:lnTo>
                    <a:pt x="747" y="391"/>
                  </a:lnTo>
                  <a:lnTo>
                    <a:pt x="747" y="393"/>
                  </a:lnTo>
                  <a:lnTo>
                    <a:pt x="750" y="393"/>
                  </a:lnTo>
                  <a:lnTo>
                    <a:pt x="752" y="393"/>
                  </a:lnTo>
                  <a:lnTo>
                    <a:pt x="757" y="393"/>
                  </a:lnTo>
                  <a:lnTo>
                    <a:pt x="759" y="393"/>
                  </a:lnTo>
                  <a:lnTo>
                    <a:pt x="762" y="393"/>
                  </a:lnTo>
                  <a:lnTo>
                    <a:pt x="762" y="391"/>
                  </a:lnTo>
                  <a:lnTo>
                    <a:pt x="764" y="391"/>
                  </a:lnTo>
                  <a:lnTo>
                    <a:pt x="766" y="391"/>
                  </a:lnTo>
                  <a:lnTo>
                    <a:pt x="769" y="391"/>
                  </a:lnTo>
                  <a:lnTo>
                    <a:pt x="776" y="395"/>
                  </a:lnTo>
                  <a:lnTo>
                    <a:pt x="780" y="395"/>
                  </a:lnTo>
                  <a:lnTo>
                    <a:pt x="785" y="395"/>
                  </a:lnTo>
                  <a:lnTo>
                    <a:pt x="790" y="395"/>
                  </a:lnTo>
                  <a:lnTo>
                    <a:pt x="797" y="398"/>
                  </a:lnTo>
                  <a:lnTo>
                    <a:pt x="816" y="410"/>
                  </a:lnTo>
                  <a:lnTo>
                    <a:pt x="818" y="412"/>
                  </a:lnTo>
                  <a:lnTo>
                    <a:pt x="821" y="414"/>
                  </a:lnTo>
                  <a:lnTo>
                    <a:pt x="823" y="417"/>
                  </a:lnTo>
                  <a:lnTo>
                    <a:pt x="823" y="417"/>
                  </a:lnTo>
                  <a:lnTo>
                    <a:pt x="825" y="419"/>
                  </a:lnTo>
                  <a:lnTo>
                    <a:pt x="825" y="419"/>
                  </a:lnTo>
                  <a:lnTo>
                    <a:pt x="828" y="424"/>
                  </a:lnTo>
                  <a:lnTo>
                    <a:pt x="828" y="426"/>
                  </a:lnTo>
                  <a:lnTo>
                    <a:pt x="832" y="431"/>
                  </a:lnTo>
                  <a:lnTo>
                    <a:pt x="835" y="433"/>
                  </a:lnTo>
                  <a:lnTo>
                    <a:pt x="835" y="436"/>
                  </a:lnTo>
                  <a:lnTo>
                    <a:pt x="837" y="450"/>
                  </a:lnTo>
                  <a:lnTo>
                    <a:pt x="840" y="455"/>
                  </a:lnTo>
                  <a:lnTo>
                    <a:pt x="840" y="457"/>
                  </a:lnTo>
                  <a:lnTo>
                    <a:pt x="842" y="457"/>
                  </a:lnTo>
                  <a:lnTo>
                    <a:pt x="842" y="459"/>
                  </a:lnTo>
                  <a:lnTo>
                    <a:pt x="842" y="459"/>
                  </a:lnTo>
                  <a:lnTo>
                    <a:pt x="844" y="462"/>
                  </a:lnTo>
                  <a:lnTo>
                    <a:pt x="844" y="469"/>
                  </a:lnTo>
                  <a:lnTo>
                    <a:pt x="844" y="471"/>
                  </a:lnTo>
                  <a:close/>
                  <a:moveTo>
                    <a:pt x="338" y="398"/>
                  </a:moveTo>
                  <a:lnTo>
                    <a:pt x="338" y="398"/>
                  </a:lnTo>
                  <a:lnTo>
                    <a:pt x="340" y="395"/>
                  </a:lnTo>
                  <a:lnTo>
                    <a:pt x="338" y="393"/>
                  </a:lnTo>
                  <a:lnTo>
                    <a:pt x="336" y="395"/>
                  </a:lnTo>
                  <a:lnTo>
                    <a:pt x="336" y="395"/>
                  </a:lnTo>
                  <a:lnTo>
                    <a:pt x="338" y="398"/>
                  </a:lnTo>
                  <a:lnTo>
                    <a:pt x="338" y="39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39">
              <a:extLst>
                <a:ext uri="{FF2B5EF4-FFF2-40B4-BE49-F238E27FC236}">
                  <a16:creationId xmlns:a16="http://schemas.microsoft.com/office/drawing/2014/main" id="{C515CD06-43E9-4FE5-BCB8-2801D7E72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047" y="2848874"/>
              <a:ext cx="766512" cy="653876"/>
            </a:xfrm>
            <a:custGeom>
              <a:avLst/>
              <a:gdLst>
                <a:gd name="T0" fmla="*/ 217 w 603"/>
                <a:gd name="T1" fmla="*/ 10 h 514"/>
                <a:gd name="T2" fmla="*/ 414 w 603"/>
                <a:gd name="T3" fmla="*/ 114 h 514"/>
                <a:gd name="T4" fmla="*/ 433 w 603"/>
                <a:gd name="T5" fmla="*/ 104 h 514"/>
                <a:gd name="T6" fmla="*/ 456 w 603"/>
                <a:gd name="T7" fmla="*/ 128 h 514"/>
                <a:gd name="T8" fmla="*/ 546 w 603"/>
                <a:gd name="T9" fmla="*/ 272 h 514"/>
                <a:gd name="T10" fmla="*/ 598 w 603"/>
                <a:gd name="T11" fmla="*/ 395 h 514"/>
                <a:gd name="T12" fmla="*/ 544 w 603"/>
                <a:gd name="T13" fmla="*/ 426 h 514"/>
                <a:gd name="T14" fmla="*/ 537 w 603"/>
                <a:gd name="T15" fmla="*/ 443 h 514"/>
                <a:gd name="T16" fmla="*/ 508 w 603"/>
                <a:gd name="T17" fmla="*/ 452 h 514"/>
                <a:gd name="T18" fmla="*/ 494 w 603"/>
                <a:gd name="T19" fmla="*/ 452 h 514"/>
                <a:gd name="T20" fmla="*/ 487 w 603"/>
                <a:gd name="T21" fmla="*/ 478 h 514"/>
                <a:gd name="T22" fmla="*/ 473 w 603"/>
                <a:gd name="T23" fmla="*/ 495 h 514"/>
                <a:gd name="T24" fmla="*/ 433 w 603"/>
                <a:gd name="T25" fmla="*/ 499 h 514"/>
                <a:gd name="T26" fmla="*/ 411 w 603"/>
                <a:gd name="T27" fmla="*/ 497 h 514"/>
                <a:gd name="T28" fmla="*/ 407 w 603"/>
                <a:gd name="T29" fmla="*/ 488 h 514"/>
                <a:gd name="T30" fmla="*/ 411 w 603"/>
                <a:gd name="T31" fmla="*/ 466 h 514"/>
                <a:gd name="T32" fmla="*/ 383 w 603"/>
                <a:gd name="T33" fmla="*/ 464 h 514"/>
                <a:gd name="T34" fmla="*/ 362 w 603"/>
                <a:gd name="T35" fmla="*/ 445 h 514"/>
                <a:gd name="T36" fmla="*/ 336 w 603"/>
                <a:gd name="T37" fmla="*/ 431 h 514"/>
                <a:gd name="T38" fmla="*/ 324 w 603"/>
                <a:gd name="T39" fmla="*/ 443 h 514"/>
                <a:gd name="T40" fmla="*/ 317 w 603"/>
                <a:gd name="T41" fmla="*/ 435 h 514"/>
                <a:gd name="T42" fmla="*/ 293 w 603"/>
                <a:gd name="T43" fmla="*/ 414 h 514"/>
                <a:gd name="T44" fmla="*/ 288 w 603"/>
                <a:gd name="T45" fmla="*/ 398 h 514"/>
                <a:gd name="T46" fmla="*/ 284 w 603"/>
                <a:gd name="T47" fmla="*/ 369 h 514"/>
                <a:gd name="T48" fmla="*/ 265 w 603"/>
                <a:gd name="T49" fmla="*/ 350 h 514"/>
                <a:gd name="T50" fmla="*/ 265 w 603"/>
                <a:gd name="T51" fmla="*/ 336 h 514"/>
                <a:gd name="T52" fmla="*/ 243 w 603"/>
                <a:gd name="T53" fmla="*/ 294 h 514"/>
                <a:gd name="T54" fmla="*/ 220 w 603"/>
                <a:gd name="T55" fmla="*/ 253 h 514"/>
                <a:gd name="T56" fmla="*/ 217 w 603"/>
                <a:gd name="T57" fmla="*/ 223 h 514"/>
                <a:gd name="T58" fmla="*/ 196 w 603"/>
                <a:gd name="T59" fmla="*/ 230 h 514"/>
                <a:gd name="T60" fmla="*/ 177 w 603"/>
                <a:gd name="T61" fmla="*/ 234 h 514"/>
                <a:gd name="T62" fmla="*/ 111 w 603"/>
                <a:gd name="T63" fmla="*/ 199 h 514"/>
                <a:gd name="T64" fmla="*/ 80 w 603"/>
                <a:gd name="T65" fmla="*/ 201 h 514"/>
                <a:gd name="T66" fmla="*/ 75 w 603"/>
                <a:gd name="T67" fmla="*/ 192 h 514"/>
                <a:gd name="T68" fmla="*/ 87 w 603"/>
                <a:gd name="T69" fmla="*/ 185 h 514"/>
                <a:gd name="T70" fmla="*/ 87 w 603"/>
                <a:gd name="T71" fmla="*/ 171 h 514"/>
                <a:gd name="T72" fmla="*/ 71 w 603"/>
                <a:gd name="T73" fmla="*/ 178 h 514"/>
                <a:gd name="T74" fmla="*/ 47 w 603"/>
                <a:gd name="T75" fmla="*/ 178 h 514"/>
                <a:gd name="T76" fmla="*/ 40 w 603"/>
                <a:gd name="T77" fmla="*/ 159 h 514"/>
                <a:gd name="T78" fmla="*/ 59 w 603"/>
                <a:gd name="T79" fmla="*/ 137 h 514"/>
                <a:gd name="T80" fmla="*/ 68 w 603"/>
                <a:gd name="T81" fmla="*/ 140 h 514"/>
                <a:gd name="T82" fmla="*/ 80 w 603"/>
                <a:gd name="T83" fmla="*/ 123 h 514"/>
                <a:gd name="T84" fmla="*/ 45 w 603"/>
                <a:gd name="T85" fmla="*/ 111 h 514"/>
                <a:gd name="T86" fmla="*/ 30 w 603"/>
                <a:gd name="T87" fmla="*/ 121 h 514"/>
                <a:gd name="T88" fmla="*/ 14 w 603"/>
                <a:gd name="T89" fmla="*/ 118 h 514"/>
                <a:gd name="T90" fmla="*/ 7 w 603"/>
                <a:gd name="T91" fmla="*/ 92 h 514"/>
                <a:gd name="T92" fmla="*/ 9 w 603"/>
                <a:gd name="T93" fmla="*/ 45 h 514"/>
                <a:gd name="T94" fmla="*/ 33 w 603"/>
                <a:gd name="T95" fmla="*/ 45 h 514"/>
                <a:gd name="T96" fmla="*/ 73 w 603"/>
                <a:gd name="T97" fmla="*/ 19 h 514"/>
                <a:gd name="T98" fmla="*/ 104 w 603"/>
                <a:gd name="T99" fmla="*/ 36 h 514"/>
                <a:gd name="T100" fmla="*/ 125 w 603"/>
                <a:gd name="T101" fmla="*/ 40 h 514"/>
                <a:gd name="T102" fmla="*/ 132 w 603"/>
                <a:gd name="T103" fmla="*/ 47 h 514"/>
                <a:gd name="T104" fmla="*/ 142 w 603"/>
                <a:gd name="T105" fmla="*/ 43 h 514"/>
                <a:gd name="T106" fmla="*/ 165 w 603"/>
                <a:gd name="T107" fmla="*/ 59 h 514"/>
                <a:gd name="T108" fmla="*/ 172 w 603"/>
                <a:gd name="T109" fmla="*/ 47 h 514"/>
                <a:gd name="T110" fmla="*/ 184 w 603"/>
                <a:gd name="T111" fmla="*/ 29 h 514"/>
                <a:gd name="T112" fmla="*/ 182 w 603"/>
                <a:gd name="T113" fmla="*/ 5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3" h="514">
                  <a:moveTo>
                    <a:pt x="182" y="5"/>
                  </a:moveTo>
                  <a:lnTo>
                    <a:pt x="182" y="5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4" y="0"/>
                  </a:lnTo>
                  <a:lnTo>
                    <a:pt x="198" y="0"/>
                  </a:lnTo>
                  <a:lnTo>
                    <a:pt x="203" y="3"/>
                  </a:lnTo>
                  <a:lnTo>
                    <a:pt x="217" y="10"/>
                  </a:lnTo>
                  <a:lnTo>
                    <a:pt x="239" y="14"/>
                  </a:lnTo>
                  <a:lnTo>
                    <a:pt x="243" y="19"/>
                  </a:lnTo>
                  <a:lnTo>
                    <a:pt x="246" y="21"/>
                  </a:lnTo>
                  <a:lnTo>
                    <a:pt x="350" y="88"/>
                  </a:lnTo>
                  <a:lnTo>
                    <a:pt x="390" y="104"/>
                  </a:lnTo>
                  <a:lnTo>
                    <a:pt x="395" y="107"/>
                  </a:lnTo>
                  <a:lnTo>
                    <a:pt x="399" y="109"/>
                  </a:lnTo>
                  <a:lnTo>
                    <a:pt x="414" y="114"/>
                  </a:lnTo>
                  <a:lnTo>
                    <a:pt x="423" y="116"/>
                  </a:lnTo>
                  <a:lnTo>
                    <a:pt x="425" y="114"/>
                  </a:lnTo>
                  <a:lnTo>
                    <a:pt x="428" y="111"/>
                  </a:lnTo>
                  <a:lnTo>
                    <a:pt x="428" y="109"/>
                  </a:lnTo>
                  <a:lnTo>
                    <a:pt x="430" y="109"/>
                  </a:lnTo>
                  <a:lnTo>
                    <a:pt x="430" y="107"/>
                  </a:lnTo>
                  <a:lnTo>
                    <a:pt x="430" y="107"/>
                  </a:lnTo>
                  <a:lnTo>
                    <a:pt x="433" y="104"/>
                  </a:lnTo>
                  <a:lnTo>
                    <a:pt x="435" y="107"/>
                  </a:lnTo>
                  <a:lnTo>
                    <a:pt x="435" y="107"/>
                  </a:lnTo>
                  <a:lnTo>
                    <a:pt x="437" y="109"/>
                  </a:lnTo>
                  <a:lnTo>
                    <a:pt x="437" y="109"/>
                  </a:lnTo>
                  <a:lnTo>
                    <a:pt x="444" y="111"/>
                  </a:lnTo>
                  <a:lnTo>
                    <a:pt x="449" y="118"/>
                  </a:lnTo>
                  <a:lnTo>
                    <a:pt x="454" y="126"/>
                  </a:lnTo>
                  <a:lnTo>
                    <a:pt x="456" y="128"/>
                  </a:lnTo>
                  <a:lnTo>
                    <a:pt x="463" y="128"/>
                  </a:lnTo>
                  <a:lnTo>
                    <a:pt x="468" y="130"/>
                  </a:lnTo>
                  <a:lnTo>
                    <a:pt x="473" y="135"/>
                  </a:lnTo>
                  <a:lnTo>
                    <a:pt x="470" y="142"/>
                  </a:lnTo>
                  <a:lnTo>
                    <a:pt x="534" y="249"/>
                  </a:lnTo>
                  <a:lnTo>
                    <a:pt x="539" y="256"/>
                  </a:lnTo>
                  <a:lnTo>
                    <a:pt x="541" y="258"/>
                  </a:lnTo>
                  <a:lnTo>
                    <a:pt x="546" y="272"/>
                  </a:lnTo>
                  <a:lnTo>
                    <a:pt x="549" y="277"/>
                  </a:lnTo>
                  <a:lnTo>
                    <a:pt x="553" y="282"/>
                  </a:lnTo>
                  <a:lnTo>
                    <a:pt x="565" y="301"/>
                  </a:lnTo>
                  <a:lnTo>
                    <a:pt x="572" y="315"/>
                  </a:lnTo>
                  <a:lnTo>
                    <a:pt x="584" y="350"/>
                  </a:lnTo>
                  <a:lnTo>
                    <a:pt x="603" y="393"/>
                  </a:lnTo>
                  <a:lnTo>
                    <a:pt x="603" y="393"/>
                  </a:lnTo>
                  <a:lnTo>
                    <a:pt x="598" y="395"/>
                  </a:lnTo>
                  <a:lnTo>
                    <a:pt x="577" y="405"/>
                  </a:lnTo>
                  <a:lnTo>
                    <a:pt x="560" y="414"/>
                  </a:lnTo>
                  <a:lnTo>
                    <a:pt x="556" y="417"/>
                  </a:lnTo>
                  <a:lnTo>
                    <a:pt x="551" y="419"/>
                  </a:lnTo>
                  <a:lnTo>
                    <a:pt x="549" y="419"/>
                  </a:lnTo>
                  <a:lnTo>
                    <a:pt x="546" y="421"/>
                  </a:lnTo>
                  <a:lnTo>
                    <a:pt x="544" y="424"/>
                  </a:lnTo>
                  <a:lnTo>
                    <a:pt x="544" y="426"/>
                  </a:lnTo>
                  <a:lnTo>
                    <a:pt x="544" y="428"/>
                  </a:lnTo>
                  <a:lnTo>
                    <a:pt x="544" y="433"/>
                  </a:lnTo>
                  <a:lnTo>
                    <a:pt x="544" y="433"/>
                  </a:lnTo>
                  <a:lnTo>
                    <a:pt x="544" y="435"/>
                  </a:lnTo>
                  <a:lnTo>
                    <a:pt x="544" y="438"/>
                  </a:lnTo>
                  <a:lnTo>
                    <a:pt x="541" y="438"/>
                  </a:lnTo>
                  <a:lnTo>
                    <a:pt x="541" y="440"/>
                  </a:lnTo>
                  <a:lnTo>
                    <a:pt x="537" y="443"/>
                  </a:lnTo>
                  <a:lnTo>
                    <a:pt x="527" y="447"/>
                  </a:lnTo>
                  <a:lnTo>
                    <a:pt x="525" y="447"/>
                  </a:lnTo>
                  <a:lnTo>
                    <a:pt x="525" y="447"/>
                  </a:lnTo>
                  <a:lnTo>
                    <a:pt x="520" y="447"/>
                  </a:lnTo>
                  <a:lnTo>
                    <a:pt x="520" y="447"/>
                  </a:lnTo>
                  <a:lnTo>
                    <a:pt x="518" y="447"/>
                  </a:lnTo>
                  <a:lnTo>
                    <a:pt x="511" y="452"/>
                  </a:lnTo>
                  <a:lnTo>
                    <a:pt x="508" y="452"/>
                  </a:lnTo>
                  <a:lnTo>
                    <a:pt x="506" y="452"/>
                  </a:lnTo>
                  <a:lnTo>
                    <a:pt x="504" y="452"/>
                  </a:lnTo>
                  <a:lnTo>
                    <a:pt x="504" y="452"/>
                  </a:lnTo>
                  <a:lnTo>
                    <a:pt x="501" y="450"/>
                  </a:lnTo>
                  <a:lnTo>
                    <a:pt x="499" y="450"/>
                  </a:lnTo>
                  <a:lnTo>
                    <a:pt x="499" y="450"/>
                  </a:lnTo>
                  <a:lnTo>
                    <a:pt x="496" y="450"/>
                  </a:lnTo>
                  <a:lnTo>
                    <a:pt x="494" y="452"/>
                  </a:lnTo>
                  <a:lnTo>
                    <a:pt x="494" y="457"/>
                  </a:lnTo>
                  <a:lnTo>
                    <a:pt x="492" y="464"/>
                  </a:lnTo>
                  <a:lnTo>
                    <a:pt x="489" y="466"/>
                  </a:lnTo>
                  <a:lnTo>
                    <a:pt x="489" y="469"/>
                  </a:lnTo>
                  <a:lnTo>
                    <a:pt x="487" y="471"/>
                  </a:lnTo>
                  <a:lnTo>
                    <a:pt x="487" y="473"/>
                  </a:lnTo>
                  <a:lnTo>
                    <a:pt x="487" y="473"/>
                  </a:lnTo>
                  <a:lnTo>
                    <a:pt x="487" y="478"/>
                  </a:lnTo>
                  <a:lnTo>
                    <a:pt x="487" y="480"/>
                  </a:lnTo>
                  <a:lnTo>
                    <a:pt x="487" y="480"/>
                  </a:lnTo>
                  <a:lnTo>
                    <a:pt x="485" y="483"/>
                  </a:lnTo>
                  <a:lnTo>
                    <a:pt x="485" y="485"/>
                  </a:lnTo>
                  <a:lnTo>
                    <a:pt x="480" y="485"/>
                  </a:lnTo>
                  <a:lnTo>
                    <a:pt x="475" y="488"/>
                  </a:lnTo>
                  <a:lnTo>
                    <a:pt x="473" y="490"/>
                  </a:lnTo>
                  <a:lnTo>
                    <a:pt x="473" y="495"/>
                  </a:lnTo>
                  <a:lnTo>
                    <a:pt x="470" y="497"/>
                  </a:lnTo>
                  <a:lnTo>
                    <a:pt x="470" y="499"/>
                  </a:lnTo>
                  <a:lnTo>
                    <a:pt x="470" y="502"/>
                  </a:lnTo>
                  <a:lnTo>
                    <a:pt x="468" y="504"/>
                  </a:lnTo>
                  <a:lnTo>
                    <a:pt x="466" y="506"/>
                  </a:lnTo>
                  <a:lnTo>
                    <a:pt x="444" y="514"/>
                  </a:lnTo>
                  <a:lnTo>
                    <a:pt x="435" y="502"/>
                  </a:lnTo>
                  <a:lnTo>
                    <a:pt x="433" y="499"/>
                  </a:lnTo>
                  <a:lnTo>
                    <a:pt x="423" y="495"/>
                  </a:lnTo>
                  <a:lnTo>
                    <a:pt x="421" y="492"/>
                  </a:lnTo>
                  <a:lnTo>
                    <a:pt x="418" y="492"/>
                  </a:lnTo>
                  <a:lnTo>
                    <a:pt x="418" y="492"/>
                  </a:lnTo>
                  <a:lnTo>
                    <a:pt x="418" y="492"/>
                  </a:lnTo>
                  <a:lnTo>
                    <a:pt x="414" y="497"/>
                  </a:lnTo>
                  <a:lnTo>
                    <a:pt x="414" y="497"/>
                  </a:lnTo>
                  <a:lnTo>
                    <a:pt x="411" y="497"/>
                  </a:lnTo>
                  <a:lnTo>
                    <a:pt x="397" y="499"/>
                  </a:lnTo>
                  <a:lnTo>
                    <a:pt x="397" y="495"/>
                  </a:lnTo>
                  <a:lnTo>
                    <a:pt x="397" y="490"/>
                  </a:lnTo>
                  <a:lnTo>
                    <a:pt x="399" y="490"/>
                  </a:lnTo>
                  <a:lnTo>
                    <a:pt x="399" y="488"/>
                  </a:lnTo>
                  <a:lnTo>
                    <a:pt x="402" y="490"/>
                  </a:lnTo>
                  <a:lnTo>
                    <a:pt x="404" y="490"/>
                  </a:lnTo>
                  <a:lnTo>
                    <a:pt x="407" y="488"/>
                  </a:lnTo>
                  <a:lnTo>
                    <a:pt x="409" y="488"/>
                  </a:lnTo>
                  <a:lnTo>
                    <a:pt x="411" y="485"/>
                  </a:lnTo>
                  <a:lnTo>
                    <a:pt x="411" y="483"/>
                  </a:lnTo>
                  <a:lnTo>
                    <a:pt x="411" y="483"/>
                  </a:lnTo>
                  <a:lnTo>
                    <a:pt x="411" y="473"/>
                  </a:lnTo>
                  <a:lnTo>
                    <a:pt x="411" y="471"/>
                  </a:lnTo>
                  <a:lnTo>
                    <a:pt x="411" y="469"/>
                  </a:lnTo>
                  <a:lnTo>
                    <a:pt x="411" y="466"/>
                  </a:lnTo>
                  <a:lnTo>
                    <a:pt x="411" y="464"/>
                  </a:lnTo>
                  <a:lnTo>
                    <a:pt x="407" y="459"/>
                  </a:lnTo>
                  <a:lnTo>
                    <a:pt x="404" y="454"/>
                  </a:lnTo>
                  <a:lnTo>
                    <a:pt x="404" y="452"/>
                  </a:lnTo>
                  <a:lnTo>
                    <a:pt x="402" y="452"/>
                  </a:lnTo>
                  <a:lnTo>
                    <a:pt x="402" y="452"/>
                  </a:lnTo>
                  <a:lnTo>
                    <a:pt x="399" y="452"/>
                  </a:lnTo>
                  <a:lnTo>
                    <a:pt x="383" y="464"/>
                  </a:lnTo>
                  <a:lnTo>
                    <a:pt x="378" y="464"/>
                  </a:lnTo>
                  <a:lnTo>
                    <a:pt x="378" y="464"/>
                  </a:lnTo>
                  <a:lnTo>
                    <a:pt x="376" y="462"/>
                  </a:lnTo>
                  <a:lnTo>
                    <a:pt x="376" y="459"/>
                  </a:lnTo>
                  <a:lnTo>
                    <a:pt x="376" y="457"/>
                  </a:lnTo>
                  <a:lnTo>
                    <a:pt x="373" y="457"/>
                  </a:lnTo>
                  <a:lnTo>
                    <a:pt x="373" y="454"/>
                  </a:lnTo>
                  <a:lnTo>
                    <a:pt x="362" y="445"/>
                  </a:lnTo>
                  <a:lnTo>
                    <a:pt x="359" y="443"/>
                  </a:lnTo>
                  <a:lnTo>
                    <a:pt x="354" y="440"/>
                  </a:lnTo>
                  <a:lnTo>
                    <a:pt x="347" y="435"/>
                  </a:lnTo>
                  <a:lnTo>
                    <a:pt x="343" y="433"/>
                  </a:lnTo>
                  <a:lnTo>
                    <a:pt x="340" y="431"/>
                  </a:lnTo>
                  <a:lnTo>
                    <a:pt x="338" y="431"/>
                  </a:lnTo>
                  <a:lnTo>
                    <a:pt x="338" y="431"/>
                  </a:lnTo>
                  <a:lnTo>
                    <a:pt x="336" y="431"/>
                  </a:lnTo>
                  <a:lnTo>
                    <a:pt x="333" y="433"/>
                  </a:lnTo>
                  <a:lnTo>
                    <a:pt x="324" y="433"/>
                  </a:lnTo>
                  <a:lnTo>
                    <a:pt x="324" y="433"/>
                  </a:lnTo>
                  <a:lnTo>
                    <a:pt x="321" y="435"/>
                  </a:lnTo>
                  <a:lnTo>
                    <a:pt x="321" y="438"/>
                  </a:lnTo>
                  <a:lnTo>
                    <a:pt x="324" y="438"/>
                  </a:lnTo>
                  <a:lnTo>
                    <a:pt x="324" y="440"/>
                  </a:lnTo>
                  <a:lnTo>
                    <a:pt x="324" y="443"/>
                  </a:lnTo>
                  <a:lnTo>
                    <a:pt x="324" y="443"/>
                  </a:lnTo>
                  <a:lnTo>
                    <a:pt x="324" y="445"/>
                  </a:lnTo>
                  <a:lnTo>
                    <a:pt x="321" y="447"/>
                  </a:lnTo>
                  <a:lnTo>
                    <a:pt x="319" y="447"/>
                  </a:lnTo>
                  <a:lnTo>
                    <a:pt x="319" y="445"/>
                  </a:lnTo>
                  <a:lnTo>
                    <a:pt x="319" y="443"/>
                  </a:lnTo>
                  <a:lnTo>
                    <a:pt x="317" y="435"/>
                  </a:lnTo>
                  <a:lnTo>
                    <a:pt x="317" y="435"/>
                  </a:lnTo>
                  <a:lnTo>
                    <a:pt x="317" y="433"/>
                  </a:lnTo>
                  <a:lnTo>
                    <a:pt x="314" y="431"/>
                  </a:lnTo>
                  <a:lnTo>
                    <a:pt x="314" y="431"/>
                  </a:lnTo>
                  <a:lnTo>
                    <a:pt x="314" y="431"/>
                  </a:lnTo>
                  <a:lnTo>
                    <a:pt x="305" y="426"/>
                  </a:lnTo>
                  <a:lnTo>
                    <a:pt x="302" y="424"/>
                  </a:lnTo>
                  <a:lnTo>
                    <a:pt x="295" y="419"/>
                  </a:lnTo>
                  <a:lnTo>
                    <a:pt x="293" y="414"/>
                  </a:lnTo>
                  <a:lnTo>
                    <a:pt x="293" y="412"/>
                  </a:lnTo>
                  <a:lnTo>
                    <a:pt x="293" y="407"/>
                  </a:lnTo>
                  <a:lnTo>
                    <a:pt x="293" y="407"/>
                  </a:lnTo>
                  <a:lnTo>
                    <a:pt x="291" y="405"/>
                  </a:lnTo>
                  <a:lnTo>
                    <a:pt x="291" y="402"/>
                  </a:lnTo>
                  <a:lnTo>
                    <a:pt x="288" y="402"/>
                  </a:lnTo>
                  <a:lnTo>
                    <a:pt x="288" y="400"/>
                  </a:lnTo>
                  <a:lnTo>
                    <a:pt x="288" y="398"/>
                  </a:lnTo>
                  <a:lnTo>
                    <a:pt x="288" y="395"/>
                  </a:lnTo>
                  <a:lnTo>
                    <a:pt x="288" y="393"/>
                  </a:lnTo>
                  <a:lnTo>
                    <a:pt x="288" y="393"/>
                  </a:lnTo>
                  <a:lnTo>
                    <a:pt x="288" y="391"/>
                  </a:lnTo>
                  <a:lnTo>
                    <a:pt x="286" y="386"/>
                  </a:lnTo>
                  <a:lnTo>
                    <a:pt x="284" y="381"/>
                  </a:lnTo>
                  <a:lnTo>
                    <a:pt x="284" y="376"/>
                  </a:lnTo>
                  <a:lnTo>
                    <a:pt x="284" y="369"/>
                  </a:lnTo>
                  <a:lnTo>
                    <a:pt x="284" y="367"/>
                  </a:lnTo>
                  <a:lnTo>
                    <a:pt x="281" y="365"/>
                  </a:lnTo>
                  <a:lnTo>
                    <a:pt x="279" y="360"/>
                  </a:lnTo>
                  <a:lnTo>
                    <a:pt x="274" y="355"/>
                  </a:lnTo>
                  <a:lnTo>
                    <a:pt x="272" y="353"/>
                  </a:lnTo>
                  <a:lnTo>
                    <a:pt x="269" y="353"/>
                  </a:lnTo>
                  <a:lnTo>
                    <a:pt x="265" y="353"/>
                  </a:lnTo>
                  <a:lnTo>
                    <a:pt x="265" y="350"/>
                  </a:lnTo>
                  <a:lnTo>
                    <a:pt x="262" y="350"/>
                  </a:lnTo>
                  <a:lnTo>
                    <a:pt x="260" y="346"/>
                  </a:lnTo>
                  <a:lnTo>
                    <a:pt x="260" y="346"/>
                  </a:lnTo>
                  <a:lnTo>
                    <a:pt x="260" y="343"/>
                  </a:lnTo>
                  <a:lnTo>
                    <a:pt x="262" y="341"/>
                  </a:lnTo>
                  <a:lnTo>
                    <a:pt x="262" y="341"/>
                  </a:lnTo>
                  <a:lnTo>
                    <a:pt x="265" y="336"/>
                  </a:lnTo>
                  <a:lnTo>
                    <a:pt x="265" y="336"/>
                  </a:lnTo>
                  <a:lnTo>
                    <a:pt x="265" y="334"/>
                  </a:lnTo>
                  <a:lnTo>
                    <a:pt x="265" y="334"/>
                  </a:lnTo>
                  <a:lnTo>
                    <a:pt x="265" y="331"/>
                  </a:lnTo>
                  <a:lnTo>
                    <a:pt x="265" y="329"/>
                  </a:lnTo>
                  <a:lnTo>
                    <a:pt x="265" y="327"/>
                  </a:lnTo>
                  <a:lnTo>
                    <a:pt x="265" y="324"/>
                  </a:lnTo>
                  <a:lnTo>
                    <a:pt x="262" y="317"/>
                  </a:lnTo>
                  <a:lnTo>
                    <a:pt x="243" y="294"/>
                  </a:lnTo>
                  <a:lnTo>
                    <a:pt x="241" y="291"/>
                  </a:lnTo>
                  <a:lnTo>
                    <a:pt x="239" y="286"/>
                  </a:lnTo>
                  <a:lnTo>
                    <a:pt x="239" y="282"/>
                  </a:lnTo>
                  <a:lnTo>
                    <a:pt x="236" y="275"/>
                  </a:lnTo>
                  <a:lnTo>
                    <a:pt x="236" y="275"/>
                  </a:lnTo>
                  <a:lnTo>
                    <a:pt x="236" y="272"/>
                  </a:lnTo>
                  <a:lnTo>
                    <a:pt x="222" y="256"/>
                  </a:lnTo>
                  <a:lnTo>
                    <a:pt x="220" y="253"/>
                  </a:lnTo>
                  <a:lnTo>
                    <a:pt x="220" y="251"/>
                  </a:lnTo>
                  <a:lnTo>
                    <a:pt x="220" y="249"/>
                  </a:lnTo>
                  <a:lnTo>
                    <a:pt x="220" y="239"/>
                  </a:lnTo>
                  <a:lnTo>
                    <a:pt x="220" y="234"/>
                  </a:lnTo>
                  <a:lnTo>
                    <a:pt x="220" y="232"/>
                  </a:lnTo>
                  <a:lnTo>
                    <a:pt x="217" y="230"/>
                  </a:lnTo>
                  <a:lnTo>
                    <a:pt x="217" y="225"/>
                  </a:lnTo>
                  <a:lnTo>
                    <a:pt x="217" y="223"/>
                  </a:lnTo>
                  <a:lnTo>
                    <a:pt x="217" y="215"/>
                  </a:lnTo>
                  <a:lnTo>
                    <a:pt x="210" y="218"/>
                  </a:lnTo>
                  <a:lnTo>
                    <a:pt x="203" y="220"/>
                  </a:lnTo>
                  <a:lnTo>
                    <a:pt x="203" y="223"/>
                  </a:lnTo>
                  <a:lnTo>
                    <a:pt x="201" y="223"/>
                  </a:lnTo>
                  <a:lnTo>
                    <a:pt x="201" y="227"/>
                  </a:lnTo>
                  <a:lnTo>
                    <a:pt x="198" y="230"/>
                  </a:lnTo>
                  <a:lnTo>
                    <a:pt x="196" y="230"/>
                  </a:lnTo>
                  <a:lnTo>
                    <a:pt x="196" y="230"/>
                  </a:lnTo>
                  <a:lnTo>
                    <a:pt x="191" y="230"/>
                  </a:lnTo>
                  <a:lnTo>
                    <a:pt x="187" y="227"/>
                  </a:lnTo>
                  <a:lnTo>
                    <a:pt x="184" y="227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79" y="230"/>
                  </a:lnTo>
                  <a:lnTo>
                    <a:pt x="177" y="234"/>
                  </a:lnTo>
                  <a:lnTo>
                    <a:pt x="175" y="237"/>
                  </a:lnTo>
                  <a:lnTo>
                    <a:pt x="175" y="237"/>
                  </a:lnTo>
                  <a:lnTo>
                    <a:pt x="172" y="237"/>
                  </a:lnTo>
                  <a:lnTo>
                    <a:pt x="139" y="206"/>
                  </a:lnTo>
                  <a:lnTo>
                    <a:pt x="132" y="204"/>
                  </a:lnTo>
                  <a:lnTo>
                    <a:pt x="118" y="199"/>
                  </a:lnTo>
                  <a:lnTo>
                    <a:pt x="113" y="199"/>
                  </a:lnTo>
                  <a:lnTo>
                    <a:pt x="111" y="199"/>
                  </a:lnTo>
                  <a:lnTo>
                    <a:pt x="111" y="199"/>
                  </a:lnTo>
                  <a:lnTo>
                    <a:pt x="111" y="201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6" y="206"/>
                  </a:lnTo>
                  <a:lnTo>
                    <a:pt x="104" y="206"/>
                  </a:lnTo>
                  <a:lnTo>
                    <a:pt x="99" y="206"/>
                  </a:lnTo>
                  <a:lnTo>
                    <a:pt x="80" y="201"/>
                  </a:lnTo>
                  <a:lnTo>
                    <a:pt x="78" y="199"/>
                  </a:lnTo>
                  <a:lnTo>
                    <a:pt x="75" y="199"/>
                  </a:lnTo>
                  <a:lnTo>
                    <a:pt x="75" y="197"/>
                  </a:lnTo>
                  <a:lnTo>
                    <a:pt x="73" y="197"/>
                  </a:lnTo>
                  <a:lnTo>
                    <a:pt x="73" y="194"/>
                  </a:lnTo>
                  <a:lnTo>
                    <a:pt x="73" y="194"/>
                  </a:lnTo>
                  <a:lnTo>
                    <a:pt x="75" y="192"/>
                  </a:lnTo>
                  <a:lnTo>
                    <a:pt x="75" y="192"/>
                  </a:lnTo>
                  <a:lnTo>
                    <a:pt x="78" y="192"/>
                  </a:lnTo>
                  <a:lnTo>
                    <a:pt x="82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7" y="189"/>
                  </a:lnTo>
                  <a:lnTo>
                    <a:pt x="87" y="189"/>
                  </a:lnTo>
                  <a:lnTo>
                    <a:pt x="87" y="187"/>
                  </a:lnTo>
                  <a:lnTo>
                    <a:pt x="87" y="185"/>
                  </a:lnTo>
                  <a:lnTo>
                    <a:pt x="87" y="185"/>
                  </a:lnTo>
                  <a:lnTo>
                    <a:pt x="87" y="182"/>
                  </a:lnTo>
                  <a:lnTo>
                    <a:pt x="87" y="182"/>
                  </a:lnTo>
                  <a:lnTo>
                    <a:pt x="87" y="180"/>
                  </a:lnTo>
                  <a:lnTo>
                    <a:pt x="87" y="178"/>
                  </a:lnTo>
                  <a:lnTo>
                    <a:pt x="87" y="175"/>
                  </a:lnTo>
                  <a:lnTo>
                    <a:pt x="87" y="173"/>
                  </a:lnTo>
                  <a:lnTo>
                    <a:pt x="87" y="171"/>
                  </a:lnTo>
                  <a:lnTo>
                    <a:pt x="87" y="171"/>
                  </a:lnTo>
                  <a:lnTo>
                    <a:pt x="87" y="168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73" y="175"/>
                  </a:lnTo>
                  <a:lnTo>
                    <a:pt x="71" y="175"/>
                  </a:lnTo>
                  <a:lnTo>
                    <a:pt x="71" y="175"/>
                  </a:lnTo>
                  <a:lnTo>
                    <a:pt x="71" y="178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66" y="182"/>
                  </a:lnTo>
                  <a:lnTo>
                    <a:pt x="63" y="182"/>
                  </a:lnTo>
                  <a:lnTo>
                    <a:pt x="59" y="180"/>
                  </a:lnTo>
                  <a:lnTo>
                    <a:pt x="52" y="178"/>
                  </a:lnTo>
                  <a:lnTo>
                    <a:pt x="49" y="178"/>
                  </a:lnTo>
                  <a:lnTo>
                    <a:pt x="47" y="178"/>
                  </a:lnTo>
                  <a:lnTo>
                    <a:pt x="42" y="178"/>
                  </a:lnTo>
                  <a:lnTo>
                    <a:pt x="42" y="178"/>
                  </a:lnTo>
                  <a:lnTo>
                    <a:pt x="40" y="175"/>
                  </a:lnTo>
                  <a:lnTo>
                    <a:pt x="35" y="166"/>
                  </a:lnTo>
                  <a:lnTo>
                    <a:pt x="35" y="163"/>
                  </a:lnTo>
                  <a:lnTo>
                    <a:pt x="35" y="161"/>
                  </a:lnTo>
                  <a:lnTo>
                    <a:pt x="35" y="161"/>
                  </a:lnTo>
                  <a:lnTo>
                    <a:pt x="40" y="159"/>
                  </a:lnTo>
                  <a:lnTo>
                    <a:pt x="42" y="156"/>
                  </a:lnTo>
                  <a:lnTo>
                    <a:pt x="45" y="154"/>
                  </a:lnTo>
                  <a:lnTo>
                    <a:pt x="47" y="147"/>
                  </a:lnTo>
                  <a:lnTo>
                    <a:pt x="49" y="147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59" y="140"/>
                  </a:lnTo>
                  <a:lnTo>
                    <a:pt x="59" y="137"/>
                  </a:lnTo>
                  <a:lnTo>
                    <a:pt x="59" y="133"/>
                  </a:lnTo>
                  <a:lnTo>
                    <a:pt x="61" y="126"/>
                  </a:lnTo>
                  <a:lnTo>
                    <a:pt x="61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6" y="126"/>
                  </a:lnTo>
                  <a:lnTo>
                    <a:pt x="68" y="140"/>
                  </a:lnTo>
                  <a:lnTo>
                    <a:pt x="68" y="140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3" y="142"/>
                  </a:lnTo>
                  <a:lnTo>
                    <a:pt x="75" y="140"/>
                  </a:lnTo>
                  <a:lnTo>
                    <a:pt x="75" y="135"/>
                  </a:lnTo>
                  <a:lnTo>
                    <a:pt x="80" y="128"/>
                  </a:lnTo>
                  <a:lnTo>
                    <a:pt x="80" y="126"/>
                  </a:lnTo>
                  <a:lnTo>
                    <a:pt x="80" y="123"/>
                  </a:lnTo>
                  <a:lnTo>
                    <a:pt x="61" y="111"/>
                  </a:lnTo>
                  <a:lnTo>
                    <a:pt x="56" y="109"/>
                  </a:lnTo>
                  <a:lnTo>
                    <a:pt x="54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49" y="107"/>
                  </a:lnTo>
                  <a:lnTo>
                    <a:pt x="49" y="109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2" y="114"/>
                  </a:lnTo>
                  <a:lnTo>
                    <a:pt x="37" y="114"/>
                  </a:lnTo>
                  <a:lnTo>
                    <a:pt x="35" y="114"/>
                  </a:lnTo>
                  <a:lnTo>
                    <a:pt x="33" y="114"/>
                  </a:lnTo>
                  <a:lnTo>
                    <a:pt x="33" y="114"/>
                  </a:lnTo>
                  <a:lnTo>
                    <a:pt x="33" y="116"/>
                  </a:lnTo>
                  <a:lnTo>
                    <a:pt x="30" y="121"/>
                  </a:lnTo>
                  <a:lnTo>
                    <a:pt x="28" y="123"/>
                  </a:lnTo>
                  <a:lnTo>
                    <a:pt x="28" y="123"/>
                  </a:lnTo>
                  <a:lnTo>
                    <a:pt x="26" y="123"/>
                  </a:lnTo>
                  <a:lnTo>
                    <a:pt x="26" y="123"/>
                  </a:lnTo>
                  <a:lnTo>
                    <a:pt x="23" y="123"/>
                  </a:lnTo>
                  <a:lnTo>
                    <a:pt x="21" y="123"/>
                  </a:lnTo>
                  <a:lnTo>
                    <a:pt x="16" y="118"/>
                  </a:lnTo>
                  <a:lnTo>
                    <a:pt x="14" y="118"/>
                  </a:lnTo>
                  <a:lnTo>
                    <a:pt x="11" y="116"/>
                  </a:lnTo>
                  <a:lnTo>
                    <a:pt x="9" y="116"/>
                  </a:lnTo>
                  <a:lnTo>
                    <a:pt x="7" y="118"/>
                  </a:lnTo>
                  <a:lnTo>
                    <a:pt x="4" y="118"/>
                  </a:lnTo>
                  <a:lnTo>
                    <a:pt x="0" y="121"/>
                  </a:lnTo>
                  <a:lnTo>
                    <a:pt x="2" y="104"/>
                  </a:lnTo>
                  <a:lnTo>
                    <a:pt x="2" y="100"/>
                  </a:lnTo>
                  <a:lnTo>
                    <a:pt x="7" y="92"/>
                  </a:lnTo>
                  <a:lnTo>
                    <a:pt x="9" y="88"/>
                  </a:lnTo>
                  <a:lnTo>
                    <a:pt x="9" y="62"/>
                  </a:lnTo>
                  <a:lnTo>
                    <a:pt x="9" y="59"/>
                  </a:lnTo>
                  <a:lnTo>
                    <a:pt x="9" y="52"/>
                  </a:lnTo>
                  <a:lnTo>
                    <a:pt x="7" y="50"/>
                  </a:lnTo>
                  <a:lnTo>
                    <a:pt x="7" y="47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11" y="45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30" y="45"/>
                  </a:lnTo>
                  <a:lnTo>
                    <a:pt x="33" y="45"/>
                  </a:lnTo>
                  <a:lnTo>
                    <a:pt x="45" y="36"/>
                  </a:lnTo>
                  <a:lnTo>
                    <a:pt x="49" y="29"/>
                  </a:lnTo>
                  <a:lnTo>
                    <a:pt x="54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68" y="19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80" y="21"/>
                  </a:lnTo>
                  <a:lnTo>
                    <a:pt x="78" y="26"/>
                  </a:lnTo>
                  <a:lnTo>
                    <a:pt x="75" y="38"/>
                  </a:lnTo>
                  <a:lnTo>
                    <a:pt x="80" y="45"/>
                  </a:lnTo>
                  <a:lnTo>
                    <a:pt x="90" y="50"/>
                  </a:lnTo>
                  <a:lnTo>
                    <a:pt x="99" y="47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4" y="31"/>
                  </a:lnTo>
                  <a:lnTo>
                    <a:pt x="104" y="31"/>
                  </a:lnTo>
                  <a:lnTo>
                    <a:pt x="108" y="33"/>
                  </a:lnTo>
                  <a:lnTo>
                    <a:pt x="123" y="38"/>
                  </a:lnTo>
                  <a:lnTo>
                    <a:pt x="123" y="38"/>
                  </a:lnTo>
                  <a:lnTo>
                    <a:pt x="125" y="40"/>
                  </a:lnTo>
                  <a:lnTo>
                    <a:pt x="125" y="43"/>
                  </a:lnTo>
                  <a:lnTo>
                    <a:pt x="125" y="45"/>
                  </a:lnTo>
                  <a:lnTo>
                    <a:pt x="127" y="47"/>
                  </a:lnTo>
                  <a:lnTo>
                    <a:pt x="127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5"/>
                  </a:lnTo>
                  <a:lnTo>
                    <a:pt x="132" y="43"/>
                  </a:lnTo>
                  <a:lnTo>
                    <a:pt x="134" y="43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9" y="40"/>
                  </a:lnTo>
                  <a:lnTo>
                    <a:pt x="142" y="43"/>
                  </a:lnTo>
                  <a:lnTo>
                    <a:pt x="144" y="47"/>
                  </a:lnTo>
                  <a:lnTo>
                    <a:pt x="144" y="50"/>
                  </a:lnTo>
                  <a:lnTo>
                    <a:pt x="149" y="55"/>
                  </a:lnTo>
                  <a:lnTo>
                    <a:pt x="149" y="57"/>
                  </a:lnTo>
                  <a:lnTo>
                    <a:pt x="151" y="59"/>
                  </a:lnTo>
                  <a:lnTo>
                    <a:pt x="153" y="59"/>
                  </a:lnTo>
                  <a:lnTo>
                    <a:pt x="156" y="59"/>
                  </a:lnTo>
                  <a:lnTo>
                    <a:pt x="165" y="59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70" y="57"/>
                  </a:lnTo>
                  <a:lnTo>
                    <a:pt x="170" y="55"/>
                  </a:lnTo>
                  <a:lnTo>
                    <a:pt x="170" y="52"/>
                  </a:lnTo>
                  <a:lnTo>
                    <a:pt x="170" y="50"/>
                  </a:lnTo>
                  <a:lnTo>
                    <a:pt x="172" y="50"/>
                  </a:lnTo>
                  <a:lnTo>
                    <a:pt x="172" y="47"/>
                  </a:lnTo>
                  <a:lnTo>
                    <a:pt x="172" y="47"/>
                  </a:lnTo>
                  <a:lnTo>
                    <a:pt x="179" y="43"/>
                  </a:lnTo>
                  <a:lnTo>
                    <a:pt x="179" y="43"/>
                  </a:lnTo>
                  <a:lnTo>
                    <a:pt x="182" y="40"/>
                  </a:lnTo>
                  <a:lnTo>
                    <a:pt x="182" y="38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4" y="29"/>
                  </a:lnTo>
                  <a:lnTo>
                    <a:pt x="182" y="29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79" y="21"/>
                  </a:lnTo>
                  <a:lnTo>
                    <a:pt x="179" y="19"/>
                  </a:lnTo>
                  <a:lnTo>
                    <a:pt x="179" y="19"/>
                  </a:lnTo>
                  <a:lnTo>
                    <a:pt x="179" y="14"/>
                  </a:lnTo>
                  <a:lnTo>
                    <a:pt x="182" y="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41">
              <a:extLst>
                <a:ext uri="{FF2B5EF4-FFF2-40B4-BE49-F238E27FC236}">
                  <a16:creationId xmlns:a16="http://schemas.microsoft.com/office/drawing/2014/main" id="{02C6281B-6144-4CD1-AE1B-DC12E5BDE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3950" y="3062614"/>
              <a:ext cx="542888" cy="658094"/>
            </a:xfrm>
            <a:custGeom>
              <a:avLst/>
              <a:gdLst>
                <a:gd name="T0" fmla="*/ 414 w 428"/>
                <a:gd name="T1" fmla="*/ 343 h 518"/>
                <a:gd name="T2" fmla="*/ 409 w 428"/>
                <a:gd name="T3" fmla="*/ 367 h 518"/>
                <a:gd name="T4" fmla="*/ 390 w 428"/>
                <a:gd name="T5" fmla="*/ 381 h 518"/>
                <a:gd name="T6" fmla="*/ 367 w 428"/>
                <a:gd name="T7" fmla="*/ 386 h 518"/>
                <a:gd name="T8" fmla="*/ 327 w 428"/>
                <a:gd name="T9" fmla="*/ 412 h 518"/>
                <a:gd name="T10" fmla="*/ 298 w 428"/>
                <a:gd name="T11" fmla="*/ 450 h 518"/>
                <a:gd name="T12" fmla="*/ 284 w 428"/>
                <a:gd name="T13" fmla="*/ 462 h 518"/>
                <a:gd name="T14" fmla="*/ 272 w 428"/>
                <a:gd name="T15" fmla="*/ 480 h 518"/>
                <a:gd name="T16" fmla="*/ 253 w 428"/>
                <a:gd name="T17" fmla="*/ 480 h 518"/>
                <a:gd name="T18" fmla="*/ 251 w 428"/>
                <a:gd name="T19" fmla="*/ 504 h 518"/>
                <a:gd name="T20" fmla="*/ 225 w 428"/>
                <a:gd name="T21" fmla="*/ 511 h 518"/>
                <a:gd name="T22" fmla="*/ 206 w 428"/>
                <a:gd name="T23" fmla="*/ 502 h 518"/>
                <a:gd name="T24" fmla="*/ 194 w 428"/>
                <a:gd name="T25" fmla="*/ 495 h 518"/>
                <a:gd name="T26" fmla="*/ 144 w 428"/>
                <a:gd name="T27" fmla="*/ 462 h 518"/>
                <a:gd name="T28" fmla="*/ 130 w 428"/>
                <a:gd name="T29" fmla="*/ 426 h 518"/>
                <a:gd name="T30" fmla="*/ 97 w 428"/>
                <a:gd name="T31" fmla="*/ 409 h 518"/>
                <a:gd name="T32" fmla="*/ 73 w 428"/>
                <a:gd name="T33" fmla="*/ 421 h 518"/>
                <a:gd name="T34" fmla="*/ 36 w 428"/>
                <a:gd name="T35" fmla="*/ 409 h 518"/>
                <a:gd name="T36" fmla="*/ 38 w 428"/>
                <a:gd name="T37" fmla="*/ 388 h 518"/>
                <a:gd name="T38" fmla="*/ 31 w 428"/>
                <a:gd name="T39" fmla="*/ 374 h 518"/>
                <a:gd name="T40" fmla="*/ 24 w 428"/>
                <a:gd name="T41" fmla="*/ 324 h 518"/>
                <a:gd name="T42" fmla="*/ 19 w 428"/>
                <a:gd name="T43" fmla="*/ 284 h 518"/>
                <a:gd name="T44" fmla="*/ 21 w 428"/>
                <a:gd name="T45" fmla="*/ 253 h 518"/>
                <a:gd name="T46" fmla="*/ 7 w 428"/>
                <a:gd name="T47" fmla="*/ 253 h 518"/>
                <a:gd name="T48" fmla="*/ 0 w 428"/>
                <a:gd name="T49" fmla="*/ 230 h 518"/>
                <a:gd name="T50" fmla="*/ 24 w 428"/>
                <a:gd name="T51" fmla="*/ 192 h 518"/>
                <a:gd name="T52" fmla="*/ 40 w 428"/>
                <a:gd name="T53" fmla="*/ 170 h 518"/>
                <a:gd name="T54" fmla="*/ 54 w 428"/>
                <a:gd name="T55" fmla="*/ 161 h 518"/>
                <a:gd name="T56" fmla="*/ 76 w 428"/>
                <a:gd name="T57" fmla="*/ 135 h 518"/>
                <a:gd name="T58" fmla="*/ 66 w 428"/>
                <a:gd name="T59" fmla="*/ 144 h 518"/>
                <a:gd name="T60" fmla="*/ 52 w 428"/>
                <a:gd name="T61" fmla="*/ 123 h 518"/>
                <a:gd name="T62" fmla="*/ 31 w 428"/>
                <a:gd name="T63" fmla="*/ 104 h 518"/>
                <a:gd name="T64" fmla="*/ 19 w 428"/>
                <a:gd name="T65" fmla="*/ 95 h 518"/>
                <a:gd name="T66" fmla="*/ 43 w 428"/>
                <a:gd name="T67" fmla="*/ 71 h 518"/>
                <a:gd name="T68" fmla="*/ 31 w 428"/>
                <a:gd name="T69" fmla="*/ 57 h 518"/>
                <a:gd name="T70" fmla="*/ 57 w 428"/>
                <a:gd name="T71" fmla="*/ 7 h 518"/>
                <a:gd name="T72" fmla="*/ 85 w 428"/>
                <a:gd name="T73" fmla="*/ 14 h 518"/>
                <a:gd name="T74" fmla="*/ 104 w 428"/>
                <a:gd name="T75" fmla="*/ 3 h 518"/>
                <a:gd name="T76" fmla="*/ 104 w 428"/>
                <a:gd name="T77" fmla="*/ 17 h 518"/>
                <a:gd name="T78" fmla="*/ 92 w 428"/>
                <a:gd name="T79" fmla="*/ 24 h 518"/>
                <a:gd name="T80" fmla="*/ 121 w 428"/>
                <a:gd name="T81" fmla="*/ 38 h 518"/>
                <a:gd name="T82" fmla="*/ 149 w 428"/>
                <a:gd name="T83" fmla="*/ 36 h 518"/>
                <a:gd name="T84" fmla="*/ 201 w 428"/>
                <a:gd name="T85" fmla="*/ 59 h 518"/>
                <a:gd name="T86" fmla="*/ 220 w 428"/>
                <a:gd name="T87" fmla="*/ 52 h 518"/>
                <a:gd name="T88" fmla="*/ 237 w 428"/>
                <a:gd name="T89" fmla="*/ 81 h 518"/>
                <a:gd name="T90" fmla="*/ 258 w 428"/>
                <a:gd name="T91" fmla="*/ 123 h 518"/>
                <a:gd name="T92" fmla="*/ 282 w 428"/>
                <a:gd name="T93" fmla="*/ 168 h 518"/>
                <a:gd name="T94" fmla="*/ 282 w 428"/>
                <a:gd name="T95" fmla="*/ 185 h 518"/>
                <a:gd name="T96" fmla="*/ 301 w 428"/>
                <a:gd name="T97" fmla="*/ 213 h 518"/>
                <a:gd name="T98" fmla="*/ 308 w 428"/>
                <a:gd name="T99" fmla="*/ 234 h 518"/>
                <a:gd name="T100" fmla="*/ 331 w 428"/>
                <a:gd name="T101" fmla="*/ 263 h 518"/>
                <a:gd name="T102" fmla="*/ 338 w 428"/>
                <a:gd name="T103" fmla="*/ 279 h 518"/>
                <a:gd name="T104" fmla="*/ 341 w 428"/>
                <a:gd name="T105" fmla="*/ 265 h 518"/>
                <a:gd name="T106" fmla="*/ 376 w 428"/>
                <a:gd name="T107" fmla="*/ 275 h 518"/>
                <a:gd name="T108" fmla="*/ 400 w 428"/>
                <a:gd name="T109" fmla="*/ 296 h 518"/>
                <a:gd name="T110" fmla="*/ 428 w 428"/>
                <a:gd name="T111" fmla="*/ 301 h 518"/>
                <a:gd name="T112" fmla="*/ 419 w 428"/>
                <a:gd name="T113" fmla="*/ 32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8" h="518">
                  <a:moveTo>
                    <a:pt x="414" y="322"/>
                  </a:moveTo>
                  <a:lnTo>
                    <a:pt x="414" y="322"/>
                  </a:lnTo>
                  <a:lnTo>
                    <a:pt x="414" y="327"/>
                  </a:lnTo>
                  <a:lnTo>
                    <a:pt x="414" y="331"/>
                  </a:lnTo>
                  <a:lnTo>
                    <a:pt x="412" y="336"/>
                  </a:lnTo>
                  <a:lnTo>
                    <a:pt x="412" y="338"/>
                  </a:lnTo>
                  <a:lnTo>
                    <a:pt x="412" y="341"/>
                  </a:lnTo>
                  <a:lnTo>
                    <a:pt x="412" y="343"/>
                  </a:lnTo>
                  <a:lnTo>
                    <a:pt x="414" y="343"/>
                  </a:lnTo>
                  <a:lnTo>
                    <a:pt x="414" y="346"/>
                  </a:lnTo>
                  <a:lnTo>
                    <a:pt x="414" y="348"/>
                  </a:lnTo>
                  <a:lnTo>
                    <a:pt x="416" y="350"/>
                  </a:lnTo>
                  <a:lnTo>
                    <a:pt x="414" y="350"/>
                  </a:lnTo>
                  <a:lnTo>
                    <a:pt x="414" y="353"/>
                  </a:lnTo>
                  <a:lnTo>
                    <a:pt x="412" y="357"/>
                  </a:lnTo>
                  <a:lnTo>
                    <a:pt x="412" y="360"/>
                  </a:lnTo>
                  <a:lnTo>
                    <a:pt x="409" y="362"/>
                  </a:lnTo>
                  <a:lnTo>
                    <a:pt x="409" y="367"/>
                  </a:lnTo>
                  <a:lnTo>
                    <a:pt x="409" y="369"/>
                  </a:lnTo>
                  <a:lnTo>
                    <a:pt x="409" y="372"/>
                  </a:lnTo>
                  <a:lnTo>
                    <a:pt x="407" y="372"/>
                  </a:lnTo>
                  <a:lnTo>
                    <a:pt x="407" y="374"/>
                  </a:lnTo>
                  <a:lnTo>
                    <a:pt x="405" y="374"/>
                  </a:lnTo>
                  <a:lnTo>
                    <a:pt x="400" y="374"/>
                  </a:lnTo>
                  <a:lnTo>
                    <a:pt x="398" y="374"/>
                  </a:lnTo>
                  <a:lnTo>
                    <a:pt x="395" y="374"/>
                  </a:lnTo>
                  <a:lnTo>
                    <a:pt x="390" y="381"/>
                  </a:lnTo>
                  <a:lnTo>
                    <a:pt x="390" y="381"/>
                  </a:lnTo>
                  <a:lnTo>
                    <a:pt x="381" y="386"/>
                  </a:lnTo>
                  <a:lnTo>
                    <a:pt x="379" y="386"/>
                  </a:lnTo>
                  <a:lnTo>
                    <a:pt x="374" y="386"/>
                  </a:lnTo>
                  <a:lnTo>
                    <a:pt x="374" y="386"/>
                  </a:lnTo>
                  <a:lnTo>
                    <a:pt x="369" y="383"/>
                  </a:lnTo>
                  <a:lnTo>
                    <a:pt x="369" y="383"/>
                  </a:lnTo>
                  <a:lnTo>
                    <a:pt x="367" y="383"/>
                  </a:lnTo>
                  <a:lnTo>
                    <a:pt x="367" y="386"/>
                  </a:lnTo>
                  <a:lnTo>
                    <a:pt x="364" y="388"/>
                  </a:lnTo>
                  <a:lnTo>
                    <a:pt x="364" y="393"/>
                  </a:lnTo>
                  <a:lnTo>
                    <a:pt x="364" y="393"/>
                  </a:lnTo>
                  <a:lnTo>
                    <a:pt x="364" y="395"/>
                  </a:lnTo>
                  <a:lnTo>
                    <a:pt x="362" y="395"/>
                  </a:lnTo>
                  <a:lnTo>
                    <a:pt x="360" y="395"/>
                  </a:lnTo>
                  <a:lnTo>
                    <a:pt x="334" y="400"/>
                  </a:lnTo>
                  <a:lnTo>
                    <a:pt x="327" y="409"/>
                  </a:lnTo>
                  <a:lnTo>
                    <a:pt x="327" y="412"/>
                  </a:lnTo>
                  <a:lnTo>
                    <a:pt x="329" y="414"/>
                  </a:lnTo>
                  <a:lnTo>
                    <a:pt x="329" y="414"/>
                  </a:lnTo>
                  <a:lnTo>
                    <a:pt x="329" y="417"/>
                  </a:lnTo>
                  <a:lnTo>
                    <a:pt x="329" y="419"/>
                  </a:lnTo>
                  <a:lnTo>
                    <a:pt x="329" y="419"/>
                  </a:lnTo>
                  <a:lnTo>
                    <a:pt x="327" y="421"/>
                  </a:lnTo>
                  <a:lnTo>
                    <a:pt x="301" y="440"/>
                  </a:lnTo>
                  <a:lnTo>
                    <a:pt x="301" y="443"/>
                  </a:lnTo>
                  <a:lnTo>
                    <a:pt x="298" y="450"/>
                  </a:lnTo>
                  <a:lnTo>
                    <a:pt x="298" y="450"/>
                  </a:lnTo>
                  <a:lnTo>
                    <a:pt x="296" y="452"/>
                  </a:lnTo>
                  <a:lnTo>
                    <a:pt x="296" y="452"/>
                  </a:lnTo>
                  <a:lnTo>
                    <a:pt x="296" y="452"/>
                  </a:lnTo>
                  <a:lnTo>
                    <a:pt x="284" y="457"/>
                  </a:lnTo>
                  <a:lnTo>
                    <a:pt x="284" y="457"/>
                  </a:lnTo>
                  <a:lnTo>
                    <a:pt x="284" y="459"/>
                  </a:lnTo>
                  <a:lnTo>
                    <a:pt x="284" y="462"/>
                  </a:lnTo>
                  <a:lnTo>
                    <a:pt x="284" y="462"/>
                  </a:lnTo>
                  <a:lnTo>
                    <a:pt x="289" y="466"/>
                  </a:lnTo>
                  <a:lnTo>
                    <a:pt x="289" y="469"/>
                  </a:lnTo>
                  <a:lnTo>
                    <a:pt x="289" y="471"/>
                  </a:lnTo>
                  <a:lnTo>
                    <a:pt x="289" y="471"/>
                  </a:lnTo>
                  <a:lnTo>
                    <a:pt x="289" y="473"/>
                  </a:lnTo>
                  <a:lnTo>
                    <a:pt x="289" y="473"/>
                  </a:lnTo>
                  <a:lnTo>
                    <a:pt x="286" y="476"/>
                  </a:lnTo>
                  <a:lnTo>
                    <a:pt x="282" y="478"/>
                  </a:lnTo>
                  <a:lnTo>
                    <a:pt x="272" y="480"/>
                  </a:lnTo>
                  <a:lnTo>
                    <a:pt x="267" y="483"/>
                  </a:lnTo>
                  <a:lnTo>
                    <a:pt x="265" y="480"/>
                  </a:lnTo>
                  <a:lnTo>
                    <a:pt x="258" y="476"/>
                  </a:lnTo>
                  <a:lnTo>
                    <a:pt x="258" y="473"/>
                  </a:lnTo>
                  <a:lnTo>
                    <a:pt x="256" y="473"/>
                  </a:lnTo>
                  <a:lnTo>
                    <a:pt x="256" y="473"/>
                  </a:lnTo>
                  <a:lnTo>
                    <a:pt x="253" y="476"/>
                  </a:lnTo>
                  <a:lnTo>
                    <a:pt x="253" y="478"/>
                  </a:lnTo>
                  <a:lnTo>
                    <a:pt x="253" y="480"/>
                  </a:lnTo>
                  <a:lnTo>
                    <a:pt x="253" y="483"/>
                  </a:lnTo>
                  <a:lnTo>
                    <a:pt x="253" y="483"/>
                  </a:lnTo>
                  <a:lnTo>
                    <a:pt x="256" y="485"/>
                  </a:lnTo>
                  <a:lnTo>
                    <a:pt x="256" y="485"/>
                  </a:lnTo>
                  <a:lnTo>
                    <a:pt x="256" y="488"/>
                  </a:lnTo>
                  <a:lnTo>
                    <a:pt x="256" y="492"/>
                  </a:lnTo>
                  <a:lnTo>
                    <a:pt x="253" y="497"/>
                  </a:lnTo>
                  <a:lnTo>
                    <a:pt x="251" y="502"/>
                  </a:lnTo>
                  <a:lnTo>
                    <a:pt x="251" y="504"/>
                  </a:lnTo>
                  <a:lnTo>
                    <a:pt x="246" y="509"/>
                  </a:lnTo>
                  <a:lnTo>
                    <a:pt x="239" y="514"/>
                  </a:lnTo>
                  <a:lnTo>
                    <a:pt x="237" y="518"/>
                  </a:lnTo>
                  <a:lnTo>
                    <a:pt x="234" y="518"/>
                  </a:lnTo>
                  <a:lnTo>
                    <a:pt x="234" y="518"/>
                  </a:lnTo>
                  <a:lnTo>
                    <a:pt x="232" y="516"/>
                  </a:lnTo>
                  <a:lnTo>
                    <a:pt x="230" y="511"/>
                  </a:lnTo>
                  <a:lnTo>
                    <a:pt x="227" y="511"/>
                  </a:lnTo>
                  <a:lnTo>
                    <a:pt x="225" y="511"/>
                  </a:lnTo>
                  <a:lnTo>
                    <a:pt x="213" y="516"/>
                  </a:lnTo>
                  <a:lnTo>
                    <a:pt x="211" y="514"/>
                  </a:lnTo>
                  <a:lnTo>
                    <a:pt x="208" y="516"/>
                  </a:lnTo>
                  <a:lnTo>
                    <a:pt x="204" y="516"/>
                  </a:lnTo>
                  <a:lnTo>
                    <a:pt x="201" y="514"/>
                  </a:lnTo>
                  <a:lnTo>
                    <a:pt x="204" y="509"/>
                  </a:lnTo>
                  <a:lnTo>
                    <a:pt x="206" y="506"/>
                  </a:lnTo>
                  <a:lnTo>
                    <a:pt x="206" y="504"/>
                  </a:lnTo>
                  <a:lnTo>
                    <a:pt x="206" y="502"/>
                  </a:lnTo>
                  <a:lnTo>
                    <a:pt x="206" y="499"/>
                  </a:lnTo>
                  <a:lnTo>
                    <a:pt x="201" y="499"/>
                  </a:lnTo>
                  <a:lnTo>
                    <a:pt x="199" y="499"/>
                  </a:lnTo>
                  <a:lnTo>
                    <a:pt x="199" y="499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6" y="499"/>
                  </a:lnTo>
                  <a:lnTo>
                    <a:pt x="194" y="495"/>
                  </a:lnTo>
                  <a:lnTo>
                    <a:pt x="194" y="495"/>
                  </a:lnTo>
                  <a:lnTo>
                    <a:pt x="187" y="488"/>
                  </a:lnTo>
                  <a:lnTo>
                    <a:pt x="168" y="476"/>
                  </a:lnTo>
                  <a:lnTo>
                    <a:pt x="161" y="476"/>
                  </a:lnTo>
                  <a:lnTo>
                    <a:pt x="156" y="480"/>
                  </a:lnTo>
                  <a:lnTo>
                    <a:pt x="154" y="476"/>
                  </a:lnTo>
                  <a:lnTo>
                    <a:pt x="149" y="473"/>
                  </a:lnTo>
                  <a:lnTo>
                    <a:pt x="149" y="471"/>
                  </a:lnTo>
                  <a:lnTo>
                    <a:pt x="147" y="469"/>
                  </a:lnTo>
                  <a:lnTo>
                    <a:pt x="144" y="462"/>
                  </a:lnTo>
                  <a:lnTo>
                    <a:pt x="144" y="457"/>
                  </a:lnTo>
                  <a:lnTo>
                    <a:pt x="142" y="450"/>
                  </a:lnTo>
                  <a:lnTo>
                    <a:pt x="142" y="447"/>
                  </a:lnTo>
                  <a:lnTo>
                    <a:pt x="142" y="450"/>
                  </a:lnTo>
                  <a:lnTo>
                    <a:pt x="140" y="450"/>
                  </a:lnTo>
                  <a:lnTo>
                    <a:pt x="137" y="450"/>
                  </a:lnTo>
                  <a:lnTo>
                    <a:pt x="133" y="443"/>
                  </a:lnTo>
                  <a:lnTo>
                    <a:pt x="133" y="435"/>
                  </a:lnTo>
                  <a:lnTo>
                    <a:pt x="130" y="426"/>
                  </a:lnTo>
                  <a:lnTo>
                    <a:pt x="128" y="419"/>
                  </a:lnTo>
                  <a:lnTo>
                    <a:pt x="125" y="417"/>
                  </a:lnTo>
                  <a:lnTo>
                    <a:pt x="121" y="414"/>
                  </a:lnTo>
                  <a:lnTo>
                    <a:pt x="121" y="414"/>
                  </a:lnTo>
                  <a:lnTo>
                    <a:pt x="116" y="414"/>
                  </a:lnTo>
                  <a:lnTo>
                    <a:pt x="99" y="407"/>
                  </a:lnTo>
                  <a:lnTo>
                    <a:pt x="99" y="407"/>
                  </a:lnTo>
                  <a:lnTo>
                    <a:pt x="97" y="409"/>
                  </a:lnTo>
                  <a:lnTo>
                    <a:pt x="97" y="409"/>
                  </a:lnTo>
                  <a:lnTo>
                    <a:pt x="95" y="414"/>
                  </a:lnTo>
                  <a:lnTo>
                    <a:pt x="95" y="414"/>
                  </a:lnTo>
                  <a:lnTo>
                    <a:pt x="95" y="417"/>
                  </a:lnTo>
                  <a:lnTo>
                    <a:pt x="92" y="417"/>
                  </a:lnTo>
                  <a:lnTo>
                    <a:pt x="92" y="417"/>
                  </a:lnTo>
                  <a:lnTo>
                    <a:pt x="90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73" y="421"/>
                  </a:lnTo>
                  <a:lnTo>
                    <a:pt x="64" y="426"/>
                  </a:lnTo>
                  <a:lnTo>
                    <a:pt x="64" y="426"/>
                  </a:lnTo>
                  <a:lnTo>
                    <a:pt x="62" y="426"/>
                  </a:lnTo>
                  <a:lnTo>
                    <a:pt x="59" y="426"/>
                  </a:lnTo>
                  <a:lnTo>
                    <a:pt x="52" y="419"/>
                  </a:lnTo>
                  <a:lnTo>
                    <a:pt x="47" y="417"/>
                  </a:lnTo>
                  <a:lnTo>
                    <a:pt x="40" y="412"/>
                  </a:lnTo>
                  <a:lnTo>
                    <a:pt x="38" y="412"/>
                  </a:lnTo>
                  <a:lnTo>
                    <a:pt x="36" y="409"/>
                  </a:lnTo>
                  <a:lnTo>
                    <a:pt x="28" y="405"/>
                  </a:lnTo>
                  <a:lnTo>
                    <a:pt x="28" y="402"/>
                  </a:lnTo>
                  <a:lnTo>
                    <a:pt x="28" y="400"/>
                  </a:lnTo>
                  <a:lnTo>
                    <a:pt x="28" y="398"/>
                  </a:lnTo>
                  <a:lnTo>
                    <a:pt x="28" y="398"/>
                  </a:lnTo>
                  <a:lnTo>
                    <a:pt x="31" y="395"/>
                  </a:lnTo>
                  <a:lnTo>
                    <a:pt x="31" y="393"/>
                  </a:lnTo>
                  <a:lnTo>
                    <a:pt x="36" y="391"/>
                  </a:lnTo>
                  <a:lnTo>
                    <a:pt x="38" y="388"/>
                  </a:lnTo>
                  <a:lnTo>
                    <a:pt x="38" y="388"/>
                  </a:lnTo>
                  <a:lnTo>
                    <a:pt x="38" y="386"/>
                  </a:lnTo>
                  <a:lnTo>
                    <a:pt x="38" y="386"/>
                  </a:lnTo>
                  <a:lnTo>
                    <a:pt x="38" y="383"/>
                  </a:lnTo>
                  <a:lnTo>
                    <a:pt x="40" y="381"/>
                  </a:lnTo>
                  <a:lnTo>
                    <a:pt x="38" y="381"/>
                  </a:lnTo>
                  <a:lnTo>
                    <a:pt x="38" y="379"/>
                  </a:lnTo>
                  <a:lnTo>
                    <a:pt x="33" y="376"/>
                  </a:lnTo>
                  <a:lnTo>
                    <a:pt x="31" y="374"/>
                  </a:lnTo>
                  <a:lnTo>
                    <a:pt x="24" y="369"/>
                  </a:lnTo>
                  <a:lnTo>
                    <a:pt x="7" y="346"/>
                  </a:lnTo>
                  <a:lnTo>
                    <a:pt x="21" y="334"/>
                  </a:lnTo>
                  <a:lnTo>
                    <a:pt x="21" y="331"/>
                  </a:lnTo>
                  <a:lnTo>
                    <a:pt x="24" y="329"/>
                  </a:lnTo>
                  <a:lnTo>
                    <a:pt x="24" y="329"/>
                  </a:lnTo>
                  <a:lnTo>
                    <a:pt x="24" y="327"/>
                  </a:lnTo>
                  <a:lnTo>
                    <a:pt x="24" y="324"/>
                  </a:lnTo>
                  <a:lnTo>
                    <a:pt x="24" y="324"/>
                  </a:lnTo>
                  <a:lnTo>
                    <a:pt x="24" y="322"/>
                  </a:lnTo>
                  <a:lnTo>
                    <a:pt x="21" y="320"/>
                  </a:lnTo>
                  <a:lnTo>
                    <a:pt x="21" y="317"/>
                  </a:lnTo>
                  <a:lnTo>
                    <a:pt x="17" y="317"/>
                  </a:lnTo>
                  <a:lnTo>
                    <a:pt x="17" y="315"/>
                  </a:lnTo>
                  <a:lnTo>
                    <a:pt x="17" y="312"/>
                  </a:lnTo>
                  <a:lnTo>
                    <a:pt x="17" y="301"/>
                  </a:lnTo>
                  <a:lnTo>
                    <a:pt x="17" y="294"/>
                  </a:lnTo>
                  <a:lnTo>
                    <a:pt x="19" y="284"/>
                  </a:lnTo>
                  <a:lnTo>
                    <a:pt x="19" y="279"/>
                  </a:lnTo>
                  <a:lnTo>
                    <a:pt x="21" y="275"/>
                  </a:lnTo>
                  <a:lnTo>
                    <a:pt x="24" y="275"/>
                  </a:lnTo>
                  <a:lnTo>
                    <a:pt x="24" y="270"/>
                  </a:lnTo>
                  <a:lnTo>
                    <a:pt x="24" y="270"/>
                  </a:lnTo>
                  <a:lnTo>
                    <a:pt x="24" y="267"/>
                  </a:lnTo>
                  <a:lnTo>
                    <a:pt x="24" y="260"/>
                  </a:lnTo>
                  <a:lnTo>
                    <a:pt x="21" y="258"/>
                  </a:lnTo>
                  <a:lnTo>
                    <a:pt x="21" y="253"/>
                  </a:lnTo>
                  <a:lnTo>
                    <a:pt x="19" y="251"/>
                  </a:lnTo>
                  <a:lnTo>
                    <a:pt x="17" y="249"/>
                  </a:lnTo>
                  <a:lnTo>
                    <a:pt x="14" y="249"/>
                  </a:lnTo>
                  <a:lnTo>
                    <a:pt x="14" y="249"/>
                  </a:lnTo>
                  <a:lnTo>
                    <a:pt x="12" y="251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10" y="253"/>
                  </a:lnTo>
                  <a:lnTo>
                    <a:pt x="7" y="253"/>
                  </a:lnTo>
                  <a:lnTo>
                    <a:pt x="7" y="251"/>
                  </a:lnTo>
                  <a:lnTo>
                    <a:pt x="5" y="249"/>
                  </a:lnTo>
                  <a:lnTo>
                    <a:pt x="5" y="241"/>
                  </a:lnTo>
                  <a:lnTo>
                    <a:pt x="2" y="239"/>
                  </a:lnTo>
                  <a:lnTo>
                    <a:pt x="2" y="237"/>
                  </a:lnTo>
                  <a:lnTo>
                    <a:pt x="2" y="234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0" y="230"/>
                  </a:lnTo>
                  <a:lnTo>
                    <a:pt x="0" y="223"/>
                  </a:lnTo>
                  <a:lnTo>
                    <a:pt x="5" y="208"/>
                  </a:lnTo>
                  <a:lnTo>
                    <a:pt x="10" y="206"/>
                  </a:lnTo>
                  <a:lnTo>
                    <a:pt x="12" y="204"/>
                  </a:lnTo>
                  <a:lnTo>
                    <a:pt x="19" y="199"/>
                  </a:lnTo>
                  <a:lnTo>
                    <a:pt x="19" y="199"/>
                  </a:lnTo>
                  <a:lnTo>
                    <a:pt x="21" y="197"/>
                  </a:lnTo>
                  <a:lnTo>
                    <a:pt x="24" y="194"/>
                  </a:lnTo>
                  <a:lnTo>
                    <a:pt x="24" y="192"/>
                  </a:lnTo>
                  <a:lnTo>
                    <a:pt x="24" y="189"/>
                  </a:lnTo>
                  <a:lnTo>
                    <a:pt x="24" y="187"/>
                  </a:lnTo>
                  <a:lnTo>
                    <a:pt x="24" y="175"/>
                  </a:lnTo>
                  <a:lnTo>
                    <a:pt x="26" y="173"/>
                  </a:lnTo>
                  <a:lnTo>
                    <a:pt x="26" y="170"/>
                  </a:lnTo>
                  <a:lnTo>
                    <a:pt x="28" y="168"/>
                  </a:lnTo>
                  <a:lnTo>
                    <a:pt x="31" y="168"/>
                  </a:lnTo>
                  <a:lnTo>
                    <a:pt x="33" y="168"/>
                  </a:lnTo>
                  <a:lnTo>
                    <a:pt x="40" y="170"/>
                  </a:lnTo>
                  <a:lnTo>
                    <a:pt x="45" y="170"/>
                  </a:lnTo>
                  <a:lnTo>
                    <a:pt x="45" y="170"/>
                  </a:lnTo>
                  <a:lnTo>
                    <a:pt x="47" y="170"/>
                  </a:lnTo>
                  <a:lnTo>
                    <a:pt x="47" y="168"/>
                  </a:lnTo>
                  <a:lnTo>
                    <a:pt x="50" y="166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4" y="163"/>
                  </a:lnTo>
                  <a:lnTo>
                    <a:pt x="54" y="161"/>
                  </a:lnTo>
                  <a:lnTo>
                    <a:pt x="62" y="161"/>
                  </a:lnTo>
                  <a:lnTo>
                    <a:pt x="64" y="161"/>
                  </a:lnTo>
                  <a:lnTo>
                    <a:pt x="64" y="159"/>
                  </a:lnTo>
                  <a:lnTo>
                    <a:pt x="76" y="149"/>
                  </a:lnTo>
                  <a:lnTo>
                    <a:pt x="80" y="144"/>
                  </a:lnTo>
                  <a:lnTo>
                    <a:pt x="80" y="144"/>
                  </a:lnTo>
                  <a:lnTo>
                    <a:pt x="80" y="142"/>
                  </a:lnTo>
                  <a:lnTo>
                    <a:pt x="78" y="137"/>
                  </a:lnTo>
                  <a:lnTo>
                    <a:pt x="76" y="135"/>
                  </a:lnTo>
                  <a:lnTo>
                    <a:pt x="76" y="135"/>
                  </a:lnTo>
                  <a:lnTo>
                    <a:pt x="73" y="135"/>
                  </a:lnTo>
                  <a:lnTo>
                    <a:pt x="71" y="135"/>
                  </a:lnTo>
                  <a:lnTo>
                    <a:pt x="71" y="135"/>
                  </a:lnTo>
                  <a:lnTo>
                    <a:pt x="71" y="137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9" y="144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2" y="147"/>
                  </a:lnTo>
                  <a:lnTo>
                    <a:pt x="62" y="147"/>
                  </a:lnTo>
                  <a:lnTo>
                    <a:pt x="57" y="144"/>
                  </a:lnTo>
                  <a:lnTo>
                    <a:pt x="57" y="144"/>
                  </a:lnTo>
                  <a:lnTo>
                    <a:pt x="54" y="142"/>
                  </a:lnTo>
                  <a:lnTo>
                    <a:pt x="54" y="137"/>
                  </a:lnTo>
                  <a:lnTo>
                    <a:pt x="52" y="128"/>
                  </a:lnTo>
                  <a:lnTo>
                    <a:pt x="52" y="123"/>
                  </a:lnTo>
                  <a:lnTo>
                    <a:pt x="52" y="121"/>
                  </a:lnTo>
                  <a:lnTo>
                    <a:pt x="50" y="121"/>
                  </a:lnTo>
                  <a:lnTo>
                    <a:pt x="47" y="118"/>
                  </a:lnTo>
                  <a:lnTo>
                    <a:pt x="36" y="116"/>
                  </a:lnTo>
                  <a:lnTo>
                    <a:pt x="33" y="116"/>
                  </a:lnTo>
                  <a:lnTo>
                    <a:pt x="33" y="116"/>
                  </a:lnTo>
                  <a:lnTo>
                    <a:pt x="33" y="114"/>
                  </a:lnTo>
                  <a:lnTo>
                    <a:pt x="31" y="111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28" y="100"/>
                  </a:lnTo>
                  <a:lnTo>
                    <a:pt x="21" y="102"/>
                  </a:lnTo>
                  <a:lnTo>
                    <a:pt x="21" y="102"/>
                  </a:lnTo>
                  <a:lnTo>
                    <a:pt x="19" y="102"/>
                  </a:lnTo>
                  <a:lnTo>
                    <a:pt x="19" y="100"/>
                  </a:lnTo>
                  <a:lnTo>
                    <a:pt x="19" y="97"/>
                  </a:lnTo>
                  <a:lnTo>
                    <a:pt x="19" y="95"/>
                  </a:lnTo>
                  <a:lnTo>
                    <a:pt x="24" y="90"/>
                  </a:lnTo>
                  <a:lnTo>
                    <a:pt x="26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31" y="85"/>
                  </a:lnTo>
                  <a:lnTo>
                    <a:pt x="36" y="76"/>
                  </a:lnTo>
                  <a:lnTo>
                    <a:pt x="38" y="73"/>
                  </a:lnTo>
                  <a:lnTo>
                    <a:pt x="40" y="73"/>
                  </a:lnTo>
                  <a:lnTo>
                    <a:pt x="43" y="71"/>
                  </a:lnTo>
                  <a:lnTo>
                    <a:pt x="43" y="71"/>
                  </a:lnTo>
                  <a:lnTo>
                    <a:pt x="45" y="69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3" y="62"/>
                  </a:lnTo>
                  <a:lnTo>
                    <a:pt x="40" y="62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55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36" y="47"/>
                  </a:lnTo>
                  <a:lnTo>
                    <a:pt x="40" y="47"/>
                  </a:lnTo>
                  <a:lnTo>
                    <a:pt x="43" y="47"/>
                  </a:lnTo>
                  <a:lnTo>
                    <a:pt x="45" y="38"/>
                  </a:lnTo>
                  <a:lnTo>
                    <a:pt x="57" y="7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9" y="10"/>
                  </a:lnTo>
                  <a:lnTo>
                    <a:pt x="76" y="12"/>
                  </a:lnTo>
                  <a:lnTo>
                    <a:pt x="80" y="14"/>
                  </a:lnTo>
                  <a:lnTo>
                    <a:pt x="83" y="14"/>
                  </a:lnTo>
                  <a:lnTo>
                    <a:pt x="85" y="14"/>
                  </a:lnTo>
                  <a:lnTo>
                    <a:pt x="85" y="12"/>
                  </a:lnTo>
                  <a:lnTo>
                    <a:pt x="88" y="10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5"/>
                  </a:lnTo>
                  <a:lnTo>
                    <a:pt x="104" y="7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99" y="24"/>
                  </a:lnTo>
                  <a:lnTo>
                    <a:pt x="95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2" y="31"/>
                  </a:lnTo>
                  <a:lnTo>
                    <a:pt x="95" y="31"/>
                  </a:lnTo>
                  <a:lnTo>
                    <a:pt x="97" y="33"/>
                  </a:lnTo>
                  <a:lnTo>
                    <a:pt x="116" y="38"/>
                  </a:lnTo>
                  <a:lnTo>
                    <a:pt x="121" y="38"/>
                  </a:lnTo>
                  <a:lnTo>
                    <a:pt x="123" y="38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8" y="33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30" y="31"/>
                  </a:lnTo>
                  <a:lnTo>
                    <a:pt x="135" y="31"/>
                  </a:lnTo>
                  <a:lnTo>
                    <a:pt x="149" y="36"/>
                  </a:lnTo>
                  <a:lnTo>
                    <a:pt x="156" y="38"/>
                  </a:lnTo>
                  <a:lnTo>
                    <a:pt x="189" y="69"/>
                  </a:lnTo>
                  <a:lnTo>
                    <a:pt x="192" y="69"/>
                  </a:lnTo>
                  <a:lnTo>
                    <a:pt x="192" y="69"/>
                  </a:lnTo>
                  <a:lnTo>
                    <a:pt x="194" y="66"/>
                  </a:lnTo>
                  <a:lnTo>
                    <a:pt x="196" y="62"/>
                  </a:lnTo>
                  <a:lnTo>
                    <a:pt x="199" y="62"/>
                  </a:lnTo>
                  <a:lnTo>
                    <a:pt x="199" y="62"/>
                  </a:lnTo>
                  <a:lnTo>
                    <a:pt x="201" y="59"/>
                  </a:lnTo>
                  <a:lnTo>
                    <a:pt x="204" y="59"/>
                  </a:lnTo>
                  <a:lnTo>
                    <a:pt x="208" y="62"/>
                  </a:lnTo>
                  <a:lnTo>
                    <a:pt x="213" y="62"/>
                  </a:lnTo>
                  <a:lnTo>
                    <a:pt x="213" y="62"/>
                  </a:lnTo>
                  <a:lnTo>
                    <a:pt x="215" y="62"/>
                  </a:lnTo>
                  <a:lnTo>
                    <a:pt x="218" y="59"/>
                  </a:lnTo>
                  <a:lnTo>
                    <a:pt x="218" y="55"/>
                  </a:lnTo>
                  <a:lnTo>
                    <a:pt x="220" y="55"/>
                  </a:lnTo>
                  <a:lnTo>
                    <a:pt x="220" y="52"/>
                  </a:lnTo>
                  <a:lnTo>
                    <a:pt x="227" y="50"/>
                  </a:lnTo>
                  <a:lnTo>
                    <a:pt x="234" y="47"/>
                  </a:lnTo>
                  <a:lnTo>
                    <a:pt x="234" y="55"/>
                  </a:lnTo>
                  <a:lnTo>
                    <a:pt x="234" y="57"/>
                  </a:lnTo>
                  <a:lnTo>
                    <a:pt x="234" y="62"/>
                  </a:lnTo>
                  <a:lnTo>
                    <a:pt x="237" y="64"/>
                  </a:lnTo>
                  <a:lnTo>
                    <a:pt x="237" y="66"/>
                  </a:lnTo>
                  <a:lnTo>
                    <a:pt x="237" y="71"/>
                  </a:lnTo>
                  <a:lnTo>
                    <a:pt x="237" y="81"/>
                  </a:lnTo>
                  <a:lnTo>
                    <a:pt x="237" y="83"/>
                  </a:lnTo>
                  <a:lnTo>
                    <a:pt x="237" y="85"/>
                  </a:lnTo>
                  <a:lnTo>
                    <a:pt x="239" y="88"/>
                  </a:lnTo>
                  <a:lnTo>
                    <a:pt x="253" y="104"/>
                  </a:lnTo>
                  <a:lnTo>
                    <a:pt x="253" y="107"/>
                  </a:lnTo>
                  <a:lnTo>
                    <a:pt x="253" y="107"/>
                  </a:lnTo>
                  <a:lnTo>
                    <a:pt x="256" y="114"/>
                  </a:lnTo>
                  <a:lnTo>
                    <a:pt x="256" y="118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79" y="149"/>
                  </a:lnTo>
                  <a:lnTo>
                    <a:pt x="282" y="156"/>
                  </a:lnTo>
                  <a:lnTo>
                    <a:pt x="282" y="159"/>
                  </a:lnTo>
                  <a:lnTo>
                    <a:pt x="282" y="161"/>
                  </a:lnTo>
                  <a:lnTo>
                    <a:pt x="282" y="163"/>
                  </a:lnTo>
                  <a:lnTo>
                    <a:pt x="282" y="166"/>
                  </a:lnTo>
                  <a:lnTo>
                    <a:pt x="282" y="166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79" y="173"/>
                  </a:lnTo>
                  <a:lnTo>
                    <a:pt x="279" y="173"/>
                  </a:lnTo>
                  <a:lnTo>
                    <a:pt x="277" y="175"/>
                  </a:lnTo>
                  <a:lnTo>
                    <a:pt x="277" y="178"/>
                  </a:lnTo>
                  <a:lnTo>
                    <a:pt x="277" y="178"/>
                  </a:lnTo>
                  <a:lnTo>
                    <a:pt x="279" y="182"/>
                  </a:lnTo>
                  <a:lnTo>
                    <a:pt x="282" y="182"/>
                  </a:lnTo>
                  <a:lnTo>
                    <a:pt x="282" y="185"/>
                  </a:lnTo>
                  <a:lnTo>
                    <a:pt x="286" y="185"/>
                  </a:lnTo>
                  <a:lnTo>
                    <a:pt x="289" y="185"/>
                  </a:lnTo>
                  <a:lnTo>
                    <a:pt x="291" y="187"/>
                  </a:lnTo>
                  <a:lnTo>
                    <a:pt x="296" y="192"/>
                  </a:lnTo>
                  <a:lnTo>
                    <a:pt x="298" y="197"/>
                  </a:lnTo>
                  <a:lnTo>
                    <a:pt x="301" y="199"/>
                  </a:lnTo>
                  <a:lnTo>
                    <a:pt x="301" y="201"/>
                  </a:lnTo>
                  <a:lnTo>
                    <a:pt x="301" y="208"/>
                  </a:lnTo>
                  <a:lnTo>
                    <a:pt x="301" y="213"/>
                  </a:lnTo>
                  <a:lnTo>
                    <a:pt x="303" y="218"/>
                  </a:lnTo>
                  <a:lnTo>
                    <a:pt x="305" y="223"/>
                  </a:lnTo>
                  <a:lnTo>
                    <a:pt x="305" y="225"/>
                  </a:lnTo>
                  <a:lnTo>
                    <a:pt x="305" y="225"/>
                  </a:lnTo>
                  <a:lnTo>
                    <a:pt x="305" y="227"/>
                  </a:lnTo>
                  <a:lnTo>
                    <a:pt x="305" y="230"/>
                  </a:lnTo>
                  <a:lnTo>
                    <a:pt x="305" y="232"/>
                  </a:lnTo>
                  <a:lnTo>
                    <a:pt x="305" y="234"/>
                  </a:lnTo>
                  <a:lnTo>
                    <a:pt x="308" y="234"/>
                  </a:lnTo>
                  <a:lnTo>
                    <a:pt x="308" y="237"/>
                  </a:lnTo>
                  <a:lnTo>
                    <a:pt x="310" y="239"/>
                  </a:lnTo>
                  <a:lnTo>
                    <a:pt x="310" y="239"/>
                  </a:lnTo>
                  <a:lnTo>
                    <a:pt x="310" y="244"/>
                  </a:lnTo>
                  <a:lnTo>
                    <a:pt x="310" y="246"/>
                  </a:lnTo>
                  <a:lnTo>
                    <a:pt x="312" y="251"/>
                  </a:lnTo>
                  <a:lnTo>
                    <a:pt x="319" y="256"/>
                  </a:lnTo>
                  <a:lnTo>
                    <a:pt x="322" y="258"/>
                  </a:lnTo>
                  <a:lnTo>
                    <a:pt x="331" y="263"/>
                  </a:lnTo>
                  <a:lnTo>
                    <a:pt x="331" y="263"/>
                  </a:lnTo>
                  <a:lnTo>
                    <a:pt x="331" y="263"/>
                  </a:lnTo>
                  <a:lnTo>
                    <a:pt x="334" y="265"/>
                  </a:lnTo>
                  <a:lnTo>
                    <a:pt x="334" y="267"/>
                  </a:lnTo>
                  <a:lnTo>
                    <a:pt x="334" y="267"/>
                  </a:lnTo>
                  <a:lnTo>
                    <a:pt x="336" y="275"/>
                  </a:lnTo>
                  <a:lnTo>
                    <a:pt x="336" y="277"/>
                  </a:lnTo>
                  <a:lnTo>
                    <a:pt x="336" y="279"/>
                  </a:lnTo>
                  <a:lnTo>
                    <a:pt x="338" y="279"/>
                  </a:lnTo>
                  <a:lnTo>
                    <a:pt x="341" y="277"/>
                  </a:lnTo>
                  <a:lnTo>
                    <a:pt x="341" y="275"/>
                  </a:lnTo>
                  <a:lnTo>
                    <a:pt x="341" y="275"/>
                  </a:lnTo>
                  <a:lnTo>
                    <a:pt x="341" y="272"/>
                  </a:lnTo>
                  <a:lnTo>
                    <a:pt x="341" y="270"/>
                  </a:lnTo>
                  <a:lnTo>
                    <a:pt x="338" y="270"/>
                  </a:lnTo>
                  <a:lnTo>
                    <a:pt x="338" y="267"/>
                  </a:lnTo>
                  <a:lnTo>
                    <a:pt x="341" y="265"/>
                  </a:lnTo>
                  <a:lnTo>
                    <a:pt x="341" y="265"/>
                  </a:lnTo>
                  <a:lnTo>
                    <a:pt x="350" y="265"/>
                  </a:lnTo>
                  <a:lnTo>
                    <a:pt x="353" y="263"/>
                  </a:lnTo>
                  <a:lnTo>
                    <a:pt x="355" y="263"/>
                  </a:lnTo>
                  <a:lnTo>
                    <a:pt x="355" y="263"/>
                  </a:lnTo>
                  <a:lnTo>
                    <a:pt x="357" y="263"/>
                  </a:lnTo>
                  <a:lnTo>
                    <a:pt x="360" y="265"/>
                  </a:lnTo>
                  <a:lnTo>
                    <a:pt x="364" y="267"/>
                  </a:lnTo>
                  <a:lnTo>
                    <a:pt x="371" y="272"/>
                  </a:lnTo>
                  <a:lnTo>
                    <a:pt x="376" y="275"/>
                  </a:lnTo>
                  <a:lnTo>
                    <a:pt x="379" y="277"/>
                  </a:lnTo>
                  <a:lnTo>
                    <a:pt x="390" y="286"/>
                  </a:lnTo>
                  <a:lnTo>
                    <a:pt x="390" y="289"/>
                  </a:lnTo>
                  <a:lnTo>
                    <a:pt x="393" y="289"/>
                  </a:lnTo>
                  <a:lnTo>
                    <a:pt x="393" y="291"/>
                  </a:lnTo>
                  <a:lnTo>
                    <a:pt x="393" y="294"/>
                  </a:lnTo>
                  <a:lnTo>
                    <a:pt x="395" y="296"/>
                  </a:lnTo>
                  <a:lnTo>
                    <a:pt x="395" y="296"/>
                  </a:lnTo>
                  <a:lnTo>
                    <a:pt x="400" y="296"/>
                  </a:lnTo>
                  <a:lnTo>
                    <a:pt x="416" y="284"/>
                  </a:lnTo>
                  <a:lnTo>
                    <a:pt x="419" y="284"/>
                  </a:lnTo>
                  <a:lnTo>
                    <a:pt x="419" y="284"/>
                  </a:lnTo>
                  <a:lnTo>
                    <a:pt x="421" y="284"/>
                  </a:lnTo>
                  <a:lnTo>
                    <a:pt x="421" y="286"/>
                  </a:lnTo>
                  <a:lnTo>
                    <a:pt x="424" y="291"/>
                  </a:lnTo>
                  <a:lnTo>
                    <a:pt x="428" y="296"/>
                  </a:lnTo>
                  <a:lnTo>
                    <a:pt x="428" y="298"/>
                  </a:lnTo>
                  <a:lnTo>
                    <a:pt x="428" y="301"/>
                  </a:lnTo>
                  <a:lnTo>
                    <a:pt x="428" y="303"/>
                  </a:lnTo>
                  <a:lnTo>
                    <a:pt x="428" y="305"/>
                  </a:lnTo>
                  <a:lnTo>
                    <a:pt x="428" y="315"/>
                  </a:lnTo>
                  <a:lnTo>
                    <a:pt x="428" y="315"/>
                  </a:lnTo>
                  <a:lnTo>
                    <a:pt x="428" y="317"/>
                  </a:lnTo>
                  <a:lnTo>
                    <a:pt x="426" y="320"/>
                  </a:lnTo>
                  <a:lnTo>
                    <a:pt x="424" y="320"/>
                  </a:lnTo>
                  <a:lnTo>
                    <a:pt x="421" y="322"/>
                  </a:lnTo>
                  <a:lnTo>
                    <a:pt x="419" y="322"/>
                  </a:lnTo>
                  <a:lnTo>
                    <a:pt x="416" y="320"/>
                  </a:lnTo>
                  <a:lnTo>
                    <a:pt x="416" y="322"/>
                  </a:lnTo>
                  <a:lnTo>
                    <a:pt x="414" y="3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43">
              <a:extLst>
                <a:ext uri="{FF2B5EF4-FFF2-40B4-BE49-F238E27FC236}">
                  <a16:creationId xmlns:a16="http://schemas.microsoft.com/office/drawing/2014/main" id="{1AA4A1BB-2FCD-402B-8CFD-E3A7FDEF1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9431" y="1730958"/>
              <a:ext cx="1015454" cy="1300719"/>
            </a:xfrm>
            <a:custGeom>
              <a:avLst/>
              <a:gdLst>
                <a:gd name="T0" fmla="*/ 272 w 799"/>
                <a:gd name="T1" fmla="*/ 1020 h 1024"/>
                <a:gd name="T2" fmla="*/ 161 w 799"/>
                <a:gd name="T3" fmla="*/ 977 h 1024"/>
                <a:gd name="T4" fmla="*/ 123 w 799"/>
                <a:gd name="T5" fmla="*/ 954 h 1024"/>
                <a:gd name="T6" fmla="*/ 99 w 799"/>
                <a:gd name="T7" fmla="*/ 885 h 1024"/>
                <a:gd name="T8" fmla="*/ 146 w 799"/>
                <a:gd name="T9" fmla="*/ 790 h 1024"/>
                <a:gd name="T10" fmla="*/ 132 w 799"/>
                <a:gd name="T11" fmla="*/ 733 h 1024"/>
                <a:gd name="T12" fmla="*/ 40 w 799"/>
                <a:gd name="T13" fmla="*/ 658 h 1024"/>
                <a:gd name="T14" fmla="*/ 19 w 799"/>
                <a:gd name="T15" fmla="*/ 606 h 1024"/>
                <a:gd name="T16" fmla="*/ 80 w 799"/>
                <a:gd name="T17" fmla="*/ 596 h 1024"/>
                <a:gd name="T18" fmla="*/ 130 w 799"/>
                <a:gd name="T19" fmla="*/ 563 h 1024"/>
                <a:gd name="T20" fmla="*/ 156 w 799"/>
                <a:gd name="T21" fmla="*/ 478 h 1024"/>
                <a:gd name="T22" fmla="*/ 146 w 799"/>
                <a:gd name="T23" fmla="*/ 440 h 1024"/>
                <a:gd name="T24" fmla="*/ 220 w 799"/>
                <a:gd name="T25" fmla="*/ 424 h 1024"/>
                <a:gd name="T26" fmla="*/ 258 w 799"/>
                <a:gd name="T27" fmla="*/ 393 h 1024"/>
                <a:gd name="T28" fmla="*/ 333 w 799"/>
                <a:gd name="T29" fmla="*/ 388 h 1024"/>
                <a:gd name="T30" fmla="*/ 364 w 799"/>
                <a:gd name="T31" fmla="*/ 317 h 1024"/>
                <a:gd name="T32" fmla="*/ 338 w 799"/>
                <a:gd name="T33" fmla="*/ 244 h 1024"/>
                <a:gd name="T34" fmla="*/ 381 w 799"/>
                <a:gd name="T35" fmla="*/ 192 h 1024"/>
                <a:gd name="T36" fmla="*/ 392 w 799"/>
                <a:gd name="T37" fmla="*/ 95 h 1024"/>
                <a:gd name="T38" fmla="*/ 449 w 799"/>
                <a:gd name="T39" fmla="*/ 31 h 1024"/>
                <a:gd name="T40" fmla="*/ 494 w 799"/>
                <a:gd name="T41" fmla="*/ 40 h 1024"/>
                <a:gd name="T42" fmla="*/ 575 w 799"/>
                <a:gd name="T43" fmla="*/ 142 h 1024"/>
                <a:gd name="T44" fmla="*/ 558 w 799"/>
                <a:gd name="T45" fmla="*/ 220 h 1024"/>
                <a:gd name="T46" fmla="*/ 558 w 799"/>
                <a:gd name="T47" fmla="*/ 267 h 1024"/>
                <a:gd name="T48" fmla="*/ 584 w 799"/>
                <a:gd name="T49" fmla="*/ 305 h 1024"/>
                <a:gd name="T50" fmla="*/ 593 w 799"/>
                <a:gd name="T51" fmla="*/ 327 h 1024"/>
                <a:gd name="T52" fmla="*/ 603 w 799"/>
                <a:gd name="T53" fmla="*/ 353 h 1024"/>
                <a:gd name="T54" fmla="*/ 629 w 799"/>
                <a:gd name="T55" fmla="*/ 395 h 1024"/>
                <a:gd name="T56" fmla="*/ 631 w 799"/>
                <a:gd name="T57" fmla="*/ 452 h 1024"/>
                <a:gd name="T58" fmla="*/ 619 w 799"/>
                <a:gd name="T59" fmla="*/ 476 h 1024"/>
                <a:gd name="T60" fmla="*/ 591 w 799"/>
                <a:gd name="T61" fmla="*/ 457 h 1024"/>
                <a:gd name="T62" fmla="*/ 558 w 799"/>
                <a:gd name="T63" fmla="*/ 487 h 1024"/>
                <a:gd name="T64" fmla="*/ 572 w 799"/>
                <a:gd name="T65" fmla="*/ 516 h 1024"/>
                <a:gd name="T66" fmla="*/ 584 w 799"/>
                <a:gd name="T67" fmla="*/ 547 h 1024"/>
                <a:gd name="T68" fmla="*/ 674 w 799"/>
                <a:gd name="T69" fmla="*/ 577 h 1024"/>
                <a:gd name="T70" fmla="*/ 690 w 799"/>
                <a:gd name="T71" fmla="*/ 603 h 1024"/>
                <a:gd name="T72" fmla="*/ 714 w 799"/>
                <a:gd name="T73" fmla="*/ 622 h 1024"/>
                <a:gd name="T74" fmla="*/ 742 w 799"/>
                <a:gd name="T75" fmla="*/ 660 h 1024"/>
                <a:gd name="T76" fmla="*/ 778 w 799"/>
                <a:gd name="T77" fmla="*/ 677 h 1024"/>
                <a:gd name="T78" fmla="*/ 792 w 799"/>
                <a:gd name="T79" fmla="*/ 769 h 1024"/>
                <a:gd name="T80" fmla="*/ 766 w 799"/>
                <a:gd name="T81" fmla="*/ 757 h 1024"/>
                <a:gd name="T82" fmla="*/ 712 w 799"/>
                <a:gd name="T83" fmla="*/ 736 h 1024"/>
                <a:gd name="T84" fmla="*/ 707 w 799"/>
                <a:gd name="T85" fmla="*/ 762 h 1024"/>
                <a:gd name="T86" fmla="*/ 709 w 799"/>
                <a:gd name="T87" fmla="*/ 788 h 1024"/>
                <a:gd name="T88" fmla="*/ 681 w 799"/>
                <a:gd name="T89" fmla="*/ 807 h 1024"/>
                <a:gd name="T90" fmla="*/ 672 w 799"/>
                <a:gd name="T91" fmla="*/ 804 h 1024"/>
                <a:gd name="T92" fmla="*/ 627 w 799"/>
                <a:gd name="T93" fmla="*/ 786 h 1024"/>
                <a:gd name="T94" fmla="*/ 622 w 799"/>
                <a:gd name="T95" fmla="*/ 804 h 1024"/>
                <a:gd name="T96" fmla="*/ 565 w 799"/>
                <a:gd name="T97" fmla="*/ 823 h 1024"/>
                <a:gd name="T98" fmla="*/ 548 w 799"/>
                <a:gd name="T99" fmla="*/ 838 h 1024"/>
                <a:gd name="T100" fmla="*/ 518 w 799"/>
                <a:gd name="T101" fmla="*/ 819 h 1024"/>
                <a:gd name="T102" fmla="*/ 508 w 799"/>
                <a:gd name="T103" fmla="*/ 854 h 1024"/>
                <a:gd name="T104" fmla="*/ 496 w 799"/>
                <a:gd name="T105" fmla="*/ 880 h 1024"/>
                <a:gd name="T106" fmla="*/ 475 w 799"/>
                <a:gd name="T107" fmla="*/ 918 h 1024"/>
                <a:gd name="T108" fmla="*/ 475 w 799"/>
                <a:gd name="T109" fmla="*/ 949 h 1024"/>
                <a:gd name="T110" fmla="*/ 475 w 799"/>
                <a:gd name="T111" fmla="*/ 982 h 1024"/>
                <a:gd name="T112" fmla="*/ 451 w 799"/>
                <a:gd name="T113" fmla="*/ 994 h 1024"/>
                <a:gd name="T114" fmla="*/ 435 w 799"/>
                <a:gd name="T115" fmla="*/ 1006 h 1024"/>
                <a:gd name="T116" fmla="*/ 381 w 799"/>
                <a:gd name="T117" fmla="*/ 1006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99" h="1024">
                  <a:moveTo>
                    <a:pt x="381" y="1020"/>
                  </a:moveTo>
                  <a:lnTo>
                    <a:pt x="381" y="1020"/>
                  </a:lnTo>
                  <a:lnTo>
                    <a:pt x="371" y="1024"/>
                  </a:lnTo>
                  <a:lnTo>
                    <a:pt x="366" y="1024"/>
                  </a:lnTo>
                  <a:lnTo>
                    <a:pt x="362" y="1017"/>
                  </a:lnTo>
                  <a:lnTo>
                    <a:pt x="355" y="1010"/>
                  </a:lnTo>
                  <a:lnTo>
                    <a:pt x="350" y="1003"/>
                  </a:lnTo>
                  <a:lnTo>
                    <a:pt x="352" y="989"/>
                  </a:lnTo>
                  <a:lnTo>
                    <a:pt x="343" y="989"/>
                  </a:lnTo>
                  <a:lnTo>
                    <a:pt x="331" y="998"/>
                  </a:lnTo>
                  <a:lnTo>
                    <a:pt x="321" y="998"/>
                  </a:lnTo>
                  <a:lnTo>
                    <a:pt x="272" y="1020"/>
                  </a:lnTo>
                  <a:lnTo>
                    <a:pt x="258" y="1020"/>
                  </a:lnTo>
                  <a:lnTo>
                    <a:pt x="255" y="1020"/>
                  </a:lnTo>
                  <a:lnTo>
                    <a:pt x="253" y="1017"/>
                  </a:lnTo>
                  <a:lnTo>
                    <a:pt x="250" y="1015"/>
                  </a:lnTo>
                  <a:lnTo>
                    <a:pt x="248" y="1010"/>
                  </a:lnTo>
                  <a:lnTo>
                    <a:pt x="243" y="1010"/>
                  </a:lnTo>
                  <a:lnTo>
                    <a:pt x="236" y="1010"/>
                  </a:lnTo>
                  <a:lnTo>
                    <a:pt x="229" y="1008"/>
                  </a:lnTo>
                  <a:lnTo>
                    <a:pt x="196" y="991"/>
                  </a:lnTo>
                  <a:lnTo>
                    <a:pt x="184" y="987"/>
                  </a:lnTo>
                  <a:lnTo>
                    <a:pt x="165" y="980"/>
                  </a:lnTo>
                  <a:lnTo>
                    <a:pt x="161" y="977"/>
                  </a:lnTo>
                  <a:lnTo>
                    <a:pt x="156" y="980"/>
                  </a:lnTo>
                  <a:lnTo>
                    <a:pt x="153" y="980"/>
                  </a:lnTo>
                  <a:lnTo>
                    <a:pt x="149" y="982"/>
                  </a:lnTo>
                  <a:lnTo>
                    <a:pt x="146" y="980"/>
                  </a:lnTo>
                  <a:lnTo>
                    <a:pt x="142" y="977"/>
                  </a:lnTo>
                  <a:lnTo>
                    <a:pt x="139" y="972"/>
                  </a:lnTo>
                  <a:lnTo>
                    <a:pt x="139" y="970"/>
                  </a:lnTo>
                  <a:lnTo>
                    <a:pt x="137" y="965"/>
                  </a:lnTo>
                  <a:lnTo>
                    <a:pt x="135" y="963"/>
                  </a:lnTo>
                  <a:lnTo>
                    <a:pt x="127" y="958"/>
                  </a:lnTo>
                  <a:lnTo>
                    <a:pt x="125" y="956"/>
                  </a:lnTo>
                  <a:lnTo>
                    <a:pt x="123" y="954"/>
                  </a:lnTo>
                  <a:lnTo>
                    <a:pt x="118" y="944"/>
                  </a:lnTo>
                  <a:lnTo>
                    <a:pt x="116" y="942"/>
                  </a:lnTo>
                  <a:lnTo>
                    <a:pt x="108" y="932"/>
                  </a:lnTo>
                  <a:lnTo>
                    <a:pt x="106" y="932"/>
                  </a:lnTo>
                  <a:lnTo>
                    <a:pt x="106" y="927"/>
                  </a:lnTo>
                  <a:lnTo>
                    <a:pt x="106" y="925"/>
                  </a:lnTo>
                  <a:lnTo>
                    <a:pt x="106" y="923"/>
                  </a:lnTo>
                  <a:lnTo>
                    <a:pt x="106" y="909"/>
                  </a:lnTo>
                  <a:lnTo>
                    <a:pt x="108" y="906"/>
                  </a:lnTo>
                  <a:lnTo>
                    <a:pt x="118" y="899"/>
                  </a:lnTo>
                  <a:lnTo>
                    <a:pt x="111" y="892"/>
                  </a:lnTo>
                  <a:lnTo>
                    <a:pt x="99" y="885"/>
                  </a:lnTo>
                  <a:lnTo>
                    <a:pt x="92" y="873"/>
                  </a:lnTo>
                  <a:lnTo>
                    <a:pt x="90" y="859"/>
                  </a:lnTo>
                  <a:lnTo>
                    <a:pt x="92" y="854"/>
                  </a:lnTo>
                  <a:lnTo>
                    <a:pt x="106" y="840"/>
                  </a:lnTo>
                  <a:lnTo>
                    <a:pt x="116" y="821"/>
                  </a:lnTo>
                  <a:lnTo>
                    <a:pt x="120" y="819"/>
                  </a:lnTo>
                  <a:lnTo>
                    <a:pt x="116" y="809"/>
                  </a:lnTo>
                  <a:lnTo>
                    <a:pt x="118" y="800"/>
                  </a:lnTo>
                  <a:lnTo>
                    <a:pt x="123" y="793"/>
                  </a:lnTo>
                  <a:lnTo>
                    <a:pt x="130" y="788"/>
                  </a:lnTo>
                  <a:lnTo>
                    <a:pt x="135" y="788"/>
                  </a:lnTo>
                  <a:lnTo>
                    <a:pt x="146" y="790"/>
                  </a:lnTo>
                  <a:lnTo>
                    <a:pt x="151" y="790"/>
                  </a:lnTo>
                  <a:lnTo>
                    <a:pt x="149" y="783"/>
                  </a:lnTo>
                  <a:lnTo>
                    <a:pt x="137" y="767"/>
                  </a:lnTo>
                  <a:lnTo>
                    <a:pt x="137" y="764"/>
                  </a:lnTo>
                  <a:lnTo>
                    <a:pt x="135" y="752"/>
                  </a:lnTo>
                  <a:lnTo>
                    <a:pt x="130" y="745"/>
                  </a:lnTo>
                  <a:lnTo>
                    <a:pt x="130" y="743"/>
                  </a:lnTo>
                  <a:lnTo>
                    <a:pt x="130" y="738"/>
                  </a:lnTo>
                  <a:lnTo>
                    <a:pt x="132" y="736"/>
                  </a:lnTo>
                  <a:lnTo>
                    <a:pt x="132" y="736"/>
                  </a:lnTo>
                  <a:lnTo>
                    <a:pt x="132" y="733"/>
                  </a:lnTo>
                  <a:lnTo>
                    <a:pt x="132" y="733"/>
                  </a:lnTo>
                  <a:lnTo>
                    <a:pt x="130" y="729"/>
                  </a:lnTo>
                  <a:lnTo>
                    <a:pt x="130" y="729"/>
                  </a:lnTo>
                  <a:lnTo>
                    <a:pt x="123" y="722"/>
                  </a:lnTo>
                  <a:lnTo>
                    <a:pt x="108" y="717"/>
                  </a:lnTo>
                  <a:lnTo>
                    <a:pt x="101" y="717"/>
                  </a:lnTo>
                  <a:lnTo>
                    <a:pt x="87" y="722"/>
                  </a:lnTo>
                  <a:lnTo>
                    <a:pt x="82" y="722"/>
                  </a:lnTo>
                  <a:lnTo>
                    <a:pt x="61" y="710"/>
                  </a:lnTo>
                  <a:lnTo>
                    <a:pt x="49" y="703"/>
                  </a:lnTo>
                  <a:lnTo>
                    <a:pt x="45" y="693"/>
                  </a:lnTo>
                  <a:lnTo>
                    <a:pt x="42" y="670"/>
                  </a:lnTo>
                  <a:lnTo>
                    <a:pt x="40" y="658"/>
                  </a:lnTo>
                  <a:lnTo>
                    <a:pt x="30" y="653"/>
                  </a:lnTo>
                  <a:lnTo>
                    <a:pt x="21" y="653"/>
                  </a:lnTo>
                  <a:lnTo>
                    <a:pt x="16" y="651"/>
                  </a:lnTo>
                  <a:lnTo>
                    <a:pt x="14" y="644"/>
                  </a:lnTo>
                  <a:lnTo>
                    <a:pt x="11" y="641"/>
                  </a:lnTo>
                  <a:lnTo>
                    <a:pt x="11" y="636"/>
                  </a:lnTo>
                  <a:lnTo>
                    <a:pt x="11" y="634"/>
                  </a:lnTo>
                  <a:lnTo>
                    <a:pt x="7" y="629"/>
                  </a:lnTo>
                  <a:lnTo>
                    <a:pt x="0" y="622"/>
                  </a:lnTo>
                  <a:lnTo>
                    <a:pt x="2" y="618"/>
                  </a:lnTo>
                  <a:lnTo>
                    <a:pt x="9" y="613"/>
                  </a:lnTo>
                  <a:lnTo>
                    <a:pt x="19" y="606"/>
                  </a:lnTo>
                  <a:lnTo>
                    <a:pt x="21" y="606"/>
                  </a:lnTo>
                  <a:lnTo>
                    <a:pt x="26" y="606"/>
                  </a:lnTo>
                  <a:lnTo>
                    <a:pt x="28" y="603"/>
                  </a:lnTo>
                  <a:lnTo>
                    <a:pt x="30" y="603"/>
                  </a:lnTo>
                  <a:lnTo>
                    <a:pt x="35" y="599"/>
                  </a:lnTo>
                  <a:lnTo>
                    <a:pt x="38" y="596"/>
                  </a:lnTo>
                  <a:lnTo>
                    <a:pt x="49" y="599"/>
                  </a:lnTo>
                  <a:lnTo>
                    <a:pt x="61" y="603"/>
                  </a:lnTo>
                  <a:lnTo>
                    <a:pt x="71" y="606"/>
                  </a:lnTo>
                  <a:lnTo>
                    <a:pt x="80" y="601"/>
                  </a:lnTo>
                  <a:lnTo>
                    <a:pt x="80" y="596"/>
                  </a:lnTo>
                  <a:lnTo>
                    <a:pt x="80" y="596"/>
                  </a:lnTo>
                  <a:lnTo>
                    <a:pt x="78" y="594"/>
                  </a:lnTo>
                  <a:lnTo>
                    <a:pt x="78" y="589"/>
                  </a:lnTo>
                  <a:lnTo>
                    <a:pt x="80" y="589"/>
                  </a:lnTo>
                  <a:lnTo>
                    <a:pt x="87" y="587"/>
                  </a:lnTo>
                  <a:lnTo>
                    <a:pt x="90" y="587"/>
                  </a:lnTo>
                  <a:lnTo>
                    <a:pt x="94" y="582"/>
                  </a:lnTo>
                  <a:lnTo>
                    <a:pt x="99" y="573"/>
                  </a:lnTo>
                  <a:lnTo>
                    <a:pt x="104" y="568"/>
                  </a:lnTo>
                  <a:lnTo>
                    <a:pt x="113" y="563"/>
                  </a:lnTo>
                  <a:lnTo>
                    <a:pt x="123" y="558"/>
                  </a:lnTo>
                  <a:lnTo>
                    <a:pt x="125" y="561"/>
                  </a:lnTo>
                  <a:lnTo>
                    <a:pt x="130" y="563"/>
                  </a:lnTo>
                  <a:lnTo>
                    <a:pt x="132" y="566"/>
                  </a:lnTo>
                  <a:lnTo>
                    <a:pt x="132" y="563"/>
                  </a:lnTo>
                  <a:lnTo>
                    <a:pt x="137" y="551"/>
                  </a:lnTo>
                  <a:lnTo>
                    <a:pt x="146" y="544"/>
                  </a:lnTo>
                  <a:lnTo>
                    <a:pt x="144" y="537"/>
                  </a:lnTo>
                  <a:lnTo>
                    <a:pt x="142" y="528"/>
                  </a:lnTo>
                  <a:lnTo>
                    <a:pt x="139" y="516"/>
                  </a:lnTo>
                  <a:lnTo>
                    <a:pt x="139" y="513"/>
                  </a:lnTo>
                  <a:lnTo>
                    <a:pt x="149" y="502"/>
                  </a:lnTo>
                  <a:lnTo>
                    <a:pt x="153" y="490"/>
                  </a:lnTo>
                  <a:lnTo>
                    <a:pt x="156" y="483"/>
                  </a:lnTo>
                  <a:lnTo>
                    <a:pt x="156" y="478"/>
                  </a:lnTo>
                  <a:lnTo>
                    <a:pt x="153" y="476"/>
                  </a:lnTo>
                  <a:lnTo>
                    <a:pt x="139" y="471"/>
                  </a:lnTo>
                  <a:lnTo>
                    <a:pt x="135" y="468"/>
                  </a:lnTo>
                  <a:lnTo>
                    <a:pt x="132" y="464"/>
                  </a:lnTo>
                  <a:lnTo>
                    <a:pt x="130" y="459"/>
                  </a:lnTo>
                  <a:lnTo>
                    <a:pt x="127" y="457"/>
                  </a:lnTo>
                  <a:lnTo>
                    <a:pt x="132" y="452"/>
                  </a:lnTo>
                  <a:lnTo>
                    <a:pt x="144" y="435"/>
                  </a:lnTo>
                  <a:lnTo>
                    <a:pt x="144" y="435"/>
                  </a:lnTo>
                  <a:lnTo>
                    <a:pt x="146" y="435"/>
                  </a:lnTo>
                  <a:lnTo>
                    <a:pt x="146" y="438"/>
                  </a:lnTo>
                  <a:lnTo>
                    <a:pt x="146" y="440"/>
                  </a:lnTo>
                  <a:lnTo>
                    <a:pt x="146" y="440"/>
                  </a:lnTo>
                  <a:lnTo>
                    <a:pt x="146" y="442"/>
                  </a:lnTo>
                  <a:lnTo>
                    <a:pt x="146" y="442"/>
                  </a:lnTo>
                  <a:lnTo>
                    <a:pt x="146" y="442"/>
                  </a:lnTo>
                  <a:lnTo>
                    <a:pt x="149" y="445"/>
                  </a:lnTo>
                  <a:lnTo>
                    <a:pt x="153" y="445"/>
                  </a:lnTo>
                  <a:lnTo>
                    <a:pt x="168" y="445"/>
                  </a:lnTo>
                  <a:lnTo>
                    <a:pt x="172" y="445"/>
                  </a:lnTo>
                  <a:lnTo>
                    <a:pt x="175" y="445"/>
                  </a:lnTo>
                  <a:lnTo>
                    <a:pt x="175" y="442"/>
                  </a:lnTo>
                  <a:lnTo>
                    <a:pt x="217" y="424"/>
                  </a:lnTo>
                  <a:lnTo>
                    <a:pt x="220" y="424"/>
                  </a:lnTo>
                  <a:lnTo>
                    <a:pt x="222" y="419"/>
                  </a:lnTo>
                  <a:lnTo>
                    <a:pt x="224" y="416"/>
                  </a:lnTo>
                  <a:lnTo>
                    <a:pt x="229" y="414"/>
                  </a:lnTo>
                  <a:lnTo>
                    <a:pt x="232" y="412"/>
                  </a:lnTo>
                  <a:lnTo>
                    <a:pt x="234" y="407"/>
                  </a:lnTo>
                  <a:lnTo>
                    <a:pt x="239" y="400"/>
                  </a:lnTo>
                  <a:lnTo>
                    <a:pt x="241" y="400"/>
                  </a:lnTo>
                  <a:lnTo>
                    <a:pt x="243" y="398"/>
                  </a:lnTo>
                  <a:lnTo>
                    <a:pt x="248" y="398"/>
                  </a:lnTo>
                  <a:lnTo>
                    <a:pt x="253" y="398"/>
                  </a:lnTo>
                  <a:lnTo>
                    <a:pt x="255" y="395"/>
                  </a:lnTo>
                  <a:lnTo>
                    <a:pt x="258" y="393"/>
                  </a:lnTo>
                  <a:lnTo>
                    <a:pt x="260" y="393"/>
                  </a:lnTo>
                  <a:lnTo>
                    <a:pt x="262" y="390"/>
                  </a:lnTo>
                  <a:lnTo>
                    <a:pt x="293" y="395"/>
                  </a:lnTo>
                  <a:lnTo>
                    <a:pt x="293" y="395"/>
                  </a:lnTo>
                  <a:lnTo>
                    <a:pt x="295" y="395"/>
                  </a:lnTo>
                  <a:lnTo>
                    <a:pt x="298" y="398"/>
                  </a:lnTo>
                  <a:lnTo>
                    <a:pt x="302" y="400"/>
                  </a:lnTo>
                  <a:lnTo>
                    <a:pt x="319" y="398"/>
                  </a:lnTo>
                  <a:lnTo>
                    <a:pt x="321" y="398"/>
                  </a:lnTo>
                  <a:lnTo>
                    <a:pt x="324" y="398"/>
                  </a:lnTo>
                  <a:lnTo>
                    <a:pt x="326" y="395"/>
                  </a:lnTo>
                  <a:lnTo>
                    <a:pt x="333" y="388"/>
                  </a:lnTo>
                  <a:lnTo>
                    <a:pt x="362" y="376"/>
                  </a:lnTo>
                  <a:lnTo>
                    <a:pt x="369" y="362"/>
                  </a:lnTo>
                  <a:lnTo>
                    <a:pt x="371" y="355"/>
                  </a:lnTo>
                  <a:lnTo>
                    <a:pt x="371" y="355"/>
                  </a:lnTo>
                  <a:lnTo>
                    <a:pt x="371" y="353"/>
                  </a:lnTo>
                  <a:lnTo>
                    <a:pt x="369" y="350"/>
                  </a:lnTo>
                  <a:lnTo>
                    <a:pt x="369" y="345"/>
                  </a:lnTo>
                  <a:lnTo>
                    <a:pt x="366" y="341"/>
                  </a:lnTo>
                  <a:lnTo>
                    <a:pt x="366" y="327"/>
                  </a:lnTo>
                  <a:lnTo>
                    <a:pt x="366" y="322"/>
                  </a:lnTo>
                  <a:lnTo>
                    <a:pt x="366" y="317"/>
                  </a:lnTo>
                  <a:lnTo>
                    <a:pt x="364" y="317"/>
                  </a:lnTo>
                  <a:lnTo>
                    <a:pt x="359" y="315"/>
                  </a:lnTo>
                  <a:lnTo>
                    <a:pt x="357" y="312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2" y="308"/>
                  </a:lnTo>
                  <a:lnTo>
                    <a:pt x="352" y="301"/>
                  </a:lnTo>
                  <a:lnTo>
                    <a:pt x="350" y="298"/>
                  </a:lnTo>
                  <a:lnTo>
                    <a:pt x="347" y="291"/>
                  </a:lnTo>
                  <a:lnTo>
                    <a:pt x="347" y="284"/>
                  </a:lnTo>
                  <a:lnTo>
                    <a:pt x="345" y="272"/>
                  </a:lnTo>
                  <a:lnTo>
                    <a:pt x="338" y="248"/>
                  </a:lnTo>
                  <a:lnTo>
                    <a:pt x="338" y="244"/>
                  </a:lnTo>
                  <a:lnTo>
                    <a:pt x="338" y="244"/>
                  </a:lnTo>
                  <a:lnTo>
                    <a:pt x="340" y="241"/>
                  </a:lnTo>
                  <a:lnTo>
                    <a:pt x="338" y="234"/>
                  </a:lnTo>
                  <a:lnTo>
                    <a:pt x="343" y="220"/>
                  </a:lnTo>
                  <a:lnTo>
                    <a:pt x="350" y="215"/>
                  </a:lnTo>
                  <a:lnTo>
                    <a:pt x="371" y="208"/>
                  </a:lnTo>
                  <a:lnTo>
                    <a:pt x="373" y="206"/>
                  </a:lnTo>
                  <a:lnTo>
                    <a:pt x="376" y="204"/>
                  </a:lnTo>
                  <a:lnTo>
                    <a:pt x="378" y="199"/>
                  </a:lnTo>
                  <a:lnTo>
                    <a:pt x="378" y="199"/>
                  </a:lnTo>
                  <a:lnTo>
                    <a:pt x="381" y="192"/>
                  </a:lnTo>
                  <a:lnTo>
                    <a:pt x="381" y="192"/>
                  </a:lnTo>
                  <a:lnTo>
                    <a:pt x="383" y="177"/>
                  </a:lnTo>
                  <a:lnTo>
                    <a:pt x="381" y="173"/>
                  </a:lnTo>
                  <a:lnTo>
                    <a:pt x="381" y="168"/>
                  </a:lnTo>
                  <a:lnTo>
                    <a:pt x="383" y="163"/>
                  </a:lnTo>
                  <a:lnTo>
                    <a:pt x="385" y="161"/>
                  </a:lnTo>
                  <a:lnTo>
                    <a:pt x="392" y="161"/>
                  </a:lnTo>
                  <a:lnTo>
                    <a:pt x="395" y="159"/>
                  </a:lnTo>
                  <a:lnTo>
                    <a:pt x="407" y="147"/>
                  </a:lnTo>
                  <a:lnTo>
                    <a:pt x="411" y="133"/>
                  </a:lnTo>
                  <a:lnTo>
                    <a:pt x="409" y="116"/>
                  </a:lnTo>
                  <a:lnTo>
                    <a:pt x="399" y="102"/>
                  </a:lnTo>
                  <a:lnTo>
                    <a:pt x="392" y="95"/>
                  </a:lnTo>
                  <a:lnTo>
                    <a:pt x="390" y="95"/>
                  </a:lnTo>
                  <a:lnTo>
                    <a:pt x="392" y="90"/>
                  </a:lnTo>
                  <a:lnTo>
                    <a:pt x="395" y="85"/>
                  </a:lnTo>
                  <a:lnTo>
                    <a:pt x="399" y="80"/>
                  </a:lnTo>
                  <a:lnTo>
                    <a:pt x="404" y="76"/>
                  </a:lnTo>
                  <a:lnTo>
                    <a:pt x="418" y="71"/>
                  </a:lnTo>
                  <a:lnTo>
                    <a:pt x="423" y="66"/>
                  </a:lnTo>
                  <a:lnTo>
                    <a:pt x="435" y="45"/>
                  </a:lnTo>
                  <a:lnTo>
                    <a:pt x="442" y="40"/>
                  </a:lnTo>
                  <a:lnTo>
                    <a:pt x="447" y="38"/>
                  </a:lnTo>
                  <a:lnTo>
                    <a:pt x="449" y="36"/>
                  </a:lnTo>
                  <a:lnTo>
                    <a:pt x="449" y="31"/>
                  </a:lnTo>
                  <a:lnTo>
                    <a:pt x="449" y="26"/>
                  </a:lnTo>
                  <a:lnTo>
                    <a:pt x="447" y="24"/>
                  </a:lnTo>
                  <a:lnTo>
                    <a:pt x="447" y="24"/>
                  </a:lnTo>
                  <a:lnTo>
                    <a:pt x="447" y="17"/>
                  </a:lnTo>
                  <a:lnTo>
                    <a:pt x="454" y="10"/>
                  </a:lnTo>
                  <a:lnTo>
                    <a:pt x="461" y="5"/>
                  </a:lnTo>
                  <a:lnTo>
                    <a:pt x="478" y="0"/>
                  </a:lnTo>
                  <a:lnTo>
                    <a:pt x="485" y="0"/>
                  </a:lnTo>
                  <a:lnTo>
                    <a:pt x="489" y="5"/>
                  </a:lnTo>
                  <a:lnTo>
                    <a:pt x="492" y="14"/>
                  </a:lnTo>
                  <a:lnTo>
                    <a:pt x="494" y="28"/>
                  </a:lnTo>
                  <a:lnTo>
                    <a:pt x="494" y="40"/>
                  </a:lnTo>
                  <a:lnTo>
                    <a:pt x="492" y="64"/>
                  </a:lnTo>
                  <a:lnTo>
                    <a:pt x="492" y="73"/>
                  </a:lnTo>
                  <a:lnTo>
                    <a:pt x="494" y="85"/>
                  </a:lnTo>
                  <a:lnTo>
                    <a:pt x="499" y="90"/>
                  </a:lnTo>
                  <a:lnTo>
                    <a:pt x="504" y="95"/>
                  </a:lnTo>
                  <a:lnTo>
                    <a:pt x="511" y="97"/>
                  </a:lnTo>
                  <a:lnTo>
                    <a:pt x="520" y="99"/>
                  </a:lnTo>
                  <a:lnTo>
                    <a:pt x="530" y="109"/>
                  </a:lnTo>
                  <a:lnTo>
                    <a:pt x="551" y="133"/>
                  </a:lnTo>
                  <a:lnTo>
                    <a:pt x="553" y="135"/>
                  </a:lnTo>
                  <a:lnTo>
                    <a:pt x="560" y="135"/>
                  </a:lnTo>
                  <a:lnTo>
                    <a:pt x="575" y="142"/>
                  </a:lnTo>
                  <a:lnTo>
                    <a:pt x="579" y="142"/>
                  </a:lnTo>
                  <a:lnTo>
                    <a:pt x="582" y="140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9" y="135"/>
                  </a:lnTo>
                  <a:lnTo>
                    <a:pt x="593" y="161"/>
                  </a:lnTo>
                  <a:lnTo>
                    <a:pt x="593" y="163"/>
                  </a:lnTo>
                  <a:lnTo>
                    <a:pt x="593" y="168"/>
                  </a:lnTo>
                  <a:lnTo>
                    <a:pt x="593" y="173"/>
                  </a:lnTo>
                  <a:lnTo>
                    <a:pt x="591" y="175"/>
                  </a:lnTo>
                  <a:lnTo>
                    <a:pt x="591" y="177"/>
                  </a:lnTo>
                  <a:lnTo>
                    <a:pt x="558" y="220"/>
                  </a:lnTo>
                  <a:lnTo>
                    <a:pt x="558" y="222"/>
                  </a:lnTo>
                  <a:lnTo>
                    <a:pt x="558" y="225"/>
                  </a:lnTo>
                  <a:lnTo>
                    <a:pt x="558" y="227"/>
                  </a:lnTo>
                  <a:lnTo>
                    <a:pt x="558" y="234"/>
                  </a:lnTo>
                  <a:lnTo>
                    <a:pt x="563" y="241"/>
                  </a:lnTo>
                  <a:lnTo>
                    <a:pt x="565" y="253"/>
                  </a:lnTo>
                  <a:lnTo>
                    <a:pt x="565" y="258"/>
                  </a:lnTo>
                  <a:lnTo>
                    <a:pt x="565" y="258"/>
                  </a:lnTo>
                  <a:lnTo>
                    <a:pt x="563" y="260"/>
                  </a:lnTo>
                  <a:lnTo>
                    <a:pt x="563" y="260"/>
                  </a:lnTo>
                  <a:lnTo>
                    <a:pt x="563" y="263"/>
                  </a:lnTo>
                  <a:lnTo>
                    <a:pt x="558" y="267"/>
                  </a:lnTo>
                  <a:lnTo>
                    <a:pt x="556" y="270"/>
                  </a:lnTo>
                  <a:lnTo>
                    <a:pt x="556" y="272"/>
                  </a:lnTo>
                  <a:lnTo>
                    <a:pt x="556" y="272"/>
                  </a:lnTo>
                  <a:lnTo>
                    <a:pt x="556" y="277"/>
                  </a:lnTo>
                  <a:lnTo>
                    <a:pt x="560" y="282"/>
                  </a:lnTo>
                  <a:lnTo>
                    <a:pt x="567" y="293"/>
                  </a:lnTo>
                  <a:lnTo>
                    <a:pt x="570" y="298"/>
                  </a:lnTo>
                  <a:lnTo>
                    <a:pt x="575" y="301"/>
                  </a:lnTo>
                  <a:lnTo>
                    <a:pt x="579" y="303"/>
                  </a:lnTo>
                  <a:lnTo>
                    <a:pt x="582" y="303"/>
                  </a:lnTo>
                  <a:lnTo>
                    <a:pt x="584" y="305"/>
                  </a:lnTo>
                  <a:lnTo>
                    <a:pt x="584" y="305"/>
                  </a:lnTo>
                  <a:lnTo>
                    <a:pt x="584" y="310"/>
                  </a:lnTo>
                  <a:lnTo>
                    <a:pt x="584" y="312"/>
                  </a:lnTo>
                  <a:lnTo>
                    <a:pt x="584" y="317"/>
                  </a:lnTo>
                  <a:lnTo>
                    <a:pt x="584" y="319"/>
                  </a:lnTo>
                  <a:lnTo>
                    <a:pt x="586" y="319"/>
                  </a:lnTo>
                  <a:lnTo>
                    <a:pt x="586" y="322"/>
                  </a:lnTo>
                  <a:lnTo>
                    <a:pt x="589" y="322"/>
                  </a:lnTo>
                  <a:lnTo>
                    <a:pt x="591" y="319"/>
                  </a:lnTo>
                  <a:lnTo>
                    <a:pt x="593" y="322"/>
                  </a:lnTo>
                  <a:lnTo>
                    <a:pt x="593" y="322"/>
                  </a:lnTo>
                  <a:lnTo>
                    <a:pt x="593" y="324"/>
                  </a:lnTo>
                  <a:lnTo>
                    <a:pt x="593" y="327"/>
                  </a:lnTo>
                  <a:lnTo>
                    <a:pt x="596" y="329"/>
                  </a:lnTo>
                  <a:lnTo>
                    <a:pt x="596" y="331"/>
                  </a:lnTo>
                  <a:lnTo>
                    <a:pt x="596" y="334"/>
                  </a:lnTo>
                  <a:lnTo>
                    <a:pt x="596" y="336"/>
                  </a:lnTo>
                  <a:lnTo>
                    <a:pt x="593" y="336"/>
                  </a:lnTo>
                  <a:lnTo>
                    <a:pt x="593" y="336"/>
                  </a:lnTo>
                  <a:lnTo>
                    <a:pt x="591" y="336"/>
                  </a:lnTo>
                  <a:lnTo>
                    <a:pt x="591" y="338"/>
                  </a:lnTo>
                  <a:lnTo>
                    <a:pt x="593" y="341"/>
                  </a:lnTo>
                  <a:lnTo>
                    <a:pt x="603" y="350"/>
                  </a:lnTo>
                  <a:lnTo>
                    <a:pt x="603" y="350"/>
                  </a:lnTo>
                  <a:lnTo>
                    <a:pt x="603" y="353"/>
                  </a:lnTo>
                  <a:lnTo>
                    <a:pt x="603" y="362"/>
                  </a:lnTo>
                  <a:lnTo>
                    <a:pt x="608" y="364"/>
                  </a:lnTo>
                  <a:lnTo>
                    <a:pt x="608" y="369"/>
                  </a:lnTo>
                  <a:lnTo>
                    <a:pt x="608" y="371"/>
                  </a:lnTo>
                  <a:lnTo>
                    <a:pt x="608" y="374"/>
                  </a:lnTo>
                  <a:lnTo>
                    <a:pt x="610" y="379"/>
                  </a:lnTo>
                  <a:lnTo>
                    <a:pt x="612" y="381"/>
                  </a:lnTo>
                  <a:lnTo>
                    <a:pt x="612" y="386"/>
                  </a:lnTo>
                  <a:lnTo>
                    <a:pt x="615" y="386"/>
                  </a:lnTo>
                  <a:lnTo>
                    <a:pt x="617" y="388"/>
                  </a:lnTo>
                  <a:lnTo>
                    <a:pt x="622" y="393"/>
                  </a:lnTo>
                  <a:lnTo>
                    <a:pt x="629" y="395"/>
                  </a:lnTo>
                  <a:lnTo>
                    <a:pt x="631" y="395"/>
                  </a:lnTo>
                  <a:lnTo>
                    <a:pt x="631" y="398"/>
                  </a:lnTo>
                  <a:lnTo>
                    <a:pt x="636" y="402"/>
                  </a:lnTo>
                  <a:lnTo>
                    <a:pt x="645" y="421"/>
                  </a:lnTo>
                  <a:lnTo>
                    <a:pt x="645" y="424"/>
                  </a:lnTo>
                  <a:lnTo>
                    <a:pt x="653" y="431"/>
                  </a:lnTo>
                  <a:lnTo>
                    <a:pt x="634" y="440"/>
                  </a:lnTo>
                  <a:lnTo>
                    <a:pt x="624" y="447"/>
                  </a:lnTo>
                  <a:lnTo>
                    <a:pt x="624" y="447"/>
                  </a:lnTo>
                  <a:lnTo>
                    <a:pt x="627" y="450"/>
                  </a:lnTo>
                  <a:lnTo>
                    <a:pt x="629" y="450"/>
                  </a:lnTo>
                  <a:lnTo>
                    <a:pt x="631" y="452"/>
                  </a:lnTo>
                  <a:lnTo>
                    <a:pt x="631" y="452"/>
                  </a:lnTo>
                  <a:lnTo>
                    <a:pt x="631" y="454"/>
                  </a:lnTo>
                  <a:lnTo>
                    <a:pt x="631" y="454"/>
                  </a:lnTo>
                  <a:lnTo>
                    <a:pt x="631" y="457"/>
                  </a:lnTo>
                  <a:lnTo>
                    <a:pt x="624" y="461"/>
                  </a:lnTo>
                  <a:lnTo>
                    <a:pt x="622" y="464"/>
                  </a:lnTo>
                  <a:lnTo>
                    <a:pt x="619" y="466"/>
                  </a:lnTo>
                  <a:lnTo>
                    <a:pt x="619" y="466"/>
                  </a:lnTo>
                  <a:lnTo>
                    <a:pt x="619" y="468"/>
                  </a:lnTo>
                  <a:lnTo>
                    <a:pt x="619" y="471"/>
                  </a:lnTo>
                  <a:lnTo>
                    <a:pt x="619" y="476"/>
                  </a:lnTo>
                  <a:lnTo>
                    <a:pt x="619" y="476"/>
                  </a:lnTo>
                  <a:lnTo>
                    <a:pt x="619" y="478"/>
                  </a:lnTo>
                  <a:lnTo>
                    <a:pt x="617" y="478"/>
                  </a:lnTo>
                  <a:lnTo>
                    <a:pt x="615" y="478"/>
                  </a:lnTo>
                  <a:lnTo>
                    <a:pt x="610" y="478"/>
                  </a:lnTo>
                  <a:lnTo>
                    <a:pt x="608" y="476"/>
                  </a:lnTo>
                  <a:lnTo>
                    <a:pt x="605" y="473"/>
                  </a:lnTo>
                  <a:lnTo>
                    <a:pt x="598" y="464"/>
                  </a:lnTo>
                  <a:lnTo>
                    <a:pt x="598" y="461"/>
                  </a:lnTo>
                  <a:lnTo>
                    <a:pt x="596" y="459"/>
                  </a:lnTo>
                  <a:lnTo>
                    <a:pt x="593" y="459"/>
                  </a:lnTo>
                  <a:lnTo>
                    <a:pt x="593" y="459"/>
                  </a:lnTo>
                  <a:lnTo>
                    <a:pt x="591" y="457"/>
                  </a:lnTo>
                  <a:lnTo>
                    <a:pt x="577" y="457"/>
                  </a:lnTo>
                  <a:lnTo>
                    <a:pt x="572" y="457"/>
                  </a:lnTo>
                  <a:lnTo>
                    <a:pt x="570" y="457"/>
                  </a:lnTo>
                  <a:lnTo>
                    <a:pt x="570" y="457"/>
                  </a:lnTo>
                  <a:lnTo>
                    <a:pt x="567" y="459"/>
                  </a:lnTo>
                  <a:lnTo>
                    <a:pt x="567" y="464"/>
                  </a:lnTo>
                  <a:lnTo>
                    <a:pt x="565" y="468"/>
                  </a:lnTo>
                  <a:lnTo>
                    <a:pt x="565" y="476"/>
                  </a:lnTo>
                  <a:lnTo>
                    <a:pt x="560" y="480"/>
                  </a:lnTo>
                  <a:lnTo>
                    <a:pt x="560" y="485"/>
                  </a:lnTo>
                  <a:lnTo>
                    <a:pt x="558" y="487"/>
                  </a:lnTo>
                  <a:lnTo>
                    <a:pt x="558" y="487"/>
                  </a:lnTo>
                  <a:lnTo>
                    <a:pt x="558" y="490"/>
                  </a:lnTo>
                  <a:lnTo>
                    <a:pt x="558" y="492"/>
                  </a:lnTo>
                  <a:lnTo>
                    <a:pt x="560" y="492"/>
                  </a:lnTo>
                  <a:lnTo>
                    <a:pt x="563" y="495"/>
                  </a:lnTo>
                  <a:lnTo>
                    <a:pt x="565" y="495"/>
                  </a:lnTo>
                  <a:lnTo>
                    <a:pt x="565" y="497"/>
                  </a:lnTo>
                  <a:lnTo>
                    <a:pt x="567" y="506"/>
                  </a:lnTo>
                  <a:lnTo>
                    <a:pt x="567" y="509"/>
                  </a:lnTo>
                  <a:lnTo>
                    <a:pt x="570" y="509"/>
                  </a:lnTo>
                  <a:lnTo>
                    <a:pt x="570" y="511"/>
                  </a:lnTo>
                  <a:lnTo>
                    <a:pt x="572" y="511"/>
                  </a:lnTo>
                  <a:lnTo>
                    <a:pt x="572" y="516"/>
                  </a:lnTo>
                  <a:lnTo>
                    <a:pt x="572" y="518"/>
                  </a:lnTo>
                  <a:lnTo>
                    <a:pt x="572" y="521"/>
                  </a:lnTo>
                  <a:lnTo>
                    <a:pt x="575" y="525"/>
                  </a:lnTo>
                  <a:lnTo>
                    <a:pt x="577" y="525"/>
                  </a:lnTo>
                  <a:lnTo>
                    <a:pt x="579" y="528"/>
                  </a:lnTo>
                  <a:lnTo>
                    <a:pt x="579" y="528"/>
                  </a:lnTo>
                  <a:lnTo>
                    <a:pt x="582" y="530"/>
                  </a:lnTo>
                  <a:lnTo>
                    <a:pt x="579" y="537"/>
                  </a:lnTo>
                  <a:lnTo>
                    <a:pt x="579" y="539"/>
                  </a:lnTo>
                  <a:lnTo>
                    <a:pt x="582" y="542"/>
                  </a:lnTo>
                  <a:lnTo>
                    <a:pt x="584" y="547"/>
                  </a:lnTo>
                  <a:lnTo>
                    <a:pt x="584" y="547"/>
                  </a:lnTo>
                  <a:lnTo>
                    <a:pt x="589" y="554"/>
                  </a:lnTo>
                  <a:lnTo>
                    <a:pt x="598" y="566"/>
                  </a:lnTo>
                  <a:lnTo>
                    <a:pt x="608" y="584"/>
                  </a:lnTo>
                  <a:lnTo>
                    <a:pt x="612" y="592"/>
                  </a:lnTo>
                  <a:lnTo>
                    <a:pt x="622" y="599"/>
                  </a:lnTo>
                  <a:lnTo>
                    <a:pt x="624" y="594"/>
                  </a:lnTo>
                  <a:lnTo>
                    <a:pt x="629" y="594"/>
                  </a:lnTo>
                  <a:lnTo>
                    <a:pt x="634" y="596"/>
                  </a:lnTo>
                  <a:lnTo>
                    <a:pt x="645" y="596"/>
                  </a:lnTo>
                  <a:lnTo>
                    <a:pt x="653" y="594"/>
                  </a:lnTo>
                  <a:lnTo>
                    <a:pt x="669" y="580"/>
                  </a:lnTo>
                  <a:lnTo>
                    <a:pt x="674" y="577"/>
                  </a:lnTo>
                  <a:lnTo>
                    <a:pt x="681" y="580"/>
                  </a:lnTo>
                  <a:lnTo>
                    <a:pt x="683" y="580"/>
                  </a:lnTo>
                  <a:lnTo>
                    <a:pt x="683" y="582"/>
                  </a:lnTo>
                  <a:lnTo>
                    <a:pt x="683" y="592"/>
                  </a:lnTo>
                  <a:lnTo>
                    <a:pt x="683" y="594"/>
                  </a:lnTo>
                  <a:lnTo>
                    <a:pt x="683" y="596"/>
                  </a:lnTo>
                  <a:lnTo>
                    <a:pt x="683" y="596"/>
                  </a:lnTo>
                  <a:lnTo>
                    <a:pt x="686" y="599"/>
                  </a:lnTo>
                  <a:lnTo>
                    <a:pt x="686" y="601"/>
                  </a:lnTo>
                  <a:lnTo>
                    <a:pt x="686" y="601"/>
                  </a:lnTo>
                  <a:lnTo>
                    <a:pt x="686" y="601"/>
                  </a:lnTo>
                  <a:lnTo>
                    <a:pt x="690" y="603"/>
                  </a:lnTo>
                  <a:lnTo>
                    <a:pt x="693" y="606"/>
                  </a:lnTo>
                  <a:lnTo>
                    <a:pt x="695" y="606"/>
                  </a:lnTo>
                  <a:lnTo>
                    <a:pt x="705" y="606"/>
                  </a:lnTo>
                  <a:lnTo>
                    <a:pt x="707" y="606"/>
                  </a:lnTo>
                  <a:lnTo>
                    <a:pt x="709" y="606"/>
                  </a:lnTo>
                  <a:lnTo>
                    <a:pt x="709" y="608"/>
                  </a:lnTo>
                  <a:lnTo>
                    <a:pt x="712" y="608"/>
                  </a:lnTo>
                  <a:lnTo>
                    <a:pt x="712" y="610"/>
                  </a:lnTo>
                  <a:lnTo>
                    <a:pt x="714" y="613"/>
                  </a:lnTo>
                  <a:lnTo>
                    <a:pt x="714" y="615"/>
                  </a:lnTo>
                  <a:lnTo>
                    <a:pt x="714" y="618"/>
                  </a:lnTo>
                  <a:lnTo>
                    <a:pt x="714" y="622"/>
                  </a:lnTo>
                  <a:lnTo>
                    <a:pt x="716" y="625"/>
                  </a:lnTo>
                  <a:lnTo>
                    <a:pt x="716" y="627"/>
                  </a:lnTo>
                  <a:lnTo>
                    <a:pt x="724" y="632"/>
                  </a:lnTo>
                  <a:lnTo>
                    <a:pt x="742" y="646"/>
                  </a:lnTo>
                  <a:lnTo>
                    <a:pt x="742" y="646"/>
                  </a:lnTo>
                  <a:lnTo>
                    <a:pt x="742" y="648"/>
                  </a:lnTo>
                  <a:lnTo>
                    <a:pt x="745" y="651"/>
                  </a:lnTo>
                  <a:lnTo>
                    <a:pt x="742" y="653"/>
                  </a:lnTo>
                  <a:lnTo>
                    <a:pt x="742" y="655"/>
                  </a:lnTo>
                  <a:lnTo>
                    <a:pt x="742" y="658"/>
                  </a:lnTo>
                  <a:lnTo>
                    <a:pt x="742" y="658"/>
                  </a:lnTo>
                  <a:lnTo>
                    <a:pt x="742" y="660"/>
                  </a:lnTo>
                  <a:lnTo>
                    <a:pt x="745" y="663"/>
                  </a:lnTo>
                  <a:lnTo>
                    <a:pt x="747" y="665"/>
                  </a:lnTo>
                  <a:lnTo>
                    <a:pt x="752" y="670"/>
                  </a:lnTo>
                  <a:lnTo>
                    <a:pt x="754" y="672"/>
                  </a:lnTo>
                  <a:lnTo>
                    <a:pt x="757" y="672"/>
                  </a:lnTo>
                  <a:lnTo>
                    <a:pt x="764" y="670"/>
                  </a:lnTo>
                  <a:lnTo>
                    <a:pt x="771" y="672"/>
                  </a:lnTo>
                  <a:lnTo>
                    <a:pt x="773" y="672"/>
                  </a:lnTo>
                  <a:lnTo>
                    <a:pt x="776" y="672"/>
                  </a:lnTo>
                  <a:lnTo>
                    <a:pt x="776" y="672"/>
                  </a:lnTo>
                  <a:lnTo>
                    <a:pt x="778" y="674"/>
                  </a:lnTo>
                  <a:lnTo>
                    <a:pt x="778" y="677"/>
                  </a:lnTo>
                  <a:lnTo>
                    <a:pt x="783" y="684"/>
                  </a:lnTo>
                  <a:lnTo>
                    <a:pt x="790" y="698"/>
                  </a:lnTo>
                  <a:lnTo>
                    <a:pt x="792" y="703"/>
                  </a:lnTo>
                  <a:lnTo>
                    <a:pt x="792" y="703"/>
                  </a:lnTo>
                  <a:lnTo>
                    <a:pt x="795" y="705"/>
                  </a:lnTo>
                  <a:lnTo>
                    <a:pt x="797" y="710"/>
                  </a:lnTo>
                  <a:lnTo>
                    <a:pt x="797" y="726"/>
                  </a:lnTo>
                  <a:lnTo>
                    <a:pt x="799" y="755"/>
                  </a:lnTo>
                  <a:lnTo>
                    <a:pt x="799" y="762"/>
                  </a:lnTo>
                  <a:lnTo>
                    <a:pt x="797" y="764"/>
                  </a:lnTo>
                  <a:lnTo>
                    <a:pt x="795" y="767"/>
                  </a:lnTo>
                  <a:lnTo>
                    <a:pt x="792" y="769"/>
                  </a:lnTo>
                  <a:lnTo>
                    <a:pt x="787" y="769"/>
                  </a:lnTo>
                  <a:lnTo>
                    <a:pt x="785" y="771"/>
                  </a:lnTo>
                  <a:lnTo>
                    <a:pt x="780" y="769"/>
                  </a:lnTo>
                  <a:lnTo>
                    <a:pt x="778" y="769"/>
                  </a:lnTo>
                  <a:lnTo>
                    <a:pt x="776" y="769"/>
                  </a:lnTo>
                  <a:lnTo>
                    <a:pt x="773" y="767"/>
                  </a:lnTo>
                  <a:lnTo>
                    <a:pt x="773" y="767"/>
                  </a:lnTo>
                  <a:lnTo>
                    <a:pt x="773" y="764"/>
                  </a:lnTo>
                  <a:lnTo>
                    <a:pt x="771" y="764"/>
                  </a:lnTo>
                  <a:lnTo>
                    <a:pt x="771" y="760"/>
                  </a:lnTo>
                  <a:lnTo>
                    <a:pt x="769" y="757"/>
                  </a:lnTo>
                  <a:lnTo>
                    <a:pt x="766" y="757"/>
                  </a:lnTo>
                  <a:lnTo>
                    <a:pt x="750" y="752"/>
                  </a:lnTo>
                  <a:lnTo>
                    <a:pt x="747" y="750"/>
                  </a:lnTo>
                  <a:lnTo>
                    <a:pt x="740" y="745"/>
                  </a:lnTo>
                  <a:lnTo>
                    <a:pt x="738" y="743"/>
                  </a:lnTo>
                  <a:lnTo>
                    <a:pt x="731" y="741"/>
                  </a:lnTo>
                  <a:lnTo>
                    <a:pt x="728" y="738"/>
                  </a:lnTo>
                  <a:lnTo>
                    <a:pt x="726" y="738"/>
                  </a:lnTo>
                  <a:lnTo>
                    <a:pt x="724" y="733"/>
                  </a:lnTo>
                  <a:lnTo>
                    <a:pt x="721" y="733"/>
                  </a:lnTo>
                  <a:lnTo>
                    <a:pt x="719" y="733"/>
                  </a:lnTo>
                  <a:lnTo>
                    <a:pt x="714" y="736"/>
                  </a:lnTo>
                  <a:lnTo>
                    <a:pt x="712" y="736"/>
                  </a:lnTo>
                  <a:lnTo>
                    <a:pt x="712" y="736"/>
                  </a:lnTo>
                  <a:lnTo>
                    <a:pt x="709" y="738"/>
                  </a:lnTo>
                  <a:lnTo>
                    <a:pt x="709" y="743"/>
                  </a:lnTo>
                  <a:lnTo>
                    <a:pt x="709" y="745"/>
                  </a:lnTo>
                  <a:lnTo>
                    <a:pt x="709" y="745"/>
                  </a:lnTo>
                  <a:lnTo>
                    <a:pt x="707" y="750"/>
                  </a:lnTo>
                  <a:lnTo>
                    <a:pt x="702" y="755"/>
                  </a:lnTo>
                  <a:lnTo>
                    <a:pt x="700" y="755"/>
                  </a:lnTo>
                  <a:lnTo>
                    <a:pt x="700" y="757"/>
                  </a:lnTo>
                  <a:lnTo>
                    <a:pt x="702" y="757"/>
                  </a:lnTo>
                  <a:lnTo>
                    <a:pt x="702" y="760"/>
                  </a:lnTo>
                  <a:lnTo>
                    <a:pt x="707" y="762"/>
                  </a:lnTo>
                  <a:lnTo>
                    <a:pt x="709" y="764"/>
                  </a:lnTo>
                  <a:lnTo>
                    <a:pt x="712" y="764"/>
                  </a:lnTo>
                  <a:lnTo>
                    <a:pt x="712" y="767"/>
                  </a:lnTo>
                  <a:lnTo>
                    <a:pt x="712" y="767"/>
                  </a:lnTo>
                  <a:lnTo>
                    <a:pt x="712" y="769"/>
                  </a:lnTo>
                  <a:lnTo>
                    <a:pt x="712" y="774"/>
                  </a:lnTo>
                  <a:lnTo>
                    <a:pt x="714" y="778"/>
                  </a:lnTo>
                  <a:lnTo>
                    <a:pt x="714" y="781"/>
                  </a:lnTo>
                  <a:lnTo>
                    <a:pt x="714" y="781"/>
                  </a:lnTo>
                  <a:lnTo>
                    <a:pt x="714" y="783"/>
                  </a:lnTo>
                  <a:lnTo>
                    <a:pt x="712" y="786"/>
                  </a:lnTo>
                  <a:lnTo>
                    <a:pt x="709" y="788"/>
                  </a:lnTo>
                  <a:lnTo>
                    <a:pt x="709" y="788"/>
                  </a:lnTo>
                  <a:lnTo>
                    <a:pt x="702" y="788"/>
                  </a:lnTo>
                  <a:lnTo>
                    <a:pt x="695" y="788"/>
                  </a:lnTo>
                  <a:lnTo>
                    <a:pt x="690" y="790"/>
                  </a:lnTo>
                  <a:lnTo>
                    <a:pt x="690" y="790"/>
                  </a:lnTo>
                  <a:lnTo>
                    <a:pt x="688" y="793"/>
                  </a:lnTo>
                  <a:lnTo>
                    <a:pt x="688" y="797"/>
                  </a:lnTo>
                  <a:lnTo>
                    <a:pt x="688" y="800"/>
                  </a:lnTo>
                  <a:lnTo>
                    <a:pt x="688" y="802"/>
                  </a:lnTo>
                  <a:lnTo>
                    <a:pt x="686" y="802"/>
                  </a:lnTo>
                  <a:lnTo>
                    <a:pt x="686" y="804"/>
                  </a:lnTo>
                  <a:lnTo>
                    <a:pt x="681" y="807"/>
                  </a:lnTo>
                  <a:lnTo>
                    <a:pt x="681" y="809"/>
                  </a:lnTo>
                  <a:lnTo>
                    <a:pt x="679" y="812"/>
                  </a:lnTo>
                  <a:lnTo>
                    <a:pt x="676" y="816"/>
                  </a:lnTo>
                  <a:lnTo>
                    <a:pt x="676" y="816"/>
                  </a:lnTo>
                  <a:lnTo>
                    <a:pt x="676" y="816"/>
                  </a:lnTo>
                  <a:lnTo>
                    <a:pt x="674" y="816"/>
                  </a:lnTo>
                  <a:lnTo>
                    <a:pt x="674" y="816"/>
                  </a:lnTo>
                  <a:lnTo>
                    <a:pt x="674" y="814"/>
                  </a:lnTo>
                  <a:lnTo>
                    <a:pt x="674" y="812"/>
                  </a:lnTo>
                  <a:lnTo>
                    <a:pt x="674" y="807"/>
                  </a:lnTo>
                  <a:lnTo>
                    <a:pt x="674" y="807"/>
                  </a:lnTo>
                  <a:lnTo>
                    <a:pt x="672" y="804"/>
                  </a:lnTo>
                  <a:lnTo>
                    <a:pt x="669" y="802"/>
                  </a:lnTo>
                  <a:lnTo>
                    <a:pt x="669" y="800"/>
                  </a:lnTo>
                  <a:lnTo>
                    <a:pt x="667" y="795"/>
                  </a:lnTo>
                  <a:lnTo>
                    <a:pt x="662" y="793"/>
                  </a:lnTo>
                  <a:lnTo>
                    <a:pt x="662" y="790"/>
                  </a:lnTo>
                  <a:lnTo>
                    <a:pt x="660" y="788"/>
                  </a:lnTo>
                  <a:lnTo>
                    <a:pt x="660" y="786"/>
                  </a:lnTo>
                  <a:lnTo>
                    <a:pt x="657" y="786"/>
                  </a:lnTo>
                  <a:lnTo>
                    <a:pt x="657" y="786"/>
                  </a:lnTo>
                  <a:lnTo>
                    <a:pt x="655" y="783"/>
                  </a:lnTo>
                  <a:lnTo>
                    <a:pt x="629" y="783"/>
                  </a:lnTo>
                  <a:lnTo>
                    <a:pt x="627" y="786"/>
                  </a:lnTo>
                  <a:lnTo>
                    <a:pt x="624" y="786"/>
                  </a:lnTo>
                  <a:lnTo>
                    <a:pt x="624" y="786"/>
                  </a:lnTo>
                  <a:lnTo>
                    <a:pt x="622" y="788"/>
                  </a:lnTo>
                  <a:lnTo>
                    <a:pt x="622" y="790"/>
                  </a:lnTo>
                  <a:lnTo>
                    <a:pt x="622" y="793"/>
                  </a:lnTo>
                  <a:lnTo>
                    <a:pt x="622" y="795"/>
                  </a:lnTo>
                  <a:lnTo>
                    <a:pt x="619" y="797"/>
                  </a:lnTo>
                  <a:lnTo>
                    <a:pt x="619" y="797"/>
                  </a:lnTo>
                  <a:lnTo>
                    <a:pt x="622" y="800"/>
                  </a:lnTo>
                  <a:lnTo>
                    <a:pt x="622" y="800"/>
                  </a:lnTo>
                  <a:lnTo>
                    <a:pt x="622" y="802"/>
                  </a:lnTo>
                  <a:lnTo>
                    <a:pt x="622" y="804"/>
                  </a:lnTo>
                  <a:lnTo>
                    <a:pt x="622" y="804"/>
                  </a:lnTo>
                  <a:lnTo>
                    <a:pt x="622" y="807"/>
                  </a:lnTo>
                  <a:lnTo>
                    <a:pt x="619" y="809"/>
                  </a:lnTo>
                  <a:lnTo>
                    <a:pt x="617" y="814"/>
                  </a:lnTo>
                  <a:lnTo>
                    <a:pt x="612" y="816"/>
                  </a:lnTo>
                  <a:lnTo>
                    <a:pt x="586" y="819"/>
                  </a:lnTo>
                  <a:lnTo>
                    <a:pt x="577" y="821"/>
                  </a:lnTo>
                  <a:lnTo>
                    <a:pt x="575" y="823"/>
                  </a:lnTo>
                  <a:lnTo>
                    <a:pt x="572" y="823"/>
                  </a:lnTo>
                  <a:lnTo>
                    <a:pt x="570" y="823"/>
                  </a:lnTo>
                  <a:lnTo>
                    <a:pt x="567" y="821"/>
                  </a:lnTo>
                  <a:lnTo>
                    <a:pt x="565" y="823"/>
                  </a:lnTo>
                  <a:lnTo>
                    <a:pt x="565" y="823"/>
                  </a:lnTo>
                  <a:lnTo>
                    <a:pt x="560" y="826"/>
                  </a:lnTo>
                  <a:lnTo>
                    <a:pt x="560" y="828"/>
                  </a:lnTo>
                  <a:lnTo>
                    <a:pt x="560" y="828"/>
                  </a:lnTo>
                  <a:lnTo>
                    <a:pt x="558" y="830"/>
                  </a:lnTo>
                  <a:lnTo>
                    <a:pt x="558" y="830"/>
                  </a:lnTo>
                  <a:lnTo>
                    <a:pt x="558" y="833"/>
                  </a:lnTo>
                  <a:lnTo>
                    <a:pt x="558" y="835"/>
                  </a:lnTo>
                  <a:lnTo>
                    <a:pt x="556" y="835"/>
                  </a:lnTo>
                  <a:lnTo>
                    <a:pt x="553" y="838"/>
                  </a:lnTo>
                  <a:lnTo>
                    <a:pt x="551" y="840"/>
                  </a:lnTo>
                  <a:lnTo>
                    <a:pt x="548" y="838"/>
                  </a:lnTo>
                  <a:lnTo>
                    <a:pt x="548" y="838"/>
                  </a:lnTo>
                  <a:lnTo>
                    <a:pt x="548" y="838"/>
                  </a:lnTo>
                  <a:lnTo>
                    <a:pt x="546" y="835"/>
                  </a:lnTo>
                  <a:lnTo>
                    <a:pt x="544" y="835"/>
                  </a:lnTo>
                  <a:lnTo>
                    <a:pt x="537" y="833"/>
                  </a:lnTo>
                  <a:lnTo>
                    <a:pt x="537" y="833"/>
                  </a:lnTo>
                  <a:lnTo>
                    <a:pt x="534" y="830"/>
                  </a:lnTo>
                  <a:lnTo>
                    <a:pt x="530" y="828"/>
                  </a:lnTo>
                  <a:lnTo>
                    <a:pt x="525" y="826"/>
                  </a:lnTo>
                  <a:lnTo>
                    <a:pt x="522" y="826"/>
                  </a:lnTo>
                  <a:lnTo>
                    <a:pt x="520" y="823"/>
                  </a:lnTo>
                  <a:lnTo>
                    <a:pt x="518" y="819"/>
                  </a:lnTo>
                  <a:lnTo>
                    <a:pt x="513" y="821"/>
                  </a:lnTo>
                  <a:lnTo>
                    <a:pt x="508" y="828"/>
                  </a:lnTo>
                  <a:lnTo>
                    <a:pt x="508" y="828"/>
                  </a:lnTo>
                  <a:lnTo>
                    <a:pt x="506" y="835"/>
                  </a:lnTo>
                  <a:lnTo>
                    <a:pt x="506" y="840"/>
                  </a:lnTo>
                  <a:lnTo>
                    <a:pt x="504" y="845"/>
                  </a:lnTo>
                  <a:lnTo>
                    <a:pt x="504" y="847"/>
                  </a:lnTo>
                  <a:lnTo>
                    <a:pt x="504" y="849"/>
                  </a:lnTo>
                  <a:lnTo>
                    <a:pt x="504" y="849"/>
                  </a:lnTo>
                  <a:lnTo>
                    <a:pt x="504" y="852"/>
                  </a:lnTo>
                  <a:lnTo>
                    <a:pt x="506" y="852"/>
                  </a:lnTo>
                  <a:lnTo>
                    <a:pt x="508" y="854"/>
                  </a:lnTo>
                  <a:lnTo>
                    <a:pt x="508" y="857"/>
                  </a:lnTo>
                  <a:lnTo>
                    <a:pt x="508" y="859"/>
                  </a:lnTo>
                  <a:lnTo>
                    <a:pt x="511" y="864"/>
                  </a:lnTo>
                  <a:lnTo>
                    <a:pt x="511" y="866"/>
                  </a:lnTo>
                  <a:lnTo>
                    <a:pt x="508" y="868"/>
                  </a:lnTo>
                  <a:lnTo>
                    <a:pt x="506" y="873"/>
                  </a:lnTo>
                  <a:lnTo>
                    <a:pt x="506" y="873"/>
                  </a:lnTo>
                  <a:lnTo>
                    <a:pt x="506" y="873"/>
                  </a:lnTo>
                  <a:lnTo>
                    <a:pt x="504" y="875"/>
                  </a:lnTo>
                  <a:lnTo>
                    <a:pt x="499" y="878"/>
                  </a:lnTo>
                  <a:lnTo>
                    <a:pt x="499" y="878"/>
                  </a:lnTo>
                  <a:lnTo>
                    <a:pt x="496" y="880"/>
                  </a:lnTo>
                  <a:lnTo>
                    <a:pt x="496" y="883"/>
                  </a:lnTo>
                  <a:lnTo>
                    <a:pt x="494" y="890"/>
                  </a:lnTo>
                  <a:lnTo>
                    <a:pt x="492" y="894"/>
                  </a:lnTo>
                  <a:lnTo>
                    <a:pt x="492" y="899"/>
                  </a:lnTo>
                  <a:lnTo>
                    <a:pt x="492" y="899"/>
                  </a:lnTo>
                  <a:lnTo>
                    <a:pt x="489" y="901"/>
                  </a:lnTo>
                  <a:lnTo>
                    <a:pt x="485" y="906"/>
                  </a:lnTo>
                  <a:lnTo>
                    <a:pt x="482" y="909"/>
                  </a:lnTo>
                  <a:lnTo>
                    <a:pt x="482" y="911"/>
                  </a:lnTo>
                  <a:lnTo>
                    <a:pt x="480" y="913"/>
                  </a:lnTo>
                  <a:lnTo>
                    <a:pt x="478" y="916"/>
                  </a:lnTo>
                  <a:lnTo>
                    <a:pt x="475" y="918"/>
                  </a:lnTo>
                  <a:lnTo>
                    <a:pt x="473" y="920"/>
                  </a:lnTo>
                  <a:lnTo>
                    <a:pt x="473" y="920"/>
                  </a:lnTo>
                  <a:lnTo>
                    <a:pt x="473" y="923"/>
                  </a:lnTo>
                  <a:lnTo>
                    <a:pt x="473" y="923"/>
                  </a:lnTo>
                  <a:lnTo>
                    <a:pt x="475" y="925"/>
                  </a:lnTo>
                  <a:lnTo>
                    <a:pt x="475" y="927"/>
                  </a:lnTo>
                  <a:lnTo>
                    <a:pt x="475" y="930"/>
                  </a:lnTo>
                  <a:lnTo>
                    <a:pt x="475" y="939"/>
                  </a:lnTo>
                  <a:lnTo>
                    <a:pt x="475" y="944"/>
                  </a:lnTo>
                  <a:lnTo>
                    <a:pt x="475" y="944"/>
                  </a:lnTo>
                  <a:lnTo>
                    <a:pt x="475" y="946"/>
                  </a:lnTo>
                  <a:lnTo>
                    <a:pt x="475" y="949"/>
                  </a:lnTo>
                  <a:lnTo>
                    <a:pt x="475" y="951"/>
                  </a:lnTo>
                  <a:lnTo>
                    <a:pt x="475" y="956"/>
                  </a:lnTo>
                  <a:lnTo>
                    <a:pt x="475" y="958"/>
                  </a:lnTo>
                  <a:lnTo>
                    <a:pt x="478" y="961"/>
                  </a:lnTo>
                  <a:lnTo>
                    <a:pt x="478" y="961"/>
                  </a:lnTo>
                  <a:lnTo>
                    <a:pt x="480" y="963"/>
                  </a:lnTo>
                  <a:lnTo>
                    <a:pt x="480" y="965"/>
                  </a:lnTo>
                  <a:lnTo>
                    <a:pt x="480" y="968"/>
                  </a:lnTo>
                  <a:lnTo>
                    <a:pt x="480" y="970"/>
                  </a:lnTo>
                  <a:lnTo>
                    <a:pt x="480" y="972"/>
                  </a:lnTo>
                  <a:lnTo>
                    <a:pt x="478" y="977"/>
                  </a:lnTo>
                  <a:lnTo>
                    <a:pt x="475" y="982"/>
                  </a:lnTo>
                  <a:lnTo>
                    <a:pt x="473" y="984"/>
                  </a:lnTo>
                  <a:lnTo>
                    <a:pt x="473" y="984"/>
                  </a:lnTo>
                  <a:lnTo>
                    <a:pt x="470" y="987"/>
                  </a:lnTo>
                  <a:lnTo>
                    <a:pt x="470" y="987"/>
                  </a:lnTo>
                  <a:lnTo>
                    <a:pt x="466" y="987"/>
                  </a:lnTo>
                  <a:lnTo>
                    <a:pt x="463" y="984"/>
                  </a:lnTo>
                  <a:lnTo>
                    <a:pt x="459" y="984"/>
                  </a:lnTo>
                  <a:lnTo>
                    <a:pt x="459" y="984"/>
                  </a:lnTo>
                  <a:lnTo>
                    <a:pt x="456" y="987"/>
                  </a:lnTo>
                  <a:lnTo>
                    <a:pt x="454" y="989"/>
                  </a:lnTo>
                  <a:lnTo>
                    <a:pt x="454" y="991"/>
                  </a:lnTo>
                  <a:lnTo>
                    <a:pt x="451" y="994"/>
                  </a:lnTo>
                  <a:lnTo>
                    <a:pt x="454" y="996"/>
                  </a:lnTo>
                  <a:lnTo>
                    <a:pt x="454" y="996"/>
                  </a:lnTo>
                  <a:lnTo>
                    <a:pt x="456" y="998"/>
                  </a:lnTo>
                  <a:lnTo>
                    <a:pt x="459" y="998"/>
                  </a:lnTo>
                  <a:lnTo>
                    <a:pt x="459" y="998"/>
                  </a:lnTo>
                  <a:lnTo>
                    <a:pt x="459" y="1001"/>
                  </a:lnTo>
                  <a:lnTo>
                    <a:pt x="461" y="1003"/>
                  </a:lnTo>
                  <a:lnTo>
                    <a:pt x="459" y="1003"/>
                  </a:lnTo>
                  <a:lnTo>
                    <a:pt x="459" y="1006"/>
                  </a:lnTo>
                  <a:lnTo>
                    <a:pt x="459" y="1006"/>
                  </a:lnTo>
                  <a:lnTo>
                    <a:pt x="456" y="1006"/>
                  </a:lnTo>
                  <a:lnTo>
                    <a:pt x="435" y="1006"/>
                  </a:lnTo>
                  <a:lnTo>
                    <a:pt x="428" y="1006"/>
                  </a:lnTo>
                  <a:lnTo>
                    <a:pt x="409" y="1006"/>
                  </a:lnTo>
                  <a:lnTo>
                    <a:pt x="399" y="1006"/>
                  </a:lnTo>
                  <a:lnTo>
                    <a:pt x="399" y="1003"/>
                  </a:lnTo>
                  <a:lnTo>
                    <a:pt x="395" y="1003"/>
                  </a:lnTo>
                  <a:lnTo>
                    <a:pt x="390" y="1001"/>
                  </a:lnTo>
                  <a:lnTo>
                    <a:pt x="388" y="1001"/>
                  </a:lnTo>
                  <a:lnTo>
                    <a:pt x="385" y="1001"/>
                  </a:lnTo>
                  <a:lnTo>
                    <a:pt x="383" y="1001"/>
                  </a:lnTo>
                  <a:lnTo>
                    <a:pt x="383" y="1001"/>
                  </a:lnTo>
                  <a:lnTo>
                    <a:pt x="381" y="1003"/>
                  </a:lnTo>
                  <a:lnTo>
                    <a:pt x="381" y="1006"/>
                  </a:lnTo>
                  <a:lnTo>
                    <a:pt x="378" y="1010"/>
                  </a:lnTo>
                  <a:lnTo>
                    <a:pt x="378" y="1010"/>
                  </a:lnTo>
                  <a:lnTo>
                    <a:pt x="376" y="1013"/>
                  </a:lnTo>
                  <a:lnTo>
                    <a:pt x="376" y="1013"/>
                  </a:lnTo>
                  <a:lnTo>
                    <a:pt x="378" y="1015"/>
                  </a:lnTo>
                  <a:lnTo>
                    <a:pt x="378" y="1017"/>
                  </a:lnTo>
                  <a:lnTo>
                    <a:pt x="378" y="1017"/>
                  </a:lnTo>
                  <a:lnTo>
                    <a:pt x="381" y="1017"/>
                  </a:lnTo>
                  <a:lnTo>
                    <a:pt x="381" y="1020"/>
                  </a:lnTo>
                  <a:lnTo>
                    <a:pt x="381" y="102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45">
              <a:extLst>
                <a:ext uri="{FF2B5EF4-FFF2-40B4-BE49-F238E27FC236}">
                  <a16:creationId xmlns:a16="http://schemas.microsoft.com/office/drawing/2014/main" id="{1C72C061-6AD7-418D-83B2-CFC99B939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592" y="2012195"/>
              <a:ext cx="435998" cy="299517"/>
            </a:xfrm>
            <a:custGeom>
              <a:avLst/>
              <a:gdLst>
                <a:gd name="T0" fmla="*/ 104 w 343"/>
                <a:gd name="T1" fmla="*/ 230 h 235"/>
                <a:gd name="T2" fmla="*/ 85 w 343"/>
                <a:gd name="T3" fmla="*/ 225 h 235"/>
                <a:gd name="T4" fmla="*/ 64 w 343"/>
                <a:gd name="T5" fmla="*/ 194 h 235"/>
                <a:gd name="T6" fmla="*/ 59 w 343"/>
                <a:gd name="T7" fmla="*/ 183 h 235"/>
                <a:gd name="T8" fmla="*/ 62 w 343"/>
                <a:gd name="T9" fmla="*/ 168 h 235"/>
                <a:gd name="T10" fmla="*/ 47 w 343"/>
                <a:gd name="T11" fmla="*/ 159 h 235"/>
                <a:gd name="T12" fmla="*/ 31 w 343"/>
                <a:gd name="T13" fmla="*/ 149 h 235"/>
                <a:gd name="T14" fmla="*/ 7 w 343"/>
                <a:gd name="T15" fmla="*/ 135 h 235"/>
                <a:gd name="T16" fmla="*/ 0 w 343"/>
                <a:gd name="T17" fmla="*/ 102 h 235"/>
                <a:gd name="T18" fmla="*/ 10 w 343"/>
                <a:gd name="T19" fmla="*/ 86 h 235"/>
                <a:gd name="T20" fmla="*/ 19 w 343"/>
                <a:gd name="T21" fmla="*/ 81 h 235"/>
                <a:gd name="T22" fmla="*/ 21 w 343"/>
                <a:gd name="T23" fmla="*/ 76 h 235"/>
                <a:gd name="T24" fmla="*/ 28 w 343"/>
                <a:gd name="T25" fmla="*/ 79 h 235"/>
                <a:gd name="T26" fmla="*/ 47 w 343"/>
                <a:gd name="T27" fmla="*/ 71 h 235"/>
                <a:gd name="T28" fmla="*/ 59 w 343"/>
                <a:gd name="T29" fmla="*/ 52 h 235"/>
                <a:gd name="T30" fmla="*/ 66 w 343"/>
                <a:gd name="T31" fmla="*/ 41 h 235"/>
                <a:gd name="T32" fmla="*/ 97 w 343"/>
                <a:gd name="T33" fmla="*/ 60 h 235"/>
                <a:gd name="T34" fmla="*/ 135 w 343"/>
                <a:gd name="T35" fmla="*/ 45 h 235"/>
                <a:gd name="T36" fmla="*/ 168 w 343"/>
                <a:gd name="T37" fmla="*/ 38 h 235"/>
                <a:gd name="T38" fmla="*/ 201 w 343"/>
                <a:gd name="T39" fmla="*/ 15 h 235"/>
                <a:gd name="T40" fmla="*/ 213 w 343"/>
                <a:gd name="T41" fmla="*/ 5 h 235"/>
                <a:gd name="T42" fmla="*/ 253 w 343"/>
                <a:gd name="T43" fmla="*/ 8 h 235"/>
                <a:gd name="T44" fmla="*/ 265 w 343"/>
                <a:gd name="T45" fmla="*/ 22 h 235"/>
                <a:gd name="T46" fmla="*/ 272 w 343"/>
                <a:gd name="T47" fmla="*/ 19 h 235"/>
                <a:gd name="T48" fmla="*/ 298 w 343"/>
                <a:gd name="T49" fmla="*/ 22 h 235"/>
                <a:gd name="T50" fmla="*/ 310 w 343"/>
                <a:gd name="T51" fmla="*/ 22 h 235"/>
                <a:gd name="T52" fmla="*/ 310 w 343"/>
                <a:gd name="T53" fmla="*/ 12 h 235"/>
                <a:gd name="T54" fmla="*/ 310 w 343"/>
                <a:gd name="T55" fmla="*/ 22 h 235"/>
                <a:gd name="T56" fmla="*/ 317 w 343"/>
                <a:gd name="T57" fmla="*/ 50 h 235"/>
                <a:gd name="T58" fmla="*/ 322 w 343"/>
                <a:gd name="T59" fmla="*/ 76 h 235"/>
                <a:gd name="T60" fmla="*/ 327 w 343"/>
                <a:gd name="T61" fmla="*/ 88 h 235"/>
                <a:gd name="T62" fmla="*/ 331 w 343"/>
                <a:gd name="T63" fmla="*/ 93 h 235"/>
                <a:gd name="T64" fmla="*/ 338 w 343"/>
                <a:gd name="T65" fmla="*/ 100 h 235"/>
                <a:gd name="T66" fmla="*/ 341 w 343"/>
                <a:gd name="T67" fmla="*/ 123 h 235"/>
                <a:gd name="T68" fmla="*/ 343 w 343"/>
                <a:gd name="T69" fmla="*/ 133 h 235"/>
                <a:gd name="T70" fmla="*/ 334 w 343"/>
                <a:gd name="T71" fmla="*/ 154 h 235"/>
                <a:gd name="T72" fmla="*/ 296 w 343"/>
                <a:gd name="T73" fmla="*/ 176 h 235"/>
                <a:gd name="T74" fmla="*/ 274 w 343"/>
                <a:gd name="T75" fmla="*/ 178 h 235"/>
                <a:gd name="T76" fmla="*/ 265 w 343"/>
                <a:gd name="T77" fmla="*/ 173 h 235"/>
                <a:gd name="T78" fmla="*/ 232 w 343"/>
                <a:gd name="T79" fmla="*/ 171 h 235"/>
                <a:gd name="T80" fmla="*/ 225 w 343"/>
                <a:gd name="T81" fmla="*/ 176 h 235"/>
                <a:gd name="T82" fmla="*/ 213 w 343"/>
                <a:gd name="T83" fmla="*/ 178 h 235"/>
                <a:gd name="T84" fmla="*/ 204 w 343"/>
                <a:gd name="T85" fmla="*/ 190 h 235"/>
                <a:gd name="T86" fmla="*/ 194 w 343"/>
                <a:gd name="T87" fmla="*/ 197 h 235"/>
                <a:gd name="T88" fmla="*/ 147 w 343"/>
                <a:gd name="T89" fmla="*/ 220 h 235"/>
                <a:gd name="T90" fmla="*/ 140 w 343"/>
                <a:gd name="T91" fmla="*/ 223 h 235"/>
                <a:gd name="T92" fmla="*/ 118 w 343"/>
                <a:gd name="T93" fmla="*/ 220 h 235"/>
                <a:gd name="T94" fmla="*/ 118 w 343"/>
                <a:gd name="T95" fmla="*/ 218 h 235"/>
                <a:gd name="T96" fmla="*/ 118 w 343"/>
                <a:gd name="T97" fmla="*/ 21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3" h="235">
                  <a:moveTo>
                    <a:pt x="116" y="213"/>
                  </a:moveTo>
                  <a:lnTo>
                    <a:pt x="116" y="213"/>
                  </a:lnTo>
                  <a:lnTo>
                    <a:pt x="104" y="230"/>
                  </a:lnTo>
                  <a:lnTo>
                    <a:pt x="99" y="235"/>
                  </a:lnTo>
                  <a:lnTo>
                    <a:pt x="99" y="232"/>
                  </a:lnTo>
                  <a:lnTo>
                    <a:pt x="85" y="225"/>
                  </a:lnTo>
                  <a:lnTo>
                    <a:pt x="71" y="218"/>
                  </a:lnTo>
                  <a:lnTo>
                    <a:pt x="69" y="211"/>
                  </a:lnTo>
                  <a:lnTo>
                    <a:pt x="64" y="194"/>
                  </a:lnTo>
                  <a:lnTo>
                    <a:pt x="64" y="192"/>
                  </a:lnTo>
                  <a:lnTo>
                    <a:pt x="59" y="187"/>
                  </a:lnTo>
                  <a:lnTo>
                    <a:pt x="59" y="183"/>
                  </a:lnTo>
                  <a:lnTo>
                    <a:pt x="59" y="180"/>
                  </a:lnTo>
                  <a:lnTo>
                    <a:pt x="62" y="171"/>
                  </a:lnTo>
                  <a:lnTo>
                    <a:pt x="62" y="168"/>
                  </a:lnTo>
                  <a:lnTo>
                    <a:pt x="59" y="164"/>
                  </a:lnTo>
                  <a:lnTo>
                    <a:pt x="57" y="161"/>
                  </a:lnTo>
                  <a:lnTo>
                    <a:pt x="47" y="159"/>
                  </a:lnTo>
                  <a:lnTo>
                    <a:pt x="43" y="157"/>
                  </a:lnTo>
                  <a:lnTo>
                    <a:pt x="36" y="149"/>
                  </a:lnTo>
                  <a:lnTo>
                    <a:pt x="31" y="149"/>
                  </a:lnTo>
                  <a:lnTo>
                    <a:pt x="24" y="147"/>
                  </a:lnTo>
                  <a:lnTo>
                    <a:pt x="14" y="142"/>
                  </a:lnTo>
                  <a:lnTo>
                    <a:pt x="7" y="135"/>
                  </a:lnTo>
                  <a:lnTo>
                    <a:pt x="2" y="116"/>
                  </a:lnTo>
                  <a:lnTo>
                    <a:pt x="2" y="109"/>
                  </a:lnTo>
                  <a:lnTo>
                    <a:pt x="0" y="102"/>
                  </a:lnTo>
                  <a:lnTo>
                    <a:pt x="2" y="95"/>
                  </a:lnTo>
                  <a:lnTo>
                    <a:pt x="5" y="88"/>
                  </a:lnTo>
                  <a:lnTo>
                    <a:pt x="10" y="86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1"/>
                  </a:lnTo>
                  <a:lnTo>
                    <a:pt x="19" y="79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8" y="79"/>
                  </a:lnTo>
                  <a:lnTo>
                    <a:pt x="36" y="79"/>
                  </a:lnTo>
                  <a:lnTo>
                    <a:pt x="43" y="76"/>
                  </a:lnTo>
                  <a:lnTo>
                    <a:pt x="47" y="71"/>
                  </a:lnTo>
                  <a:lnTo>
                    <a:pt x="54" y="64"/>
                  </a:lnTo>
                  <a:lnTo>
                    <a:pt x="57" y="57"/>
                  </a:lnTo>
                  <a:lnTo>
                    <a:pt x="59" y="52"/>
                  </a:lnTo>
                  <a:lnTo>
                    <a:pt x="59" y="48"/>
                  </a:lnTo>
                  <a:lnTo>
                    <a:pt x="64" y="43"/>
                  </a:lnTo>
                  <a:lnTo>
                    <a:pt x="66" y="41"/>
                  </a:lnTo>
                  <a:lnTo>
                    <a:pt x="80" y="55"/>
                  </a:lnTo>
                  <a:lnTo>
                    <a:pt x="88" y="57"/>
                  </a:lnTo>
                  <a:lnTo>
                    <a:pt x="97" y="60"/>
                  </a:lnTo>
                  <a:lnTo>
                    <a:pt x="107" y="57"/>
                  </a:lnTo>
                  <a:lnTo>
                    <a:pt x="116" y="55"/>
                  </a:lnTo>
                  <a:lnTo>
                    <a:pt x="135" y="45"/>
                  </a:lnTo>
                  <a:lnTo>
                    <a:pt x="142" y="41"/>
                  </a:lnTo>
                  <a:lnTo>
                    <a:pt x="144" y="38"/>
                  </a:lnTo>
                  <a:lnTo>
                    <a:pt x="168" y="38"/>
                  </a:lnTo>
                  <a:lnTo>
                    <a:pt x="177" y="34"/>
                  </a:lnTo>
                  <a:lnTo>
                    <a:pt x="194" y="19"/>
                  </a:lnTo>
                  <a:lnTo>
                    <a:pt x="201" y="15"/>
                  </a:lnTo>
                  <a:lnTo>
                    <a:pt x="208" y="15"/>
                  </a:lnTo>
                  <a:lnTo>
                    <a:pt x="211" y="10"/>
                  </a:lnTo>
                  <a:lnTo>
                    <a:pt x="213" y="5"/>
                  </a:lnTo>
                  <a:lnTo>
                    <a:pt x="218" y="0"/>
                  </a:lnTo>
                  <a:lnTo>
                    <a:pt x="248" y="5"/>
                  </a:lnTo>
                  <a:lnTo>
                    <a:pt x="253" y="8"/>
                  </a:lnTo>
                  <a:lnTo>
                    <a:pt x="258" y="12"/>
                  </a:lnTo>
                  <a:lnTo>
                    <a:pt x="265" y="19"/>
                  </a:lnTo>
                  <a:lnTo>
                    <a:pt x="265" y="22"/>
                  </a:lnTo>
                  <a:lnTo>
                    <a:pt x="267" y="22"/>
                  </a:lnTo>
                  <a:lnTo>
                    <a:pt x="272" y="22"/>
                  </a:lnTo>
                  <a:lnTo>
                    <a:pt x="272" y="19"/>
                  </a:lnTo>
                  <a:lnTo>
                    <a:pt x="277" y="19"/>
                  </a:lnTo>
                  <a:lnTo>
                    <a:pt x="291" y="24"/>
                  </a:lnTo>
                  <a:lnTo>
                    <a:pt x="298" y="22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10" y="22"/>
                  </a:lnTo>
                  <a:lnTo>
                    <a:pt x="310" y="19"/>
                  </a:lnTo>
                  <a:lnTo>
                    <a:pt x="310" y="17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12" y="19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6"/>
                  </a:lnTo>
                  <a:lnTo>
                    <a:pt x="317" y="50"/>
                  </a:lnTo>
                  <a:lnTo>
                    <a:pt x="319" y="62"/>
                  </a:lnTo>
                  <a:lnTo>
                    <a:pt x="319" y="69"/>
                  </a:lnTo>
                  <a:lnTo>
                    <a:pt x="322" y="76"/>
                  </a:lnTo>
                  <a:lnTo>
                    <a:pt x="324" y="79"/>
                  </a:lnTo>
                  <a:lnTo>
                    <a:pt x="324" y="86"/>
                  </a:lnTo>
                  <a:lnTo>
                    <a:pt x="327" y="88"/>
                  </a:lnTo>
                  <a:lnTo>
                    <a:pt x="327" y="90"/>
                  </a:lnTo>
                  <a:lnTo>
                    <a:pt x="329" y="90"/>
                  </a:lnTo>
                  <a:lnTo>
                    <a:pt x="331" y="93"/>
                  </a:lnTo>
                  <a:lnTo>
                    <a:pt x="336" y="95"/>
                  </a:lnTo>
                  <a:lnTo>
                    <a:pt x="338" y="95"/>
                  </a:lnTo>
                  <a:lnTo>
                    <a:pt x="338" y="100"/>
                  </a:lnTo>
                  <a:lnTo>
                    <a:pt x="338" y="105"/>
                  </a:lnTo>
                  <a:lnTo>
                    <a:pt x="338" y="119"/>
                  </a:lnTo>
                  <a:lnTo>
                    <a:pt x="341" y="123"/>
                  </a:lnTo>
                  <a:lnTo>
                    <a:pt x="341" y="128"/>
                  </a:lnTo>
                  <a:lnTo>
                    <a:pt x="343" y="131"/>
                  </a:lnTo>
                  <a:lnTo>
                    <a:pt x="343" y="133"/>
                  </a:lnTo>
                  <a:lnTo>
                    <a:pt x="343" y="133"/>
                  </a:lnTo>
                  <a:lnTo>
                    <a:pt x="341" y="140"/>
                  </a:lnTo>
                  <a:lnTo>
                    <a:pt x="334" y="154"/>
                  </a:lnTo>
                  <a:lnTo>
                    <a:pt x="305" y="166"/>
                  </a:lnTo>
                  <a:lnTo>
                    <a:pt x="298" y="173"/>
                  </a:lnTo>
                  <a:lnTo>
                    <a:pt x="296" y="176"/>
                  </a:lnTo>
                  <a:lnTo>
                    <a:pt x="293" y="176"/>
                  </a:lnTo>
                  <a:lnTo>
                    <a:pt x="291" y="176"/>
                  </a:lnTo>
                  <a:lnTo>
                    <a:pt x="274" y="178"/>
                  </a:lnTo>
                  <a:lnTo>
                    <a:pt x="270" y="176"/>
                  </a:lnTo>
                  <a:lnTo>
                    <a:pt x="267" y="173"/>
                  </a:lnTo>
                  <a:lnTo>
                    <a:pt x="265" y="173"/>
                  </a:lnTo>
                  <a:lnTo>
                    <a:pt x="265" y="173"/>
                  </a:lnTo>
                  <a:lnTo>
                    <a:pt x="234" y="168"/>
                  </a:lnTo>
                  <a:lnTo>
                    <a:pt x="232" y="171"/>
                  </a:lnTo>
                  <a:lnTo>
                    <a:pt x="230" y="171"/>
                  </a:lnTo>
                  <a:lnTo>
                    <a:pt x="227" y="173"/>
                  </a:lnTo>
                  <a:lnTo>
                    <a:pt x="225" y="176"/>
                  </a:lnTo>
                  <a:lnTo>
                    <a:pt x="220" y="176"/>
                  </a:lnTo>
                  <a:lnTo>
                    <a:pt x="215" y="176"/>
                  </a:lnTo>
                  <a:lnTo>
                    <a:pt x="213" y="178"/>
                  </a:lnTo>
                  <a:lnTo>
                    <a:pt x="211" y="178"/>
                  </a:lnTo>
                  <a:lnTo>
                    <a:pt x="206" y="185"/>
                  </a:lnTo>
                  <a:lnTo>
                    <a:pt x="204" y="190"/>
                  </a:lnTo>
                  <a:lnTo>
                    <a:pt x="201" y="192"/>
                  </a:lnTo>
                  <a:lnTo>
                    <a:pt x="196" y="194"/>
                  </a:lnTo>
                  <a:lnTo>
                    <a:pt x="194" y="197"/>
                  </a:lnTo>
                  <a:lnTo>
                    <a:pt x="192" y="202"/>
                  </a:lnTo>
                  <a:lnTo>
                    <a:pt x="189" y="202"/>
                  </a:lnTo>
                  <a:lnTo>
                    <a:pt x="147" y="220"/>
                  </a:lnTo>
                  <a:lnTo>
                    <a:pt x="147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25" y="223"/>
                  </a:lnTo>
                  <a:lnTo>
                    <a:pt x="121" y="223"/>
                  </a:lnTo>
                  <a:lnTo>
                    <a:pt x="118" y="220"/>
                  </a:lnTo>
                  <a:lnTo>
                    <a:pt x="118" y="220"/>
                  </a:lnTo>
                  <a:lnTo>
                    <a:pt x="118" y="220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18" y="216"/>
                  </a:lnTo>
                  <a:lnTo>
                    <a:pt x="118" y="213"/>
                  </a:lnTo>
                  <a:lnTo>
                    <a:pt x="116" y="213"/>
                  </a:lnTo>
                  <a:lnTo>
                    <a:pt x="116" y="2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Freeform 47">
              <a:extLst>
                <a:ext uri="{FF2B5EF4-FFF2-40B4-BE49-F238E27FC236}">
                  <a16:creationId xmlns:a16="http://schemas.microsoft.com/office/drawing/2014/main" id="{391CA27E-521E-4E05-8550-7930CCB3E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467" y="1559404"/>
              <a:ext cx="1130782" cy="1094011"/>
            </a:xfrm>
            <a:custGeom>
              <a:avLst/>
              <a:gdLst>
                <a:gd name="T0" fmla="*/ 54 w 889"/>
                <a:gd name="T1" fmla="*/ 308 h 861"/>
                <a:gd name="T2" fmla="*/ 99 w 889"/>
                <a:gd name="T3" fmla="*/ 367 h 861"/>
                <a:gd name="T4" fmla="*/ 125 w 889"/>
                <a:gd name="T5" fmla="*/ 339 h 861"/>
                <a:gd name="T6" fmla="*/ 132 w 889"/>
                <a:gd name="T7" fmla="*/ 279 h 861"/>
                <a:gd name="T8" fmla="*/ 172 w 889"/>
                <a:gd name="T9" fmla="*/ 201 h 861"/>
                <a:gd name="T10" fmla="*/ 175 w 889"/>
                <a:gd name="T11" fmla="*/ 88 h 861"/>
                <a:gd name="T12" fmla="*/ 227 w 889"/>
                <a:gd name="T13" fmla="*/ 126 h 861"/>
                <a:gd name="T14" fmla="*/ 307 w 889"/>
                <a:gd name="T15" fmla="*/ 149 h 861"/>
                <a:gd name="T16" fmla="*/ 383 w 889"/>
                <a:gd name="T17" fmla="*/ 130 h 861"/>
                <a:gd name="T18" fmla="*/ 421 w 889"/>
                <a:gd name="T19" fmla="*/ 133 h 861"/>
                <a:gd name="T20" fmla="*/ 397 w 889"/>
                <a:gd name="T21" fmla="*/ 74 h 861"/>
                <a:gd name="T22" fmla="*/ 407 w 889"/>
                <a:gd name="T23" fmla="*/ 12 h 861"/>
                <a:gd name="T24" fmla="*/ 482 w 889"/>
                <a:gd name="T25" fmla="*/ 29 h 861"/>
                <a:gd name="T26" fmla="*/ 567 w 889"/>
                <a:gd name="T27" fmla="*/ 57 h 861"/>
                <a:gd name="T28" fmla="*/ 560 w 889"/>
                <a:gd name="T29" fmla="*/ 97 h 861"/>
                <a:gd name="T30" fmla="*/ 563 w 889"/>
                <a:gd name="T31" fmla="*/ 133 h 861"/>
                <a:gd name="T32" fmla="*/ 565 w 889"/>
                <a:gd name="T33" fmla="*/ 208 h 861"/>
                <a:gd name="T34" fmla="*/ 546 w 889"/>
                <a:gd name="T35" fmla="*/ 263 h 861"/>
                <a:gd name="T36" fmla="*/ 563 w 889"/>
                <a:gd name="T37" fmla="*/ 282 h 861"/>
                <a:gd name="T38" fmla="*/ 574 w 889"/>
                <a:gd name="T39" fmla="*/ 324 h 861"/>
                <a:gd name="T40" fmla="*/ 596 w 889"/>
                <a:gd name="T41" fmla="*/ 339 h 861"/>
                <a:gd name="T42" fmla="*/ 617 w 889"/>
                <a:gd name="T43" fmla="*/ 320 h 861"/>
                <a:gd name="T44" fmla="*/ 641 w 889"/>
                <a:gd name="T45" fmla="*/ 312 h 861"/>
                <a:gd name="T46" fmla="*/ 619 w 889"/>
                <a:gd name="T47" fmla="*/ 421 h 861"/>
                <a:gd name="T48" fmla="*/ 650 w 889"/>
                <a:gd name="T49" fmla="*/ 509 h 861"/>
                <a:gd name="T50" fmla="*/ 669 w 889"/>
                <a:gd name="T51" fmla="*/ 542 h 861"/>
                <a:gd name="T52" fmla="*/ 698 w 889"/>
                <a:gd name="T53" fmla="*/ 549 h 861"/>
                <a:gd name="T54" fmla="*/ 750 w 889"/>
                <a:gd name="T55" fmla="*/ 589 h 861"/>
                <a:gd name="T56" fmla="*/ 769 w 889"/>
                <a:gd name="T57" fmla="*/ 596 h 861"/>
                <a:gd name="T58" fmla="*/ 785 w 889"/>
                <a:gd name="T59" fmla="*/ 608 h 861"/>
                <a:gd name="T60" fmla="*/ 811 w 889"/>
                <a:gd name="T61" fmla="*/ 613 h 861"/>
                <a:gd name="T62" fmla="*/ 851 w 889"/>
                <a:gd name="T63" fmla="*/ 663 h 861"/>
                <a:gd name="T64" fmla="*/ 806 w 889"/>
                <a:gd name="T65" fmla="*/ 674 h 861"/>
                <a:gd name="T66" fmla="*/ 740 w 889"/>
                <a:gd name="T67" fmla="*/ 696 h 861"/>
                <a:gd name="T68" fmla="*/ 693 w 889"/>
                <a:gd name="T69" fmla="*/ 682 h 861"/>
                <a:gd name="T70" fmla="*/ 662 w 889"/>
                <a:gd name="T71" fmla="*/ 686 h 861"/>
                <a:gd name="T72" fmla="*/ 560 w 889"/>
                <a:gd name="T73" fmla="*/ 689 h 861"/>
                <a:gd name="T74" fmla="*/ 433 w 889"/>
                <a:gd name="T75" fmla="*/ 656 h 861"/>
                <a:gd name="T76" fmla="*/ 407 w 889"/>
                <a:gd name="T77" fmla="*/ 674 h 861"/>
                <a:gd name="T78" fmla="*/ 354 w 889"/>
                <a:gd name="T79" fmla="*/ 672 h 861"/>
                <a:gd name="T80" fmla="*/ 324 w 889"/>
                <a:gd name="T81" fmla="*/ 656 h 861"/>
                <a:gd name="T82" fmla="*/ 286 w 889"/>
                <a:gd name="T83" fmla="*/ 682 h 861"/>
                <a:gd name="T84" fmla="*/ 265 w 889"/>
                <a:gd name="T85" fmla="*/ 771 h 861"/>
                <a:gd name="T86" fmla="*/ 267 w 889"/>
                <a:gd name="T87" fmla="*/ 824 h 861"/>
                <a:gd name="T88" fmla="*/ 260 w 889"/>
                <a:gd name="T89" fmla="*/ 852 h 861"/>
                <a:gd name="T90" fmla="*/ 241 w 889"/>
                <a:gd name="T91" fmla="*/ 845 h 861"/>
                <a:gd name="T92" fmla="*/ 201 w 889"/>
                <a:gd name="T93" fmla="*/ 807 h 861"/>
                <a:gd name="T94" fmla="*/ 186 w 889"/>
                <a:gd name="T95" fmla="*/ 781 h 861"/>
                <a:gd name="T96" fmla="*/ 149 w 889"/>
                <a:gd name="T97" fmla="*/ 741 h 861"/>
                <a:gd name="T98" fmla="*/ 127 w 889"/>
                <a:gd name="T99" fmla="*/ 715 h 861"/>
                <a:gd name="T100" fmla="*/ 33 w 889"/>
                <a:gd name="T101" fmla="*/ 689 h 861"/>
                <a:gd name="T102" fmla="*/ 16 w 889"/>
                <a:gd name="T103" fmla="*/ 651 h 861"/>
                <a:gd name="T104" fmla="*/ 2 w 889"/>
                <a:gd name="T105" fmla="*/ 622 h 861"/>
                <a:gd name="T106" fmla="*/ 37 w 889"/>
                <a:gd name="T107" fmla="*/ 594 h 861"/>
                <a:gd name="T108" fmla="*/ 63 w 889"/>
                <a:gd name="T109" fmla="*/ 603 h 861"/>
                <a:gd name="T110" fmla="*/ 68 w 889"/>
                <a:gd name="T111" fmla="*/ 582 h 861"/>
                <a:gd name="T112" fmla="*/ 56 w 889"/>
                <a:gd name="T113" fmla="*/ 516 h 861"/>
                <a:gd name="T114" fmla="*/ 37 w 889"/>
                <a:gd name="T115" fmla="*/ 471 h 861"/>
                <a:gd name="T116" fmla="*/ 30 w 889"/>
                <a:gd name="T117" fmla="*/ 454 h 861"/>
                <a:gd name="T118" fmla="*/ 0 w 889"/>
                <a:gd name="T119" fmla="*/ 412 h 861"/>
                <a:gd name="T120" fmla="*/ 2 w 889"/>
                <a:gd name="T121" fmla="*/ 362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89" h="861">
                  <a:moveTo>
                    <a:pt x="37" y="298"/>
                  </a:moveTo>
                  <a:lnTo>
                    <a:pt x="37" y="298"/>
                  </a:lnTo>
                  <a:lnTo>
                    <a:pt x="37" y="296"/>
                  </a:lnTo>
                  <a:lnTo>
                    <a:pt x="33" y="270"/>
                  </a:lnTo>
                  <a:lnTo>
                    <a:pt x="33" y="270"/>
                  </a:lnTo>
                  <a:lnTo>
                    <a:pt x="37" y="275"/>
                  </a:lnTo>
                  <a:lnTo>
                    <a:pt x="40" y="277"/>
                  </a:lnTo>
                  <a:lnTo>
                    <a:pt x="45" y="277"/>
                  </a:lnTo>
                  <a:lnTo>
                    <a:pt x="52" y="275"/>
                  </a:lnTo>
                  <a:lnTo>
                    <a:pt x="56" y="277"/>
                  </a:lnTo>
                  <a:lnTo>
                    <a:pt x="66" y="284"/>
                  </a:lnTo>
                  <a:lnTo>
                    <a:pt x="63" y="296"/>
                  </a:lnTo>
                  <a:lnTo>
                    <a:pt x="54" y="308"/>
                  </a:lnTo>
                  <a:lnTo>
                    <a:pt x="52" y="320"/>
                  </a:lnTo>
                  <a:lnTo>
                    <a:pt x="49" y="322"/>
                  </a:lnTo>
                  <a:lnTo>
                    <a:pt x="49" y="322"/>
                  </a:lnTo>
                  <a:lnTo>
                    <a:pt x="54" y="322"/>
                  </a:lnTo>
                  <a:lnTo>
                    <a:pt x="59" y="324"/>
                  </a:lnTo>
                  <a:lnTo>
                    <a:pt x="78" y="331"/>
                  </a:lnTo>
                  <a:lnTo>
                    <a:pt x="80" y="331"/>
                  </a:lnTo>
                  <a:lnTo>
                    <a:pt x="82" y="334"/>
                  </a:lnTo>
                  <a:lnTo>
                    <a:pt x="85" y="341"/>
                  </a:lnTo>
                  <a:lnTo>
                    <a:pt x="92" y="350"/>
                  </a:lnTo>
                  <a:lnTo>
                    <a:pt x="94" y="355"/>
                  </a:lnTo>
                  <a:lnTo>
                    <a:pt x="97" y="360"/>
                  </a:lnTo>
                  <a:lnTo>
                    <a:pt x="99" y="367"/>
                  </a:lnTo>
                  <a:lnTo>
                    <a:pt x="99" y="374"/>
                  </a:lnTo>
                  <a:lnTo>
                    <a:pt x="97" y="379"/>
                  </a:lnTo>
                  <a:lnTo>
                    <a:pt x="97" y="386"/>
                  </a:lnTo>
                  <a:lnTo>
                    <a:pt x="108" y="379"/>
                  </a:lnTo>
                  <a:lnTo>
                    <a:pt x="118" y="383"/>
                  </a:lnTo>
                  <a:lnTo>
                    <a:pt x="127" y="383"/>
                  </a:lnTo>
                  <a:lnTo>
                    <a:pt x="134" y="372"/>
                  </a:lnTo>
                  <a:lnTo>
                    <a:pt x="142" y="355"/>
                  </a:lnTo>
                  <a:lnTo>
                    <a:pt x="142" y="348"/>
                  </a:lnTo>
                  <a:lnTo>
                    <a:pt x="137" y="341"/>
                  </a:lnTo>
                  <a:lnTo>
                    <a:pt x="134" y="341"/>
                  </a:lnTo>
                  <a:lnTo>
                    <a:pt x="127" y="341"/>
                  </a:lnTo>
                  <a:lnTo>
                    <a:pt x="125" y="339"/>
                  </a:lnTo>
                  <a:lnTo>
                    <a:pt x="120" y="334"/>
                  </a:lnTo>
                  <a:lnTo>
                    <a:pt x="118" y="327"/>
                  </a:lnTo>
                  <a:lnTo>
                    <a:pt x="113" y="324"/>
                  </a:lnTo>
                  <a:lnTo>
                    <a:pt x="113" y="324"/>
                  </a:lnTo>
                  <a:lnTo>
                    <a:pt x="113" y="322"/>
                  </a:lnTo>
                  <a:lnTo>
                    <a:pt x="113" y="322"/>
                  </a:lnTo>
                  <a:lnTo>
                    <a:pt x="113" y="320"/>
                  </a:lnTo>
                  <a:lnTo>
                    <a:pt x="123" y="310"/>
                  </a:lnTo>
                  <a:lnTo>
                    <a:pt x="116" y="296"/>
                  </a:lnTo>
                  <a:lnTo>
                    <a:pt x="116" y="291"/>
                  </a:lnTo>
                  <a:lnTo>
                    <a:pt x="123" y="284"/>
                  </a:lnTo>
                  <a:lnTo>
                    <a:pt x="130" y="282"/>
                  </a:lnTo>
                  <a:lnTo>
                    <a:pt x="132" y="279"/>
                  </a:lnTo>
                  <a:lnTo>
                    <a:pt x="134" y="275"/>
                  </a:lnTo>
                  <a:lnTo>
                    <a:pt x="134" y="270"/>
                  </a:lnTo>
                  <a:lnTo>
                    <a:pt x="132" y="260"/>
                  </a:lnTo>
                  <a:lnTo>
                    <a:pt x="132" y="256"/>
                  </a:lnTo>
                  <a:lnTo>
                    <a:pt x="137" y="246"/>
                  </a:lnTo>
                  <a:lnTo>
                    <a:pt x="156" y="230"/>
                  </a:lnTo>
                  <a:lnTo>
                    <a:pt x="158" y="225"/>
                  </a:lnTo>
                  <a:lnTo>
                    <a:pt x="160" y="220"/>
                  </a:lnTo>
                  <a:lnTo>
                    <a:pt x="160" y="215"/>
                  </a:lnTo>
                  <a:lnTo>
                    <a:pt x="163" y="213"/>
                  </a:lnTo>
                  <a:lnTo>
                    <a:pt x="168" y="211"/>
                  </a:lnTo>
                  <a:lnTo>
                    <a:pt x="170" y="206"/>
                  </a:lnTo>
                  <a:lnTo>
                    <a:pt x="172" y="201"/>
                  </a:lnTo>
                  <a:lnTo>
                    <a:pt x="175" y="187"/>
                  </a:lnTo>
                  <a:lnTo>
                    <a:pt x="182" y="168"/>
                  </a:lnTo>
                  <a:lnTo>
                    <a:pt x="182" y="159"/>
                  </a:lnTo>
                  <a:lnTo>
                    <a:pt x="179" y="152"/>
                  </a:lnTo>
                  <a:lnTo>
                    <a:pt x="175" y="137"/>
                  </a:lnTo>
                  <a:lnTo>
                    <a:pt x="175" y="133"/>
                  </a:lnTo>
                  <a:lnTo>
                    <a:pt x="175" y="126"/>
                  </a:lnTo>
                  <a:lnTo>
                    <a:pt x="172" y="123"/>
                  </a:lnTo>
                  <a:lnTo>
                    <a:pt x="170" y="121"/>
                  </a:lnTo>
                  <a:lnTo>
                    <a:pt x="165" y="114"/>
                  </a:lnTo>
                  <a:lnTo>
                    <a:pt x="168" y="104"/>
                  </a:lnTo>
                  <a:lnTo>
                    <a:pt x="170" y="92"/>
                  </a:lnTo>
                  <a:lnTo>
                    <a:pt x="175" y="88"/>
                  </a:lnTo>
                  <a:lnTo>
                    <a:pt x="189" y="83"/>
                  </a:lnTo>
                  <a:lnTo>
                    <a:pt x="196" y="85"/>
                  </a:lnTo>
                  <a:lnTo>
                    <a:pt x="196" y="90"/>
                  </a:lnTo>
                  <a:lnTo>
                    <a:pt x="205" y="97"/>
                  </a:lnTo>
                  <a:lnTo>
                    <a:pt x="205" y="97"/>
                  </a:lnTo>
                  <a:lnTo>
                    <a:pt x="210" y="95"/>
                  </a:lnTo>
                  <a:lnTo>
                    <a:pt x="210" y="92"/>
                  </a:lnTo>
                  <a:lnTo>
                    <a:pt x="210" y="90"/>
                  </a:lnTo>
                  <a:lnTo>
                    <a:pt x="213" y="88"/>
                  </a:lnTo>
                  <a:lnTo>
                    <a:pt x="217" y="83"/>
                  </a:lnTo>
                  <a:lnTo>
                    <a:pt x="220" y="81"/>
                  </a:lnTo>
                  <a:lnTo>
                    <a:pt x="220" y="85"/>
                  </a:lnTo>
                  <a:lnTo>
                    <a:pt x="227" y="126"/>
                  </a:lnTo>
                  <a:lnTo>
                    <a:pt x="227" y="130"/>
                  </a:lnTo>
                  <a:lnTo>
                    <a:pt x="229" y="133"/>
                  </a:lnTo>
                  <a:lnTo>
                    <a:pt x="231" y="135"/>
                  </a:lnTo>
                  <a:lnTo>
                    <a:pt x="239" y="137"/>
                  </a:lnTo>
                  <a:lnTo>
                    <a:pt x="241" y="140"/>
                  </a:lnTo>
                  <a:lnTo>
                    <a:pt x="248" y="154"/>
                  </a:lnTo>
                  <a:lnTo>
                    <a:pt x="253" y="159"/>
                  </a:lnTo>
                  <a:lnTo>
                    <a:pt x="260" y="163"/>
                  </a:lnTo>
                  <a:lnTo>
                    <a:pt x="267" y="166"/>
                  </a:lnTo>
                  <a:lnTo>
                    <a:pt x="300" y="161"/>
                  </a:lnTo>
                  <a:lnTo>
                    <a:pt x="305" y="159"/>
                  </a:lnTo>
                  <a:lnTo>
                    <a:pt x="310" y="152"/>
                  </a:lnTo>
                  <a:lnTo>
                    <a:pt x="307" y="149"/>
                  </a:lnTo>
                  <a:lnTo>
                    <a:pt x="307" y="145"/>
                  </a:lnTo>
                  <a:lnTo>
                    <a:pt x="307" y="137"/>
                  </a:lnTo>
                  <a:lnTo>
                    <a:pt x="310" y="135"/>
                  </a:lnTo>
                  <a:lnTo>
                    <a:pt x="312" y="135"/>
                  </a:lnTo>
                  <a:lnTo>
                    <a:pt x="321" y="137"/>
                  </a:lnTo>
                  <a:lnTo>
                    <a:pt x="324" y="137"/>
                  </a:lnTo>
                  <a:lnTo>
                    <a:pt x="331" y="135"/>
                  </a:lnTo>
                  <a:lnTo>
                    <a:pt x="347" y="123"/>
                  </a:lnTo>
                  <a:lnTo>
                    <a:pt x="362" y="118"/>
                  </a:lnTo>
                  <a:lnTo>
                    <a:pt x="366" y="118"/>
                  </a:lnTo>
                  <a:lnTo>
                    <a:pt x="373" y="118"/>
                  </a:lnTo>
                  <a:lnTo>
                    <a:pt x="380" y="123"/>
                  </a:lnTo>
                  <a:lnTo>
                    <a:pt x="383" y="130"/>
                  </a:lnTo>
                  <a:lnTo>
                    <a:pt x="385" y="137"/>
                  </a:lnTo>
                  <a:lnTo>
                    <a:pt x="388" y="147"/>
                  </a:lnTo>
                  <a:lnTo>
                    <a:pt x="392" y="154"/>
                  </a:lnTo>
                  <a:lnTo>
                    <a:pt x="404" y="161"/>
                  </a:lnTo>
                  <a:lnTo>
                    <a:pt x="409" y="168"/>
                  </a:lnTo>
                  <a:lnTo>
                    <a:pt x="411" y="178"/>
                  </a:lnTo>
                  <a:lnTo>
                    <a:pt x="421" y="178"/>
                  </a:lnTo>
                  <a:lnTo>
                    <a:pt x="433" y="171"/>
                  </a:lnTo>
                  <a:lnTo>
                    <a:pt x="440" y="166"/>
                  </a:lnTo>
                  <a:lnTo>
                    <a:pt x="442" y="156"/>
                  </a:lnTo>
                  <a:lnTo>
                    <a:pt x="437" y="149"/>
                  </a:lnTo>
                  <a:lnTo>
                    <a:pt x="423" y="137"/>
                  </a:lnTo>
                  <a:lnTo>
                    <a:pt x="421" y="133"/>
                  </a:lnTo>
                  <a:lnTo>
                    <a:pt x="418" y="130"/>
                  </a:lnTo>
                  <a:lnTo>
                    <a:pt x="418" y="126"/>
                  </a:lnTo>
                  <a:lnTo>
                    <a:pt x="418" y="121"/>
                  </a:lnTo>
                  <a:lnTo>
                    <a:pt x="421" y="116"/>
                  </a:lnTo>
                  <a:lnTo>
                    <a:pt x="425" y="109"/>
                  </a:lnTo>
                  <a:lnTo>
                    <a:pt x="428" y="107"/>
                  </a:lnTo>
                  <a:lnTo>
                    <a:pt x="430" y="97"/>
                  </a:lnTo>
                  <a:lnTo>
                    <a:pt x="425" y="92"/>
                  </a:lnTo>
                  <a:lnTo>
                    <a:pt x="421" y="92"/>
                  </a:lnTo>
                  <a:lnTo>
                    <a:pt x="409" y="90"/>
                  </a:lnTo>
                  <a:lnTo>
                    <a:pt x="399" y="88"/>
                  </a:lnTo>
                  <a:lnTo>
                    <a:pt x="395" y="83"/>
                  </a:lnTo>
                  <a:lnTo>
                    <a:pt x="397" y="74"/>
                  </a:lnTo>
                  <a:lnTo>
                    <a:pt x="395" y="71"/>
                  </a:lnTo>
                  <a:lnTo>
                    <a:pt x="392" y="71"/>
                  </a:lnTo>
                  <a:lnTo>
                    <a:pt x="392" y="66"/>
                  </a:lnTo>
                  <a:lnTo>
                    <a:pt x="392" y="64"/>
                  </a:lnTo>
                  <a:lnTo>
                    <a:pt x="392" y="59"/>
                  </a:lnTo>
                  <a:lnTo>
                    <a:pt x="390" y="50"/>
                  </a:lnTo>
                  <a:lnTo>
                    <a:pt x="390" y="45"/>
                  </a:lnTo>
                  <a:lnTo>
                    <a:pt x="392" y="43"/>
                  </a:lnTo>
                  <a:lnTo>
                    <a:pt x="399" y="36"/>
                  </a:lnTo>
                  <a:lnTo>
                    <a:pt x="399" y="31"/>
                  </a:lnTo>
                  <a:lnTo>
                    <a:pt x="402" y="17"/>
                  </a:lnTo>
                  <a:lnTo>
                    <a:pt x="404" y="14"/>
                  </a:lnTo>
                  <a:lnTo>
                    <a:pt x="407" y="12"/>
                  </a:lnTo>
                  <a:lnTo>
                    <a:pt x="433" y="0"/>
                  </a:lnTo>
                  <a:lnTo>
                    <a:pt x="440" y="0"/>
                  </a:lnTo>
                  <a:lnTo>
                    <a:pt x="444" y="3"/>
                  </a:lnTo>
                  <a:lnTo>
                    <a:pt x="447" y="7"/>
                  </a:lnTo>
                  <a:lnTo>
                    <a:pt x="444" y="17"/>
                  </a:lnTo>
                  <a:lnTo>
                    <a:pt x="447" y="21"/>
                  </a:lnTo>
                  <a:lnTo>
                    <a:pt x="459" y="24"/>
                  </a:lnTo>
                  <a:lnTo>
                    <a:pt x="461" y="26"/>
                  </a:lnTo>
                  <a:lnTo>
                    <a:pt x="463" y="26"/>
                  </a:lnTo>
                  <a:lnTo>
                    <a:pt x="466" y="29"/>
                  </a:lnTo>
                  <a:lnTo>
                    <a:pt x="470" y="31"/>
                  </a:lnTo>
                  <a:lnTo>
                    <a:pt x="473" y="31"/>
                  </a:lnTo>
                  <a:lnTo>
                    <a:pt x="482" y="29"/>
                  </a:lnTo>
                  <a:lnTo>
                    <a:pt x="504" y="31"/>
                  </a:lnTo>
                  <a:lnTo>
                    <a:pt x="511" y="29"/>
                  </a:lnTo>
                  <a:lnTo>
                    <a:pt x="511" y="24"/>
                  </a:lnTo>
                  <a:lnTo>
                    <a:pt x="513" y="26"/>
                  </a:lnTo>
                  <a:lnTo>
                    <a:pt x="518" y="36"/>
                  </a:lnTo>
                  <a:lnTo>
                    <a:pt x="520" y="38"/>
                  </a:lnTo>
                  <a:lnTo>
                    <a:pt x="522" y="43"/>
                  </a:lnTo>
                  <a:lnTo>
                    <a:pt x="525" y="45"/>
                  </a:lnTo>
                  <a:lnTo>
                    <a:pt x="527" y="45"/>
                  </a:lnTo>
                  <a:lnTo>
                    <a:pt x="541" y="45"/>
                  </a:lnTo>
                  <a:lnTo>
                    <a:pt x="548" y="48"/>
                  </a:lnTo>
                  <a:lnTo>
                    <a:pt x="565" y="55"/>
                  </a:lnTo>
                  <a:lnTo>
                    <a:pt x="567" y="57"/>
                  </a:lnTo>
                  <a:lnTo>
                    <a:pt x="567" y="59"/>
                  </a:lnTo>
                  <a:lnTo>
                    <a:pt x="570" y="64"/>
                  </a:lnTo>
                  <a:lnTo>
                    <a:pt x="572" y="76"/>
                  </a:lnTo>
                  <a:lnTo>
                    <a:pt x="574" y="81"/>
                  </a:lnTo>
                  <a:lnTo>
                    <a:pt x="574" y="83"/>
                  </a:lnTo>
                  <a:lnTo>
                    <a:pt x="574" y="83"/>
                  </a:lnTo>
                  <a:lnTo>
                    <a:pt x="572" y="85"/>
                  </a:lnTo>
                  <a:lnTo>
                    <a:pt x="572" y="88"/>
                  </a:lnTo>
                  <a:lnTo>
                    <a:pt x="570" y="90"/>
                  </a:lnTo>
                  <a:lnTo>
                    <a:pt x="567" y="92"/>
                  </a:lnTo>
                  <a:lnTo>
                    <a:pt x="567" y="95"/>
                  </a:lnTo>
                  <a:lnTo>
                    <a:pt x="565" y="95"/>
                  </a:lnTo>
                  <a:lnTo>
                    <a:pt x="560" y="97"/>
                  </a:lnTo>
                  <a:lnTo>
                    <a:pt x="553" y="97"/>
                  </a:lnTo>
                  <a:lnTo>
                    <a:pt x="553" y="97"/>
                  </a:lnTo>
                  <a:lnTo>
                    <a:pt x="551" y="97"/>
                  </a:lnTo>
                  <a:lnTo>
                    <a:pt x="546" y="104"/>
                  </a:lnTo>
                  <a:lnTo>
                    <a:pt x="546" y="109"/>
                  </a:lnTo>
                  <a:lnTo>
                    <a:pt x="558" y="116"/>
                  </a:lnTo>
                  <a:lnTo>
                    <a:pt x="560" y="118"/>
                  </a:lnTo>
                  <a:lnTo>
                    <a:pt x="563" y="121"/>
                  </a:lnTo>
                  <a:lnTo>
                    <a:pt x="563" y="123"/>
                  </a:lnTo>
                  <a:lnTo>
                    <a:pt x="563" y="126"/>
                  </a:lnTo>
                  <a:lnTo>
                    <a:pt x="563" y="128"/>
                  </a:lnTo>
                  <a:lnTo>
                    <a:pt x="563" y="128"/>
                  </a:lnTo>
                  <a:lnTo>
                    <a:pt x="563" y="133"/>
                  </a:lnTo>
                  <a:lnTo>
                    <a:pt x="565" y="135"/>
                  </a:lnTo>
                  <a:lnTo>
                    <a:pt x="567" y="145"/>
                  </a:lnTo>
                  <a:lnTo>
                    <a:pt x="570" y="149"/>
                  </a:lnTo>
                  <a:lnTo>
                    <a:pt x="570" y="152"/>
                  </a:lnTo>
                  <a:lnTo>
                    <a:pt x="567" y="163"/>
                  </a:lnTo>
                  <a:lnTo>
                    <a:pt x="565" y="171"/>
                  </a:lnTo>
                  <a:lnTo>
                    <a:pt x="565" y="173"/>
                  </a:lnTo>
                  <a:lnTo>
                    <a:pt x="565" y="175"/>
                  </a:lnTo>
                  <a:lnTo>
                    <a:pt x="565" y="185"/>
                  </a:lnTo>
                  <a:lnTo>
                    <a:pt x="567" y="201"/>
                  </a:lnTo>
                  <a:lnTo>
                    <a:pt x="567" y="206"/>
                  </a:lnTo>
                  <a:lnTo>
                    <a:pt x="565" y="206"/>
                  </a:lnTo>
                  <a:lnTo>
                    <a:pt x="565" y="208"/>
                  </a:lnTo>
                  <a:lnTo>
                    <a:pt x="558" y="218"/>
                  </a:lnTo>
                  <a:lnTo>
                    <a:pt x="556" y="220"/>
                  </a:lnTo>
                  <a:lnTo>
                    <a:pt x="556" y="223"/>
                  </a:lnTo>
                  <a:lnTo>
                    <a:pt x="553" y="227"/>
                  </a:lnTo>
                  <a:lnTo>
                    <a:pt x="553" y="237"/>
                  </a:lnTo>
                  <a:lnTo>
                    <a:pt x="553" y="242"/>
                  </a:lnTo>
                  <a:lnTo>
                    <a:pt x="551" y="244"/>
                  </a:lnTo>
                  <a:lnTo>
                    <a:pt x="548" y="246"/>
                  </a:lnTo>
                  <a:lnTo>
                    <a:pt x="548" y="249"/>
                  </a:lnTo>
                  <a:lnTo>
                    <a:pt x="546" y="251"/>
                  </a:lnTo>
                  <a:lnTo>
                    <a:pt x="546" y="256"/>
                  </a:lnTo>
                  <a:lnTo>
                    <a:pt x="544" y="260"/>
                  </a:lnTo>
                  <a:lnTo>
                    <a:pt x="546" y="263"/>
                  </a:lnTo>
                  <a:lnTo>
                    <a:pt x="546" y="263"/>
                  </a:lnTo>
                  <a:lnTo>
                    <a:pt x="546" y="265"/>
                  </a:lnTo>
                  <a:lnTo>
                    <a:pt x="548" y="265"/>
                  </a:lnTo>
                  <a:lnTo>
                    <a:pt x="548" y="268"/>
                  </a:lnTo>
                  <a:lnTo>
                    <a:pt x="551" y="268"/>
                  </a:lnTo>
                  <a:lnTo>
                    <a:pt x="556" y="268"/>
                  </a:lnTo>
                  <a:lnTo>
                    <a:pt x="558" y="268"/>
                  </a:lnTo>
                  <a:lnTo>
                    <a:pt x="558" y="270"/>
                  </a:lnTo>
                  <a:lnTo>
                    <a:pt x="558" y="272"/>
                  </a:lnTo>
                  <a:lnTo>
                    <a:pt x="560" y="277"/>
                  </a:lnTo>
                  <a:lnTo>
                    <a:pt x="560" y="279"/>
                  </a:lnTo>
                  <a:lnTo>
                    <a:pt x="560" y="279"/>
                  </a:lnTo>
                  <a:lnTo>
                    <a:pt x="563" y="282"/>
                  </a:lnTo>
                  <a:lnTo>
                    <a:pt x="563" y="282"/>
                  </a:lnTo>
                  <a:lnTo>
                    <a:pt x="565" y="286"/>
                  </a:lnTo>
                  <a:lnTo>
                    <a:pt x="567" y="289"/>
                  </a:lnTo>
                  <a:lnTo>
                    <a:pt x="567" y="291"/>
                  </a:lnTo>
                  <a:lnTo>
                    <a:pt x="567" y="294"/>
                  </a:lnTo>
                  <a:lnTo>
                    <a:pt x="565" y="298"/>
                  </a:lnTo>
                  <a:lnTo>
                    <a:pt x="565" y="301"/>
                  </a:lnTo>
                  <a:lnTo>
                    <a:pt x="565" y="305"/>
                  </a:lnTo>
                  <a:lnTo>
                    <a:pt x="565" y="305"/>
                  </a:lnTo>
                  <a:lnTo>
                    <a:pt x="567" y="310"/>
                  </a:lnTo>
                  <a:lnTo>
                    <a:pt x="572" y="322"/>
                  </a:lnTo>
                  <a:lnTo>
                    <a:pt x="572" y="322"/>
                  </a:lnTo>
                  <a:lnTo>
                    <a:pt x="574" y="324"/>
                  </a:lnTo>
                  <a:lnTo>
                    <a:pt x="574" y="324"/>
                  </a:lnTo>
                  <a:lnTo>
                    <a:pt x="579" y="324"/>
                  </a:lnTo>
                  <a:lnTo>
                    <a:pt x="582" y="327"/>
                  </a:lnTo>
                  <a:lnTo>
                    <a:pt x="584" y="327"/>
                  </a:lnTo>
                  <a:lnTo>
                    <a:pt x="584" y="329"/>
                  </a:lnTo>
                  <a:lnTo>
                    <a:pt x="584" y="334"/>
                  </a:lnTo>
                  <a:lnTo>
                    <a:pt x="584" y="336"/>
                  </a:lnTo>
                  <a:lnTo>
                    <a:pt x="586" y="336"/>
                  </a:lnTo>
                  <a:lnTo>
                    <a:pt x="589" y="339"/>
                  </a:lnTo>
                  <a:lnTo>
                    <a:pt x="591" y="339"/>
                  </a:lnTo>
                  <a:lnTo>
                    <a:pt x="593" y="339"/>
                  </a:lnTo>
                  <a:lnTo>
                    <a:pt x="593" y="339"/>
                  </a:lnTo>
                  <a:lnTo>
                    <a:pt x="596" y="339"/>
                  </a:lnTo>
                  <a:lnTo>
                    <a:pt x="596" y="336"/>
                  </a:lnTo>
                  <a:lnTo>
                    <a:pt x="601" y="331"/>
                  </a:lnTo>
                  <a:lnTo>
                    <a:pt x="601" y="331"/>
                  </a:lnTo>
                  <a:lnTo>
                    <a:pt x="603" y="331"/>
                  </a:lnTo>
                  <a:lnTo>
                    <a:pt x="610" y="331"/>
                  </a:lnTo>
                  <a:lnTo>
                    <a:pt x="612" y="329"/>
                  </a:lnTo>
                  <a:lnTo>
                    <a:pt x="615" y="329"/>
                  </a:lnTo>
                  <a:lnTo>
                    <a:pt x="615" y="329"/>
                  </a:lnTo>
                  <a:lnTo>
                    <a:pt x="615" y="327"/>
                  </a:lnTo>
                  <a:lnTo>
                    <a:pt x="617" y="327"/>
                  </a:lnTo>
                  <a:lnTo>
                    <a:pt x="617" y="324"/>
                  </a:lnTo>
                  <a:lnTo>
                    <a:pt x="617" y="322"/>
                  </a:lnTo>
                  <a:lnTo>
                    <a:pt x="617" y="320"/>
                  </a:lnTo>
                  <a:lnTo>
                    <a:pt x="617" y="317"/>
                  </a:lnTo>
                  <a:lnTo>
                    <a:pt x="617" y="315"/>
                  </a:lnTo>
                  <a:lnTo>
                    <a:pt x="617" y="315"/>
                  </a:lnTo>
                  <a:lnTo>
                    <a:pt x="619" y="312"/>
                  </a:lnTo>
                  <a:lnTo>
                    <a:pt x="619" y="312"/>
                  </a:lnTo>
                  <a:lnTo>
                    <a:pt x="624" y="312"/>
                  </a:lnTo>
                  <a:lnTo>
                    <a:pt x="627" y="312"/>
                  </a:lnTo>
                  <a:lnTo>
                    <a:pt x="631" y="310"/>
                  </a:lnTo>
                  <a:lnTo>
                    <a:pt x="634" y="310"/>
                  </a:lnTo>
                  <a:lnTo>
                    <a:pt x="634" y="310"/>
                  </a:lnTo>
                  <a:lnTo>
                    <a:pt x="636" y="310"/>
                  </a:lnTo>
                  <a:lnTo>
                    <a:pt x="641" y="312"/>
                  </a:lnTo>
                  <a:lnTo>
                    <a:pt x="641" y="312"/>
                  </a:lnTo>
                  <a:lnTo>
                    <a:pt x="643" y="312"/>
                  </a:lnTo>
                  <a:lnTo>
                    <a:pt x="653" y="308"/>
                  </a:lnTo>
                  <a:lnTo>
                    <a:pt x="655" y="308"/>
                  </a:lnTo>
                  <a:lnTo>
                    <a:pt x="657" y="308"/>
                  </a:lnTo>
                  <a:lnTo>
                    <a:pt x="660" y="310"/>
                  </a:lnTo>
                  <a:lnTo>
                    <a:pt x="667" y="312"/>
                  </a:lnTo>
                  <a:lnTo>
                    <a:pt x="657" y="331"/>
                  </a:lnTo>
                  <a:lnTo>
                    <a:pt x="655" y="336"/>
                  </a:lnTo>
                  <a:lnTo>
                    <a:pt x="653" y="348"/>
                  </a:lnTo>
                  <a:lnTo>
                    <a:pt x="648" y="360"/>
                  </a:lnTo>
                  <a:lnTo>
                    <a:pt x="643" y="365"/>
                  </a:lnTo>
                  <a:lnTo>
                    <a:pt x="619" y="414"/>
                  </a:lnTo>
                  <a:lnTo>
                    <a:pt x="619" y="421"/>
                  </a:lnTo>
                  <a:lnTo>
                    <a:pt x="622" y="433"/>
                  </a:lnTo>
                  <a:lnTo>
                    <a:pt x="629" y="462"/>
                  </a:lnTo>
                  <a:lnTo>
                    <a:pt x="631" y="478"/>
                  </a:lnTo>
                  <a:lnTo>
                    <a:pt x="629" y="478"/>
                  </a:lnTo>
                  <a:lnTo>
                    <a:pt x="629" y="480"/>
                  </a:lnTo>
                  <a:lnTo>
                    <a:pt x="629" y="483"/>
                  </a:lnTo>
                  <a:lnTo>
                    <a:pt x="631" y="485"/>
                  </a:lnTo>
                  <a:lnTo>
                    <a:pt x="631" y="490"/>
                  </a:lnTo>
                  <a:lnTo>
                    <a:pt x="636" y="495"/>
                  </a:lnTo>
                  <a:lnTo>
                    <a:pt x="643" y="492"/>
                  </a:lnTo>
                  <a:lnTo>
                    <a:pt x="648" y="492"/>
                  </a:lnTo>
                  <a:lnTo>
                    <a:pt x="650" y="499"/>
                  </a:lnTo>
                  <a:lnTo>
                    <a:pt x="650" y="509"/>
                  </a:lnTo>
                  <a:lnTo>
                    <a:pt x="653" y="511"/>
                  </a:lnTo>
                  <a:lnTo>
                    <a:pt x="655" y="514"/>
                  </a:lnTo>
                  <a:lnTo>
                    <a:pt x="655" y="516"/>
                  </a:lnTo>
                  <a:lnTo>
                    <a:pt x="653" y="521"/>
                  </a:lnTo>
                  <a:lnTo>
                    <a:pt x="655" y="530"/>
                  </a:lnTo>
                  <a:lnTo>
                    <a:pt x="653" y="535"/>
                  </a:lnTo>
                  <a:lnTo>
                    <a:pt x="660" y="535"/>
                  </a:lnTo>
                  <a:lnTo>
                    <a:pt x="662" y="535"/>
                  </a:lnTo>
                  <a:lnTo>
                    <a:pt x="664" y="535"/>
                  </a:lnTo>
                  <a:lnTo>
                    <a:pt x="664" y="535"/>
                  </a:lnTo>
                  <a:lnTo>
                    <a:pt x="667" y="537"/>
                  </a:lnTo>
                  <a:lnTo>
                    <a:pt x="669" y="540"/>
                  </a:lnTo>
                  <a:lnTo>
                    <a:pt x="669" y="542"/>
                  </a:lnTo>
                  <a:lnTo>
                    <a:pt x="669" y="542"/>
                  </a:lnTo>
                  <a:lnTo>
                    <a:pt x="671" y="544"/>
                  </a:lnTo>
                  <a:lnTo>
                    <a:pt x="671" y="544"/>
                  </a:lnTo>
                  <a:lnTo>
                    <a:pt x="674" y="542"/>
                  </a:lnTo>
                  <a:lnTo>
                    <a:pt x="676" y="542"/>
                  </a:lnTo>
                  <a:lnTo>
                    <a:pt x="676" y="540"/>
                  </a:lnTo>
                  <a:lnTo>
                    <a:pt x="676" y="537"/>
                  </a:lnTo>
                  <a:lnTo>
                    <a:pt x="679" y="537"/>
                  </a:lnTo>
                  <a:lnTo>
                    <a:pt x="679" y="537"/>
                  </a:lnTo>
                  <a:lnTo>
                    <a:pt x="681" y="537"/>
                  </a:lnTo>
                  <a:lnTo>
                    <a:pt x="686" y="537"/>
                  </a:lnTo>
                  <a:lnTo>
                    <a:pt x="695" y="547"/>
                  </a:lnTo>
                  <a:lnTo>
                    <a:pt x="698" y="549"/>
                  </a:lnTo>
                  <a:lnTo>
                    <a:pt x="700" y="551"/>
                  </a:lnTo>
                  <a:lnTo>
                    <a:pt x="700" y="554"/>
                  </a:lnTo>
                  <a:lnTo>
                    <a:pt x="733" y="573"/>
                  </a:lnTo>
                  <a:lnTo>
                    <a:pt x="742" y="575"/>
                  </a:lnTo>
                  <a:lnTo>
                    <a:pt x="745" y="575"/>
                  </a:lnTo>
                  <a:lnTo>
                    <a:pt x="747" y="577"/>
                  </a:lnTo>
                  <a:lnTo>
                    <a:pt x="750" y="580"/>
                  </a:lnTo>
                  <a:lnTo>
                    <a:pt x="750" y="580"/>
                  </a:lnTo>
                  <a:lnTo>
                    <a:pt x="752" y="582"/>
                  </a:lnTo>
                  <a:lnTo>
                    <a:pt x="752" y="582"/>
                  </a:lnTo>
                  <a:lnTo>
                    <a:pt x="752" y="585"/>
                  </a:lnTo>
                  <a:lnTo>
                    <a:pt x="750" y="587"/>
                  </a:lnTo>
                  <a:lnTo>
                    <a:pt x="750" y="589"/>
                  </a:lnTo>
                  <a:lnTo>
                    <a:pt x="750" y="589"/>
                  </a:lnTo>
                  <a:lnTo>
                    <a:pt x="750" y="592"/>
                  </a:lnTo>
                  <a:lnTo>
                    <a:pt x="752" y="592"/>
                  </a:lnTo>
                  <a:lnTo>
                    <a:pt x="752" y="592"/>
                  </a:lnTo>
                  <a:lnTo>
                    <a:pt x="754" y="594"/>
                  </a:lnTo>
                  <a:lnTo>
                    <a:pt x="754" y="594"/>
                  </a:lnTo>
                  <a:lnTo>
                    <a:pt x="759" y="594"/>
                  </a:lnTo>
                  <a:lnTo>
                    <a:pt x="764" y="592"/>
                  </a:lnTo>
                  <a:lnTo>
                    <a:pt x="764" y="592"/>
                  </a:lnTo>
                  <a:lnTo>
                    <a:pt x="766" y="592"/>
                  </a:lnTo>
                  <a:lnTo>
                    <a:pt x="769" y="594"/>
                  </a:lnTo>
                  <a:lnTo>
                    <a:pt x="769" y="596"/>
                  </a:lnTo>
                  <a:lnTo>
                    <a:pt x="769" y="596"/>
                  </a:lnTo>
                  <a:lnTo>
                    <a:pt x="766" y="601"/>
                  </a:lnTo>
                  <a:lnTo>
                    <a:pt x="766" y="601"/>
                  </a:lnTo>
                  <a:lnTo>
                    <a:pt x="766" y="603"/>
                  </a:lnTo>
                  <a:lnTo>
                    <a:pt x="766" y="603"/>
                  </a:lnTo>
                  <a:lnTo>
                    <a:pt x="769" y="606"/>
                  </a:lnTo>
                  <a:lnTo>
                    <a:pt x="769" y="606"/>
                  </a:lnTo>
                  <a:lnTo>
                    <a:pt x="773" y="611"/>
                  </a:lnTo>
                  <a:lnTo>
                    <a:pt x="776" y="613"/>
                  </a:lnTo>
                  <a:lnTo>
                    <a:pt x="778" y="613"/>
                  </a:lnTo>
                  <a:lnTo>
                    <a:pt x="780" y="613"/>
                  </a:lnTo>
                  <a:lnTo>
                    <a:pt x="780" y="613"/>
                  </a:lnTo>
                  <a:lnTo>
                    <a:pt x="783" y="611"/>
                  </a:lnTo>
                  <a:lnTo>
                    <a:pt x="785" y="608"/>
                  </a:lnTo>
                  <a:lnTo>
                    <a:pt x="785" y="608"/>
                  </a:lnTo>
                  <a:lnTo>
                    <a:pt x="785" y="606"/>
                  </a:lnTo>
                  <a:lnTo>
                    <a:pt x="795" y="606"/>
                  </a:lnTo>
                  <a:lnTo>
                    <a:pt x="797" y="603"/>
                  </a:lnTo>
                  <a:lnTo>
                    <a:pt x="797" y="603"/>
                  </a:lnTo>
                  <a:lnTo>
                    <a:pt x="799" y="601"/>
                  </a:lnTo>
                  <a:lnTo>
                    <a:pt x="802" y="601"/>
                  </a:lnTo>
                  <a:lnTo>
                    <a:pt x="804" y="601"/>
                  </a:lnTo>
                  <a:lnTo>
                    <a:pt x="813" y="603"/>
                  </a:lnTo>
                  <a:lnTo>
                    <a:pt x="816" y="606"/>
                  </a:lnTo>
                  <a:lnTo>
                    <a:pt x="813" y="611"/>
                  </a:lnTo>
                  <a:lnTo>
                    <a:pt x="811" y="611"/>
                  </a:lnTo>
                  <a:lnTo>
                    <a:pt x="811" y="613"/>
                  </a:lnTo>
                  <a:lnTo>
                    <a:pt x="811" y="613"/>
                  </a:lnTo>
                  <a:lnTo>
                    <a:pt x="813" y="622"/>
                  </a:lnTo>
                  <a:lnTo>
                    <a:pt x="813" y="622"/>
                  </a:lnTo>
                  <a:lnTo>
                    <a:pt x="821" y="625"/>
                  </a:lnTo>
                  <a:lnTo>
                    <a:pt x="837" y="622"/>
                  </a:lnTo>
                  <a:lnTo>
                    <a:pt x="839" y="632"/>
                  </a:lnTo>
                  <a:lnTo>
                    <a:pt x="849" y="641"/>
                  </a:lnTo>
                  <a:lnTo>
                    <a:pt x="877" y="653"/>
                  </a:lnTo>
                  <a:lnTo>
                    <a:pt x="882" y="653"/>
                  </a:lnTo>
                  <a:lnTo>
                    <a:pt x="887" y="656"/>
                  </a:lnTo>
                  <a:lnTo>
                    <a:pt x="889" y="663"/>
                  </a:lnTo>
                  <a:lnTo>
                    <a:pt x="873" y="660"/>
                  </a:lnTo>
                  <a:lnTo>
                    <a:pt x="851" y="663"/>
                  </a:lnTo>
                  <a:lnTo>
                    <a:pt x="851" y="663"/>
                  </a:lnTo>
                  <a:lnTo>
                    <a:pt x="849" y="665"/>
                  </a:lnTo>
                  <a:lnTo>
                    <a:pt x="849" y="665"/>
                  </a:lnTo>
                  <a:lnTo>
                    <a:pt x="849" y="670"/>
                  </a:lnTo>
                  <a:lnTo>
                    <a:pt x="847" y="672"/>
                  </a:lnTo>
                  <a:lnTo>
                    <a:pt x="844" y="672"/>
                  </a:lnTo>
                  <a:lnTo>
                    <a:pt x="839" y="670"/>
                  </a:lnTo>
                  <a:lnTo>
                    <a:pt x="818" y="679"/>
                  </a:lnTo>
                  <a:lnTo>
                    <a:pt x="813" y="682"/>
                  </a:lnTo>
                  <a:lnTo>
                    <a:pt x="811" y="679"/>
                  </a:lnTo>
                  <a:lnTo>
                    <a:pt x="809" y="677"/>
                  </a:lnTo>
                  <a:lnTo>
                    <a:pt x="806" y="677"/>
                  </a:lnTo>
                  <a:lnTo>
                    <a:pt x="806" y="674"/>
                  </a:lnTo>
                  <a:lnTo>
                    <a:pt x="790" y="672"/>
                  </a:lnTo>
                  <a:lnTo>
                    <a:pt x="787" y="672"/>
                  </a:lnTo>
                  <a:lnTo>
                    <a:pt x="764" y="679"/>
                  </a:lnTo>
                  <a:lnTo>
                    <a:pt x="761" y="679"/>
                  </a:lnTo>
                  <a:lnTo>
                    <a:pt x="761" y="679"/>
                  </a:lnTo>
                  <a:lnTo>
                    <a:pt x="761" y="682"/>
                  </a:lnTo>
                  <a:lnTo>
                    <a:pt x="759" y="684"/>
                  </a:lnTo>
                  <a:lnTo>
                    <a:pt x="759" y="686"/>
                  </a:lnTo>
                  <a:lnTo>
                    <a:pt x="757" y="686"/>
                  </a:lnTo>
                  <a:lnTo>
                    <a:pt x="747" y="691"/>
                  </a:lnTo>
                  <a:lnTo>
                    <a:pt x="745" y="691"/>
                  </a:lnTo>
                  <a:lnTo>
                    <a:pt x="745" y="693"/>
                  </a:lnTo>
                  <a:lnTo>
                    <a:pt x="740" y="696"/>
                  </a:lnTo>
                  <a:lnTo>
                    <a:pt x="733" y="701"/>
                  </a:lnTo>
                  <a:lnTo>
                    <a:pt x="728" y="698"/>
                  </a:lnTo>
                  <a:lnTo>
                    <a:pt x="728" y="696"/>
                  </a:lnTo>
                  <a:lnTo>
                    <a:pt x="724" y="696"/>
                  </a:lnTo>
                  <a:lnTo>
                    <a:pt x="724" y="696"/>
                  </a:lnTo>
                  <a:lnTo>
                    <a:pt x="693" y="691"/>
                  </a:lnTo>
                  <a:lnTo>
                    <a:pt x="693" y="691"/>
                  </a:lnTo>
                  <a:lnTo>
                    <a:pt x="690" y="691"/>
                  </a:lnTo>
                  <a:lnTo>
                    <a:pt x="690" y="689"/>
                  </a:lnTo>
                  <a:lnTo>
                    <a:pt x="690" y="686"/>
                  </a:lnTo>
                  <a:lnTo>
                    <a:pt x="693" y="686"/>
                  </a:lnTo>
                  <a:lnTo>
                    <a:pt x="693" y="684"/>
                  </a:lnTo>
                  <a:lnTo>
                    <a:pt x="693" y="682"/>
                  </a:lnTo>
                  <a:lnTo>
                    <a:pt x="690" y="682"/>
                  </a:lnTo>
                  <a:lnTo>
                    <a:pt x="690" y="679"/>
                  </a:lnTo>
                  <a:lnTo>
                    <a:pt x="690" y="679"/>
                  </a:lnTo>
                  <a:lnTo>
                    <a:pt x="688" y="679"/>
                  </a:lnTo>
                  <a:lnTo>
                    <a:pt x="683" y="674"/>
                  </a:lnTo>
                  <a:lnTo>
                    <a:pt x="683" y="674"/>
                  </a:lnTo>
                  <a:lnTo>
                    <a:pt x="679" y="674"/>
                  </a:lnTo>
                  <a:lnTo>
                    <a:pt x="674" y="677"/>
                  </a:lnTo>
                  <a:lnTo>
                    <a:pt x="671" y="677"/>
                  </a:lnTo>
                  <a:lnTo>
                    <a:pt x="671" y="674"/>
                  </a:lnTo>
                  <a:lnTo>
                    <a:pt x="669" y="674"/>
                  </a:lnTo>
                  <a:lnTo>
                    <a:pt x="667" y="677"/>
                  </a:lnTo>
                  <a:lnTo>
                    <a:pt x="662" y="686"/>
                  </a:lnTo>
                  <a:lnTo>
                    <a:pt x="655" y="698"/>
                  </a:lnTo>
                  <a:lnTo>
                    <a:pt x="645" y="708"/>
                  </a:lnTo>
                  <a:lnTo>
                    <a:pt x="636" y="712"/>
                  </a:lnTo>
                  <a:lnTo>
                    <a:pt x="622" y="712"/>
                  </a:lnTo>
                  <a:lnTo>
                    <a:pt x="610" y="712"/>
                  </a:lnTo>
                  <a:lnTo>
                    <a:pt x="598" y="708"/>
                  </a:lnTo>
                  <a:lnTo>
                    <a:pt x="593" y="701"/>
                  </a:lnTo>
                  <a:lnTo>
                    <a:pt x="586" y="689"/>
                  </a:lnTo>
                  <a:lnTo>
                    <a:pt x="582" y="686"/>
                  </a:lnTo>
                  <a:lnTo>
                    <a:pt x="577" y="689"/>
                  </a:lnTo>
                  <a:lnTo>
                    <a:pt x="572" y="691"/>
                  </a:lnTo>
                  <a:lnTo>
                    <a:pt x="567" y="691"/>
                  </a:lnTo>
                  <a:lnTo>
                    <a:pt x="560" y="689"/>
                  </a:lnTo>
                  <a:lnTo>
                    <a:pt x="527" y="672"/>
                  </a:lnTo>
                  <a:lnTo>
                    <a:pt x="515" y="670"/>
                  </a:lnTo>
                  <a:lnTo>
                    <a:pt x="504" y="674"/>
                  </a:lnTo>
                  <a:lnTo>
                    <a:pt x="492" y="679"/>
                  </a:lnTo>
                  <a:lnTo>
                    <a:pt x="482" y="679"/>
                  </a:lnTo>
                  <a:lnTo>
                    <a:pt x="473" y="667"/>
                  </a:lnTo>
                  <a:lnTo>
                    <a:pt x="466" y="656"/>
                  </a:lnTo>
                  <a:lnTo>
                    <a:pt x="466" y="651"/>
                  </a:lnTo>
                  <a:lnTo>
                    <a:pt x="463" y="651"/>
                  </a:lnTo>
                  <a:lnTo>
                    <a:pt x="459" y="646"/>
                  </a:lnTo>
                  <a:lnTo>
                    <a:pt x="456" y="644"/>
                  </a:lnTo>
                  <a:lnTo>
                    <a:pt x="451" y="644"/>
                  </a:lnTo>
                  <a:lnTo>
                    <a:pt x="433" y="656"/>
                  </a:lnTo>
                  <a:lnTo>
                    <a:pt x="433" y="646"/>
                  </a:lnTo>
                  <a:lnTo>
                    <a:pt x="428" y="641"/>
                  </a:lnTo>
                  <a:lnTo>
                    <a:pt x="421" y="644"/>
                  </a:lnTo>
                  <a:lnTo>
                    <a:pt x="423" y="651"/>
                  </a:lnTo>
                  <a:lnTo>
                    <a:pt x="428" y="658"/>
                  </a:lnTo>
                  <a:lnTo>
                    <a:pt x="428" y="663"/>
                  </a:lnTo>
                  <a:lnTo>
                    <a:pt x="423" y="663"/>
                  </a:lnTo>
                  <a:lnTo>
                    <a:pt x="409" y="660"/>
                  </a:lnTo>
                  <a:lnTo>
                    <a:pt x="407" y="663"/>
                  </a:lnTo>
                  <a:lnTo>
                    <a:pt x="411" y="667"/>
                  </a:lnTo>
                  <a:lnTo>
                    <a:pt x="411" y="672"/>
                  </a:lnTo>
                  <a:lnTo>
                    <a:pt x="409" y="674"/>
                  </a:lnTo>
                  <a:lnTo>
                    <a:pt x="407" y="674"/>
                  </a:lnTo>
                  <a:lnTo>
                    <a:pt x="407" y="672"/>
                  </a:lnTo>
                  <a:lnTo>
                    <a:pt x="402" y="667"/>
                  </a:lnTo>
                  <a:lnTo>
                    <a:pt x="390" y="663"/>
                  </a:lnTo>
                  <a:lnTo>
                    <a:pt x="388" y="658"/>
                  </a:lnTo>
                  <a:lnTo>
                    <a:pt x="385" y="658"/>
                  </a:lnTo>
                  <a:lnTo>
                    <a:pt x="385" y="660"/>
                  </a:lnTo>
                  <a:lnTo>
                    <a:pt x="385" y="660"/>
                  </a:lnTo>
                  <a:lnTo>
                    <a:pt x="385" y="660"/>
                  </a:lnTo>
                  <a:lnTo>
                    <a:pt x="383" y="660"/>
                  </a:lnTo>
                  <a:lnTo>
                    <a:pt x="385" y="672"/>
                  </a:lnTo>
                  <a:lnTo>
                    <a:pt x="376" y="677"/>
                  </a:lnTo>
                  <a:lnTo>
                    <a:pt x="364" y="677"/>
                  </a:lnTo>
                  <a:lnTo>
                    <a:pt x="354" y="672"/>
                  </a:lnTo>
                  <a:lnTo>
                    <a:pt x="350" y="670"/>
                  </a:lnTo>
                  <a:lnTo>
                    <a:pt x="350" y="670"/>
                  </a:lnTo>
                  <a:lnTo>
                    <a:pt x="350" y="663"/>
                  </a:lnTo>
                  <a:lnTo>
                    <a:pt x="350" y="660"/>
                  </a:lnTo>
                  <a:lnTo>
                    <a:pt x="350" y="658"/>
                  </a:lnTo>
                  <a:lnTo>
                    <a:pt x="350" y="658"/>
                  </a:lnTo>
                  <a:lnTo>
                    <a:pt x="345" y="656"/>
                  </a:lnTo>
                  <a:lnTo>
                    <a:pt x="343" y="658"/>
                  </a:lnTo>
                  <a:lnTo>
                    <a:pt x="338" y="663"/>
                  </a:lnTo>
                  <a:lnTo>
                    <a:pt x="336" y="665"/>
                  </a:lnTo>
                  <a:lnTo>
                    <a:pt x="331" y="665"/>
                  </a:lnTo>
                  <a:lnTo>
                    <a:pt x="326" y="658"/>
                  </a:lnTo>
                  <a:lnTo>
                    <a:pt x="324" y="656"/>
                  </a:lnTo>
                  <a:lnTo>
                    <a:pt x="321" y="658"/>
                  </a:lnTo>
                  <a:lnTo>
                    <a:pt x="319" y="660"/>
                  </a:lnTo>
                  <a:lnTo>
                    <a:pt x="321" y="665"/>
                  </a:lnTo>
                  <a:lnTo>
                    <a:pt x="321" y="667"/>
                  </a:lnTo>
                  <a:lnTo>
                    <a:pt x="324" y="672"/>
                  </a:lnTo>
                  <a:lnTo>
                    <a:pt x="321" y="677"/>
                  </a:lnTo>
                  <a:lnTo>
                    <a:pt x="319" y="677"/>
                  </a:lnTo>
                  <a:lnTo>
                    <a:pt x="312" y="672"/>
                  </a:lnTo>
                  <a:lnTo>
                    <a:pt x="310" y="672"/>
                  </a:lnTo>
                  <a:lnTo>
                    <a:pt x="307" y="672"/>
                  </a:lnTo>
                  <a:lnTo>
                    <a:pt x="300" y="674"/>
                  </a:lnTo>
                  <a:lnTo>
                    <a:pt x="286" y="674"/>
                  </a:lnTo>
                  <a:lnTo>
                    <a:pt x="286" y="682"/>
                  </a:lnTo>
                  <a:lnTo>
                    <a:pt x="283" y="684"/>
                  </a:lnTo>
                  <a:lnTo>
                    <a:pt x="276" y="701"/>
                  </a:lnTo>
                  <a:lnTo>
                    <a:pt x="262" y="745"/>
                  </a:lnTo>
                  <a:lnTo>
                    <a:pt x="262" y="750"/>
                  </a:lnTo>
                  <a:lnTo>
                    <a:pt x="260" y="755"/>
                  </a:lnTo>
                  <a:lnTo>
                    <a:pt x="260" y="757"/>
                  </a:lnTo>
                  <a:lnTo>
                    <a:pt x="260" y="760"/>
                  </a:lnTo>
                  <a:lnTo>
                    <a:pt x="260" y="764"/>
                  </a:lnTo>
                  <a:lnTo>
                    <a:pt x="260" y="767"/>
                  </a:lnTo>
                  <a:lnTo>
                    <a:pt x="262" y="769"/>
                  </a:lnTo>
                  <a:lnTo>
                    <a:pt x="262" y="769"/>
                  </a:lnTo>
                  <a:lnTo>
                    <a:pt x="265" y="771"/>
                  </a:lnTo>
                  <a:lnTo>
                    <a:pt x="265" y="771"/>
                  </a:lnTo>
                  <a:lnTo>
                    <a:pt x="267" y="774"/>
                  </a:lnTo>
                  <a:lnTo>
                    <a:pt x="274" y="774"/>
                  </a:lnTo>
                  <a:lnTo>
                    <a:pt x="276" y="776"/>
                  </a:lnTo>
                  <a:lnTo>
                    <a:pt x="276" y="776"/>
                  </a:lnTo>
                  <a:lnTo>
                    <a:pt x="279" y="779"/>
                  </a:lnTo>
                  <a:lnTo>
                    <a:pt x="279" y="779"/>
                  </a:lnTo>
                  <a:lnTo>
                    <a:pt x="279" y="781"/>
                  </a:lnTo>
                  <a:lnTo>
                    <a:pt x="279" y="783"/>
                  </a:lnTo>
                  <a:lnTo>
                    <a:pt x="279" y="795"/>
                  </a:lnTo>
                  <a:lnTo>
                    <a:pt x="276" y="802"/>
                  </a:lnTo>
                  <a:lnTo>
                    <a:pt x="272" y="816"/>
                  </a:lnTo>
                  <a:lnTo>
                    <a:pt x="269" y="821"/>
                  </a:lnTo>
                  <a:lnTo>
                    <a:pt x="267" y="824"/>
                  </a:lnTo>
                  <a:lnTo>
                    <a:pt x="269" y="826"/>
                  </a:lnTo>
                  <a:lnTo>
                    <a:pt x="269" y="828"/>
                  </a:lnTo>
                  <a:lnTo>
                    <a:pt x="274" y="835"/>
                  </a:lnTo>
                  <a:lnTo>
                    <a:pt x="274" y="842"/>
                  </a:lnTo>
                  <a:lnTo>
                    <a:pt x="276" y="842"/>
                  </a:lnTo>
                  <a:lnTo>
                    <a:pt x="276" y="845"/>
                  </a:lnTo>
                  <a:lnTo>
                    <a:pt x="274" y="847"/>
                  </a:lnTo>
                  <a:lnTo>
                    <a:pt x="274" y="850"/>
                  </a:lnTo>
                  <a:lnTo>
                    <a:pt x="272" y="852"/>
                  </a:lnTo>
                  <a:lnTo>
                    <a:pt x="269" y="852"/>
                  </a:lnTo>
                  <a:lnTo>
                    <a:pt x="267" y="852"/>
                  </a:lnTo>
                  <a:lnTo>
                    <a:pt x="262" y="852"/>
                  </a:lnTo>
                  <a:lnTo>
                    <a:pt x="260" y="852"/>
                  </a:lnTo>
                  <a:lnTo>
                    <a:pt x="257" y="850"/>
                  </a:lnTo>
                  <a:lnTo>
                    <a:pt x="255" y="847"/>
                  </a:lnTo>
                  <a:lnTo>
                    <a:pt x="255" y="845"/>
                  </a:lnTo>
                  <a:lnTo>
                    <a:pt x="253" y="845"/>
                  </a:lnTo>
                  <a:lnTo>
                    <a:pt x="253" y="845"/>
                  </a:lnTo>
                  <a:lnTo>
                    <a:pt x="253" y="847"/>
                  </a:lnTo>
                  <a:lnTo>
                    <a:pt x="253" y="850"/>
                  </a:lnTo>
                  <a:lnTo>
                    <a:pt x="253" y="854"/>
                  </a:lnTo>
                  <a:lnTo>
                    <a:pt x="253" y="857"/>
                  </a:lnTo>
                  <a:lnTo>
                    <a:pt x="253" y="859"/>
                  </a:lnTo>
                  <a:lnTo>
                    <a:pt x="250" y="861"/>
                  </a:lnTo>
                  <a:lnTo>
                    <a:pt x="241" y="861"/>
                  </a:lnTo>
                  <a:lnTo>
                    <a:pt x="241" y="845"/>
                  </a:lnTo>
                  <a:lnTo>
                    <a:pt x="239" y="840"/>
                  </a:lnTo>
                  <a:lnTo>
                    <a:pt x="236" y="838"/>
                  </a:lnTo>
                  <a:lnTo>
                    <a:pt x="236" y="838"/>
                  </a:lnTo>
                  <a:lnTo>
                    <a:pt x="234" y="833"/>
                  </a:lnTo>
                  <a:lnTo>
                    <a:pt x="227" y="819"/>
                  </a:lnTo>
                  <a:lnTo>
                    <a:pt x="222" y="812"/>
                  </a:lnTo>
                  <a:lnTo>
                    <a:pt x="222" y="809"/>
                  </a:lnTo>
                  <a:lnTo>
                    <a:pt x="220" y="807"/>
                  </a:lnTo>
                  <a:lnTo>
                    <a:pt x="220" y="807"/>
                  </a:lnTo>
                  <a:lnTo>
                    <a:pt x="217" y="807"/>
                  </a:lnTo>
                  <a:lnTo>
                    <a:pt x="215" y="807"/>
                  </a:lnTo>
                  <a:lnTo>
                    <a:pt x="208" y="805"/>
                  </a:lnTo>
                  <a:lnTo>
                    <a:pt x="201" y="807"/>
                  </a:lnTo>
                  <a:lnTo>
                    <a:pt x="198" y="807"/>
                  </a:lnTo>
                  <a:lnTo>
                    <a:pt x="196" y="805"/>
                  </a:lnTo>
                  <a:lnTo>
                    <a:pt x="191" y="800"/>
                  </a:lnTo>
                  <a:lnTo>
                    <a:pt x="189" y="798"/>
                  </a:lnTo>
                  <a:lnTo>
                    <a:pt x="186" y="795"/>
                  </a:lnTo>
                  <a:lnTo>
                    <a:pt x="186" y="793"/>
                  </a:lnTo>
                  <a:lnTo>
                    <a:pt x="186" y="793"/>
                  </a:lnTo>
                  <a:lnTo>
                    <a:pt x="186" y="790"/>
                  </a:lnTo>
                  <a:lnTo>
                    <a:pt x="186" y="788"/>
                  </a:lnTo>
                  <a:lnTo>
                    <a:pt x="189" y="786"/>
                  </a:lnTo>
                  <a:lnTo>
                    <a:pt x="186" y="783"/>
                  </a:lnTo>
                  <a:lnTo>
                    <a:pt x="186" y="781"/>
                  </a:lnTo>
                  <a:lnTo>
                    <a:pt x="186" y="781"/>
                  </a:lnTo>
                  <a:lnTo>
                    <a:pt x="168" y="767"/>
                  </a:lnTo>
                  <a:lnTo>
                    <a:pt x="160" y="762"/>
                  </a:lnTo>
                  <a:lnTo>
                    <a:pt x="160" y="760"/>
                  </a:lnTo>
                  <a:lnTo>
                    <a:pt x="158" y="757"/>
                  </a:lnTo>
                  <a:lnTo>
                    <a:pt x="158" y="753"/>
                  </a:lnTo>
                  <a:lnTo>
                    <a:pt x="158" y="750"/>
                  </a:lnTo>
                  <a:lnTo>
                    <a:pt x="158" y="748"/>
                  </a:lnTo>
                  <a:lnTo>
                    <a:pt x="156" y="745"/>
                  </a:lnTo>
                  <a:lnTo>
                    <a:pt x="156" y="743"/>
                  </a:lnTo>
                  <a:lnTo>
                    <a:pt x="153" y="743"/>
                  </a:lnTo>
                  <a:lnTo>
                    <a:pt x="153" y="741"/>
                  </a:lnTo>
                  <a:lnTo>
                    <a:pt x="151" y="741"/>
                  </a:lnTo>
                  <a:lnTo>
                    <a:pt x="149" y="741"/>
                  </a:lnTo>
                  <a:lnTo>
                    <a:pt x="139" y="741"/>
                  </a:lnTo>
                  <a:lnTo>
                    <a:pt x="137" y="741"/>
                  </a:lnTo>
                  <a:lnTo>
                    <a:pt x="134" y="738"/>
                  </a:lnTo>
                  <a:lnTo>
                    <a:pt x="130" y="736"/>
                  </a:lnTo>
                  <a:lnTo>
                    <a:pt x="130" y="736"/>
                  </a:lnTo>
                  <a:lnTo>
                    <a:pt x="130" y="736"/>
                  </a:lnTo>
                  <a:lnTo>
                    <a:pt x="130" y="734"/>
                  </a:lnTo>
                  <a:lnTo>
                    <a:pt x="127" y="731"/>
                  </a:lnTo>
                  <a:lnTo>
                    <a:pt x="127" y="731"/>
                  </a:lnTo>
                  <a:lnTo>
                    <a:pt x="127" y="729"/>
                  </a:lnTo>
                  <a:lnTo>
                    <a:pt x="127" y="727"/>
                  </a:lnTo>
                  <a:lnTo>
                    <a:pt x="127" y="717"/>
                  </a:lnTo>
                  <a:lnTo>
                    <a:pt x="127" y="715"/>
                  </a:lnTo>
                  <a:lnTo>
                    <a:pt x="125" y="715"/>
                  </a:lnTo>
                  <a:lnTo>
                    <a:pt x="118" y="712"/>
                  </a:lnTo>
                  <a:lnTo>
                    <a:pt x="113" y="715"/>
                  </a:lnTo>
                  <a:lnTo>
                    <a:pt x="97" y="729"/>
                  </a:lnTo>
                  <a:lnTo>
                    <a:pt x="89" y="731"/>
                  </a:lnTo>
                  <a:lnTo>
                    <a:pt x="78" y="731"/>
                  </a:lnTo>
                  <a:lnTo>
                    <a:pt x="73" y="729"/>
                  </a:lnTo>
                  <a:lnTo>
                    <a:pt x="68" y="729"/>
                  </a:lnTo>
                  <a:lnTo>
                    <a:pt x="66" y="734"/>
                  </a:lnTo>
                  <a:lnTo>
                    <a:pt x="56" y="727"/>
                  </a:lnTo>
                  <a:lnTo>
                    <a:pt x="52" y="719"/>
                  </a:lnTo>
                  <a:lnTo>
                    <a:pt x="42" y="701"/>
                  </a:lnTo>
                  <a:lnTo>
                    <a:pt x="33" y="689"/>
                  </a:lnTo>
                  <a:lnTo>
                    <a:pt x="28" y="682"/>
                  </a:lnTo>
                  <a:lnTo>
                    <a:pt x="28" y="682"/>
                  </a:lnTo>
                  <a:lnTo>
                    <a:pt x="26" y="677"/>
                  </a:lnTo>
                  <a:lnTo>
                    <a:pt x="23" y="674"/>
                  </a:lnTo>
                  <a:lnTo>
                    <a:pt x="23" y="672"/>
                  </a:lnTo>
                  <a:lnTo>
                    <a:pt x="26" y="665"/>
                  </a:lnTo>
                  <a:lnTo>
                    <a:pt x="23" y="663"/>
                  </a:lnTo>
                  <a:lnTo>
                    <a:pt x="23" y="663"/>
                  </a:lnTo>
                  <a:lnTo>
                    <a:pt x="21" y="660"/>
                  </a:lnTo>
                  <a:lnTo>
                    <a:pt x="19" y="660"/>
                  </a:lnTo>
                  <a:lnTo>
                    <a:pt x="16" y="656"/>
                  </a:lnTo>
                  <a:lnTo>
                    <a:pt x="16" y="653"/>
                  </a:lnTo>
                  <a:lnTo>
                    <a:pt x="16" y="651"/>
                  </a:lnTo>
                  <a:lnTo>
                    <a:pt x="16" y="646"/>
                  </a:lnTo>
                  <a:lnTo>
                    <a:pt x="14" y="646"/>
                  </a:lnTo>
                  <a:lnTo>
                    <a:pt x="14" y="644"/>
                  </a:lnTo>
                  <a:lnTo>
                    <a:pt x="11" y="644"/>
                  </a:lnTo>
                  <a:lnTo>
                    <a:pt x="11" y="641"/>
                  </a:lnTo>
                  <a:lnTo>
                    <a:pt x="9" y="632"/>
                  </a:lnTo>
                  <a:lnTo>
                    <a:pt x="9" y="630"/>
                  </a:lnTo>
                  <a:lnTo>
                    <a:pt x="7" y="630"/>
                  </a:lnTo>
                  <a:lnTo>
                    <a:pt x="4" y="627"/>
                  </a:lnTo>
                  <a:lnTo>
                    <a:pt x="2" y="627"/>
                  </a:lnTo>
                  <a:lnTo>
                    <a:pt x="2" y="625"/>
                  </a:lnTo>
                  <a:lnTo>
                    <a:pt x="2" y="622"/>
                  </a:lnTo>
                  <a:lnTo>
                    <a:pt x="2" y="622"/>
                  </a:lnTo>
                  <a:lnTo>
                    <a:pt x="4" y="620"/>
                  </a:lnTo>
                  <a:lnTo>
                    <a:pt x="4" y="615"/>
                  </a:lnTo>
                  <a:lnTo>
                    <a:pt x="9" y="611"/>
                  </a:lnTo>
                  <a:lnTo>
                    <a:pt x="9" y="603"/>
                  </a:lnTo>
                  <a:lnTo>
                    <a:pt x="11" y="599"/>
                  </a:lnTo>
                  <a:lnTo>
                    <a:pt x="11" y="594"/>
                  </a:lnTo>
                  <a:lnTo>
                    <a:pt x="14" y="592"/>
                  </a:lnTo>
                  <a:lnTo>
                    <a:pt x="14" y="592"/>
                  </a:lnTo>
                  <a:lnTo>
                    <a:pt x="16" y="592"/>
                  </a:lnTo>
                  <a:lnTo>
                    <a:pt x="21" y="592"/>
                  </a:lnTo>
                  <a:lnTo>
                    <a:pt x="35" y="592"/>
                  </a:lnTo>
                  <a:lnTo>
                    <a:pt x="37" y="594"/>
                  </a:lnTo>
                  <a:lnTo>
                    <a:pt x="37" y="594"/>
                  </a:lnTo>
                  <a:lnTo>
                    <a:pt x="40" y="594"/>
                  </a:lnTo>
                  <a:lnTo>
                    <a:pt x="42" y="596"/>
                  </a:lnTo>
                  <a:lnTo>
                    <a:pt x="42" y="599"/>
                  </a:lnTo>
                  <a:lnTo>
                    <a:pt x="49" y="608"/>
                  </a:lnTo>
                  <a:lnTo>
                    <a:pt x="52" y="611"/>
                  </a:lnTo>
                  <a:lnTo>
                    <a:pt x="54" y="613"/>
                  </a:lnTo>
                  <a:lnTo>
                    <a:pt x="59" y="613"/>
                  </a:lnTo>
                  <a:lnTo>
                    <a:pt x="61" y="613"/>
                  </a:lnTo>
                  <a:lnTo>
                    <a:pt x="63" y="613"/>
                  </a:lnTo>
                  <a:lnTo>
                    <a:pt x="63" y="611"/>
                  </a:lnTo>
                  <a:lnTo>
                    <a:pt x="63" y="611"/>
                  </a:lnTo>
                  <a:lnTo>
                    <a:pt x="63" y="606"/>
                  </a:lnTo>
                  <a:lnTo>
                    <a:pt x="63" y="603"/>
                  </a:lnTo>
                  <a:lnTo>
                    <a:pt x="63" y="601"/>
                  </a:lnTo>
                  <a:lnTo>
                    <a:pt x="63" y="601"/>
                  </a:lnTo>
                  <a:lnTo>
                    <a:pt x="66" y="599"/>
                  </a:lnTo>
                  <a:lnTo>
                    <a:pt x="68" y="596"/>
                  </a:lnTo>
                  <a:lnTo>
                    <a:pt x="75" y="592"/>
                  </a:lnTo>
                  <a:lnTo>
                    <a:pt x="75" y="589"/>
                  </a:lnTo>
                  <a:lnTo>
                    <a:pt x="75" y="589"/>
                  </a:lnTo>
                  <a:lnTo>
                    <a:pt x="75" y="587"/>
                  </a:lnTo>
                  <a:lnTo>
                    <a:pt x="75" y="587"/>
                  </a:lnTo>
                  <a:lnTo>
                    <a:pt x="73" y="585"/>
                  </a:lnTo>
                  <a:lnTo>
                    <a:pt x="71" y="585"/>
                  </a:lnTo>
                  <a:lnTo>
                    <a:pt x="68" y="582"/>
                  </a:lnTo>
                  <a:lnTo>
                    <a:pt x="68" y="582"/>
                  </a:lnTo>
                  <a:lnTo>
                    <a:pt x="78" y="575"/>
                  </a:lnTo>
                  <a:lnTo>
                    <a:pt x="97" y="566"/>
                  </a:lnTo>
                  <a:lnTo>
                    <a:pt x="89" y="559"/>
                  </a:lnTo>
                  <a:lnTo>
                    <a:pt x="89" y="556"/>
                  </a:lnTo>
                  <a:lnTo>
                    <a:pt x="80" y="537"/>
                  </a:lnTo>
                  <a:lnTo>
                    <a:pt x="75" y="533"/>
                  </a:lnTo>
                  <a:lnTo>
                    <a:pt x="75" y="530"/>
                  </a:lnTo>
                  <a:lnTo>
                    <a:pt x="73" y="530"/>
                  </a:lnTo>
                  <a:lnTo>
                    <a:pt x="66" y="528"/>
                  </a:lnTo>
                  <a:lnTo>
                    <a:pt x="61" y="523"/>
                  </a:lnTo>
                  <a:lnTo>
                    <a:pt x="59" y="521"/>
                  </a:lnTo>
                  <a:lnTo>
                    <a:pt x="56" y="521"/>
                  </a:lnTo>
                  <a:lnTo>
                    <a:pt x="56" y="516"/>
                  </a:lnTo>
                  <a:lnTo>
                    <a:pt x="54" y="514"/>
                  </a:lnTo>
                  <a:lnTo>
                    <a:pt x="52" y="509"/>
                  </a:lnTo>
                  <a:lnTo>
                    <a:pt x="52" y="506"/>
                  </a:lnTo>
                  <a:lnTo>
                    <a:pt x="52" y="504"/>
                  </a:lnTo>
                  <a:lnTo>
                    <a:pt x="52" y="499"/>
                  </a:lnTo>
                  <a:lnTo>
                    <a:pt x="47" y="497"/>
                  </a:lnTo>
                  <a:lnTo>
                    <a:pt x="47" y="488"/>
                  </a:lnTo>
                  <a:lnTo>
                    <a:pt x="47" y="485"/>
                  </a:lnTo>
                  <a:lnTo>
                    <a:pt x="47" y="485"/>
                  </a:lnTo>
                  <a:lnTo>
                    <a:pt x="37" y="476"/>
                  </a:lnTo>
                  <a:lnTo>
                    <a:pt x="35" y="473"/>
                  </a:lnTo>
                  <a:lnTo>
                    <a:pt x="35" y="471"/>
                  </a:lnTo>
                  <a:lnTo>
                    <a:pt x="37" y="471"/>
                  </a:lnTo>
                  <a:lnTo>
                    <a:pt x="37" y="471"/>
                  </a:lnTo>
                  <a:lnTo>
                    <a:pt x="40" y="471"/>
                  </a:lnTo>
                  <a:lnTo>
                    <a:pt x="40" y="469"/>
                  </a:lnTo>
                  <a:lnTo>
                    <a:pt x="40" y="466"/>
                  </a:lnTo>
                  <a:lnTo>
                    <a:pt x="40" y="464"/>
                  </a:lnTo>
                  <a:lnTo>
                    <a:pt x="37" y="462"/>
                  </a:lnTo>
                  <a:lnTo>
                    <a:pt x="37" y="459"/>
                  </a:lnTo>
                  <a:lnTo>
                    <a:pt x="37" y="457"/>
                  </a:lnTo>
                  <a:lnTo>
                    <a:pt x="37" y="457"/>
                  </a:lnTo>
                  <a:lnTo>
                    <a:pt x="35" y="454"/>
                  </a:lnTo>
                  <a:lnTo>
                    <a:pt x="33" y="457"/>
                  </a:lnTo>
                  <a:lnTo>
                    <a:pt x="30" y="457"/>
                  </a:lnTo>
                  <a:lnTo>
                    <a:pt x="30" y="454"/>
                  </a:lnTo>
                  <a:lnTo>
                    <a:pt x="28" y="454"/>
                  </a:lnTo>
                  <a:lnTo>
                    <a:pt x="28" y="452"/>
                  </a:lnTo>
                  <a:lnTo>
                    <a:pt x="28" y="447"/>
                  </a:lnTo>
                  <a:lnTo>
                    <a:pt x="28" y="445"/>
                  </a:lnTo>
                  <a:lnTo>
                    <a:pt x="28" y="440"/>
                  </a:lnTo>
                  <a:lnTo>
                    <a:pt x="28" y="440"/>
                  </a:lnTo>
                  <a:lnTo>
                    <a:pt x="26" y="438"/>
                  </a:lnTo>
                  <a:lnTo>
                    <a:pt x="23" y="438"/>
                  </a:lnTo>
                  <a:lnTo>
                    <a:pt x="19" y="436"/>
                  </a:lnTo>
                  <a:lnTo>
                    <a:pt x="14" y="433"/>
                  </a:lnTo>
                  <a:lnTo>
                    <a:pt x="11" y="428"/>
                  </a:lnTo>
                  <a:lnTo>
                    <a:pt x="4" y="417"/>
                  </a:lnTo>
                  <a:lnTo>
                    <a:pt x="0" y="412"/>
                  </a:lnTo>
                  <a:lnTo>
                    <a:pt x="0" y="407"/>
                  </a:lnTo>
                  <a:lnTo>
                    <a:pt x="0" y="407"/>
                  </a:lnTo>
                  <a:lnTo>
                    <a:pt x="0" y="405"/>
                  </a:lnTo>
                  <a:lnTo>
                    <a:pt x="2" y="402"/>
                  </a:lnTo>
                  <a:lnTo>
                    <a:pt x="7" y="398"/>
                  </a:lnTo>
                  <a:lnTo>
                    <a:pt x="7" y="395"/>
                  </a:lnTo>
                  <a:lnTo>
                    <a:pt x="7" y="395"/>
                  </a:lnTo>
                  <a:lnTo>
                    <a:pt x="9" y="393"/>
                  </a:lnTo>
                  <a:lnTo>
                    <a:pt x="9" y="393"/>
                  </a:lnTo>
                  <a:lnTo>
                    <a:pt x="9" y="388"/>
                  </a:lnTo>
                  <a:lnTo>
                    <a:pt x="7" y="376"/>
                  </a:lnTo>
                  <a:lnTo>
                    <a:pt x="2" y="369"/>
                  </a:lnTo>
                  <a:lnTo>
                    <a:pt x="2" y="362"/>
                  </a:lnTo>
                  <a:lnTo>
                    <a:pt x="2" y="360"/>
                  </a:lnTo>
                  <a:lnTo>
                    <a:pt x="2" y="357"/>
                  </a:lnTo>
                  <a:lnTo>
                    <a:pt x="2" y="355"/>
                  </a:lnTo>
                  <a:lnTo>
                    <a:pt x="35" y="312"/>
                  </a:lnTo>
                  <a:lnTo>
                    <a:pt x="35" y="310"/>
                  </a:lnTo>
                  <a:lnTo>
                    <a:pt x="37" y="308"/>
                  </a:lnTo>
                  <a:lnTo>
                    <a:pt x="37" y="303"/>
                  </a:lnTo>
                  <a:lnTo>
                    <a:pt x="37" y="29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Freeform 49">
              <a:extLst>
                <a:ext uri="{FF2B5EF4-FFF2-40B4-BE49-F238E27FC236}">
                  <a16:creationId xmlns:a16="http://schemas.microsoft.com/office/drawing/2014/main" id="{705DB6A5-CABB-42E1-A3A0-019C4095C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1355" y="1950323"/>
              <a:ext cx="25316" cy="29529"/>
            </a:xfrm>
            <a:custGeom>
              <a:avLst/>
              <a:gdLst>
                <a:gd name="T0" fmla="*/ 3 w 19"/>
                <a:gd name="T1" fmla="*/ 9 h 23"/>
                <a:gd name="T2" fmla="*/ 3 w 19"/>
                <a:gd name="T3" fmla="*/ 9 h 23"/>
                <a:gd name="T4" fmla="*/ 0 w 19"/>
                <a:gd name="T5" fmla="*/ 7 h 23"/>
                <a:gd name="T6" fmla="*/ 0 w 19"/>
                <a:gd name="T7" fmla="*/ 4 h 23"/>
                <a:gd name="T8" fmla="*/ 19 w 19"/>
                <a:gd name="T9" fmla="*/ 0 h 23"/>
                <a:gd name="T10" fmla="*/ 19 w 19"/>
                <a:gd name="T11" fmla="*/ 9 h 23"/>
                <a:gd name="T12" fmla="*/ 17 w 19"/>
                <a:gd name="T13" fmla="*/ 16 h 23"/>
                <a:gd name="T14" fmla="*/ 17 w 19"/>
                <a:gd name="T15" fmla="*/ 21 h 23"/>
                <a:gd name="T16" fmla="*/ 17 w 19"/>
                <a:gd name="T17" fmla="*/ 23 h 23"/>
                <a:gd name="T18" fmla="*/ 15 w 19"/>
                <a:gd name="T19" fmla="*/ 23 h 23"/>
                <a:gd name="T20" fmla="*/ 12 w 19"/>
                <a:gd name="T21" fmla="*/ 23 h 23"/>
                <a:gd name="T22" fmla="*/ 12 w 19"/>
                <a:gd name="T23" fmla="*/ 23 h 23"/>
                <a:gd name="T24" fmla="*/ 12 w 19"/>
                <a:gd name="T25" fmla="*/ 23 h 23"/>
                <a:gd name="T26" fmla="*/ 10 w 19"/>
                <a:gd name="T27" fmla="*/ 21 h 23"/>
                <a:gd name="T28" fmla="*/ 8 w 19"/>
                <a:gd name="T29" fmla="*/ 19 h 23"/>
                <a:gd name="T30" fmla="*/ 5 w 19"/>
                <a:gd name="T31" fmla="*/ 16 h 23"/>
                <a:gd name="T32" fmla="*/ 5 w 19"/>
                <a:gd name="T33" fmla="*/ 14 h 23"/>
                <a:gd name="T34" fmla="*/ 3 w 19"/>
                <a:gd name="T35" fmla="*/ 12 h 23"/>
                <a:gd name="T36" fmla="*/ 3 w 19"/>
                <a:gd name="T37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3">
                  <a:moveTo>
                    <a:pt x="3" y="9"/>
                  </a:moveTo>
                  <a:lnTo>
                    <a:pt x="3" y="9"/>
                  </a:lnTo>
                  <a:lnTo>
                    <a:pt x="0" y="7"/>
                  </a:lnTo>
                  <a:lnTo>
                    <a:pt x="0" y="4"/>
                  </a:lnTo>
                  <a:lnTo>
                    <a:pt x="19" y="0"/>
                  </a:lnTo>
                  <a:lnTo>
                    <a:pt x="19" y="9"/>
                  </a:lnTo>
                  <a:lnTo>
                    <a:pt x="17" y="16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0" y="21"/>
                  </a:lnTo>
                  <a:lnTo>
                    <a:pt x="8" y="19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3" y="12"/>
                  </a:lnTo>
                  <a:lnTo>
                    <a:pt x="3" y="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50">
              <a:extLst>
                <a:ext uri="{FF2B5EF4-FFF2-40B4-BE49-F238E27FC236}">
                  <a16:creationId xmlns:a16="http://schemas.microsoft.com/office/drawing/2014/main" id="{2779C2D1-B3F7-40E0-A844-3AEC5AC65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1355" y="1950323"/>
              <a:ext cx="25316" cy="29529"/>
            </a:xfrm>
            <a:custGeom>
              <a:avLst/>
              <a:gdLst>
                <a:gd name="T0" fmla="*/ 3 w 19"/>
                <a:gd name="T1" fmla="*/ 9 h 23"/>
                <a:gd name="T2" fmla="*/ 3 w 19"/>
                <a:gd name="T3" fmla="*/ 9 h 23"/>
                <a:gd name="T4" fmla="*/ 0 w 19"/>
                <a:gd name="T5" fmla="*/ 7 h 23"/>
                <a:gd name="T6" fmla="*/ 0 w 19"/>
                <a:gd name="T7" fmla="*/ 4 h 23"/>
                <a:gd name="T8" fmla="*/ 19 w 19"/>
                <a:gd name="T9" fmla="*/ 0 h 23"/>
                <a:gd name="T10" fmla="*/ 19 w 19"/>
                <a:gd name="T11" fmla="*/ 9 h 23"/>
                <a:gd name="T12" fmla="*/ 17 w 19"/>
                <a:gd name="T13" fmla="*/ 16 h 23"/>
                <a:gd name="T14" fmla="*/ 17 w 19"/>
                <a:gd name="T15" fmla="*/ 21 h 23"/>
                <a:gd name="T16" fmla="*/ 17 w 19"/>
                <a:gd name="T17" fmla="*/ 23 h 23"/>
                <a:gd name="T18" fmla="*/ 15 w 19"/>
                <a:gd name="T19" fmla="*/ 23 h 23"/>
                <a:gd name="T20" fmla="*/ 12 w 19"/>
                <a:gd name="T21" fmla="*/ 23 h 23"/>
                <a:gd name="T22" fmla="*/ 12 w 19"/>
                <a:gd name="T23" fmla="*/ 23 h 23"/>
                <a:gd name="T24" fmla="*/ 12 w 19"/>
                <a:gd name="T25" fmla="*/ 23 h 23"/>
                <a:gd name="T26" fmla="*/ 10 w 19"/>
                <a:gd name="T27" fmla="*/ 21 h 23"/>
                <a:gd name="T28" fmla="*/ 8 w 19"/>
                <a:gd name="T29" fmla="*/ 19 h 23"/>
                <a:gd name="T30" fmla="*/ 5 w 19"/>
                <a:gd name="T31" fmla="*/ 16 h 23"/>
                <a:gd name="T32" fmla="*/ 5 w 19"/>
                <a:gd name="T33" fmla="*/ 14 h 23"/>
                <a:gd name="T34" fmla="*/ 3 w 19"/>
                <a:gd name="T35" fmla="*/ 12 h 23"/>
                <a:gd name="T36" fmla="*/ 3 w 19"/>
                <a:gd name="T37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3">
                  <a:moveTo>
                    <a:pt x="3" y="9"/>
                  </a:moveTo>
                  <a:lnTo>
                    <a:pt x="3" y="9"/>
                  </a:lnTo>
                  <a:lnTo>
                    <a:pt x="0" y="7"/>
                  </a:lnTo>
                  <a:lnTo>
                    <a:pt x="0" y="4"/>
                  </a:lnTo>
                  <a:lnTo>
                    <a:pt x="19" y="0"/>
                  </a:lnTo>
                  <a:lnTo>
                    <a:pt x="19" y="9"/>
                  </a:lnTo>
                  <a:lnTo>
                    <a:pt x="17" y="16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0" y="21"/>
                  </a:lnTo>
                  <a:lnTo>
                    <a:pt x="8" y="19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3" y="12"/>
                  </a:lnTo>
                  <a:lnTo>
                    <a:pt x="3" y="9"/>
                  </a:lnTo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51">
              <a:extLst>
                <a:ext uri="{FF2B5EF4-FFF2-40B4-BE49-F238E27FC236}">
                  <a16:creationId xmlns:a16="http://schemas.microsoft.com/office/drawing/2014/main" id="{832CE937-463B-42D4-86B0-6E2A6FAFE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697" y="1955948"/>
              <a:ext cx="46413" cy="42185"/>
            </a:xfrm>
            <a:custGeom>
              <a:avLst/>
              <a:gdLst>
                <a:gd name="T0" fmla="*/ 33 w 37"/>
                <a:gd name="T1" fmla="*/ 27 h 34"/>
                <a:gd name="T2" fmla="*/ 33 w 37"/>
                <a:gd name="T3" fmla="*/ 27 h 34"/>
                <a:gd name="T4" fmla="*/ 30 w 37"/>
                <a:gd name="T5" fmla="*/ 29 h 34"/>
                <a:gd name="T6" fmla="*/ 30 w 37"/>
                <a:gd name="T7" fmla="*/ 31 h 34"/>
                <a:gd name="T8" fmla="*/ 21 w 37"/>
                <a:gd name="T9" fmla="*/ 34 h 34"/>
                <a:gd name="T10" fmla="*/ 9 w 37"/>
                <a:gd name="T11" fmla="*/ 22 h 34"/>
                <a:gd name="T12" fmla="*/ 9 w 37"/>
                <a:gd name="T13" fmla="*/ 22 h 34"/>
                <a:gd name="T14" fmla="*/ 7 w 37"/>
                <a:gd name="T15" fmla="*/ 17 h 34"/>
                <a:gd name="T16" fmla="*/ 9 w 37"/>
                <a:gd name="T17" fmla="*/ 12 h 34"/>
                <a:gd name="T18" fmla="*/ 9 w 37"/>
                <a:gd name="T19" fmla="*/ 10 h 34"/>
                <a:gd name="T20" fmla="*/ 4 w 37"/>
                <a:gd name="T21" fmla="*/ 10 h 34"/>
                <a:gd name="T22" fmla="*/ 2 w 37"/>
                <a:gd name="T23" fmla="*/ 8 h 34"/>
                <a:gd name="T24" fmla="*/ 0 w 37"/>
                <a:gd name="T25" fmla="*/ 5 h 34"/>
                <a:gd name="T26" fmla="*/ 0 w 37"/>
                <a:gd name="T27" fmla="*/ 3 h 34"/>
                <a:gd name="T28" fmla="*/ 4 w 37"/>
                <a:gd name="T29" fmla="*/ 3 h 34"/>
                <a:gd name="T30" fmla="*/ 11 w 37"/>
                <a:gd name="T31" fmla="*/ 0 h 34"/>
                <a:gd name="T32" fmla="*/ 11 w 37"/>
                <a:gd name="T33" fmla="*/ 3 h 34"/>
                <a:gd name="T34" fmla="*/ 14 w 37"/>
                <a:gd name="T35" fmla="*/ 5 h 34"/>
                <a:gd name="T36" fmla="*/ 14 w 37"/>
                <a:gd name="T37" fmla="*/ 8 h 34"/>
                <a:gd name="T38" fmla="*/ 16 w 37"/>
                <a:gd name="T39" fmla="*/ 10 h 34"/>
                <a:gd name="T40" fmla="*/ 16 w 37"/>
                <a:gd name="T41" fmla="*/ 12 h 34"/>
                <a:gd name="T42" fmla="*/ 19 w 37"/>
                <a:gd name="T43" fmla="*/ 15 h 34"/>
                <a:gd name="T44" fmla="*/ 21 w 37"/>
                <a:gd name="T45" fmla="*/ 17 h 34"/>
                <a:gd name="T46" fmla="*/ 23 w 37"/>
                <a:gd name="T47" fmla="*/ 19 h 34"/>
                <a:gd name="T48" fmla="*/ 23 w 37"/>
                <a:gd name="T49" fmla="*/ 19 h 34"/>
                <a:gd name="T50" fmla="*/ 23 w 37"/>
                <a:gd name="T51" fmla="*/ 19 h 34"/>
                <a:gd name="T52" fmla="*/ 26 w 37"/>
                <a:gd name="T53" fmla="*/ 19 h 34"/>
                <a:gd name="T54" fmla="*/ 28 w 37"/>
                <a:gd name="T55" fmla="*/ 19 h 34"/>
                <a:gd name="T56" fmla="*/ 28 w 37"/>
                <a:gd name="T57" fmla="*/ 17 h 34"/>
                <a:gd name="T58" fmla="*/ 28 w 37"/>
                <a:gd name="T59" fmla="*/ 12 h 34"/>
                <a:gd name="T60" fmla="*/ 37 w 37"/>
                <a:gd name="T61" fmla="*/ 12 h 34"/>
                <a:gd name="T62" fmla="*/ 37 w 37"/>
                <a:gd name="T63" fmla="*/ 15 h 34"/>
                <a:gd name="T64" fmla="*/ 37 w 37"/>
                <a:gd name="T65" fmla="*/ 15 h 34"/>
                <a:gd name="T66" fmla="*/ 37 w 37"/>
                <a:gd name="T67" fmla="*/ 17 h 34"/>
                <a:gd name="T68" fmla="*/ 35 w 37"/>
                <a:gd name="T69" fmla="*/ 22 h 34"/>
                <a:gd name="T70" fmla="*/ 35 w 37"/>
                <a:gd name="T71" fmla="*/ 24 h 34"/>
                <a:gd name="T72" fmla="*/ 33 w 37"/>
                <a:gd name="T73" fmla="*/ 24 h 34"/>
                <a:gd name="T74" fmla="*/ 33 w 37"/>
                <a:gd name="T75" fmla="*/ 27 h 34"/>
                <a:gd name="T76" fmla="*/ 33 w 37"/>
                <a:gd name="T77" fmla="*/ 27 h 34"/>
                <a:gd name="T78" fmla="*/ 33 w 37"/>
                <a:gd name="T79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" h="34">
                  <a:moveTo>
                    <a:pt x="33" y="27"/>
                  </a:moveTo>
                  <a:lnTo>
                    <a:pt x="33" y="27"/>
                  </a:lnTo>
                  <a:lnTo>
                    <a:pt x="30" y="29"/>
                  </a:lnTo>
                  <a:lnTo>
                    <a:pt x="30" y="31"/>
                  </a:lnTo>
                  <a:lnTo>
                    <a:pt x="21" y="34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7" y="17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4" y="10"/>
                  </a:lnTo>
                  <a:lnTo>
                    <a:pt x="2" y="8"/>
                  </a:lnTo>
                  <a:lnTo>
                    <a:pt x="0" y="5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9" y="15"/>
                  </a:lnTo>
                  <a:lnTo>
                    <a:pt x="21" y="17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6" y="19"/>
                  </a:lnTo>
                  <a:lnTo>
                    <a:pt x="28" y="19"/>
                  </a:lnTo>
                  <a:lnTo>
                    <a:pt x="28" y="17"/>
                  </a:lnTo>
                  <a:lnTo>
                    <a:pt x="28" y="12"/>
                  </a:lnTo>
                  <a:lnTo>
                    <a:pt x="37" y="12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7"/>
                  </a:lnTo>
                  <a:lnTo>
                    <a:pt x="35" y="22"/>
                  </a:lnTo>
                  <a:lnTo>
                    <a:pt x="35" y="24"/>
                  </a:lnTo>
                  <a:lnTo>
                    <a:pt x="33" y="24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Freeform 52">
              <a:extLst>
                <a:ext uri="{FF2B5EF4-FFF2-40B4-BE49-F238E27FC236}">
                  <a16:creationId xmlns:a16="http://schemas.microsoft.com/office/drawing/2014/main" id="{F367809F-DBE5-432D-92BE-8599CEA0E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8697" y="1955948"/>
              <a:ext cx="46413" cy="42185"/>
            </a:xfrm>
            <a:custGeom>
              <a:avLst/>
              <a:gdLst>
                <a:gd name="T0" fmla="*/ 33 w 37"/>
                <a:gd name="T1" fmla="*/ 27 h 34"/>
                <a:gd name="T2" fmla="*/ 33 w 37"/>
                <a:gd name="T3" fmla="*/ 27 h 34"/>
                <a:gd name="T4" fmla="*/ 30 w 37"/>
                <a:gd name="T5" fmla="*/ 29 h 34"/>
                <a:gd name="T6" fmla="*/ 30 w 37"/>
                <a:gd name="T7" fmla="*/ 31 h 34"/>
                <a:gd name="T8" fmla="*/ 21 w 37"/>
                <a:gd name="T9" fmla="*/ 34 h 34"/>
                <a:gd name="T10" fmla="*/ 9 w 37"/>
                <a:gd name="T11" fmla="*/ 22 h 34"/>
                <a:gd name="T12" fmla="*/ 9 w 37"/>
                <a:gd name="T13" fmla="*/ 22 h 34"/>
                <a:gd name="T14" fmla="*/ 7 w 37"/>
                <a:gd name="T15" fmla="*/ 17 h 34"/>
                <a:gd name="T16" fmla="*/ 9 w 37"/>
                <a:gd name="T17" fmla="*/ 12 h 34"/>
                <a:gd name="T18" fmla="*/ 9 w 37"/>
                <a:gd name="T19" fmla="*/ 10 h 34"/>
                <a:gd name="T20" fmla="*/ 4 w 37"/>
                <a:gd name="T21" fmla="*/ 10 h 34"/>
                <a:gd name="T22" fmla="*/ 2 w 37"/>
                <a:gd name="T23" fmla="*/ 8 h 34"/>
                <a:gd name="T24" fmla="*/ 0 w 37"/>
                <a:gd name="T25" fmla="*/ 5 h 34"/>
                <a:gd name="T26" fmla="*/ 0 w 37"/>
                <a:gd name="T27" fmla="*/ 3 h 34"/>
                <a:gd name="T28" fmla="*/ 4 w 37"/>
                <a:gd name="T29" fmla="*/ 3 h 34"/>
                <a:gd name="T30" fmla="*/ 11 w 37"/>
                <a:gd name="T31" fmla="*/ 0 h 34"/>
                <a:gd name="T32" fmla="*/ 11 w 37"/>
                <a:gd name="T33" fmla="*/ 3 h 34"/>
                <a:gd name="T34" fmla="*/ 14 w 37"/>
                <a:gd name="T35" fmla="*/ 5 h 34"/>
                <a:gd name="T36" fmla="*/ 14 w 37"/>
                <a:gd name="T37" fmla="*/ 8 h 34"/>
                <a:gd name="T38" fmla="*/ 16 w 37"/>
                <a:gd name="T39" fmla="*/ 10 h 34"/>
                <a:gd name="T40" fmla="*/ 16 w 37"/>
                <a:gd name="T41" fmla="*/ 12 h 34"/>
                <a:gd name="T42" fmla="*/ 19 w 37"/>
                <a:gd name="T43" fmla="*/ 15 h 34"/>
                <a:gd name="T44" fmla="*/ 21 w 37"/>
                <a:gd name="T45" fmla="*/ 17 h 34"/>
                <a:gd name="T46" fmla="*/ 23 w 37"/>
                <a:gd name="T47" fmla="*/ 19 h 34"/>
                <a:gd name="T48" fmla="*/ 23 w 37"/>
                <a:gd name="T49" fmla="*/ 19 h 34"/>
                <a:gd name="T50" fmla="*/ 23 w 37"/>
                <a:gd name="T51" fmla="*/ 19 h 34"/>
                <a:gd name="T52" fmla="*/ 26 w 37"/>
                <a:gd name="T53" fmla="*/ 19 h 34"/>
                <a:gd name="T54" fmla="*/ 28 w 37"/>
                <a:gd name="T55" fmla="*/ 19 h 34"/>
                <a:gd name="T56" fmla="*/ 28 w 37"/>
                <a:gd name="T57" fmla="*/ 17 h 34"/>
                <a:gd name="T58" fmla="*/ 28 w 37"/>
                <a:gd name="T59" fmla="*/ 12 h 34"/>
                <a:gd name="T60" fmla="*/ 37 w 37"/>
                <a:gd name="T61" fmla="*/ 12 h 34"/>
                <a:gd name="T62" fmla="*/ 37 w 37"/>
                <a:gd name="T63" fmla="*/ 15 h 34"/>
                <a:gd name="T64" fmla="*/ 37 w 37"/>
                <a:gd name="T65" fmla="*/ 15 h 34"/>
                <a:gd name="T66" fmla="*/ 37 w 37"/>
                <a:gd name="T67" fmla="*/ 17 h 34"/>
                <a:gd name="T68" fmla="*/ 35 w 37"/>
                <a:gd name="T69" fmla="*/ 22 h 34"/>
                <a:gd name="T70" fmla="*/ 35 w 37"/>
                <a:gd name="T71" fmla="*/ 24 h 34"/>
                <a:gd name="T72" fmla="*/ 33 w 37"/>
                <a:gd name="T73" fmla="*/ 24 h 34"/>
                <a:gd name="T74" fmla="*/ 33 w 37"/>
                <a:gd name="T75" fmla="*/ 27 h 34"/>
                <a:gd name="T76" fmla="*/ 33 w 37"/>
                <a:gd name="T77" fmla="*/ 27 h 34"/>
                <a:gd name="T78" fmla="*/ 33 w 37"/>
                <a:gd name="T79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" h="34">
                  <a:moveTo>
                    <a:pt x="33" y="27"/>
                  </a:moveTo>
                  <a:lnTo>
                    <a:pt x="33" y="27"/>
                  </a:lnTo>
                  <a:lnTo>
                    <a:pt x="30" y="29"/>
                  </a:lnTo>
                  <a:lnTo>
                    <a:pt x="30" y="31"/>
                  </a:lnTo>
                  <a:lnTo>
                    <a:pt x="21" y="34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7" y="17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4" y="10"/>
                  </a:lnTo>
                  <a:lnTo>
                    <a:pt x="2" y="8"/>
                  </a:lnTo>
                  <a:lnTo>
                    <a:pt x="0" y="5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9" y="15"/>
                  </a:lnTo>
                  <a:lnTo>
                    <a:pt x="21" y="17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6" y="19"/>
                  </a:lnTo>
                  <a:lnTo>
                    <a:pt x="28" y="19"/>
                  </a:lnTo>
                  <a:lnTo>
                    <a:pt x="28" y="17"/>
                  </a:lnTo>
                  <a:lnTo>
                    <a:pt x="28" y="12"/>
                  </a:lnTo>
                  <a:lnTo>
                    <a:pt x="37" y="12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7"/>
                  </a:lnTo>
                  <a:lnTo>
                    <a:pt x="35" y="22"/>
                  </a:lnTo>
                  <a:lnTo>
                    <a:pt x="35" y="24"/>
                  </a:lnTo>
                  <a:lnTo>
                    <a:pt x="33" y="24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53">
              <a:extLst>
                <a:ext uri="{FF2B5EF4-FFF2-40B4-BE49-F238E27FC236}">
                  <a16:creationId xmlns:a16="http://schemas.microsoft.com/office/drawing/2014/main" id="{A1D7CAD7-8E55-426C-81D7-A323FC64B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6906" y="1415973"/>
              <a:ext cx="631494" cy="510444"/>
            </a:xfrm>
            <a:custGeom>
              <a:avLst/>
              <a:gdLst>
                <a:gd name="T0" fmla="*/ 121 w 497"/>
                <a:gd name="T1" fmla="*/ 11 h 402"/>
                <a:gd name="T2" fmla="*/ 280 w 497"/>
                <a:gd name="T3" fmla="*/ 4 h 402"/>
                <a:gd name="T4" fmla="*/ 332 w 497"/>
                <a:gd name="T5" fmla="*/ 4 h 402"/>
                <a:gd name="T6" fmla="*/ 377 w 497"/>
                <a:gd name="T7" fmla="*/ 16 h 402"/>
                <a:gd name="T8" fmla="*/ 353 w 497"/>
                <a:gd name="T9" fmla="*/ 45 h 402"/>
                <a:gd name="T10" fmla="*/ 315 w 497"/>
                <a:gd name="T11" fmla="*/ 90 h 402"/>
                <a:gd name="T12" fmla="*/ 298 w 497"/>
                <a:gd name="T13" fmla="*/ 125 h 402"/>
                <a:gd name="T14" fmla="*/ 313 w 497"/>
                <a:gd name="T15" fmla="*/ 151 h 402"/>
                <a:gd name="T16" fmla="*/ 334 w 497"/>
                <a:gd name="T17" fmla="*/ 146 h 402"/>
                <a:gd name="T18" fmla="*/ 381 w 497"/>
                <a:gd name="T19" fmla="*/ 153 h 402"/>
                <a:gd name="T20" fmla="*/ 350 w 497"/>
                <a:gd name="T21" fmla="*/ 224 h 402"/>
                <a:gd name="T22" fmla="*/ 350 w 497"/>
                <a:gd name="T23" fmla="*/ 241 h 402"/>
                <a:gd name="T24" fmla="*/ 369 w 497"/>
                <a:gd name="T25" fmla="*/ 248 h 402"/>
                <a:gd name="T26" fmla="*/ 386 w 497"/>
                <a:gd name="T27" fmla="*/ 305 h 402"/>
                <a:gd name="T28" fmla="*/ 455 w 497"/>
                <a:gd name="T29" fmla="*/ 331 h 402"/>
                <a:gd name="T30" fmla="*/ 495 w 497"/>
                <a:gd name="T31" fmla="*/ 378 h 402"/>
                <a:gd name="T32" fmla="*/ 450 w 497"/>
                <a:gd name="T33" fmla="*/ 388 h 402"/>
                <a:gd name="T34" fmla="*/ 462 w 497"/>
                <a:gd name="T35" fmla="*/ 376 h 402"/>
                <a:gd name="T36" fmla="*/ 417 w 497"/>
                <a:gd name="T37" fmla="*/ 328 h 402"/>
                <a:gd name="T38" fmla="*/ 384 w 497"/>
                <a:gd name="T39" fmla="*/ 345 h 402"/>
                <a:gd name="T40" fmla="*/ 367 w 497"/>
                <a:gd name="T41" fmla="*/ 362 h 402"/>
                <a:gd name="T42" fmla="*/ 353 w 497"/>
                <a:gd name="T43" fmla="*/ 371 h 402"/>
                <a:gd name="T44" fmla="*/ 332 w 497"/>
                <a:gd name="T45" fmla="*/ 355 h 402"/>
                <a:gd name="T46" fmla="*/ 277 w 497"/>
                <a:gd name="T47" fmla="*/ 350 h 402"/>
                <a:gd name="T48" fmla="*/ 261 w 497"/>
                <a:gd name="T49" fmla="*/ 355 h 402"/>
                <a:gd name="T50" fmla="*/ 253 w 497"/>
                <a:gd name="T51" fmla="*/ 371 h 402"/>
                <a:gd name="T52" fmla="*/ 272 w 497"/>
                <a:gd name="T53" fmla="*/ 385 h 402"/>
                <a:gd name="T54" fmla="*/ 246 w 497"/>
                <a:gd name="T55" fmla="*/ 376 h 402"/>
                <a:gd name="T56" fmla="*/ 237 w 497"/>
                <a:gd name="T57" fmla="*/ 364 h 402"/>
                <a:gd name="T58" fmla="*/ 225 w 497"/>
                <a:gd name="T59" fmla="*/ 345 h 402"/>
                <a:gd name="T60" fmla="*/ 211 w 497"/>
                <a:gd name="T61" fmla="*/ 333 h 402"/>
                <a:gd name="T62" fmla="*/ 192 w 497"/>
                <a:gd name="T63" fmla="*/ 338 h 402"/>
                <a:gd name="T64" fmla="*/ 185 w 497"/>
                <a:gd name="T65" fmla="*/ 331 h 402"/>
                <a:gd name="T66" fmla="*/ 175 w 497"/>
                <a:gd name="T67" fmla="*/ 340 h 402"/>
                <a:gd name="T68" fmla="*/ 168 w 497"/>
                <a:gd name="T69" fmla="*/ 340 h 402"/>
                <a:gd name="T70" fmla="*/ 164 w 497"/>
                <a:gd name="T71" fmla="*/ 333 h 402"/>
                <a:gd name="T72" fmla="*/ 156 w 497"/>
                <a:gd name="T73" fmla="*/ 340 h 402"/>
                <a:gd name="T74" fmla="*/ 135 w 497"/>
                <a:gd name="T75" fmla="*/ 359 h 402"/>
                <a:gd name="T76" fmla="*/ 116 w 497"/>
                <a:gd name="T77" fmla="*/ 347 h 402"/>
                <a:gd name="T78" fmla="*/ 97 w 497"/>
                <a:gd name="T79" fmla="*/ 350 h 402"/>
                <a:gd name="T80" fmla="*/ 81 w 497"/>
                <a:gd name="T81" fmla="*/ 319 h 402"/>
                <a:gd name="T82" fmla="*/ 62 w 497"/>
                <a:gd name="T83" fmla="*/ 307 h 402"/>
                <a:gd name="T84" fmla="*/ 50 w 497"/>
                <a:gd name="T85" fmla="*/ 288 h 402"/>
                <a:gd name="T86" fmla="*/ 45 w 497"/>
                <a:gd name="T87" fmla="*/ 253 h 402"/>
                <a:gd name="T88" fmla="*/ 57 w 497"/>
                <a:gd name="T89" fmla="*/ 243 h 402"/>
                <a:gd name="T90" fmla="*/ 59 w 497"/>
                <a:gd name="T91" fmla="*/ 229 h 402"/>
                <a:gd name="T92" fmla="*/ 45 w 497"/>
                <a:gd name="T93" fmla="*/ 210 h 402"/>
                <a:gd name="T94" fmla="*/ 38 w 497"/>
                <a:gd name="T95" fmla="*/ 198 h 402"/>
                <a:gd name="T96" fmla="*/ 29 w 497"/>
                <a:gd name="T97" fmla="*/ 194 h 402"/>
                <a:gd name="T98" fmla="*/ 10 w 497"/>
                <a:gd name="T99" fmla="*/ 187 h 402"/>
                <a:gd name="T100" fmla="*/ 3 w 497"/>
                <a:gd name="T101" fmla="*/ 172 h 402"/>
                <a:gd name="T102" fmla="*/ 33 w 497"/>
                <a:gd name="T103" fmla="*/ 134 h 402"/>
                <a:gd name="T104" fmla="*/ 50 w 497"/>
                <a:gd name="T105" fmla="*/ 90 h 402"/>
                <a:gd name="T106" fmla="*/ 86 w 497"/>
                <a:gd name="T107" fmla="*/ 82 h 402"/>
                <a:gd name="T108" fmla="*/ 78 w 497"/>
                <a:gd name="T109" fmla="*/ 73 h 402"/>
                <a:gd name="T110" fmla="*/ 78 w 497"/>
                <a:gd name="T111" fmla="*/ 59 h 402"/>
                <a:gd name="T112" fmla="*/ 104 w 497"/>
                <a:gd name="T113" fmla="*/ 45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97" h="402">
                  <a:moveTo>
                    <a:pt x="104" y="30"/>
                  </a:moveTo>
                  <a:lnTo>
                    <a:pt x="104" y="30"/>
                  </a:lnTo>
                  <a:lnTo>
                    <a:pt x="100" y="21"/>
                  </a:lnTo>
                  <a:lnTo>
                    <a:pt x="95" y="2"/>
                  </a:lnTo>
                  <a:lnTo>
                    <a:pt x="102" y="4"/>
                  </a:lnTo>
                  <a:lnTo>
                    <a:pt x="121" y="11"/>
                  </a:lnTo>
                  <a:lnTo>
                    <a:pt x="187" y="7"/>
                  </a:lnTo>
                  <a:lnTo>
                    <a:pt x="213" y="7"/>
                  </a:lnTo>
                  <a:lnTo>
                    <a:pt x="232" y="16"/>
                  </a:lnTo>
                  <a:lnTo>
                    <a:pt x="239" y="16"/>
                  </a:lnTo>
                  <a:lnTo>
                    <a:pt x="251" y="16"/>
                  </a:lnTo>
                  <a:lnTo>
                    <a:pt x="280" y="4"/>
                  </a:lnTo>
                  <a:lnTo>
                    <a:pt x="291" y="4"/>
                  </a:lnTo>
                  <a:lnTo>
                    <a:pt x="308" y="0"/>
                  </a:lnTo>
                  <a:lnTo>
                    <a:pt x="310" y="2"/>
                  </a:lnTo>
                  <a:lnTo>
                    <a:pt x="315" y="4"/>
                  </a:lnTo>
                  <a:lnTo>
                    <a:pt x="317" y="7"/>
                  </a:lnTo>
                  <a:lnTo>
                    <a:pt x="332" y="4"/>
                  </a:lnTo>
                  <a:lnTo>
                    <a:pt x="367" y="9"/>
                  </a:lnTo>
                  <a:lnTo>
                    <a:pt x="372" y="9"/>
                  </a:lnTo>
                  <a:lnTo>
                    <a:pt x="377" y="9"/>
                  </a:lnTo>
                  <a:lnTo>
                    <a:pt x="377" y="11"/>
                  </a:lnTo>
                  <a:lnTo>
                    <a:pt x="377" y="14"/>
                  </a:lnTo>
                  <a:lnTo>
                    <a:pt x="377" y="16"/>
                  </a:lnTo>
                  <a:lnTo>
                    <a:pt x="374" y="19"/>
                  </a:lnTo>
                  <a:lnTo>
                    <a:pt x="377" y="30"/>
                  </a:lnTo>
                  <a:lnTo>
                    <a:pt x="374" y="37"/>
                  </a:lnTo>
                  <a:lnTo>
                    <a:pt x="369" y="42"/>
                  </a:lnTo>
                  <a:lnTo>
                    <a:pt x="362" y="42"/>
                  </a:lnTo>
                  <a:lnTo>
                    <a:pt x="353" y="45"/>
                  </a:lnTo>
                  <a:lnTo>
                    <a:pt x="346" y="54"/>
                  </a:lnTo>
                  <a:lnTo>
                    <a:pt x="341" y="64"/>
                  </a:lnTo>
                  <a:lnTo>
                    <a:pt x="336" y="71"/>
                  </a:lnTo>
                  <a:lnTo>
                    <a:pt x="324" y="80"/>
                  </a:lnTo>
                  <a:lnTo>
                    <a:pt x="317" y="87"/>
                  </a:lnTo>
                  <a:lnTo>
                    <a:pt x="315" y="90"/>
                  </a:lnTo>
                  <a:lnTo>
                    <a:pt x="310" y="92"/>
                  </a:lnTo>
                  <a:lnTo>
                    <a:pt x="308" y="94"/>
                  </a:lnTo>
                  <a:lnTo>
                    <a:pt x="306" y="104"/>
                  </a:lnTo>
                  <a:lnTo>
                    <a:pt x="303" y="116"/>
                  </a:lnTo>
                  <a:lnTo>
                    <a:pt x="296" y="120"/>
                  </a:lnTo>
                  <a:lnTo>
                    <a:pt x="298" y="125"/>
                  </a:lnTo>
                  <a:lnTo>
                    <a:pt x="301" y="130"/>
                  </a:lnTo>
                  <a:lnTo>
                    <a:pt x="306" y="139"/>
                  </a:lnTo>
                  <a:lnTo>
                    <a:pt x="306" y="139"/>
                  </a:lnTo>
                  <a:lnTo>
                    <a:pt x="306" y="139"/>
                  </a:lnTo>
                  <a:lnTo>
                    <a:pt x="310" y="144"/>
                  </a:lnTo>
                  <a:lnTo>
                    <a:pt x="313" y="151"/>
                  </a:lnTo>
                  <a:lnTo>
                    <a:pt x="315" y="153"/>
                  </a:lnTo>
                  <a:lnTo>
                    <a:pt x="322" y="151"/>
                  </a:lnTo>
                  <a:lnTo>
                    <a:pt x="317" y="144"/>
                  </a:lnTo>
                  <a:lnTo>
                    <a:pt x="322" y="144"/>
                  </a:lnTo>
                  <a:lnTo>
                    <a:pt x="332" y="144"/>
                  </a:lnTo>
                  <a:lnTo>
                    <a:pt x="334" y="146"/>
                  </a:lnTo>
                  <a:lnTo>
                    <a:pt x="343" y="146"/>
                  </a:lnTo>
                  <a:lnTo>
                    <a:pt x="350" y="149"/>
                  </a:lnTo>
                  <a:lnTo>
                    <a:pt x="360" y="156"/>
                  </a:lnTo>
                  <a:lnTo>
                    <a:pt x="367" y="156"/>
                  </a:lnTo>
                  <a:lnTo>
                    <a:pt x="377" y="153"/>
                  </a:lnTo>
                  <a:lnTo>
                    <a:pt x="381" y="153"/>
                  </a:lnTo>
                  <a:lnTo>
                    <a:pt x="386" y="161"/>
                  </a:lnTo>
                  <a:lnTo>
                    <a:pt x="381" y="177"/>
                  </a:lnTo>
                  <a:lnTo>
                    <a:pt x="353" y="208"/>
                  </a:lnTo>
                  <a:lnTo>
                    <a:pt x="348" y="220"/>
                  </a:lnTo>
                  <a:lnTo>
                    <a:pt x="350" y="220"/>
                  </a:lnTo>
                  <a:lnTo>
                    <a:pt x="350" y="224"/>
                  </a:lnTo>
                  <a:lnTo>
                    <a:pt x="350" y="227"/>
                  </a:lnTo>
                  <a:lnTo>
                    <a:pt x="350" y="229"/>
                  </a:lnTo>
                  <a:lnTo>
                    <a:pt x="348" y="231"/>
                  </a:lnTo>
                  <a:lnTo>
                    <a:pt x="343" y="236"/>
                  </a:lnTo>
                  <a:lnTo>
                    <a:pt x="348" y="239"/>
                  </a:lnTo>
                  <a:lnTo>
                    <a:pt x="350" y="241"/>
                  </a:lnTo>
                  <a:lnTo>
                    <a:pt x="350" y="241"/>
                  </a:lnTo>
                  <a:lnTo>
                    <a:pt x="350" y="241"/>
                  </a:lnTo>
                  <a:lnTo>
                    <a:pt x="350" y="241"/>
                  </a:lnTo>
                  <a:lnTo>
                    <a:pt x="350" y="241"/>
                  </a:lnTo>
                  <a:lnTo>
                    <a:pt x="360" y="250"/>
                  </a:lnTo>
                  <a:lnTo>
                    <a:pt x="369" y="248"/>
                  </a:lnTo>
                  <a:lnTo>
                    <a:pt x="379" y="241"/>
                  </a:lnTo>
                  <a:lnTo>
                    <a:pt x="388" y="239"/>
                  </a:lnTo>
                  <a:lnTo>
                    <a:pt x="393" y="246"/>
                  </a:lnTo>
                  <a:lnTo>
                    <a:pt x="393" y="262"/>
                  </a:lnTo>
                  <a:lnTo>
                    <a:pt x="386" y="291"/>
                  </a:lnTo>
                  <a:lnTo>
                    <a:pt x="386" y="305"/>
                  </a:lnTo>
                  <a:lnTo>
                    <a:pt x="393" y="312"/>
                  </a:lnTo>
                  <a:lnTo>
                    <a:pt x="403" y="317"/>
                  </a:lnTo>
                  <a:lnTo>
                    <a:pt x="412" y="317"/>
                  </a:lnTo>
                  <a:lnTo>
                    <a:pt x="417" y="317"/>
                  </a:lnTo>
                  <a:lnTo>
                    <a:pt x="433" y="326"/>
                  </a:lnTo>
                  <a:lnTo>
                    <a:pt x="455" y="331"/>
                  </a:lnTo>
                  <a:lnTo>
                    <a:pt x="485" y="366"/>
                  </a:lnTo>
                  <a:lnTo>
                    <a:pt x="488" y="369"/>
                  </a:lnTo>
                  <a:lnTo>
                    <a:pt x="492" y="371"/>
                  </a:lnTo>
                  <a:lnTo>
                    <a:pt x="497" y="371"/>
                  </a:lnTo>
                  <a:lnTo>
                    <a:pt x="497" y="371"/>
                  </a:lnTo>
                  <a:lnTo>
                    <a:pt x="495" y="378"/>
                  </a:lnTo>
                  <a:lnTo>
                    <a:pt x="488" y="395"/>
                  </a:lnTo>
                  <a:lnTo>
                    <a:pt x="474" y="397"/>
                  </a:lnTo>
                  <a:lnTo>
                    <a:pt x="462" y="395"/>
                  </a:lnTo>
                  <a:lnTo>
                    <a:pt x="447" y="397"/>
                  </a:lnTo>
                  <a:lnTo>
                    <a:pt x="447" y="395"/>
                  </a:lnTo>
                  <a:lnTo>
                    <a:pt x="450" y="388"/>
                  </a:lnTo>
                  <a:lnTo>
                    <a:pt x="459" y="388"/>
                  </a:lnTo>
                  <a:lnTo>
                    <a:pt x="466" y="385"/>
                  </a:lnTo>
                  <a:lnTo>
                    <a:pt x="474" y="383"/>
                  </a:lnTo>
                  <a:lnTo>
                    <a:pt x="469" y="383"/>
                  </a:lnTo>
                  <a:lnTo>
                    <a:pt x="466" y="381"/>
                  </a:lnTo>
                  <a:lnTo>
                    <a:pt x="462" y="376"/>
                  </a:lnTo>
                  <a:lnTo>
                    <a:pt x="450" y="373"/>
                  </a:lnTo>
                  <a:lnTo>
                    <a:pt x="455" y="369"/>
                  </a:lnTo>
                  <a:lnTo>
                    <a:pt x="452" y="362"/>
                  </a:lnTo>
                  <a:lnTo>
                    <a:pt x="447" y="355"/>
                  </a:lnTo>
                  <a:lnTo>
                    <a:pt x="443" y="350"/>
                  </a:lnTo>
                  <a:lnTo>
                    <a:pt x="417" y="328"/>
                  </a:lnTo>
                  <a:lnTo>
                    <a:pt x="410" y="326"/>
                  </a:lnTo>
                  <a:lnTo>
                    <a:pt x="393" y="321"/>
                  </a:lnTo>
                  <a:lnTo>
                    <a:pt x="386" y="321"/>
                  </a:lnTo>
                  <a:lnTo>
                    <a:pt x="381" y="326"/>
                  </a:lnTo>
                  <a:lnTo>
                    <a:pt x="381" y="336"/>
                  </a:lnTo>
                  <a:lnTo>
                    <a:pt x="384" y="345"/>
                  </a:lnTo>
                  <a:lnTo>
                    <a:pt x="391" y="345"/>
                  </a:lnTo>
                  <a:lnTo>
                    <a:pt x="381" y="352"/>
                  </a:lnTo>
                  <a:lnTo>
                    <a:pt x="379" y="355"/>
                  </a:lnTo>
                  <a:lnTo>
                    <a:pt x="379" y="357"/>
                  </a:lnTo>
                  <a:lnTo>
                    <a:pt x="372" y="359"/>
                  </a:lnTo>
                  <a:lnTo>
                    <a:pt x="367" y="362"/>
                  </a:lnTo>
                  <a:lnTo>
                    <a:pt x="365" y="369"/>
                  </a:lnTo>
                  <a:lnTo>
                    <a:pt x="358" y="373"/>
                  </a:lnTo>
                  <a:lnTo>
                    <a:pt x="350" y="378"/>
                  </a:lnTo>
                  <a:lnTo>
                    <a:pt x="343" y="376"/>
                  </a:lnTo>
                  <a:lnTo>
                    <a:pt x="346" y="373"/>
                  </a:lnTo>
                  <a:lnTo>
                    <a:pt x="353" y="371"/>
                  </a:lnTo>
                  <a:lnTo>
                    <a:pt x="355" y="366"/>
                  </a:lnTo>
                  <a:lnTo>
                    <a:pt x="358" y="364"/>
                  </a:lnTo>
                  <a:lnTo>
                    <a:pt x="353" y="357"/>
                  </a:lnTo>
                  <a:lnTo>
                    <a:pt x="341" y="357"/>
                  </a:lnTo>
                  <a:lnTo>
                    <a:pt x="336" y="350"/>
                  </a:lnTo>
                  <a:lnTo>
                    <a:pt x="332" y="355"/>
                  </a:lnTo>
                  <a:lnTo>
                    <a:pt x="303" y="352"/>
                  </a:lnTo>
                  <a:lnTo>
                    <a:pt x="298" y="350"/>
                  </a:lnTo>
                  <a:lnTo>
                    <a:pt x="291" y="345"/>
                  </a:lnTo>
                  <a:lnTo>
                    <a:pt x="289" y="343"/>
                  </a:lnTo>
                  <a:lnTo>
                    <a:pt x="287" y="345"/>
                  </a:lnTo>
                  <a:lnTo>
                    <a:pt x="277" y="350"/>
                  </a:lnTo>
                  <a:lnTo>
                    <a:pt x="275" y="357"/>
                  </a:lnTo>
                  <a:lnTo>
                    <a:pt x="272" y="359"/>
                  </a:lnTo>
                  <a:lnTo>
                    <a:pt x="270" y="357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1" y="355"/>
                  </a:lnTo>
                  <a:lnTo>
                    <a:pt x="261" y="357"/>
                  </a:lnTo>
                  <a:lnTo>
                    <a:pt x="261" y="362"/>
                  </a:lnTo>
                  <a:lnTo>
                    <a:pt x="265" y="362"/>
                  </a:lnTo>
                  <a:lnTo>
                    <a:pt x="265" y="366"/>
                  </a:lnTo>
                  <a:lnTo>
                    <a:pt x="258" y="366"/>
                  </a:lnTo>
                  <a:lnTo>
                    <a:pt x="253" y="371"/>
                  </a:lnTo>
                  <a:lnTo>
                    <a:pt x="251" y="378"/>
                  </a:lnTo>
                  <a:lnTo>
                    <a:pt x="253" y="385"/>
                  </a:lnTo>
                  <a:lnTo>
                    <a:pt x="261" y="388"/>
                  </a:lnTo>
                  <a:lnTo>
                    <a:pt x="265" y="385"/>
                  </a:lnTo>
                  <a:lnTo>
                    <a:pt x="275" y="378"/>
                  </a:lnTo>
                  <a:lnTo>
                    <a:pt x="272" y="385"/>
                  </a:lnTo>
                  <a:lnTo>
                    <a:pt x="265" y="395"/>
                  </a:lnTo>
                  <a:lnTo>
                    <a:pt x="263" y="402"/>
                  </a:lnTo>
                  <a:lnTo>
                    <a:pt x="263" y="402"/>
                  </a:lnTo>
                  <a:lnTo>
                    <a:pt x="258" y="397"/>
                  </a:lnTo>
                  <a:lnTo>
                    <a:pt x="256" y="395"/>
                  </a:lnTo>
                  <a:lnTo>
                    <a:pt x="246" y="376"/>
                  </a:lnTo>
                  <a:lnTo>
                    <a:pt x="244" y="376"/>
                  </a:lnTo>
                  <a:lnTo>
                    <a:pt x="242" y="371"/>
                  </a:lnTo>
                  <a:lnTo>
                    <a:pt x="239" y="369"/>
                  </a:lnTo>
                  <a:lnTo>
                    <a:pt x="237" y="369"/>
                  </a:lnTo>
                  <a:lnTo>
                    <a:pt x="237" y="364"/>
                  </a:lnTo>
                  <a:lnTo>
                    <a:pt x="237" y="364"/>
                  </a:lnTo>
                  <a:lnTo>
                    <a:pt x="237" y="364"/>
                  </a:lnTo>
                  <a:lnTo>
                    <a:pt x="235" y="362"/>
                  </a:lnTo>
                  <a:lnTo>
                    <a:pt x="227" y="352"/>
                  </a:lnTo>
                  <a:lnTo>
                    <a:pt x="227" y="352"/>
                  </a:lnTo>
                  <a:lnTo>
                    <a:pt x="225" y="350"/>
                  </a:lnTo>
                  <a:lnTo>
                    <a:pt x="225" y="345"/>
                  </a:lnTo>
                  <a:lnTo>
                    <a:pt x="223" y="340"/>
                  </a:lnTo>
                  <a:lnTo>
                    <a:pt x="223" y="336"/>
                  </a:lnTo>
                  <a:lnTo>
                    <a:pt x="223" y="336"/>
                  </a:lnTo>
                  <a:lnTo>
                    <a:pt x="220" y="331"/>
                  </a:lnTo>
                  <a:lnTo>
                    <a:pt x="216" y="328"/>
                  </a:lnTo>
                  <a:lnTo>
                    <a:pt x="211" y="333"/>
                  </a:lnTo>
                  <a:lnTo>
                    <a:pt x="211" y="338"/>
                  </a:lnTo>
                  <a:lnTo>
                    <a:pt x="211" y="338"/>
                  </a:lnTo>
                  <a:lnTo>
                    <a:pt x="209" y="340"/>
                  </a:lnTo>
                  <a:lnTo>
                    <a:pt x="206" y="340"/>
                  </a:lnTo>
                  <a:lnTo>
                    <a:pt x="192" y="340"/>
                  </a:lnTo>
                  <a:lnTo>
                    <a:pt x="192" y="338"/>
                  </a:lnTo>
                  <a:lnTo>
                    <a:pt x="190" y="338"/>
                  </a:lnTo>
                  <a:lnTo>
                    <a:pt x="190" y="336"/>
                  </a:lnTo>
                  <a:lnTo>
                    <a:pt x="190" y="333"/>
                  </a:lnTo>
                  <a:lnTo>
                    <a:pt x="190" y="333"/>
                  </a:lnTo>
                  <a:lnTo>
                    <a:pt x="187" y="333"/>
                  </a:lnTo>
                  <a:lnTo>
                    <a:pt x="185" y="331"/>
                  </a:lnTo>
                  <a:lnTo>
                    <a:pt x="185" y="331"/>
                  </a:lnTo>
                  <a:lnTo>
                    <a:pt x="183" y="331"/>
                  </a:lnTo>
                  <a:lnTo>
                    <a:pt x="180" y="333"/>
                  </a:lnTo>
                  <a:lnTo>
                    <a:pt x="178" y="336"/>
                  </a:lnTo>
                  <a:lnTo>
                    <a:pt x="178" y="338"/>
                  </a:lnTo>
                  <a:lnTo>
                    <a:pt x="175" y="340"/>
                  </a:lnTo>
                  <a:lnTo>
                    <a:pt x="175" y="343"/>
                  </a:lnTo>
                  <a:lnTo>
                    <a:pt x="175" y="343"/>
                  </a:lnTo>
                  <a:lnTo>
                    <a:pt x="173" y="343"/>
                  </a:lnTo>
                  <a:lnTo>
                    <a:pt x="171" y="343"/>
                  </a:lnTo>
                  <a:lnTo>
                    <a:pt x="171" y="340"/>
                  </a:lnTo>
                  <a:lnTo>
                    <a:pt x="168" y="340"/>
                  </a:lnTo>
                  <a:lnTo>
                    <a:pt x="168" y="338"/>
                  </a:lnTo>
                  <a:lnTo>
                    <a:pt x="168" y="336"/>
                  </a:lnTo>
                  <a:lnTo>
                    <a:pt x="168" y="336"/>
                  </a:lnTo>
                  <a:lnTo>
                    <a:pt x="168" y="333"/>
                  </a:lnTo>
                  <a:lnTo>
                    <a:pt x="166" y="333"/>
                  </a:lnTo>
                  <a:lnTo>
                    <a:pt x="164" y="333"/>
                  </a:lnTo>
                  <a:lnTo>
                    <a:pt x="161" y="331"/>
                  </a:lnTo>
                  <a:lnTo>
                    <a:pt x="159" y="331"/>
                  </a:lnTo>
                  <a:lnTo>
                    <a:pt x="159" y="333"/>
                  </a:lnTo>
                  <a:lnTo>
                    <a:pt x="159" y="336"/>
                  </a:lnTo>
                  <a:lnTo>
                    <a:pt x="156" y="338"/>
                  </a:lnTo>
                  <a:lnTo>
                    <a:pt x="156" y="340"/>
                  </a:lnTo>
                  <a:lnTo>
                    <a:pt x="154" y="340"/>
                  </a:lnTo>
                  <a:lnTo>
                    <a:pt x="149" y="343"/>
                  </a:lnTo>
                  <a:lnTo>
                    <a:pt x="147" y="345"/>
                  </a:lnTo>
                  <a:lnTo>
                    <a:pt x="145" y="347"/>
                  </a:lnTo>
                  <a:lnTo>
                    <a:pt x="138" y="357"/>
                  </a:lnTo>
                  <a:lnTo>
                    <a:pt x="135" y="359"/>
                  </a:lnTo>
                  <a:lnTo>
                    <a:pt x="130" y="359"/>
                  </a:lnTo>
                  <a:lnTo>
                    <a:pt x="128" y="355"/>
                  </a:lnTo>
                  <a:lnTo>
                    <a:pt x="126" y="352"/>
                  </a:lnTo>
                  <a:lnTo>
                    <a:pt x="121" y="350"/>
                  </a:lnTo>
                  <a:lnTo>
                    <a:pt x="119" y="347"/>
                  </a:lnTo>
                  <a:lnTo>
                    <a:pt x="116" y="347"/>
                  </a:lnTo>
                  <a:lnTo>
                    <a:pt x="116" y="350"/>
                  </a:lnTo>
                  <a:lnTo>
                    <a:pt x="114" y="350"/>
                  </a:lnTo>
                  <a:lnTo>
                    <a:pt x="112" y="352"/>
                  </a:lnTo>
                  <a:lnTo>
                    <a:pt x="109" y="352"/>
                  </a:lnTo>
                  <a:lnTo>
                    <a:pt x="109" y="352"/>
                  </a:lnTo>
                  <a:lnTo>
                    <a:pt x="97" y="350"/>
                  </a:lnTo>
                  <a:lnTo>
                    <a:pt x="95" y="347"/>
                  </a:lnTo>
                  <a:lnTo>
                    <a:pt x="95" y="345"/>
                  </a:lnTo>
                  <a:lnTo>
                    <a:pt x="93" y="343"/>
                  </a:lnTo>
                  <a:lnTo>
                    <a:pt x="83" y="324"/>
                  </a:lnTo>
                  <a:lnTo>
                    <a:pt x="81" y="319"/>
                  </a:lnTo>
                  <a:lnTo>
                    <a:pt x="81" y="319"/>
                  </a:lnTo>
                  <a:lnTo>
                    <a:pt x="81" y="317"/>
                  </a:lnTo>
                  <a:lnTo>
                    <a:pt x="78" y="314"/>
                  </a:lnTo>
                  <a:lnTo>
                    <a:pt x="76" y="314"/>
                  </a:lnTo>
                  <a:lnTo>
                    <a:pt x="71" y="312"/>
                  </a:lnTo>
                  <a:lnTo>
                    <a:pt x="69" y="312"/>
                  </a:lnTo>
                  <a:lnTo>
                    <a:pt x="62" y="307"/>
                  </a:lnTo>
                  <a:lnTo>
                    <a:pt x="59" y="305"/>
                  </a:lnTo>
                  <a:lnTo>
                    <a:pt x="59" y="305"/>
                  </a:lnTo>
                  <a:lnTo>
                    <a:pt x="57" y="305"/>
                  </a:lnTo>
                  <a:lnTo>
                    <a:pt x="55" y="302"/>
                  </a:lnTo>
                  <a:lnTo>
                    <a:pt x="52" y="300"/>
                  </a:lnTo>
                  <a:lnTo>
                    <a:pt x="50" y="288"/>
                  </a:lnTo>
                  <a:lnTo>
                    <a:pt x="48" y="279"/>
                  </a:lnTo>
                  <a:lnTo>
                    <a:pt x="41" y="267"/>
                  </a:lnTo>
                  <a:lnTo>
                    <a:pt x="43" y="260"/>
                  </a:lnTo>
                  <a:lnTo>
                    <a:pt x="43" y="258"/>
                  </a:lnTo>
                  <a:lnTo>
                    <a:pt x="43" y="255"/>
                  </a:lnTo>
                  <a:lnTo>
                    <a:pt x="45" y="253"/>
                  </a:lnTo>
                  <a:lnTo>
                    <a:pt x="45" y="250"/>
                  </a:lnTo>
                  <a:lnTo>
                    <a:pt x="45" y="250"/>
                  </a:lnTo>
                  <a:lnTo>
                    <a:pt x="48" y="250"/>
                  </a:lnTo>
                  <a:lnTo>
                    <a:pt x="48" y="248"/>
                  </a:lnTo>
                  <a:lnTo>
                    <a:pt x="55" y="246"/>
                  </a:lnTo>
                  <a:lnTo>
                    <a:pt x="57" y="243"/>
                  </a:lnTo>
                  <a:lnTo>
                    <a:pt x="59" y="241"/>
                  </a:lnTo>
                  <a:lnTo>
                    <a:pt x="59" y="241"/>
                  </a:lnTo>
                  <a:lnTo>
                    <a:pt x="59" y="239"/>
                  </a:lnTo>
                  <a:lnTo>
                    <a:pt x="59" y="236"/>
                  </a:lnTo>
                  <a:lnTo>
                    <a:pt x="59" y="234"/>
                  </a:lnTo>
                  <a:lnTo>
                    <a:pt x="59" y="229"/>
                  </a:lnTo>
                  <a:lnTo>
                    <a:pt x="57" y="222"/>
                  </a:lnTo>
                  <a:lnTo>
                    <a:pt x="55" y="220"/>
                  </a:lnTo>
                  <a:lnTo>
                    <a:pt x="52" y="217"/>
                  </a:lnTo>
                  <a:lnTo>
                    <a:pt x="48" y="213"/>
                  </a:lnTo>
                  <a:lnTo>
                    <a:pt x="45" y="210"/>
                  </a:lnTo>
                  <a:lnTo>
                    <a:pt x="45" y="210"/>
                  </a:lnTo>
                  <a:lnTo>
                    <a:pt x="43" y="210"/>
                  </a:lnTo>
                  <a:lnTo>
                    <a:pt x="43" y="208"/>
                  </a:lnTo>
                  <a:lnTo>
                    <a:pt x="41" y="201"/>
                  </a:lnTo>
                  <a:lnTo>
                    <a:pt x="41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3" y="198"/>
                  </a:lnTo>
                  <a:lnTo>
                    <a:pt x="33" y="198"/>
                  </a:lnTo>
                  <a:lnTo>
                    <a:pt x="31" y="196"/>
                  </a:lnTo>
                  <a:lnTo>
                    <a:pt x="31" y="196"/>
                  </a:lnTo>
                  <a:lnTo>
                    <a:pt x="31" y="194"/>
                  </a:lnTo>
                  <a:lnTo>
                    <a:pt x="29" y="194"/>
                  </a:lnTo>
                  <a:lnTo>
                    <a:pt x="29" y="191"/>
                  </a:lnTo>
                  <a:lnTo>
                    <a:pt x="26" y="191"/>
                  </a:lnTo>
                  <a:lnTo>
                    <a:pt x="22" y="194"/>
                  </a:lnTo>
                  <a:lnTo>
                    <a:pt x="19" y="194"/>
                  </a:lnTo>
                  <a:lnTo>
                    <a:pt x="17" y="191"/>
                  </a:lnTo>
                  <a:lnTo>
                    <a:pt x="10" y="187"/>
                  </a:lnTo>
                  <a:lnTo>
                    <a:pt x="5" y="182"/>
                  </a:lnTo>
                  <a:lnTo>
                    <a:pt x="3" y="182"/>
                  </a:lnTo>
                  <a:lnTo>
                    <a:pt x="3" y="179"/>
                  </a:lnTo>
                  <a:lnTo>
                    <a:pt x="0" y="177"/>
                  </a:lnTo>
                  <a:lnTo>
                    <a:pt x="3" y="175"/>
                  </a:lnTo>
                  <a:lnTo>
                    <a:pt x="3" y="172"/>
                  </a:lnTo>
                  <a:lnTo>
                    <a:pt x="7" y="165"/>
                  </a:lnTo>
                  <a:lnTo>
                    <a:pt x="10" y="161"/>
                  </a:lnTo>
                  <a:lnTo>
                    <a:pt x="12" y="156"/>
                  </a:lnTo>
                  <a:lnTo>
                    <a:pt x="26" y="146"/>
                  </a:lnTo>
                  <a:lnTo>
                    <a:pt x="29" y="144"/>
                  </a:lnTo>
                  <a:lnTo>
                    <a:pt x="33" y="134"/>
                  </a:lnTo>
                  <a:lnTo>
                    <a:pt x="41" y="116"/>
                  </a:lnTo>
                  <a:lnTo>
                    <a:pt x="41" y="106"/>
                  </a:lnTo>
                  <a:lnTo>
                    <a:pt x="43" y="97"/>
                  </a:lnTo>
                  <a:lnTo>
                    <a:pt x="43" y="94"/>
                  </a:lnTo>
                  <a:lnTo>
                    <a:pt x="45" y="94"/>
                  </a:lnTo>
                  <a:lnTo>
                    <a:pt x="50" y="90"/>
                  </a:lnTo>
                  <a:lnTo>
                    <a:pt x="62" y="85"/>
                  </a:lnTo>
                  <a:lnTo>
                    <a:pt x="76" y="82"/>
                  </a:lnTo>
                  <a:lnTo>
                    <a:pt x="78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6" y="82"/>
                  </a:lnTo>
                  <a:lnTo>
                    <a:pt x="86" y="80"/>
                  </a:lnTo>
                  <a:lnTo>
                    <a:pt x="86" y="78"/>
                  </a:lnTo>
                  <a:lnTo>
                    <a:pt x="83" y="75"/>
                  </a:lnTo>
                  <a:lnTo>
                    <a:pt x="83" y="73"/>
                  </a:lnTo>
                  <a:lnTo>
                    <a:pt x="81" y="73"/>
                  </a:lnTo>
                  <a:lnTo>
                    <a:pt x="78" y="73"/>
                  </a:lnTo>
                  <a:lnTo>
                    <a:pt x="76" y="73"/>
                  </a:lnTo>
                  <a:lnTo>
                    <a:pt x="76" y="71"/>
                  </a:lnTo>
                  <a:lnTo>
                    <a:pt x="74" y="71"/>
                  </a:lnTo>
                  <a:lnTo>
                    <a:pt x="74" y="68"/>
                  </a:lnTo>
                  <a:lnTo>
                    <a:pt x="76" y="66"/>
                  </a:lnTo>
                  <a:lnTo>
                    <a:pt x="78" y="59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3" y="54"/>
                  </a:lnTo>
                  <a:lnTo>
                    <a:pt x="86" y="52"/>
                  </a:lnTo>
                  <a:lnTo>
                    <a:pt x="104" y="47"/>
                  </a:lnTo>
                  <a:lnTo>
                    <a:pt x="104" y="45"/>
                  </a:lnTo>
                  <a:lnTo>
                    <a:pt x="107" y="45"/>
                  </a:lnTo>
                  <a:lnTo>
                    <a:pt x="104" y="40"/>
                  </a:lnTo>
                  <a:lnTo>
                    <a:pt x="104" y="35"/>
                  </a:lnTo>
                  <a:lnTo>
                    <a:pt x="104" y="3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Freeform 55">
              <a:extLst>
                <a:ext uri="{FF2B5EF4-FFF2-40B4-BE49-F238E27FC236}">
                  <a16:creationId xmlns:a16="http://schemas.microsoft.com/office/drawing/2014/main" id="{CBCDE7D6-F9B4-4A90-8C7B-92A195786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5864" y="1213483"/>
              <a:ext cx="766512" cy="818399"/>
            </a:xfrm>
            <a:custGeom>
              <a:avLst/>
              <a:gdLst>
                <a:gd name="T0" fmla="*/ 24 w 603"/>
                <a:gd name="T1" fmla="*/ 260 h 644"/>
                <a:gd name="T2" fmla="*/ 5 w 603"/>
                <a:gd name="T3" fmla="*/ 218 h 644"/>
                <a:gd name="T4" fmla="*/ 14 w 603"/>
                <a:gd name="T5" fmla="*/ 163 h 644"/>
                <a:gd name="T6" fmla="*/ 94 w 603"/>
                <a:gd name="T7" fmla="*/ 180 h 644"/>
                <a:gd name="T8" fmla="*/ 128 w 603"/>
                <a:gd name="T9" fmla="*/ 182 h 644"/>
                <a:gd name="T10" fmla="*/ 175 w 603"/>
                <a:gd name="T11" fmla="*/ 182 h 644"/>
                <a:gd name="T12" fmla="*/ 191 w 603"/>
                <a:gd name="T13" fmla="*/ 137 h 644"/>
                <a:gd name="T14" fmla="*/ 281 w 603"/>
                <a:gd name="T15" fmla="*/ 81 h 644"/>
                <a:gd name="T16" fmla="*/ 307 w 603"/>
                <a:gd name="T17" fmla="*/ 66 h 644"/>
                <a:gd name="T18" fmla="*/ 333 w 603"/>
                <a:gd name="T19" fmla="*/ 59 h 644"/>
                <a:gd name="T20" fmla="*/ 378 w 603"/>
                <a:gd name="T21" fmla="*/ 66 h 644"/>
                <a:gd name="T22" fmla="*/ 494 w 603"/>
                <a:gd name="T23" fmla="*/ 0 h 644"/>
                <a:gd name="T24" fmla="*/ 490 w 603"/>
                <a:gd name="T25" fmla="*/ 64 h 644"/>
                <a:gd name="T26" fmla="*/ 511 w 603"/>
                <a:gd name="T27" fmla="*/ 85 h 644"/>
                <a:gd name="T28" fmla="*/ 537 w 603"/>
                <a:gd name="T29" fmla="*/ 118 h 644"/>
                <a:gd name="T30" fmla="*/ 584 w 603"/>
                <a:gd name="T31" fmla="*/ 156 h 644"/>
                <a:gd name="T32" fmla="*/ 584 w 603"/>
                <a:gd name="T33" fmla="*/ 180 h 644"/>
                <a:gd name="T34" fmla="*/ 575 w 603"/>
                <a:gd name="T35" fmla="*/ 185 h 644"/>
                <a:gd name="T36" fmla="*/ 542 w 603"/>
                <a:gd name="T37" fmla="*/ 199 h 644"/>
                <a:gd name="T38" fmla="*/ 513 w 603"/>
                <a:gd name="T39" fmla="*/ 187 h 644"/>
                <a:gd name="T40" fmla="*/ 494 w 603"/>
                <a:gd name="T41" fmla="*/ 196 h 644"/>
                <a:gd name="T42" fmla="*/ 487 w 603"/>
                <a:gd name="T43" fmla="*/ 232 h 644"/>
                <a:gd name="T44" fmla="*/ 445 w 603"/>
                <a:gd name="T45" fmla="*/ 270 h 644"/>
                <a:gd name="T46" fmla="*/ 452 w 603"/>
                <a:gd name="T47" fmla="*/ 284 h 644"/>
                <a:gd name="T48" fmla="*/ 442 w 603"/>
                <a:gd name="T49" fmla="*/ 312 h 644"/>
                <a:gd name="T50" fmla="*/ 447 w 603"/>
                <a:gd name="T51" fmla="*/ 338 h 644"/>
                <a:gd name="T52" fmla="*/ 456 w 603"/>
                <a:gd name="T53" fmla="*/ 355 h 644"/>
                <a:gd name="T54" fmla="*/ 475 w 603"/>
                <a:gd name="T55" fmla="*/ 362 h 644"/>
                <a:gd name="T56" fmla="*/ 490 w 603"/>
                <a:gd name="T57" fmla="*/ 381 h 644"/>
                <a:gd name="T58" fmla="*/ 483 w 603"/>
                <a:gd name="T59" fmla="*/ 398 h 644"/>
                <a:gd name="T60" fmla="*/ 447 w 603"/>
                <a:gd name="T61" fmla="*/ 428 h 644"/>
                <a:gd name="T62" fmla="*/ 423 w 603"/>
                <a:gd name="T63" fmla="*/ 454 h 644"/>
                <a:gd name="T64" fmla="*/ 409 w 603"/>
                <a:gd name="T65" fmla="*/ 492 h 644"/>
                <a:gd name="T66" fmla="*/ 390 w 603"/>
                <a:gd name="T67" fmla="*/ 480 h 644"/>
                <a:gd name="T68" fmla="*/ 350 w 603"/>
                <a:gd name="T69" fmla="*/ 495 h 644"/>
                <a:gd name="T70" fmla="*/ 338 w 603"/>
                <a:gd name="T71" fmla="*/ 514 h 644"/>
                <a:gd name="T72" fmla="*/ 324 w 603"/>
                <a:gd name="T73" fmla="*/ 523 h 644"/>
                <a:gd name="T74" fmla="*/ 312 w 603"/>
                <a:gd name="T75" fmla="*/ 525 h 644"/>
                <a:gd name="T76" fmla="*/ 293 w 603"/>
                <a:gd name="T77" fmla="*/ 587 h 644"/>
                <a:gd name="T78" fmla="*/ 291 w 603"/>
                <a:gd name="T79" fmla="*/ 603 h 644"/>
                <a:gd name="T80" fmla="*/ 248 w 603"/>
                <a:gd name="T81" fmla="*/ 627 h 644"/>
                <a:gd name="T82" fmla="*/ 229 w 603"/>
                <a:gd name="T83" fmla="*/ 637 h 644"/>
                <a:gd name="T84" fmla="*/ 215 w 603"/>
                <a:gd name="T85" fmla="*/ 641 h 644"/>
                <a:gd name="T86" fmla="*/ 201 w 603"/>
                <a:gd name="T87" fmla="*/ 618 h 644"/>
                <a:gd name="T88" fmla="*/ 206 w 603"/>
                <a:gd name="T89" fmla="*/ 601 h 644"/>
                <a:gd name="T90" fmla="*/ 173 w 603"/>
                <a:gd name="T91" fmla="*/ 580 h 644"/>
                <a:gd name="T92" fmla="*/ 144 w 603"/>
                <a:gd name="T93" fmla="*/ 584 h 644"/>
                <a:gd name="T94" fmla="*/ 137 w 603"/>
                <a:gd name="T95" fmla="*/ 599 h 644"/>
                <a:gd name="T96" fmla="*/ 116 w 603"/>
                <a:gd name="T97" fmla="*/ 608 h 644"/>
                <a:gd name="T98" fmla="*/ 104 w 603"/>
                <a:gd name="T99" fmla="*/ 601 h 644"/>
                <a:gd name="T100" fmla="*/ 85 w 603"/>
                <a:gd name="T101" fmla="*/ 577 h 644"/>
                <a:gd name="T102" fmla="*/ 83 w 603"/>
                <a:gd name="T103" fmla="*/ 554 h 644"/>
                <a:gd name="T104" fmla="*/ 68 w 603"/>
                <a:gd name="T105" fmla="*/ 540 h 644"/>
                <a:gd name="T106" fmla="*/ 68 w 603"/>
                <a:gd name="T107" fmla="*/ 518 h 644"/>
                <a:gd name="T108" fmla="*/ 85 w 603"/>
                <a:gd name="T109" fmla="*/ 478 h 644"/>
                <a:gd name="T110" fmla="*/ 90 w 603"/>
                <a:gd name="T111" fmla="*/ 421 h 644"/>
                <a:gd name="T112" fmla="*/ 80 w 603"/>
                <a:gd name="T113" fmla="*/ 390 h 644"/>
                <a:gd name="T114" fmla="*/ 87 w 603"/>
                <a:gd name="T115" fmla="*/ 367 h 644"/>
                <a:gd name="T116" fmla="*/ 90 w 603"/>
                <a:gd name="T117" fmla="*/ 336 h 644"/>
                <a:gd name="T118" fmla="*/ 40 w 603"/>
                <a:gd name="T119" fmla="*/ 310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3" h="644">
                  <a:moveTo>
                    <a:pt x="38" y="308"/>
                  </a:moveTo>
                  <a:lnTo>
                    <a:pt x="38" y="308"/>
                  </a:lnTo>
                  <a:lnTo>
                    <a:pt x="33" y="298"/>
                  </a:lnTo>
                  <a:lnTo>
                    <a:pt x="31" y="296"/>
                  </a:lnTo>
                  <a:lnTo>
                    <a:pt x="33" y="293"/>
                  </a:lnTo>
                  <a:lnTo>
                    <a:pt x="33" y="282"/>
                  </a:lnTo>
                  <a:lnTo>
                    <a:pt x="33" y="272"/>
                  </a:lnTo>
                  <a:lnTo>
                    <a:pt x="28" y="265"/>
                  </a:lnTo>
                  <a:lnTo>
                    <a:pt x="24" y="260"/>
                  </a:lnTo>
                  <a:lnTo>
                    <a:pt x="9" y="260"/>
                  </a:lnTo>
                  <a:lnTo>
                    <a:pt x="5" y="256"/>
                  </a:lnTo>
                  <a:lnTo>
                    <a:pt x="0" y="246"/>
                  </a:lnTo>
                  <a:lnTo>
                    <a:pt x="2" y="241"/>
                  </a:lnTo>
                  <a:lnTo>
                    <a:pt x="5" y="239"/>
                  </a:lnTo>
                  <a:lnTo>
                    <a:pt x="7" y="234"/>
                  </a:lnTo>
                  <a:lnTo>
                    <a:pt x="7" y="227"/>
                  </a:lnTo>
                  <a:lnTo>
                    <a:pt x="5" y="223"/>
                  </a:lnTo>
                  <a:lnTo>
                    <a:pt x="5" y="218"/>
                  </a:lnTo>
                  <a:lnTo>
                    <a:pt x="9" y="215"/>
                  </a:lnTo>
                  <a:lnTo>
                    <a:pt x="14" y="208"/>
                  </a:lnTo>
                  <a:lnTo>
                    <a:pt x="12" y="204"/>
                  </a:lnTo>
                  <a:lnTo>
                    <a:pt x="9" y="196"/>
                  </a:lnTo>
                  <a:lnTo>
                    <a:pt x="7" y="192"/>
                  </a:lnTo>
                  <a:lnTo>
                    <a:pt x="12" y="182"/>
                  </a:lnTo>
                  <a:lnTo>
                    <a:pt x="14" y="180"/>
                  </a:lnTo>
                  <a:lnTo>
                    <a:pt x="14" y="175"/>
                  </a:lnTo>
                  <a:lnTo>
                    <a:pt x="14" y="163"/>
                  </a:lnTo>
                  <a:lnTo>
                    <a:pt x="24" y="168"/>
                  </a:lnTo>
                  <a:lnTo>
                    <a:pt x="35" y="168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73" y="156"/>
                  </a:lnTo>
                  <a:lnTo>
                    <a:pt x="97" y="166"/>
                  </a:lnTo>
                  <a:lnTo>
                    <a:pt x="102" y="170"/>
                  </a:lnTo>
                  <a:lnTo>
                    <a:pt x="99" y="173"/>
                  </a:lnTo>
                  <a:lnTo>
                    <a:pt x="94" y="180"/>
                  </a:lnTo>
                  <a:lnTo>
                    <a:pt x="94" y="182"/>
                  </a:lnTo>
                  <a:lnTo>
                    <a:pt x="97" y="185"/>
                  </a:lnTo>
                  <a:lnTo>
                    <a:pt x="99" y="185"/>
                  </a:lnTo>
                  <a:lnTo>
                    <a:pt x="104" y="182"/>
                  </a:lnTo>
                  <a:lnTo>
                    <a:pt x="109" y="182"/>
                  </a:lnTo>
                  <a:lnTo>
                    <a:pt x="118" y="187"/>
                  </a:lnTo>
                  <a:lnTo>
                    <a:pt x="121" y="187"/>
                  </a:lnTo>
                  <a:lnTo>
                    <a:pt x="125" y="185"/>
                  </a:lnTo>
                  <a:lnTo>
                    <a:pt x="128" y="182"/>
                  </a:lnTo>
                  <a:lnTo>
                    <a:pt x="130" y="185"/>
                  </a:lnTo>
                  <a:lnTo>
                    <a:pt x="137" y="187"/>
                  </a:lnTo>
                  <a:lnTo>
                    <a:pt x="139" y="189"/>
                  </a:lnTo>
                  <a:lnTo>
                    <a:pt x="142" y="187"/>
                  </a:lnTo>
                  <a:lnTo>
                    <a:pt x="151" y="185"/>
                  </a:lnTo>
                  <a:lnTo>
                    <a:pt x="156" y="182"/>
                  </a:lnTo>
                  <a:lnTo>
                    <a:pt x="165" y="182"/>
                  </a:lnTo>
                  <a:lnTo>
                    <a:pt x="173" y="182"/>
                  </a:lnTo>
                  <a:lnTo>
                    <a:pt x="175" y="182"/>
                  </a:lnTo>
                  <a:lnTo>
                    <a:pt x="180" y="178"/>
                  </a:lnTo>
                  <a:lnTo>
                    <a:pt x="184" y="166"/>
                  </a:lnTo>
                  <a:lnTo>
                    <a:pt x="184" y="163"/>
                  </a:lnTo>
                  <a:lnTo>
                    <a:pt x="187" y="161"/>
                  </a:lnTo>
                  <a:lnTo>
                    <a:pt x="189" y="161"/>
                  </a:lnTo>
                  <a:lnTo>
                    <a:pt x="189" y="159"/>
                  </a:lnTo>
                  <a:lnTo>
                    <a:pt x="189" y="154"/>
                  </a:lnTo>
                  <a:lnTo>
                    <a:pt x="189" y="152"/>
                  </a:lnTo>
                  <a:lnTo>
                    <a:pt x="191" y="137"/>
                  </a:lnTo>
                  <a:lnTo>
                    <a:pt x="191" y="123"/>
                  </a:lnTo>
                  <a:lnTo>
                    <a:pt x="194" y="118"/>
                  </a:lnTo>
                  <a:lnTo>
                    <a:pt x="210" y="97"/>
                  </a:lnTo>
                  <a:lnTo>
                    <a:pt x="215" y="92"/>
                  </a:lnTo>
                  <a:lnTo>
                    <a:pt x="234" y="83"/>
                  </a:lnTo>
                  <a:lnTo>
                    <a:pt x="253" y="76"/>
                  </a:lnTo>
                  <a:lnTo>
                    <a:pt x="265" y="78"/>
                  </a:lnTo>
                  <a:lnTo>
                    <a:pt x="274" y="81"/>
                  </a:lnTo>
                  <a:lnTo>
                    <a:pt x="281" y="81"/>
                  </a:lnTo>
                  <a:lnTo>
                    <a:pt x="291" y="69"/>
                  </a:lnTo>
                  <a:lnTo>
                    <a:pt x="291" y="69"/>
                  </a:lnTo>
                  <a:lnTo>
                    <a:pt x="293" y="66"/>
                  </a:lnTo>
                  <a:lnTo>
                    <a:pt x="293" y="64"/>
                  </a:lnTo>
                  <a:lnTo>
                    <a:pt x="298" y="62"/>
                  </a:lnTo>
                  <a:lnTo>
                    <a:pt x="303" y="62"/>
                  </a:lnTo>
                  <a:lnTo>
                    <a:pt x="305" y="64"/>
                  </a:lnTo>
                  <a:lnTo>
                    <a:pt x="305" y="64"/>
                  </a:lnTo>
                  <a:lnTo>
                    <a:pt x="307" y="66"/>
                  </a:lnTo>
                  <a:lnTo>
                    <a:pt x="310" y="69"/>
                  </a:lnTo>
                  <a:lnTo>
                    <a:pt x="312" y="69"/>
                  </a:lnTo>
                  <a:lnTo>
                    <a:pt x="317" y="66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26" y="62"/>
                  </a:lnTo>
                  <a:lnTo>
                    <a:pt x="333" y="59"/>
                  </a:lnTo>
                  <a:lnTo>
                    <a:pt x="348" y="62"/>
                  </a:lnTo>
                  <a:lnTo>
                    <a:pt x="348" y="62"/>
                  </a:lnTo>
                  <a:lnTo>
                    <a:pt x="348" y="62"/>
                  </a:lnTo>
                  <a:lnTo>
                    <a:pt x="350" y="59"/>
                  </a:lnTo>
                  <a:lnTo>
                    <a:pt x="352" y="59"/>
                  </a:lnTo>
                  <a:lnTo>
                    <a:pt x="359" y="59"/>
                  </a:lnTo>
                  <a:lnTo>
                    <a:pt x="369" y="66"/>
                  </a:lnTo>
                  <a:lnTo>
                    <a:pt x="374" y="66"/>
                  </a:lnTo>
                  <a:lnTo>
                    <a:pt x="378" y="66"/>
                  </a:lnTo>
                  <a:lnTo>
                    <a:pt x="383" y="59"/>
                  </a:lnTo>
                  <a:lnTo>
                    <a:pt x="386" y="57"/>
                  </a:lnTo>
                  <a:lnTo>
                    <a:pt x="397" y="52"/>
                  </a:lnTo>
                  <a:lnTo>
                    <a:pt x="407" y="43"/>
                  </a:lnTo>
                  <a:lnTo>
                    <a:pt x="419" y="36"/>
                  </a:lnTo>
                  <a:lnTo>
                    <a:pt x="430" y="28"/>
                  </a:lnTo>
                  <a:lnTo>
                    <a:pt x="449" y="26"/>
                  </a:lnTo>
                  <a:lnTo>
                    <a:pt x="475" y="5"/>
                  </a:lnTo>
                  <a:lnTo>
                    <a:pt x="494" y="0"/>
                  </a:lnTo>
                  <a:lnTo>
                    <a:pt x="501" y="0"/>
                  </a:lnTo>
                  <a:lnTo>
                    <a:pt x="504" y="12"/>
                  </a:lnTo>
                  <a:lnTo>
                    <a:pt x="499" y="21"/>
                  </a:lnTo>
                  <a:lnTo>
                    <a:pt x="483" y="33"/>
                  </a:lnTo>
                  <a:lnTo>
                    <a:pt x="480" y="40"/>
                  </a:lnTo>
                  <a:lnTo>
                    <a:pt x="483" y="45"/>
                  </a:lnTo>
                  <a:lnTo>
                    <a:pt x="485" y="50"/>
                  </a:lnTo>
                  <a:lnTo>
                    <a:pt x="487" y="59"/>
                  </a:lnTo>
                  <a:lnTo>
                    <a:pt x="490" y="64"/>
                  </a:lnTo>
                  <a:lnTo>
                    <a:pt x="494" y="66"/>
                  </a:lnTo>
                  <a:lnTo>
                    <a:pt x="494" y="71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501" y="76"/>
                  </a:lnTo>
                  <a:lnTo>
                    <a:pt x="504" y="78"/>
                  </a:lnTo>
                  <a:lnTo>
                    <a:pt x="509" y="81"/>
                  </a:lnTo>
                  <a:lnTo>
                    <a:pt x="509" y="83"/>
                  </a:lnTo>
                  <a:lnTo>
                    <a:pt x="511" y="85"/>
                  </a:lnTo>
                  <a:lnTo>
                    <a:pt x="516" y="85"/>
                  </a:lnTo>
                  <a:lnTo>
                    <a:pt x="527" y="85"/>
                  </a:lnTo>
                  <a:lnTo>
                    <a:pt x="532" y="88"/>
                  </a:lnTo>
                  <a:lnTo>
                    <a:pt x="537" y="95"/>
                  </a:lnTo>
                  <a:lnTo>
                    <a:pt x="537" y="102"/>
                  </a:lnTo>
                  <a:lnTo>
                    <a:pt x="537" y="104"/>
                  </a:lnTo>
                  <a:lnTo>
                    <a:pt x="537" y="107"/>
                  </a:lnTo>
                  <a:lnTo>
                    <a:pt x="537" y="111"/>
                  </a:lnTo>
                  <a:lnTo>
                    <a:pt x="537" y="118"/>
                  </a:lnTo>
                  <a:lnTo>
                    <a:pt x="539" y="121"/>
                  </a:lnTo>
                  <a:lnTo>
                    <a:pt x="542" y="121"/>
                  </a:lnTo>
                  <a:lnTo>
                    <a:pt x="544" y="123"/>
                  </a:lnTo>
                  <a:lnTo>
                    <a:pt x="551" y="126"/>
                  </a:lnTo>
                  <a:lnTo>
                    <a:pt x="556" y="126"/>
                  </a:lnTo>
                  <a:lnTo>
                    <a:pt x="561" y="128"/>
                  </a:lnTo>
                  <a:lnTo>
                    <a:pt x="565" y="135"/>
                  </a:lnTo>
                  <a:lnTo>
                    <a:pt x="572" y="149"/>
                  </a:lnTo>
                  <a:lnTo>
                    <a:pt x="584" y="156"/>
                  </a:lnTo>
                  <a:lnTo>
                    <a:pt x="596" y="159"/>
                  </a:lnTo>
                  <a:lnTo>
                    <a:pt x="603" y="159"/>
                  </a:lnTo>
                  <a:lnTo>
                    <a:pt x="598" y="166"/>
                  </a:lnTo>
                  <a:lnTo>
                    <a:pt x="594" y="168"/>
                  </a:lnTo>
                  <a:lnTo>
                    <a:pt x="594" y="170"/>
                  </a:lnTo>
                  <a:lnTo>
                    <a:pt x="591" y="173"/>
                  </a:lnTo>
                  <a:lnTo>
                    <a:pt x="591" y="173"/>
                  </a:lnTo>
                  <a:lnTo>
                    <a:pt x="587" y="178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4" y="185"/>
                  </a:lnTo>
                  <a:lnTo>
                    <a:pt x="584" y="185"/>
                  </a:lnTo>
                  <a:lnTo>
                    <a:pt x="584" y="187"/>
                  </a:lnTo>
                  <a:lnTo>
                    <a:pt x="582" y="187"/>
                  </a:lnTo>
                  <a:lnTo>
                    <a:pt x="580" y="187"/>
                  </a:lnTo>
                  <a:lnTo>
                    <a:pt x="577" y="187"/>
                  </a:lnTo>
                  <a:lnTo>
                    <a:pt x="575" y="187"/>
                  </a:lnTo>
                  <a:lnTo>
                    <a:pt x="575" y="185"/>
                  </a:lnTo>
                  <a:lnTo>
                    <a:pt x="572" y="185"/>
                  </a:lnTo>
                  <a:lnTo>
                    <a:pt x="572" y="185"/>
                  </a:lnTo>
                  <a:lnTo>
                    <a:pt x="570" y="185"/>
                  </a:lnTo>
                  <a:lnTo>
                    <a:pt x="568" y="187"/>
                  </a:lnTo>
                  <a:lnTo>
                    <a:pt x="565" y="189"/>
                  </a:lnTo>
                  <a:lnTo>
                    <a:pt x="563" y="192"/>
                  </a:lnTo>
                  <a:lnTo>
                    <a:pt x="561" y="192"/>
                  </a:lnTo>
                  <a:lnTo>
                    <a:pt x="546" y="196"/>
                  </a:lnTo>
                  <a:lnTo>
                    <a:pt x="542" y="199"/>
                  </a:lnTo>
                  <a:lnTo>
                    <a:pt x="537" y="204"/>
                  </a:lnTo>
                  <a:lnTo>
                    <a:pt x="535" y="206"/>
                  </a:lnTo>
                  <a:lnTo>
                    <a:pt x="532" y="204"/>
                  </a:lnTo>
                  <a:lnTo>
                    <a:pt x="532" y="201"/>
                  </a:lnTo>
                  <a:lnTo>
                    <a:pt x="532" y="199"/>
                  </a:lnTo>
                  <a:lnTo>
                    <a:pt x="523" y="189"/>
                  </a:lnTo>
                  <a:lnTo>
                    <a:pt x="523" y="189"/>
                  </a:lnTo>
                  <a:lnTo>
                    <a:pt x="520" y="189"/>
                  </a:lnTo>
                  <a:lnTo>
                    <a:pt x="513" y="187"/>
                  </a:lnTo>
                  <a:lnTo>
                    <a:pt x="511" y="187"/>
                  </a:lnTo>
                  <a:lnTo>
                    <a:pt x="499" y="180"/>
                  </a:lnTo>
                  <a:lnTo>
                    <a:pt x="497" y="180"/>
                  </a:lnTo>
                  <a:lnTo>
                    <a:pt x="497" y="180"/>
                  </a:lnTo>
                  <a:lnTo>
                    <a:pt x="494" y="182"/>
                  </a:lnTo>
                  <a:lnTo>
                    <a:pt x="494" y="185"/>
                  </a:lnTo>
                  <a:lnTo>
                    <a:pt x="494" y="187"/>
                  </a:lnTo>
                  <a:lnTo>
                    <a:pt x="494" y="194"/>
                  </a:lnTo>
                  <a:lnTo>
                    <a:pt x="494" y="196"/>
                  </a:lnTo>
                  <a:lnTo>
                    <a:pt x="494" y="204"/>
                  </a:lnTo>
                  <a:lnTo>
                    <a:pt x="492" y="208"/>
                  </a:lnTo>
                  <a:lnTo>
                    <a:pt x="492" y="215"/>
                  </a:lnTo>
                  <a:lnTo>
                    <a:pt x="487" y="220"/>
                  </a:lnTo>
                  <a:lnTo>
                    <a:pt x="487" y="223"/>
                  </a:lnTo>
                  <a:lnTo>
                    <a:pt x="487" y="225"/>
                  </a:lnTo>
                  <a:lnTo>
                    <a:pt x="487" y="230"/>
                  </a:lnTo>
                  <a:lnTo>
                    <a:pt x="487" y="232"/>
                  </a:lnTo>
                  <a:lnTo>
                    <a:pt x="487" y="232"/>
                  </a:lnTo>
                  <a:lnTo>
                    <a:pt x="485" y="234"/>
                  </a:lnTo>
                  <a:lnTo>
                    <a:pt x="485" y="234"/>
                  </a:lnTo>
                  <a:lnTo>
                    <a:pt x="485" y="237"/>
                  </a:lnTo>
                  <a:lnTo>
                    <a:pt x="480" y="239"/>
                  </a:lnTo>
                  <a:lnTo>
                    <a:pt x="438" y="253"/>
                  </a:lnTo>
                  <a:lnTo>
                    <a:pt x="433" y="260"/>
                  </a:lnTo>
                  <a:lnTo>
                    <a:pt x="435" y="267"/>
                  </a:lnTo>
                  <a:lnTo>
                    <a:pt x="438" y="270"/>
                  </a:lnTo>
                  <a:lnTo>
                    <a:pt x="445" y="270"/>
                  </a:lnTo>
                  <a:lnTo>
                    <a:pt x="449" y="272"/>
                  </a:lnTo>
                  <a:lnTo>
                    <a:pt x="452" y="272"/>
                  </a:lnTo>
                  <a:lnTo>
                    <a:pt x="452" y="275"/>
                  </a:lnTo>
                  <a:lnTo>
                    <a:pt x="452" y="275"/>
                  </a:lnTo>
                  <a:lnTo>
                    <a:pt x="454" y="277"/>
                  </a:lnTo>
                  <a:lnTo>
                    <a:pt x="454" y="277"/>
                  </a:lnTo>
                  <a:lnTo>
                    <a:pt x="454" y="279"/>
                  </a:lnTo>
                  <a:lnTo>
                    <a:pt x="452" y="282"/>
                  </a:lnTo>
                  <a:lnTo>
                    <a:pt x="452" y="284"/>
                  </a:lnTo>
                  <a:lnTo>
                    <a:pt x="449" y="286"/>
                  </a:lnTo>
                  <a:lnTo>
                    <a:pt x="447" y="289"/>
                  </a:lnTo>
                  <a:lnTo>
                    <a:pt x="447" y="289"/>
                  </a:lnTo>
                  <a:lnTo>
                    <a:pt x="445" y="291"/>
                  </a:lnTo>
                  <a:lnTo>
                    <a:pt x="445" y="293"/>
                  </a:lnTo>
                  <a:lnTo>
                    <a:pt x="445" y="296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2" y="312"/>
                  </a:lnTo>
                  <a:lnTo>
                    <a:pt x="438" y="312"/>
                  </a:lnTo>
                  <a:lnTo>
                    <a:pt x="438" y="315"/>
                  </a:lnTo>
                  <a:lnTo>
                    <a:pt x="433" y="320"/>
                  </a:lnTo>
                  <a:lnTo>
                    <a:pt x="433" y="320"/>
                  </a:lnTo>
                  <a:lnTo>
                    <a:pt x="430" y="322"/>
                  </a:lnTo>
                  <a:lnTo>
                    <a:pt x="433" y="324"/>
                  </a:lnTo>
                  <a:lnTo>
                    <a:pt x="433" y="327"/>
                  </a:lnTo>
                  <a:lnTo>
                    <a:pt x="435" y="329"/>
                  </a:lnTo>
                  <a:lnTo>
                    <a:pt x="447" y="338"/>
                  </a:lnTo>
                  <a:lnTo>
                    <a:pt x="449" y="341"/>
                  </a:lnTo>
                  <a:lnTo>
                    <a:pt x="449" y="341"/>
                  </a:lnTo>
                  <a:lnTo>
                    <a:pt x="449" y="343"/>
                  </a:lnTo>
                  <a:lnTo>
                    <a:pt x="449" y="346"/>
                  </a:lnTo>
                  <a:lnTo>
                    <a:pt x="452" y="353"/>
                  </a:lnTo>
                  <a:lnTo>
                    <a:pt x="452" y="355"/>
                  </a:lnTo>
                  <a:lnTo>
                    <a:pt x="452" y="355"/>
                  </a:lnTo>
                  <a:lnTo>
                    <a:pt x="454" y="357"/>
                  </a:lnTo>
                  <a:lnTo>
                    <a:pt x="456" y="355"/>
                  </a:lnTo>
                  <a:lnTo>
                    <a:pt x="464" y="355"/>
                  </a:lnTo>
                  <a:lnTo>
                    <a:pt x="464" y="355"/>
                  </a:lnTo>
                  <a:lnTo>
                    <a:pt x="466" y="355"/>
                  </a:lnTo>
                  <a:lnTo>
                    <a:pt x="466" y="357"/>
                  </a:lnTo>
                  <a:lnTo>
                    <a:pt x="468" y="360"/>
                  </a:lnTo>
                  <a:lnTo>
                    <a:pt x="468" y="360"/>
                  </a:lnTo>
                  <a:lnTo>
                    <a:pt x="471" y="360"/>
                  </a:lnTo>
                  <a:lnTo>
                    <a:pt x="473" y="362"/>
                  </a:lnTo>
                  <a:lnTo>
                    <a:pt x="475" y="362"/>
                  </a:lnTo>
                  <a:lnTo>
                    <a:pt x="475" y="362"/>
                  </a:lnTo>
                  <a:lnTo>
                    <a:pt x="475" y="362"/>
                  </a:lnTo>
                  <a:lnTo>
                    <a:pt x="475" y="369"/>
                  </a:lnTo>
                  <a:lnTo>
                    <a:pt x="475" y="372"/>
                  </a:lnTo>
                  <a:lnTo>
                    <a:pt x="475" y="374"/>
                  </a:lnTo>
                  <a:lnTo>
                    <a:pt x="475" y="376"/>
                  </a:lnTo>
                  <a:lnTo>
                    <a:pt x="478" y="376"/>
                  </a:lnTo>
                  <a:lnTo>
                    <a:pt x="480" y="379"/>
                  </a:lnTo>
                  <a:lnTo>
                    <a:pt x="490" y="381"/>
                  </a:lnTo>
                  <a:lnTo>
                    <a:pt x="490" y="383"/>
                  </a:lnTo>
                  <a:lnTo>
                    <a:pt x="492" y="383"/>
                  </a:lnTo>
                  <a:lnTo>
                    <a:pt x="492" y="386"/>
                  </a:lnTo>
                  <a:lnTo>
                    <a:pt x="492" y="386"/>
                  </a:lnTo>
                  <a:lnTo>
                    <a:pt x="492" y="388"/>
                  </a:lnTo>
                  <a:lnTo>
                    <a:pt x="490" y="390"/>
                  </a:lnTo>
                  <a:lnTo>
                    <a:pt x="485" y="393"/>
                  </a:lnTo>
                  <a:lnTo>
                    <a:pt x="485" y="395"/>
                  </a:lnTo>
                  <a:lnTo>
                    <a:pt x="483" y="398"/>
                  </a:lnTo>
                  <a:lnTo>
                    <a:pt x="478" y="407"/>
                  </a:lnTo>
                  <a:lnTo>
                    <a:pt x="475" y="409"/>
                  </a:lnTo>
                  <a:lnTo>
                    <a:pt x="475" y="412"/>
                  </a:lnTo>
                  <a:lnTo>
                    <a:pt x="475" y="414"/>
                  </a:lnTo>
                  <a:lnTo>
                    <a:pt x="471" y="417"/>
                  </a:lnTo>
                  <a:lnTo>
                    <a:pt x="459" y="421"/>
                  </a:lnTo>
                  <a:lnTo>
                    <a:pt x="454" y="426"/>
                  </a:lnTo>
                  <a:lnTo>
                    <a:pt x="452" y="428"/>
                  </a:lnTo>
                  <a:lnTo>
                    <a:pt x="447" y="428"/>
                  </a:lnTo>
                  <a:lnTo>
                    <a:pt x="433" y="431"/>
                  </a:lnTo>
                  <a:lnTo>
                    <a:pt x="423" y="435"/>
                  </a:lnTo>
                  <a:lnTo>
                    <a:pt x="421" y="435"/>
                  </a:lnTo>
                  <a:lnTo>
                    <a:pt x="421" y="438"/>
                  </a:lnTo>
                  <a:lnTo>
                    <a:pt x="421" y="443"/>
                  </a:lnTo>
                  <a:lnTo>
                    <a:pt x="421" y="447"/>
                  </a:lnTo>
                  <a:lnTo>
                    <a:pt x="421" y="450"/>
                  </a:lnTo>
                  <a:lnTo>
                    <a:pt x="423" y="452"/>
                  </a:lnTo>
                  <a:lnTo>
                    <a:pt x="423" y="454"/>
                  </a:lnTo>
                  <a:lnTo>
                    <a:pt x="423" y="454"/>
                  </a:lnTo>
                  <a:lnTo>
                    <a:pt x="423" y="457"/>
                  </a:lnTo>
                  <a:lnTo>
                    <a:pt x="421" y="461"/>
                  </a:lnTo>
                  <a:lnTo>
                    <a:pt x="419" y="464"/>
                  </a:lnTo>
                  <a:lnTo>
                    <a:pt x="419" y="466"/>
                  </a:lnTo>
                  <a:lnTo>
                    <a:pt x="419" y="478"/>
                  </a:lnTo>
                  <a:lnTo>
                    <a:pt x="423" y="485"/>
                  </a:lnTo>
                  <a:lnTo>
                    <a:pt x="414" y="490"/>
                  </a:lnTo>
                  <a:lnTo>
                    <a:pt x="409" y="492"/>
                  </a:lnTo>
                  <a:lnTo>
                    <a:pt x="402" y="492"/>
                  </a:lnTo>
                  <a:lnTo>
                    <a:pt x="400" y="492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5" y="490"/>
                  </a:lnTo>
                  <a:lnTo>
                    <a:pt x="395" y="487"/>
                  </a:lnTo>
                  <a:lnTo>
                    <a:pt x="393" y="483"/>
                  </a:lnTo>
                  <a:lnTo>
                    <a:pt x="393" y="483"/>
                  </a:lnTo>
                  <a:lnTo>
                    <a:pt x="390" y="480"/>
                  </a:lnTo>
                  <a:lnTo>
                    <a:pt x="388" y="478"/>
                  </a:lnTo>
                  <a:lnTo>
                    <a:pt x="386" y="478"/>
                  </a:lnTo>
                  <a:lnTo>
                    <a:pt x="386" y="478"/>
                  </a:lnTo>
                  <a:lnTo>
                    <a:pt x="383" y="478"/>
                  </a:lnTo>
                  <a:lnTo>
                    <a:pt x="383" y="478"/>
                  </a:lnTo>
                  <a:lnTo>
                    <a:pt x="378" y="478"/>
                  </a:lnTo>
                  <a:lnTo>
                    <a:pt x="364" y="480"/>
                  </a:lnTo>
                  <a:lnTo>
                    <a:pt x="362" y="483"/>
                  </a:lnTo>
                  <a:lnTo>
                    <a:pt x="350" y="495"/>
                  </a:lnTo>
                  <a:lnTo>
                    <a:pt x="343" y="497"/>
                  </a:lnTo>
                  <a:lnTo>
                    <a:pt x="338" y="499"/>
                  </a:lnTo>
                  <a:lnTo>
                    <a:pt x="336" y="499"/>
                  </a:lnTo>
                  <a:lnTo>
                    <a:pt x="336" y="502"/>
                  </a:lnTo>
                  <a:lnTo>
                    <a:pt x="333" y="506"/>
                  </a:lnTo>
                  <a:lnTo>
                    <a:pt x="336" y="506"/>
                  </a:lnTo>
                  <a:lnTo>
                    <a:pt x="336" y="509"/>
                  </a:lnTo>
                  <a:lnTo>
                    <a:pt x="336" y="511"/>
                  </a:lnTo>
                  <a:lnTo>
                    <a:pt x="338" y="514"/>
                  </a:lnTo>
                  <a:lnTo>
                    <a:pt x="336" y="516"/>
                  </a:lnTo>
                  <a:lnTo>
                    <a:pt x="336" y="518"/>
                  </a:lnTo>
                  <a:lnTo>
                    <a:pt x="333" y="518"/>
                  </a:lnTo>
                  <a:lnTo>
                    <a:pt x="333" y="523"/>
                  </a:lnTo>
                  <a:lnTo>
                    <a:pt x="331" y="525"/>
                  </a:lnTo>
                  <a:lnTo>
                    <a:pt x="329" y="525"/>
                  </a:lnTo>
                  <a:lnTo>
                    <a:pt x="326" y="525"/>
                  </a:lnTo>
                  <a:lnTo>
                    <a:pt x="326" y="525"/>
                  </a:lnTo>
                  <a:lnTo>
                    <a:pt x="324" y="523"/>
                  </a:lnTo>
                  <a:lnTo>
                    <a:pt x="322" y="523"/>
                  </a:lnTo>
                  <a:lnTo>
                    <a:pt x="322" y="523"/>
                  </a:lnTo>
                  <a:lnTo>
                    <a:pt x="322" y="521"/>
                  </a:lnTo>
                  <a:lnTo>
                    <a:pt x="319" y="521"/>
                  </a:lnTo>
                  <a:lnTo>
                    <a:pt x="319" y="521"/>
                  </a:lnTo>
                  <a:lnTo>
                    <a:pt x="317" y="521"/>
                  </a:lnTo>
                  <a:lnTo>
                    <a:pt x="317" y="521"/>
                  </a:lnTo>
                  <a:lnTo>
                    <a:pt x="315" y="523"/>
                  </a:lnTo>
                  <a:lnTo>
                    <a:pt x="312" y="525"/>
                  </a:lnTo>
                  <a:lnTo>
                    <a:pt x="307" y="530"/>
                  </a:lnTo>
                  <a:lnTo>
                    <a:pt x="307" y="532"/>
                  </a:lnTo>
                  <a:lnTo>
                    <a:pt x="305" y="535"/>
                  </a:lnTo>
                  <a:lnTo>
                    <a:pt x="305" y="540"/>
                  </a:lnTo>
                  <a:lnTo>
                    <a:pt x="305" y="547"/>
                  </a:lnTo>
                  <a:lnTo>
                    <a:pt x="291" y="580"/>
                  </a:lnTo>
                  <a:lnTo>
                    <a:pt x="291" y="580"/>
                  </a:lnTo>
                  <a:lnTo>
                    <a:pt x="291" y="582"/>
                  </a:lnTo>
                  <a:lnTo>
                    <a:pt x="293" y="587"/>
                  </a:lnTo>
                  <a:lnTo>
                    <a:pt x="293" y="587"/>
                  </a:lnTo>
                  <a:lnTo>
                    <a:pt x="293" y="589"/>
                  </a:lnTo>
                  <a:lnTo>
                    <a:pt x="291" y="592"/>
                  </a:lnTo>
                  <a:lnTo>
                    <a:pt x="289" y="592"/>
                  </a:lnTo>
                  <a:lnTo>
                    <a:pt x="289" y="594"/>
                  </a:lnTo>
                  <a:lnTo>
                    <a:pt x="289" y="596"/>
                  </a:lnTo>
                  <a:lnTo>
                    <a:pt x="291" y="601"/>
                  </a:lnTo>
                  <a:lnTo>
                    <a:pt x="291" y="601"/>
                  </a:lnTo>
                  <a:lnTo>
                    <a:pt x="291" y="603"/>
                  </a:lnTo>
                  <a:lnTo>
                    <a:pt x="281" y="625"/>
                  </a:lnTo>
                  <a:lnTo>
                    <a:pt x="277" y="629"/>
                  </a:lnTo>
                  <a:lnTo>
                    <a:pt x="272" y="629"/>
                  </a:lnTo>
                  <a:lnTo>
                    <a:pt x="258" y="627"/>
                  </a:lnTo>
                  <a:lnTo>
                    <a:pt x="255" y="627"/>
                  </a:lnTo>
                  <a:lnTo>
                    <a:pt x="255" y="627"/>
                  </a:lnTo>
                  <a:lnTo>
                    <a:pt x="251" y="627"/>
                  </a:lnTo>
                  <a:lnTo>
                    <a:pt x="248" y="627"/>
                  </a:lnTo>
                  <a:lnTo>
                    <a:pt x="248" y="627"/>
                  </a:lnTo>
                  <a:lnTo>
                    <a:pt x="244" y="627"/>
                  </a:lnTo>
                  <a:lnTo>
                    <a:pt x="241" y="627"/>
                  </a:lnTo>
                  <a:lnTo>
                    <a:pt x="241" y="629"/>
                  </a:lnTo>
                  <a:lnTo>
                    <a:pt x="239" y="634"/>
                  </a:lnTo>
                  <a:lnTo>
                    <a:pt x="236" y="637"/>
                  </a:lnTo>
                  <a:lnTo>
                    <a:pt x="236" y="637"/>
                  </a:lnTo>
                  <a:lnTo>
                    <a:pt x="234" y="639"/>
                  </a:lnTo>
                  <a:lnTo>
                    <a:pt x="234" y="639"/>
                  </a:lnTo>
                  <a:lnTo>
                    <a:pt x="229" y="637"/>
                  </a:lnTo>
                  <a:lnTo>
                    <a:pt x="227" y="639"/>
                  </a:lnTo>
                  <a:lnTo>
                    <a:pt x="227" y="639"/>
                  </a:lnTo>
                  <a:lnTo>
                    <a:pt x="225" y="641"/>
                  </a:lnTo>
                  <a:lnTo>
                    <a:pt x="225" y="644"/>
                  </a:lnTo>
                  <a:lnTo>
                    <a:pt x="225" y="644"/>
                  </a:lnTo>
                  <a:lnTo>
                    <a:pt x="222" y="644"/>
                  </a:lnTo>
                  <a:lnTo>
                    <a:pt x="220" y="644"/>
                  </a:lnTo>
                  <a:lnTo>
                    <a:pt x="218" y="644"/>
                  </a:lnTo>
                  <a:lnTo>
                    <a:pt x="215" y="641"/>
                  </a:lnTo>
                  <a:lnTo>
                    <a:pt x="210" y="634"/>
                  </a:lnTo>
                  <a:lnTo>
                    <a:pt x="208" y="632"/>
                  </a:lnTo>
                  <a:lnTo>
                    <a:pt x="206" y="632"/>
                  </a:lnTo>
                  <a:lnTo>
                    <a:pt x="203" y="632"/>
                  </a:lnTo>
                  <a:lnTo>
                    <a:pt x="201" y="632"/>
                  </a:lnTo>
                  <a:lnTo>
                    <a:pt x="201" y="629"/>
                  </a:lnTo>
                  <a:lnTo>
                    <a:pt x="201" y="627"/>
                  </a:lnTo>
                  <a:lnTo>
                    <a:pt x="201" y="618"/>
                  </a:lnTo>
                  <a:lnTo>
                    <a:pt x="201" y="618"/>
                  </a:lnTo>
                  <a:lnTo>
                    <a:pt x="201" y="615"/>
                  </a:lnTo>
                  <a:lnTo>
                    <a:pt x="201" y="615"/>
                  </a:lnTo>
                  <a:lnTo>
                    <a:pt x="201" y="613"/>
                  </a:lnTo>
                  <a:lnTo>
                    <a:pt x="201" y="611"/>
                  </a:lnTo>
                  <a:lnTo>
                    <a:pt x="201" y="611"/>
                  </a:lnTo>
                  <a:lnTo>
                    <a:pt x="206" y="606"/>
                  </a:lnTo>
                  <a:lnTo>
                    <a:pt x="206" y="603"/>
                  </a:lnTo>
                  <a:lnTo>
                    <a:pt x="206" y="603"/>
                  </a:lnTo>
                  <a:lnTo>
                    <a:pt x="206" y="601"/>
                  </a:lnTo>
                  <a:lnTo>
                    <a:pt x="203" y="596"/>
                  </a:lnTo>
                  <a:lnTo>
                    <a:pt x="203" y="594"/>
                  </a:lnTo>
                  <a:lnTo>
                    <a:pt x="201" y="592"/>
                  </a:lnTo>
                  <a:lnTo>
                    <a:pt x="199" y="589"/>
                  </a:lnTo>
                  <a:lnTo>
                    <a:pt x="187" y="584"/>
                  </a:lnTo>
                  <a:lnTo>
                    <a:pt x="180" y="582"/>
                  </a:lnTo>
                  <a:lnTo>
                    <a:pt x="177" y="580"/>
                  </a:lnTo>
                  <a:lnTo>
                    <a:pt x="175" y="580"/>
                  </a:lnTo>
                  <a:lnTo>
                    <a:pt x="173" y="580"/>
                  </a:lnTo>
                  <a:lnTo>
                    <a:pt x="163" y="584"/>
                  </a:lnTo>
                  <a:lnTo>
                    <a:pt x="161" y="584"/>
                  </a:lnTo>
                  <a:lnTo>
                    <a:pt x="161" y="584"/>
                  </a:lnTo>
                  <a:lnTo>
                    <a:pt x="156" y="582"/>
                  </a:lnTo>
                  <a:lnTo>
                    <a:pt x="154" y="582"/>
                  </a:lnTo>
                  <a:lnTo>
                    <a:pt x="154" y="582"/>
                  </a:lnTo>
                  <a:lnTo>
                    <a:pt x="151" y="582"/>
                  </a:lnTo>
                  <a:lnTo>
                    <a:pt x="147" y="584"/>
                  </a:lnTo>
                  <a:lnTo>
                    <a:pt x="144" y="584"/>
                  </a:lnTo>
                  <a:lnTo>
                    <a:pt x="139" y="584"/>
                  </a:lnTo>
                  <a:lnTo>
                    <a:pt x="139" y="584"/>
                  </a:lnTo>
                  <a:lnTo>
                    <a:pt x="137" y="587"/>
                  </a:lnTo>
                  <a:lnTo>
                    <a:pt x="137" y="587"/>
                  </a:lnTo>
                  <a:lnTo>
                    <a:pt x="137" y="589"/>
                  </a:lnTo>
                  <a:lnTo>
                    <a:pt x="137" y="592"/>
                  </a:lnTo>
                  <a:lnTo>
                    <a:pt x="137" y="594"/>
                  </a:lnTo>
                  <a:lnTo>
                    <a:pt x="137" y="596"/>
                  </a:lnTo>
                  <a:lnTo>
                    <a:pt x="137" y="599"/>
                  </a:lnTo>
                  <a:lnTo>
                    <a:pt x="135" y="599"/>
                  </a:lnTo>
                  <a:lnTo>
                    <a:pt x="135" y="601"/>
                  </a:lnTo>
                  <a:lnTo>
                    <a:pt x="135" y="601"/>
                  </a:lnTo>
                  <a:lnTo>
                    <a:pt x="132" y="601"/>
                  </a:lnTo>
                  <a:lnTo>
                    <a:pt x="130" y="603"/>
                  </a:lnTo>
                  <a:lnTo>
                    <a:pt x="123" y="603"/>
                  </a:lnTo>
                  <a:lnTo>
                    <a:pt x="121" y="603"/>
                  </a:lnTo>
                  <a:lnTo>
                    <a:pt x="121" y="603"/>
                  </a:lnTo>
                  <a:lnTo>
                    <a:pt x="116" y="608"/>
                  </a:lnTo>
                  <a:lnTo>
                    <a:pt x="116" y="611"/>
                  </a:lnTo>
                  <a:lnTo>
                    <a:pt x="113" y="611"/>
                  </a:lnTo>
                  <a:lnTo>
                    <a:pt x="113" y="611"/>
                  </a:lnTo>
                  <a:lnTo>
                    <a:pt x="111" y="611"/>
                  </a:lnTo>
                  <a:lnTo>
                    <a:pt x="109" y="611"/>
                  </a:lnTo>
                  <a:lnTo>
                    <a:pt x="106" y="608"/>
                  </a:lnTo>
                  <a:lnTo>
                    <a:pt x="104" y="608"/>
                  </a:lnTo>
                  <a:lnTo>
                    <a:pt x="104" y="606"/>
                  </a:lnTo>
                  <a:lnTo>
                    <a:pt x="104" y="601"/>
                  </a:lnTo>
                  <a:lnTo>
                    <a:pt x="104" y="599"/>
                  </a:lnTo>
                  <a:lnTo>
                    <a:pt x="102" y="599"/>
                  </a:lnTo>
                  <a:lnTo>
                    <a:pt x="99" y="596"/>
                  </a:lnTo>
                  <a:lnTo>
                    <a:pt x="94" y="596"/>
                  </a:lnTo>
                  <a:lnTo>
                    <a:pt x="94" y="596"/>
                  </a:lnTo>
                  <a:lnTo>
                    <a:pt x="92" y="594"/>
                  </a:lnTo>
                  <a:lnTo>
                    <a:pt x="92" y="594"/>
                  </a:lnTo>
                  <a:lnTo>
                    <a:pt x="87" y="582"/>
                  </a:lnTo>
                  <a:lnTo>
                    <a:pt x="85" y="577"/>
                  </a:lnTo>
                  <a:lnTo>
                    <a:pt x="85" y="577"/>
                  </a:lnTo>
                  <a:lnTo>
                    <a:pt x="85" y="573"/>
                  </a:lnTo>
                  <a:lnTo>
                    <a:pt x="85" y="570"/>
                  </a:lnTo>
                  <a:lnTo>
                    <a:pt x="87" y="566"/>
                  </a:lnTo>
                  <a:lnTo>
                    <a:pt x="87" y="563"/>
                  </a:lnTo>
                  <a:lnTo>
                    <a:pt x="87" y="561"/>
                  </a:lnTo>
                  <a:lnTo>
                    <a:pt x="85" y="558"/>
                  </a:lnTo>
                  <a:lnTo>
                    <a:pt x="83" y="554"/>
                  </a:lnTo>
                  <a:lnTo>
                    <a:pt x="83" y="554"/>
                  </a:lnTo>
                  <a:lnTo>
                    <a:pt x="80" y="551"/>
                  </a:lnTo>
                  <a:lnTo>
                    <a:pt x="80" y="551"/>
                  </a:lnTo>
                  <a:lnTo>
                    <a:pt x="80" y="549"/>
                  </a:lnTo>
                  <a:lnTo>
                    <a:pt x="78" y="544"/>
                  </a:lnTo>
                  <a:lnTo>
                    <a:pt x="78" y="542"/>
                  </a:lnTo>
                  <a:lnTo>
                    <a:pt x="78" y="540"/>
                  </a:lnTo>
                  <a:lnTo>
                    <a:pt x="76" y="540"/>
                  </a:lnTo>
                  <a:lnTo>
                    <a:pt x="71" y="540"/>
                  </a:lnTo>
                  <a:lnTo>
                    <a:pt x="68" y="540"/>
                  </a:lnTo>
                  <a:lnTo>
                    <a:pt x="68" y="537"/>
                  </a:lnTo>
                  <a:lnTo>
                    <a:pt x="66" y="537"/>
                  </a:lnTo>
                  <a:lnTo>
                    <a:pt x="66" y="535"/>
                  </a:lnTo>
                  <a:lnTo>
                    <a:pt x="66" y="535"/>
                  </a:lnTo>
                  <a:lnTo>
                    <a:pt x="64" y="532"/>
                  </a:lnTo>
                  <a:lnTo>
                    <a:pt x="66" y="528"/>
                  </a:lnTo>
                  <a:lnTo>
                    <a:pt x="66" y="523"/>
                  </a:lnTo>
                  <a:lnTo>
                    <a:pt x="68" y="521"/>
                  </a:lnTo>
                  <a:lnTo>
                    <a:pt x="68" y="518"/>
                  </a:lnTo>
                  <a:lnTo>
                    <a:pt x="71" y="516"/>
                  </a:lnTo>
                  <a:lnTo>
                    <a:pt x="73" y="514"/>
                  </a:lnTo>
                  <a:lnTo>
                    <a:pt x="73" y="509"/>
                  </a:lnTo>
                  <a:lnTo>
                    <a:pt x="73" y="499"/>
                  </a:lnTo>
                  <a:lnTo>
                    <a:pt x="76" y="495"/>
                  </a:lnTo>
                  <a:lnTo>
                    <a:pt x="76" y="492"/>
                  </a:lnTo>
                  <a:lnTo>
                    <a:pt x="78" y="490"/>
                  </a:lnTo>
                  <a:lnTo>
                    <a:pt x="85" y="480"/>
                  </a:lnTo>
                  <a:lnTo>
                    <a:pt x="85" y="478"/>
                  </a:lnTo>
                  <a:lnTo>
                    <a:pt x="87" y="478"/>
                  </a:lnTo>
                  <a:lnTo>
                    <a:pt x="87" y="473"/>
                  </a:lnTo>
                  <a:lnTo>
                    <a:pt x="85" y="457"/>
                  </a:lnTo>
                  <a:lnTo>
                    <a:pt x="85" y="447"/>
                  </a:lnTo>
                  <a:lnTo>
                    <a:pt x="85" y="445"/>
                  </a:lnTo>
                  <a:lnTo>
                    <a:pt x="85" y="443"/>
                  </a:lnTo>
                  <a:lnTo>
                    <a:pt x="87" y="435"/>
                  </a:lnTo>
                  <a:lnTo>
                    <a:pt x="90" y="424"/>
                  </a:lnTo>
                  <a:lnTo>
                    <a:pt x="90" y="421"/>
                  </a:lnTo>
                  <a:lnTo>
                    <a:pt x="87" y="417"/>
                  </a:lnTo>
                  <a:lnTo>
                    <a:pt x="85" y="407"/>
                  </a:lnTo>
                  <a:lnTo>
                    <a:pt x="83" y="405"/>
                  </a:lnTo>
                  <a:lnTo>
                    <a:pt x="83" y="400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3" y="395"/>
                  </a:lnTo>
                  <a:lnTo>
                    <a:pt x="83" y="393"/>
                  </a:lnTo>
                  <a:lnTo>
                    <a:pt x="80" y="390"/>
                  </a:lnTo>
                  <a:lnTo>
                    <a:pt x="78" y="388"/>
                  </a:lnTo>
                  <a:lnTo>
                    <a:pt x="66" y="381"/>
                  </a:lnTo>
                  <a:lnTo>
                    <a:pt x="66" y="376"/>
                  </a:lnTo>
                  <a:lnTo>
                    <a:pt x="71" y="369"/>
                  </a:lnTo>
                  <a:lnTo>
                    <a:pt x="73" y="369"/>
                  </a:lnTo>
                  <a:lnTo>
                    <a:pt x="73" y="369"/>
                  </a:lnTo>
                  <a:lnTo>
                    <a:pt x="80" y="369"/>
                  </a:lnTo>
                  <a:lnTo>
                    <a:pt x="85" y="367"/>
                  </a:lnTo>
                  <a:lnTo>
                    <a:pt x="87" y="367"/>
                  </a:lnTo>
                  <a:lnTo>
                    <a:pt x="87" y="364"/>
                  </a:lnTo>
                  <a:lnTo>
                    <a:pt x="90" y="362"/>
                  </a:lnTo>
                  <a:lnTo>
                    <a:pt x="92" y="360"/>
                  </a:lnTo>
                  <a:lnTo>
                    <a:pt x="92" y="357"/>
                  </a:lnTo>
                  <a:lnTo>
                    <a:pt x="94" y="355"/>
                  </a:lnTo>
                  <a:lnTo>
                    <a:pt x="94" y="355"/>
                  </a:lnTo>
                  <a:lnTo>
                    <a:pt x="94" y="353"/>
                  </a:lnTo>
                  <a:lnTo>
                    <a:pt x="92" y="348"/>
                  </a:lnTo>
                  <a:lnTo>
                    <a:pt x="90" y="336"/>
                  </a:lnTo>
                  <a:lnTo>
                    <a:pt x="87" y="331"/>
                  </a:lnTo>
                  <a:lnTo>
                    <a:pt x="87" y="329"/>
                  </a:lnTo>
                  <a:lnTo>
                    <a:pt x="85" y="327"/>
                  </a:lnTo>
                  <a:lnTo>
                    <a:pt x="68" y="320"/>
                  </a:lnTo>
                  <a:lnTo>
                    <a:pt x="61" y="317"/>
                  </a:lnTo>
                  <a:lnTo>
                    <a:pt x="47" y="317"/>
                  </a:lnTo>
                  <a:lnTo>
                    <a:pt x="45" y="317"/>
                  </a:lnTo>
                  <a:lnTo>
                    <a:pt x="42" y="315"/>
                  </a:lnTo>
                  <a:lnTo>
                    <a:pt x="40" y="310"/>
                  </a:lnTo>
                  <a:lnTo>
                    <a:pt x="38" y="3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Freeform 57">
              <a:extLst>
                <a:ext uri="{FF2B5EF4-FFF2-40B4-BE49-F238E27FC236}">
                  <a16:creationId xmlns:a16="http://schemas.microsoft.com/office/drawing/2014/main" id="{27654030-CDFA-413F-A3EC-FBC7A61676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3076" y="1415973"/>
              <a:ext cx="908564" cy="1015264"/>
            </a:xfrm>
            <a:custGeom>
              <a:avLst/>
              <a:gdLst>
                <a:gd name="T0" fmla="*/ 438 w 715"/>
                <a:gd name="T1" fmla="*/ 28 h 799"/>
                <a:gd name="T2" fmla="*/ 393 w 715"/>
                <a:gd name="T3" fmla="*/ 45 h 799"/>
                <a:gd name="T4" fmla="*/ 355 w 715"/>
                <a:gd name="T5" fmla="*/ 35 h 799"/>
                <a:gd name="T6" fmla="*/ 341 w 715"/>
                <a:gd name="T7" fmla="*/ 80 h 799"/>
                <a:gd name="T8" fmla="*/ 313 w 715"/>
                <a:gd name="T9" fmla="*/ 125 h 799"/>
                <a:gd name="T10" fmla="*/ 291 w 715"/>
                <a:gd name="T11" fmla="*/ 163 h 799"/>
                <a:gd name="T12" fmla="*/ 325 w 715"/>
                <a:gd name="T13" fmla="*/ 196 h 799"/>
                <a:gd name="T14" fmla="*/ 336 w 715"/>
                <a:gd name="T15" fmla="*/ 217 h 799"/>
                <a:gd name="T16" fmla="*/ 336 w 715"/>
                <a:gd name="T17" fmla="*/ 250 h 799"/>
                <a:gd name="T18" fmla="*/ 282 w 715"/>
                <a:gd name="T19" fmla="*/ 291 h 799"/>
                <a:gd name="T20" fmla="*/ 258 w 715"/>
                <a:gd name="T21" fmla="*/ 333 h 799"/>
                <a:gd name="T22" fmla="*/ 223 w 715"/>
                <a:gd name="T23" fmla="*/ 324 h 799"/>
                <a:gd name="T24" fmla="*/ 194 w 715"/>
                <a:gd name="T25" fmla="*/ 364 h 799"/>
                <a:gd name="T26" fmla="*/ 173 w 715"/>
                <a:gd name="T27" fmla="*/ 366 h 799"/>
                <a:gd name="T28" fmla="*/ 150 w 715"/>
                <a:gd name="T29" fmla="*/ 435 h 799"/>
                <a:gd name="T30" fmla="*/ 105 w 715"/>
                <a:gd name="T31" fmla="*/ 468 h 799"/>
                <a:gd name="T32" fmla="*/ 83 w 715"/>
                <a:gd name="T33" fmla="*/ 485 h 799"/>
                <a:gd name="T34" fmla="*/ 62 w 715"/>
                <a:gd name="T35" fmla="*/ 456 h 799"/>
                <a:gd name="T36" fmla="*/ 36 w 715"/>
                <a:gd name="T37" fmla="*/ 449 h 799"/>
                <a:gd name="T38" fmla="*/ 17 w 715"/>
                <a:gd name="T39" fmla="*/ 608 h 799"/>
                <a:gd name="T40" fmla="*/ 45 w 715"/>
                <a:gd name="T41" fmla="*/ 648 h 799"/>
                <a:gd name="T42" fmla="*/ 67 w 715"/>
                <a:gd name="T43" fmla="*/ 650 h 799"/>
                <a:gd name="T44" fmla="*/ 131 w 715"/>
                <a:gd name="T45" fmla="*/ 700 h 799"/>
                <a:gd name="T46" fmla="*/ 150 w 715"/>
                <a:gd name="T47" fmla="*/ 709 h 799"/>
                <a:gd name="T48" fmla="*/ 166 w 715"/>
                <a:gd name="T49" fmla="*/ 721 h 799"/>
                <a:gd name="T50" fmla="*/ 194 w 715"/>
                <a:gd name="T51" fmla="*/ 735 h 799"/>
                <a:gd name="T52" fmla="*/ 301 w 715"/>
                <a:gd name="T53" fmla="*/ 776 h 799"/>
                <a:gd name="T54" fmla="*/ 377 w 715"/>
                <a:gd name="T55" fmla="*/ 752 h 799"/>
                <a:gd name="T56" fmla="*/ 471 w 715"/>
                <a:gd name="T57" fmla="*/ 738 h 799"/>
                <a:gd name="T58" fmla="*/ 509 w 715"/>
                <a:gd name="T59" fmla="*/ 750 h 799"/>
                <a:gd name="T60" fmla="*/ 528 w 715"/>
                <a:gd name="T61" fmla="*/ 752 h 799"/>
                <a:gd name="T62" fmla="*/ 547 w 715"/>
                <a:gd name="T63" fmla="*/ 778 h 799"/>
                <a:gd name="T64" fmla="*/ 568 w 715"/>
                <a:gd name="T65" fmla="*/ 785 h 799"/>
                <a:gd name="T66" fmla="*/ 575 w 715"/>
                <a:gd name="T67" fmla="*/ 761 h 799"/>
                <a:gd name="T68" fmla="*/ 594 w 715"/>
                <a:gd name="T69" fmla="*/ 733 h 799"/>
                <a:gd name="T70" fmla="*/ 575 w 715"/>
                <a:gd name="T71" fmla="*/ 712 h 799"/>
                <a:gd name="T72" fmla="*/ 542 w 715"/>
                <a:gd name="T73" fmla="*/ 700 h 799"/>
                <a:gd name="T74" fmla="*/ 519 w 715"/>
                <a:gd name="T75" fmla="*/ 672 h 799"/>
                <a:gd name="T76" fmla="*/ 504 w 715"/>
                <a:gd name="T77" fmla="*/ 627 h 799"/>
                <a:gd name="T78" fmla="*/ 485 w 715"/>
                <a:gd name="T79" fmla="*/ 598 h 799"/>
                <a:gd name="T80" fmla="*/ 478 w 715"/>
                <a:gd name="T81" fmla="*/ 589 h 799"/>
                <a:gd name="T82" fmla="*/ 483 w 715"/>
                <a:gd name="T83" fmla="*/ 539 h 799"/>
                <a:gd name="T84" fmla="*/ 516 w 715"/>
                <a:gd name="T85" fmla="*/ 489 h 799"/>
                <a:gd name="T86" fmla="*/ 561 w 715"/>
                <a:gd name="T87" fmla="*/ 478 h 799"/>
                <a:gd name="T88" fmla="*/ 554 w 715"/>
                <a:gd name="T89" fmla="*/ 496 h 799"/>
                <a:gd name="T90" fmla="*/ 538 w 715"/>
                <a:gd name="T91" fmla="*/ 499 h 799"/>
                <a:gd name="T92" fmla="*/ 585 w 715"/>
                <a:gd name="T93" fmla="*/ 492 h 799"/>
                <a:gd name="T94" fmla="*/ 689 w 715"/>
                <a:gd name="T95" fmla="*/ 364 h 799"/>
                <a:gd name="T96" fmla="*/ 663 w 715"/>
                <a:gd name="T97" fmla="*/ 338 h 799"/>
                <a:gd name="T98" fmla="*/ 632 w 715"/>
                <a:gd name="T99" fmla="*/ 333 h 799"/>
                <a:gd name="T100" fmla="*/ 618 w 715"/>
                <a:gd name="T101" fmla="*/ 333 h 799"/>
                <a:gd name="T102" fmla="*/ 582 w 715"/>
                <a:gd name="T103" fmla="*/ 359 h 799"/>
                <a:gd name="T104" fmla="*/ 545 w 715"/>
                <a:gd name="T105" fmla="*/ 343 h 799"/>
                <a:gd name="T106" fmla="*/ 504 w 715"/>
                <a:gd name="T107" fmla="*/ 300 h 799"/>
                <a:gd name="T108" fmla="*/ 511 w 715"/>
                <a:gd name="T109" fmla="*/ 241 h 799"/>
                <a:gd name="T110" fmla="*/ 493 w 715"/>
                <a:gd name="T111" fmla="*/ 201 h 799"/>
                <a:gd name="T112" fmla="*/ 469 w 715"/>
                <a:gd name="T113" fmla="*/ 191 h 799"/>
                <a:gd name="T114" fmla="*/ 493 w 715"/>
                <a:gd name="T115" fmla="*/ 116 h 799"/>
                <a:gd name="T116" fmla="*/ 535 w 715"/>
                <a:gd name="T117" fmla="*/ 75 h 799"/>
                <a:gd name="T118" fmla="*/ 556 w 715"/>
                <a:gd name="T119" fmla="*/ 47 h 799"/>
                <a:gd name="T120" fmla="*/ 523 w 715"/>
                <a:gd name="T121" fmla="*/ 0 h 799"/>
                <a:gd name="T122" fmla="*/ 521 w 715"/>
                <a:gd name="T123" fmla="*/ 534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5" h="799">
                  <a:moveTo>
                    <a:pt x="455" y="9"/>
                  </a:moveTo>
                  <a:lnTo>
                    <a:pt x="455" y="9"/>
                  </a:lnTo>
                  <a:lnTo>
                    <a:pt x="455" y="11"/>
                  </a:lnTo>
                  <a:lnTo>
                    <a:pt x="452" y="14"/>
                  </a:lnTo>
                  <a:lnTo>
                    <a:pt x="452" y="14"/>
                  </a:lnTo>
                  <a:lnTo>
                    <a:pt x="448" y="19"/>
                  </a:lnTo>
                  <a:lnTo>
                    <a:pt x="445" y="21"/>
                  </a:lnTo>
                  <a:lnTo>
                    <a:pt x="445" y="21"/>
                  </a:lnTo>
                  <a:lnTo>
                    <a:pt x="445" y="26"/>
                  </a:lnTo>
                  <a:lnTo>
                    <a:pt x="445" y="26"/>
                  </a:lnTo>
                  <a:lnTo>
                    <a:pt x="445" y="28"/>
                  </a:lnTo>
                  <a:lnTo>
                    <a:pt x="443" y="28"/>
                  </a:lnTo>
                  <a:lnTo>
                    <a:pt x="441" y="28"/>
                  </a:lnTo>
                  <a:lnTo>
                    <a:pt x="438" y="28"/>
                  </a:lnTo>
                  <a:lnTo>
                    <a:pt x="436" y="28"/>
                  </a:lnTo>
                  <a:lnTo>
                    <a:pt x="436" y="26"/>
                  </a:lnTo>
                  <a:lnTo>
                    <a:pt x="433" y="26"/>
                  </a:lnTo>
                  <a:lnTo>
                    <a:pt x="433" y="26"/>
                  </a:lnTo>
                  <a:lnTo>
                    <a:pt x="431" y="26"/>
                  </a:lnTo>
                  <a:lnTo>
                    <a:pt x="429" y="28"/>
                  </a:lnTo>
                  <a:lnTo>
                    <a:pt x="426" y="30"/>
                  </a:lnTo>
                  <a:lnTo>
                    <a:pt x="424" y="33"/>
                  </a:lnTo>
                  <a:lnTo>
                    <a:pt x="422" y="33"/>
                  </a:lnTo>
                  <a:lnTo>
                    <a:pt x="407" y="37"/>
                  </a:lnTo>
                  <a:lnTo>
                    <a:pt x="403" y="40"/>
                  </a:lnTo>
                  <a:lnTo>
                    <a:pt x="398" y="45"/>
                  </a:lnTo>
                  <a:lnTo>
                    <a:pt x="396" y="47"/>
                  </a:lnTo>
                  <a:lnTo>
                    <a:pt x="393" y="45"/>
                  </a:lnTo>
                  <a:lnTo>
                    <a:pt x="393" y="42"/>
                  </a:lnTo>
                  <a:lnTo>
                    <a:pt x="393" y="4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1" y="30"/>
                  </a:lnTo>
                  <a:lnTo>
                    <a:pt x="374" y="28"/>
                  </a:lnTo>
                  <a:lnTo>
                    <a:pt x="372" y="28"/>
                  </a:lnTo>
                  <a:lnTo>
                    <a:pt x="360" y="21"/>
                  </a:lnTo>
                  <a:lnTo>
                    <a:pt x="358" y="21"/>
                  </a:lnTo>
                  <a:lnTo>
                    <a:pt x="358" y="21"/>
                  </a:lnTo>
                  <a:lnTo>
                    <a:pt x="355" y="23"/>
                  </a:lnTo>
                  <a:lnTo>
                    <a:pt x="355" y="26"/>
                  </a:lnTo>
                  <a:lnTo>
                    <a:pt x="355" y="28"/>
                  </a:lnTo>
                  <a:lnTo>
                    <a:pt x="355" y="35"/>
                  </a:lnTo>
                  <a:lnTo>
                    <a:pt x="355" y="37"/>
                  </a:lnTo>
                  <a:lnTo>
                    <a:pt x="355" y="45"/>
                  </a:lnTo>
                  <a:lnTo>
                    <a:pt x="353" y="49"/>
                  </a:lnTo>
                  <a:lnTo>
                    <a:pt x="353" y="56"/>
                  </a:lnTo>
                  <a:lnTo>
                    <a:pt x="348" y="61"/>
                  </a:lnTo>
                  <a:lnTo>
                    <a:pt x="348" y="64"/>
                  </a:lnTo>
                  <a:lnTo>
                    <a:pt x="348" y="66"/>
                  </a:lnTo>
                  <a:lnTo>
                    <a:pt x="348" y="71"/>
                  </a:lnTo>
                  <a:lnTo>
                    <a:pt x="348" y="73"/>
                  </a:lnTo>
                  <a:lnTo>
                    <a:pt x="348" y="73"/>
                  </a:lnTo>
                  <a:lnTo>
                    <a:pt x="346" y="75"/>
                  </a:lnTo>
                  <a:lnTo>
                    <a:pt x="346" y="75"/>
                  </a:lnTo>
                  <a:lnTo>
                    <a:pt x="346" y="78"/>
                  </a:lnTo>
                  <a:lnTo>
                    <a:pt x="341" y="80"/>
                  </a:lnTo>
                  <a:lnTo>
                    <a:pt x="299" y="94"/>
                  </a:lnTo>
                  <a:lnTo>
                    <a:pt x="294" y="101"/>
                  </a:lnTo>
                  <a:lnTo>
                    <a:pt x="296" y="108"/>
                  </a:lnTo>
                  <a:lnTo>
                    <a:pt x="299" y="111"/>
                  </a:lnTo>
                  <a:lnTo>
                    <a:pt x="306" y="111"/>
                  </a:lnTo>
                  <a:lnTo>
                    <a:pt x="310" y="113"/>
                  </a:lnTo>
                  <a:lnTo>
                    <a:pt x="313" y="113"/>
                  </a:lnTo>
                  <a:lnTo>
                    <a:pt x="313" y="116"/>
                  </a:lnTo>
                  <a:lnTo>
                    <a:pt x="313" y="116"/>
                  </a:lnTo>
                  <a:lnTo>
                    <a:pt x="315" y="118"/>
                  </a:lnTo>
                  <a:lnTo>
                    <a:pt x="315" y="118"/>
                  </a:lnTo>
                  <a:lnTo>
                    <a:pt x="315" y="120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0" y="127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6" y="132"/>
                  </a:lnTo>
                  <a:lnTo>
                    <a:pt x="306" y="134"/>
                  </a:lnTo>
                  <a:lnTo>
                    <a:pt x="306" y="137"/>
                  </a:lnTo>
                  <a:lnTo>
                    <a:pt x="306" y="151"/>
                  </a:lnTo>
                  <a:lnTo>
                    <a:pt x="306" y="151"/>
                  </a:lnTo>
                  <a:lnTo>
                    <a:pt x="303" y="153"/>
                  </a:lnTo>
                  <a:lnTo>
                    <a:pt x="299" y="153"/>
                  </a:lnTo>
                  <a:lnTo>
                    <a:pt x="299" y="156"/>
                  </a:lnTo>
                  <a:lnTo>
                    <a:pt x="294" y="161"/>
                  </a:lnTo>
                  <a:lnTo>
                    <a:pt x="294" y="161"/>
                  </a:lnTo>
                  <a:lnTo>
                    <a:pt x="291" y="163"/>
                  </a:lnTo>
                  <a:lnTo>
                    <a:pt x="294" y="165"/>
                  </a:lnTo>
                  <a:lnTo>
                    <a:pt x="294" y="168"/>
                  </a:lnTo>
                  <a:lnTo>
                    <a:pt x="296" y="170"/>
                  </a:lnTo>
                  <a:lnTo>
                    <a:pt x="308" y="179"/>
                  </a:lnTo>
                  <a:lnTo>
                    <a:pt x="310" y="182"/>
                  </a:lnTo>
                  <a:lnTo>
                    <a:pt x="310" y="182"/>
                  </a:lnTo>
                  <a:lnTo>
                    <a:pt x="310" y="184"/>
                  </a:lnTo>
                  <a:lnTo>
                    <a:pt x="310" y="187"/>
                  </a:lnTo>
                  <a:lnTo>
                    <a:pt x="313" y="194"/>
                  </a:lnTo>
                  <a:lnTo>
                    <a:pt x="313" y="196"/>
                  </a:lnTo>
                  <a:lnTo>
                    <a:pt x="313" y="196"/>
                  </a:lnTo>
                  <a:lnTo>
                    <a:pt x="315" y="198"/>
                  </a:lnTo>
                  <a:lnTo>
                    <a:pt x="317" y="196"/>
                  </a:lnTo>
                  <a:lnTo>
                    <a:pt x="325" y="196"/>
                  </a:lnTo>
                  <a:lnTo>
                    <a:pt x="325" y="196"/>
                  </a:lnTo>
                  <a:lnTo>
                    <a:pt x="327" y="196"/>
                  </a:lnTo>
                  <a:lnTo>
                    <a:pt x="327" y="198"/>
                  </a:lnTo>
                  <a:lnTo>
                    <a:pt x="329" y="201"/>
                  </a:lnTo>
                  <a:lnTo>
                    <a:pt x="329" y="201"/>
                  </a:lnTo>
                  <a:lnTo>
                    <a:pt x="332" y="201"/>
                  </a:lnTo>
                  <a:lnTo>
                    <a:pt x="334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6" y="203"/>
                  </a:lnTo>
                  <a:lnTo>
                    <a:pt x="336" y="210"/>
                  </a:lnTo>
                  <a:lnTo>
                    <a:pt x="336" y="213"/>
                  </a:lnTo>
                  <a:lnTo>
                    <a:pt x="336" y="215"/>
                  </a:lnTo>
                  <a:lnTo>
                    <a:pt x="336" y="217"/>
                  </a:lnTo>
                  <a:lnTo>
                    <a:pt x="339" y="217"/>
                  </a:lnTo>
                  <a:lnTo>
                    <a:pt x="341" y="220"/>
                  </a:lnTo>
                  <a:lnTo>
                    <a:pt x="351" y="222"/>
                  </a:lnTo>
                  <a:lnTo>
                    <a:pt x="351" y="224"/>
                  </a:lnTo>
                  <a:lnTo>
                    <a:pt x="353" y="224"/>
                  </a:lnTo>
                  <a:lnTo>
                    <a:pt x="353" y="227"/>
                  </a:lnTo>
                  <a:lnTo>
                    <a:pt x="353" y="227"/>
                  </a:lnTo>
                  <a:lnTo>
                    <a:pt x="353" y="229"/>
                  </a:lnTo>
                  <a:lnTo>
                    <a:pt x="351" y="231"/>
                  </a:lnTo>
                  <a:lnTo>
                    <a:pt x="346" y="234"/>
                  </a:lnTo>
                  <a:lnTo>
                    <a:pt x="346" y="236"/>
                  </a:lnTo>
                  <a:lnTo>
                    <a:pt x="344" y="239"/>
                  </a:lnTo>
                  <a:lnTo>
                    <a:pt x="339" y="248"/>
                  </a:lnTo>
                  <a:lnTo>
                    <a:pt x="336" y="250"/>
                  </a:lnTo>
                  <a:lnTo>
                    <a:pt x="336" y="253"/>
                  </a:lnTo>
                  <a:lnTo>
                    <a:pt x="336" y="255"/>
                  </a:lnTo>
                  <a:lnTo>
                    <a:pt x="332" y="258"/>
                  </a:lnTo>
                  <a:lnTo>
                    <a:pt x="320" y="262"/>
                  </a:lnTo>
                  <a:lnTo>
                    <a:pt x="315" y="267"/>
                  </a:lnTo>
                  <a:lnTo>
                    <a:pt x="313" y="269"/>
                  </a:lnTo>
                  <a:lnTo>
                    <a:pt x="308" y="269"/>
                  </a:lnTo>
                  <a:lnTo>
                    <a:pt x="294" y="272"/>
                  </a:lnTo>
                  <a:lnTo>
                    <a:pt x="284" y="276"/>
                  </a:lnTo>
                  <a:lnTo>
                    <a:pt x="282" y="276"/>
                  </a:lnTo>
                  <a:lnTo>
                    <a:pt x="282" y="279"/>
                  </a:lnTo>
                  <a:lnTo>
                    <a:pt x="282" y="284"/>
                  </a:lnTo>
                  <a:lnTo>
                    <a:pt x="282" y="288"/>
                  </a:lnTo>
                  <a:lnTo>
                    <a:pt x="282" y="291"/>
                  </a:lnTo>
                  <a:lnTo>
                    <a:pt x="284" y="293"/>
                  </a:lnTo>
                  <a:lnTo>
                    <a:pt x="284" y="295"/>
                  </a:lnTo>
                  <a:lnTo>
                    <a:pt x="284" y="295"/>
                  </a:lnTo>
                  <a:lnTo>
                    <a:pt x="284" y="298"/>
                  </a:lnTo>
                  <a:lnTo>
                    <a:pt x="282" y="302"/>
                  </a:lnTo>
                  <a:lnTo>
                    <a:pt x="280" y="305"/>
                  </a:lnTo>
                  <a:lnTo>
                    <a:pt x="280" y="307"/>
                  </a:lnTo>
                  <a:lnTo>
                    <a:pt x="280" y="319"/>
                  </a:lnTo>
                  <a:lnTo>
                    <a:pt x="284" y="326"/>
                  </a:lnTo>
                  <a:lnTo>
                    <a:pt x="275" y="331"/>
                  </a:lnTo>
                  <a:lnTo>
                    <a:pt x="270" y="333"/>
                  </a:lnTo>
                  <a:lnTo>
                    <a:pt x="263" y="333"/>
                  </a:lnTo>
                  <a:lnTo>
                    <a:pt x="261" y="333"/>
                  </a:lnTo>
                  <a:lnTo>
                    <a:pt x="258" y="333"/>
                  </a:lnTo>
                  <a:lnTo>
                    <a:pt x="258" y="331"/>
                  </a:lnTo>
                  <a:lnTo>
                    <a:pt x="256" y="331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254" y="324"/>
                  </a:lnTo>
                  <a:lnTo>
                    <a:pt x="251" y="321"/>
                  </a:lnTo>
                  <a:lnTo>
                    <a:pt x="249" y="319"/>
                  </a:lnTo>
                  <a:lnTo>
                    <a:pt x="247" y="319"/>
                  </a:lnTo>
                  <a:lnTo>
                    <a:pt x="247" y="319"/>
                  </a:lnTo>
                  <a:lnTo>
                    <a:pt x="244" y="319"/>
                  </a:lnTo>
                  <a:lnTo>
                    <a:pt x="244" y="319"/>
                  </a:lnTo>
                  <a:lnTo>
                    <a:pt x="239" y="319"/>
                  </a:lnTo>
                  <a:lnTo>
                    <a:pt x="225" y="321"/>
                  </a:lnTo>
                  <a:lnTo>
                    <a:pt x="223" y="324"/>
                  </a:lnTo>
                  <a:lnTo>
                    <a:pt x="211" y="336"/>
                  </a:lnTo>
                  <a:lnTo>
                    <a:pt x="204" y="338"/>
                  </a:lnTo>
                  <a:lnTo>
                    <a:pt x="199" y="340"/>
                  </a:lnTo>
                  <a:lnTo>
                    <a:pt x="197" y="340"/>
                  </a:lnTo>
                  <a:lnTo>
                    <a:pt x="197" y="343"/>
                  </a:lnTo>
                  <a:lnTo>
                    <a:pt x="194" y="347"/>
                  </a:lnTo>
                  <a:lnTo>
                    <a:pt x="197" y="347"/>
                  </a:lnTo>
                  <a:lnTo>
                    <a:pt x="197" y="350"/>
                  </a:lnTo>
                  <a:lnTo>
                    <a:pt x="197" y="352"/>
                  </a:lnTo>
                  <a:lnTo>
                    <a:pt x="199" y="355"/>
                  </a:lnTo>
                  <a:lnTo>
                    <a:pt x="197" y="357"/>
                  </a:lnTo>
                  <a:lnTo>
                    <a:pt x="197" y="359"/>
                  </a:lnTo>
                  <a:lnTo>
                    <a:pt x="194" y="359"/>
                  </a:lnTo>
                  <a:lnTo>
                    <a:pt x="194" y="364"/>
                  </a:lnTo>
                  <a:lnTo>
                    <a:pt x="192" y="366"/>
                  </a:lnTo>
                  <a:lnTo>
                    <a:pt x="190" y="366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5" y="364"/>
                  </a:lnTo>
                  <a:lnTo>
                    <a:pt x="183" y="364"/>
                  </a:lnTo>
                  <a:lnTo>
                    <a:pt x="183" y="364"/>
                  </a:lnTo>
                  <a:lnTo>
                    <a:pt x="183" y="362"/>
                  </a:lnTo>
                  <a:lnTo>
                    <a:pt x="180" y="362"/>
                  </a:lnTo>
                  <a:lnTo>
                    <a:pt x="180" y="362"/>
                  </a:lnTo>
                  <a:lnTo>
                    <a:pt x="178" y="362"/>
                  </a:lnTo>
                  <a:lnTo>
                    <a:pt x="178" y="362"/>
                  </a:lnTo>
                  <a:lnTo>
                    <a:pt x="176" y="364"/>
                  </a:lnTo>
                  <a:lnTo>
                    <a:pt x="173" y="366"/>
                  </a:lnTo>
                  <a:lnTo>
                    <a:pt x="168" y="371"/>
                  </a:lnTo>
                  <a:lnTo>
                    <a:pt x="168" y="373"/>
                  </a:lnTo>
                  <a:lnTo>
                    <a:pt x="166" y="376"/>
                  </a:lnTo>
                  <a:lnTo>
                    <a:pt x="166" y="381"/>
                  </a:lnTo>
                  <a:lnTo>
                    <a:pt x="166" y="388"/>
                  </a:lnTo>
                  <a:lnTo>
                    <a:pt x="152" y="421"/>
                  </a:lnTo>
                  <a:lnTo>
                    <a:pt x="152" y="421"/>
                  </a:lnTo>
                  <a:lnTo>
                    <a:pt x="152" y="423"/>
                  </a:lnTo>
                  <a:lnTo>
                    <a:pt x="154" y="428"/>
                  </a:lnTo>
                  <a:lnTo>
                    <a:pt x="154" y="428"/>
                  </a:lnTo>
                  <a:lnTo>
                    <a:pt x="154" y="430"/>
                  </a:lnTo>
                  <a:lnTo>
                    <a:pt x="152" y="433"/>
                  </a:lnTo>
                  <a:lnTo>
                    <a:pt x="150" y="433"/>
                  </a:lnTo>
                  <a:lnTo>
                    <a:pt x="150" y="435"/>
                  </a:lnTo>
                  <a:lnTo>
                    <a:pt x="150" y="437"/>
                  </a:lnTo>
                  <a:lnTo>
                    <a:pt x="152" y="442"/>
                  </a:lnTo>
                  <a:lnTo>
                    <a:pt x="152" y="442"/>
                  </a:lnTo>
                  <a:lnTo>
                    <a:pt x="152" y="444"/>
                  </a:lnTo>
                  <a:lnTo>
                    <a:pt x="142" y="466"/>
                  </a:lnTo>
                  <a:lnTo>
                    <a:pt x="138" y="470"/>
                  </a:lnTo>
                  <a:lnTo>
                    <a:pt x="133" y="470"/>
                  </a:lnTo>
                  <a:lnTo>
                    <a:pt x="119" y="468"/>
                  </a:lnTo>
                  <a:lnTo>
                    <a:pt x="116" y="468"/>
                  </a:lnTo>
                  <a:lnTo>
                    <a:pt x="116" y="468"/>
                  </a:lnTo>
                  <a:lnTo>
                    <a:pt x="112" y="468"/>
                  </a:lnTo>
                  <a:lnTo>
                    <a:pt x="109" y="468"/>
                  </a:lnTo>
                  <a:lnTo>
                    <a:pt x="109" y="468"/>
                  </a:lnTo>
                  <a:lnTo>
                    <a:pt x="105" y="468"/>
                  </a:lnTo>
                  <a:lnTo>
                    <a:pt x="102" y="468"/>
                  </a:lnTo>
                  <a:lnTo>
                    <a:pt x="102" y="470"/>
                  </a:lnTo>
                  <a:lnTo>
                    <a:pt x="100" y="475"/>
                  </a:lnTo>
                  <a:lnTo>
                    <a:pt x="97" y="478"/>
                  </a:lnTo>
                  <a:lnTo>
                    <a:pt x="97" y="478"/>
                  </a:lnTo>
                  <a:lnTo>
                    <a:pt x="95" y="480"/>
                  </a:lnTo>
                  <a:lnTo>
                    <a:pt x="95" y="480"/>
                  </a:lnTo>
                  <a:lnTo>
                    <a:pt x="90" y="478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6" y="482"/>
                  </a:lnTo>
                  <a:lnTo>
                    <a:pt x="86" y="485"/>
                  </a:lnTo>
                  <a:lnTo>
                    <a:pt x="86" y="485"/>
                  </a:lnTo>
                  <a:lnTo>
                    <a:pt x="83" y="485"/>
                  </a:lnTo>
                  <a:lnTo>
                    <a:pt x="81" y="485"/>
                  </a:lnTo>
                  <a:lnTo>
                    <a:pt x="79" y="485"/>
                  </a:lnTo>
                  <a:lnTo>
                    <a:pt x="76" y="482"/>
                  </a:lnTo>
                  <a:lnTo>
                    <a:pt x="71" y="475"/>
                  </a:lnTo>
                  <a:lnTo>
                    <a:pt x="69" y="473"/>
                  </a:lnTo>
                  <a:lnTo>
                    <a:pt x="67" y="473"/>
                  </a:lnTo>
                  <a:lnTo>
                    <a:pt x="64" y="473"/>
                  </a:lnTo>
                  <a:lnTo>
                    <a:pt x="62" y="473"/>
                  </a:lnTo>
                  <a:lnTo>
                    <a:pt x="62" y="470"/>
                  </a:lnTo>
                  <a:lnTo>
                    <a:pt x="62" y="468"/>
                  </a:lnTo>
                  <a:lnTo>
                    <a:pt x="62" y="459"/>
                  </a:lnTo>
                  <a:lnTo>
                    <a:pt x="62" y="459"/>
                  </a:lnTo>
                  <a:lnTo>
                    <a:pt x="62" y="456"/>
                  </a:lnTo>
                  <a:lnTo>
                    <a:pt x="62" y="456"/>
                  </a:lnTo>
                  <a:lnTo>
                    <a:pt x="62" y="454"/>
                  </a:lnTo>
                  <a:lnTo>
                    <a:pt x="62" y="452"/>
                  </a:lnTo>
                  <a:lnTo>
                    <a:pt x="62" y="452"/>
                  </a:lnTo>
                  <a:lnTo>
                    <a:pt x="67" y="447"/>
                  </a:lnTo>
                  <a:lnTo>
                    <a:pt x="67" y="444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4" y="437"/>
                  </a:lnTo>
                  <a:lnTo>
                    <a:pt x="64" y="435"/>
                  </a:lnTo>
                  <a:lnTo>
                    <a:pt x="62" y="433"/>
                  </a:lnTo>
                  <a:lnTo>
                    <a:pt x="60" y="430"/>
                  </a:lnTo>
                  <a:lnTo>
                    <a:pt x="48" y="425"/>
                  </a:lnTo>
                  <a:lnTo>
                    <a:pt x="38" y="444"/>
                  </a:lnTo>
                  <a:lnTo>
                    <a:pt x="36" y="449"/>
                  </a:lnTo>
                  <a:lnTo>
                    <a:pt x="34" y="461"/>
                  </a:lnTo>
                  <a:lnTo>
                    <a:pt x="29" y="473"/>
                  </a:lnTo>
                  <a:lnTo>
                    <a:pt x="24" y="478"/>
                  </a:lnTo>
                  <a:lnTo>
                    <a:pt x="0" y="527"/>
                  </a:lnTo>
                  <a:lnTo>
                    <a:pt x="0" y="534"/>
                  </a:lnTo>
                  <a:lnTo>
                    <a:pt x="3" y="546"/>
                  </a:lnTo>
                  <a:lnTo>
                    <a:pt x="10" y="575"/>
                  </a:lnTo>
                  <a:lnTo>
                    <a:pt x="12" y="591"/>
                  </a:lnTo>
                  <a:lnTo>
                    <a:pt x="10" y="591"/>
                  </a:lnTo>
                  <a:lnTo>
                    <a:pt x="10" y="593"/>
                  </a:lnTo>
                  <a:lnTo>
                    <a:pt x="10" y="596"/>
                  </a:lnTo>
                  <a:lnTo>
                    <a:pt x="12" y="598"/>
                  </a:lnTo>
                  <a:lnTo>
                    <a:pt x="12" y="603"/>
                  </a:lnTo>
                  <a:lnTo>
                    <a:pt x="17" y="608"/>
                  </a:lnTo>
                  <a:lnTo>
                    <a:pt x="24" y="605"/>
                  </a:lnTo>
                  <a:lnTo>
                    <a:pt x="29" y="605"/>
                  </a:lnTo>
                  <a:lnTo>
                    <a:pt x="31" y="612"/>
                  </a:lnTo>
                  <a:lnTo>
                    <a:pt x="31" y="622"/>
                  </a:lnTo>
                  <a:lnTo>
                    <a:pt x="34" y="624"/>
                  </a:lnTo>
                  <a:lnTo>
                    <a:pt x="36" y="627"/>
                  </a:lnTo>
                  <a:lnTo>
                    <a:pt x="36" y="629"/>
                  </a:lnTo>
                  <a:lnTo>
                    <a:pt x="34" y="634"/>
                  </a:lnTo>
                  <a:lnTo>
                    <a:pt x="36" y="643"/>
                  </a:lnTo>
                  <a:lnTo>
                    <a:pt x="34" y="648"/>
                  </a:lnTo>
                  <a:lnTo>
                    <a:pt x="41" y="648"/>
                  </a:lnTo>
                  <a:lnTo>
                    <a:pt x="43" y="648"/>
                  </a:lnTo>
                  <a:lnTo>
                    <a:pt x="45" y="648"/>
                  </a:lnTo>
                  <a:lnTo>
                    <a:pt x="45" y="648"/>
                  </a:lnTo>
                  <a:lnTo>
                    <a:pt x="48" y="650"/>
                  </a:lnTo>
                  <a:lnTo>
                    <a:pt x="50" y="653"/>
                  </a:lnTo>
                  <a:lnTo>
                    <a:pt x="50" y="655"/>
                  </a:lnTo>
                  <a:lnTo>
                    <a:pt x="50" y="655"/>
                  </a:lnTo>
                  <a:lnTo>
                    <a:pt x="52" y="657"/>
                  </a:lnTo>
                  <a:lnTo>
                    <a:pt x="52" y="657"/>
                  </a:lnTo>
                  <a:lnTo>
                    <a:pt x="55" y="655"/>
                  </a:lnTo>
                  <a:lnTo>
                    <a:pt x="57" y="655"/>
                  </a:lnTo>
                  <a:lnTo>
                    <a:pt x="57" y="653"/>
                  </a:lnTo>
                  <a:lnTo>
                    <a:pt x="57" y="650"/>
                  </a:lnTo>
                  <a:lnTo>
                    <a:pt x="60" y="650"/>
                  </a:lnTo>
                  <a:lnTo>
                    <a:pt x="60" y="650"/>
                  </a:lnTo>
                  <a:lnTo>
                    <a:pt x="62" y="650"/>
                  </a:lnTo>
                  <a:lnTo>
                    <a:pt x="67" y="650"/>
                  </a:lnTo>
                  <a:lnTo>
                    <a:pt x="76" y="660"/>
                  </a:lnTo>
                  <a:lnTo>
                    <a:pt x="79" y="662"/>
                  </a:lnTo>
                  <a:lnTo>
                    <a:pt x="81" y="664"/>
                  </a:lnTo>
                  <a:lnTo>
                    <a:pt x="81" y="667"/>
                  </a:lnTo>
                  <a:lnTo>
                    <a:pt x="114" y="686"/>
                  </a:lnTo>
                  <a:lnTo>
                    <a:pt x="123" y="688"/>
                  </a:lnTo>
                  <a:lnTo>
                    <a:pt x="126" y="688"/>
                  </a:lnTo>
                  <a:lnTo>
                    <a:pt x="128" y="690"/>
                  </a:lnTo>
                  <a:lnTo>
                    <a:pt x="131" y="693"/>
                  </a:lnTo>
                  <a:lnTo>
                    <a:pt x="131" y="693"/>
                  </a:lnTo>
                  <a:lnTo>
                    <a:pt x="133" y="695"/>
                  </a:lnTo>
                  <a:lnTo>
                    <a:pt x="133" y="695"/>
                  </a:lnTo>
                  <a:lnTo>
                    <a:pt x="133" y="698"/>
                  </a:lnTo>
                  <a:lnTo>
                    <a:pt x="131" y="700"/>
                  </a:lnTo>
                  <a:lnTo>
                    <a:pt x="131" y="702"/>
                  </a:lnTo>
                  <a:lnTo>
                    <a:pt x="131" y="702"/>
                  </a:lnTo>
                  <a:lnTo>
                    <a:pt x="131" y="705"/>
                  </a:lnTo>
                  <a:lnTo>
                    <a:pt x="133" y="705"/>
                  </a:lnTo>
                  <a:lnTo>
                    <a:pt x="133" y="705"/>
                  </a:lnTo>
                  <a:lnTo>
                    <a:pt x="135" y="707"/>
                  </a:lnTo>
                  <a:lnTo>
                    <a:pt x="135" y="707"/>
                  </a:lnTo>
                  <a:lnTo>
                    <a:pt x="140" y="707"/>
                  </a:lnTo>
                  <a:lnTo>
                    <a:pt x="145" y="705"/>
                  </a:lnTo>
                  <a:lnTo>
                    <a:pt x="145" y="705"/>
                  </a:lnTo>
                  <a:lnTo>
                    <a:pt x="147" y="705"/>
                  </a:lnTo>
                  <a:lnTo>
                    <a:pt x="150" y="707"/>
                  </a:lnTo>
                  <a:lnTo>
                    <a:pt x="150" y="709"/>
                  </a:lnTo>
                  <a:lnTo>
                    <a:pt x="150" y="709"/>
                  </a:lnTo>
                  <a:lnTo>
                    <a:pt x="147" y="714"/>
                  </a:lnTo>
                  <a:lnTo>
                    <a:pt x="147" y="714"/>
                  </a:lnTo>
                  <a:lnTo>
                    <a:pt x="147" y="716"/>
                  </a:lnTo>
                  <a:lnTo>
                    <a:pt x="147" y="716"/>
                  </a:lnTo>
                  <a:lnTo>
                    <a:pt x="150" y="719"/>
                  </a:lnTo>
                  <a:lnTo>
                    <a:pt x="150" y="719"/>
                  </a:lnTo>
                  <a:lnTo>
                    <a:pt x="154" y="724"/>
                  </a:lnTo>
                  <a:lnTo>
                    <a:pt x="157" y="726"/>
                  </a:lnTo>
                  <a:lnTo>
                    <a:pt x="159" y="726"/>
                  </a:lnTo>
                  <a:lnTo>
                    <a:pt x="161" y="726"/>
                  </a:lnTo>
                  <a:lnTo>
                    <a:pt x="161" y="726"/>
                  </a:lnTo>
                  <a:lnTo>
                    <a:pt x="164" y="724"/>
                  </a:lnTo>
                  <a:lnTo>
                    <a:pt x="166" y="721"/>
                  </a:lnTo>
                  <a:lnTo>
                    <a:pt x="166" y="721"/>
                  </a:lnTo>
                  <a:lnTo>
                    <a:pt x="166" y="719"/>
                  </a:lnTo>
                  <a:lnTo>
                    <a:pt x="176" y="719"/>
                  </a:lnTo>
                  <a:lnTo>
                    <a:pt x="178" y="716"/>
                  </a:lnTo>
                  <a:lnTo>
                    <a:pt x="178" y="716"/>
                  </a:lnTo>
                  <a:lnTo>
                    <a:pt x="180" y="714"/>
                  </a:lnTo>
                  <a:lnTo>
                    <a:pt x="183" y="714"/>
                  </a:lnTo>
                  <a:lnTo>
                    <a:pt x="185" y="714"/>
                  </a:lnTo>
                  <a:lnTo>
                    <a:pt x="194" y="716"/>
                  </a:lnTo>
                  <a:lnTo>
                    <a:pt x="197" y="719"/>
                  </a:lnTo>
                  <a:lnTo>
                    <a:pt x="194" y="724"/>
                  </a:lnTo>
                  <a:lnTo>
                    <a:pt x="192" y="724"/>
                  </a:lnTo>
                  <a:lnTo>
                    <a:pt x="192" y="726"/>
                  </a:lnTo>
                  <a:lnTo>
                    <a:pt x="192" y="726"/>
                  </a:lnTo>
                  <a:lnTo>
                    <a:pt x="194" y="735"/>
                  </a:lnTo>
                  <a:lnTo>
                    <a:pt x="194" y="735"/>
                  </a:lnTo>
                  <a:lnTo>
                    <a:pt x="202" y="738"/>
                  </a:lnTo>
                  <a:lnTo>
                    <a:pt x="218" y="735"/>
                  </a:lnTo>
                  <a:lnTo>
                    <a:pt x="220" y="745"/>
                  </a:lnTo>
                  <a:lnTo>
                    <a:pt x="230" y="754"/>
                  </a:lnTo>
                  <a:lnTo>
                    <a:pt x="258" y="766"/>
                  </a:lnTo>
                  <a:lnTo>
                    <a:pt x="263" y="766"/>
                  </a:lnTo>
                  <a:lnTo>
                    <a:pt x="268" y="769"/>
                  </a:lnTo>
                  <a:lnTo>
                    <a:pt x="270" y="776"/>
                  </a:lnTo>
                  <a:lnTo>
                    <a:pt x="273" y="780"/>
                  </a:lnTo>
                  <a:lnTo>
                    <a:pt x="277" y="778"/>
                  </a:lnTo>
                  <a:lnTo>
                    <a:pt x="289" y="776"/>
                  </a:lnTo>
                  <a:lnTo>
                    <a:pt x="296" y="773"/>
                  </a:lnTo>
                  <a:lnTo>
                    <a:pt x="301" y="776"/>
                  </a:lnTo>
                  <a:lnTo>
                    <a:pt x="310" y="778"/>
                  </a:lnTo>
                  <a:lnTo>
                    <a:pt x="327" y="790"/>
                  </a:lnTo>
                  <a:lnTo>
                    <a:pt x="332" y="790"/>
                  </a:lnTo>
                  <a:lnTo>
                    <a:pt x="336" y="787"/>
                  </a:lnTo>
                  <a:lnTo>
                    <a:pt x="341" y="783"/>
                  </a:lnTo>
                  <a:lnTo>
                    <a:pt x="346" y="776"/>
                  </a:lnTo>
                  <a:lnTo>
                    <a:pt x="358" y="771"/>
                  </a:lnTo>
                  <a:lnTo>
                    <a:pt x="362" y="766"/>
                  </a:lnTo>
                  <a:lnTo>
                    <a:pt x="362" y="761"/>
                  </a:lnTo>
                  <a:lnTo>
                    <a:pt x="365" y="759"/>
                  </a:lnTo>
                  <a:lnTo>
                    <a:pt x="367" y="757"/>
                  </a:lnTo>
                  <a:lnTo>
                    <a:pt x="372" y="754"/>
                  </a:lnTo>
                  <a:lnTo>
                    <a:pt x="374" y="754"/>
                  </a:lnTo>
                  <a:lnTo>
                    <a:pt x="377" y="752"/>
                  </a:lnTo>
                  <a:lnTo>
                    <a:pt x="377" y="747"/>
                  </a:lnTo>
                  <a:lnTo>
                    <a:pt x="379" y="747"/>
                  </a:lnTo>
                  <a:lnTo>
                    <a:pt x="386" y="745"/>
                  </a:lnTo>
                  <a:lnTo>
                    <a:pt x="400" y="740"/>
                  </a:lnTo>
                  <a:lnTo>
                    <a:pt x="407" y="740"/>
                  </a:lnTo>
                  <a:lnTo>
                    <a:pt x="412" y="740"/>
                  </a:lnTo>
                  <a:lnTo>
                    <a:pt x="417" y="740"/>
                  </a:lnTo>
                  <a:lnTo>
                    <a:pt x="417" y="740"/>
                  </a:lnTo>
                  <a:lnTo>
                    <a:pt x="429" y="735"/>
                  </a:lnTo>
                  <a:lnTo>
                    <a:pt x="431" y="735"/>
                  </a:lnTo>
                  <a:lnTo>
                    <a:pt x="433" y="735"/>
                  </a:lnTo>
                  <a:lnTo>
                    <a:pt x="436" y="735"/>
                  </a:lnTo>
                  <a:lnTo>
                    <a:pt x="464" y="738"/>
                  </a:lnTo>
                  <a:lnTo>
                    <a:pt x="471" y="738"/>
                  </a:lnTo>
                  <a:lnTo>
                    <a:pt x="474" y="740"/>
                  </a:lnTo>
                  <a:lnTo>
                    <a:pt x="476" y="743"/>
                  </a:lnTo>
                  <a:lnTo>
                    <a:pt x="476" y="743"/>
                  </a:lnTo>
                  <a:lnTo>
                    <a:pt x="478" y="747"/>
                  </a:lnTo>
                  <a:lnTo>
                    <a:pt x="478" y="747"/>
                  </a:lnTo>
                  <a:lnTo>
                    <a:pt x="481" y="750"/>
                  </a:lnTo>
                  <a:lnTo>
                    <a:pt x="485" y="750"/>
                  </a:lnTo>
                  <a:lnTo>
                    <a:pt x="488" y="750"/>
                  </a:lnTo>
                  <a:lnTo>
                    <a:pt x="490" y="750"/>
                  </a:lnTo>
                  <a:lnTo>
                    <a:pt x="490" y="747"/>
                  </a:lnTo>
                  <a:lnTo>
                    <a:pt x="493" y="747"/>
                  </a:lnTo>
                  <a:lnTo>
                    <a:pt x="497" y="750"/>
                  </a:lnTo>
                  <a:lnTo>
                    <a:pt x="507" y="750"/>
                  </a:lnTo>
                  <a:lnTo>
                    <a:pt x="509" y="750"/>
                  </a:lnTo>
                  <a:lnTo>
                    <a:pt x="511" y="750"/>
                  </a:lnTo>
                  <a:lnTo>
                    <a:pt x="511" y="747"/>
                  </a:lnTo>
                  <a:lnTo>
                    <a:pt x="511" y="747"/>
                  </a:lnTo>
                  <a:lnTo>
                    <a:pt x="514" y="747"/>
                  </a:lnTo>
                  <a:lnTo>
                    <a:pt x="521" y="743"/>
                  </a:lnTo>
                  <a:lnTo>
                    <a:pt x="523" y="743"/>
                  </a:lnTo>
                  <a:lnTo>
                    <a:pt x="526" y="743"/>
                  </a:lnTo>
                  <a:lnTo>
                    <a:pt x="528" y="745"/>
                  </a:lnTo>
                  <a:lnTo>
                    <a:pt x="528" y="745"/>
                  </a:lnTo>
                  <a:lnTo>
                    <a:pt x="528" y="747"/>
                  </a:lnTo>
                  <a:lnTo>
                    <a:pt x="528" y="747"/>
                  </a:lnTo>
                  <a:lnTo>
                    <a:pt x="528" y="750"/>
                  </a:lnTo>
                  <a:lnTo>
                    <a:pt x="528" y="752"/>
                  </a:lnTo>
                  <a:lnTo>
                    <a:pt x="528" y="752"/>
                  </a:lnTo>
                  <a:lnTo>
                    <a:pt x="528" y="754"/>
                  </a:lnTo>
                  <a:lnTo>
                    <a:pt x="528" y="757"/>
                  </a:lnTo>
                  <a:lnTo>
                    <a:pt x="528" y="757"/>
                  </a:lnTo>
                  <a:lnTo>
                    <a:pt x="528" y="761"/>
                  </a:lnTo>
                  <a:lnTo>
                    <a:pt x="530" y="766"/>
                  </a:lnTo>
                  <a:lnTo>
                    <a:pt x="530" y="771"/>
                  </a:lnTo>
                  <a:lnTo>
                    <a:pt x="533" y="771"/>
                  </a:lnTo>
                  <a:lnTo>
                    <a:pt x="533" y="773"/>
                  </a:lnTo>
                  <a:lnTo>
                    <a:pt x="533" y="773"/>
                  </a:lnTo>
                  <a:lnTo>
                    <a:pt x="535" y="776"/>
                  </a:lnTo>
                  <a:lnTo>
                    <a:pt x="542" y="776"/>
                  </a:lnTo>
                  <a:lnTo>
                    <a:pt x="545" y="776"/>
                  </a:lnTo>
                  <a:lnTo>
                    <a:pt x="547" y="778"/>
                  </a:lnTo>
                  <a:lnTo>
                    <a:pt x="547" y="778"/>
                  </a:lnTo>
                  <a:lnTo>
                    <a:pt x="549" y="780"/>
                  </a:lnTo>
                  <a:lnTo>
                    <a:pt x="549" y="780"/>
                  </a:lnTo>
                  <a:lnTo>
                    <a:pt x="549" y="783"/>
                  </a:lnTo>
                  <a:lnTo>
                    <a:pt x="549" y="785"/>
                  </a:lnTo>
                  <a:lnTo>
                    <a:pt x="549" y="787"/>
                  </a:lnTo>
                  <a:lnTo>
                    <a:pt x="552" y="790"/>
                  </a:lnTo>
                  <a:lnTo>
                    <a:pt x="552" y="790"/>
                  </a:lnTo>
                  <a:lnTo>
                    <a:pt x="556" y="792"/>
                  </a:lnTo>
                  <a:lnTo>
                    <a:pt x="566" y="799"/>
                  </a:lnTo>
                  <a:lnTo>
                    <a:pt x="568" y="797"/>
                  </a:lnTo>
                  <a:lnTo>
                    <a:pt x="573" y="792"/>
                  </a:lnTo>
                  <a:lnTo>
                    <a:pt x="573" y="785"/>
                  </a:lnTo>
                  <a:lnTo>
                    <a:pt x="571" y="785"/>
                  </a:lnTo>
                  <a:lnTo>
                    <a:pt x="568" y="785"/>
                  </a:lnTo>
                  <a:lnTo>
                    <a:pt x="566" y="785"/>
                  </a:lnTo>
                  <a:lnTo>
                    <a:pt x="566" y="780"/>
                  </a:lnTo>
                  <a:lnTo>
                    <a:pt x="568" y="780"/>
                  </a:lnTo>
                  <a:lnTo>
                    <a:pt x="571" y="776"/>
                  </a:lnTo>
                  <a:lnTo>
                    <a:pt x="571" y="773"/>
                  </a:lnTo>
                  <a:lnTo>
                    <a:pt x="561" y="771"/>
                  </a:lnTo>
                  <a:lnTo>
                    <a:pt x="561" y="766"/>
                  </a:lnTo>
                  <a:lnTo>
                    <a:pt x="564" y="759"/>
                  </a:lnTo>
                  <a:lnTo>
                    <a:pt x="564" y="757"/>
                  </a:lnTo>
                  <a:lnTo>
                    <a:pt x="566" y="752"/>
                  </a:lnTo>
                  <a:lnTo>
                    <a:pt x="568" y="750"/>
                  </a:lnTo>
                  <a:lnTo>
                    <a:pt x="573" y="750"/>
                  </a:lnTo>
                  <a:lnTo>
                    <a:pt x="575" y="754"/>
                  </a:lnTo>
                  <a:lnTo>
                    <a:pt x="575" y="761"/>
                  </a:lnTo>
                  <a:lnTo>
                    <a:pt x="571" y="771"/>
                  </a:lnTo>
                  <a:lnTo>
                    <a:pt x="575" y="773"/>
                  </a:lnTo>
                  <a:lnTo>
                    <a:pt x="578" y="778"/>
                  </a:lnTo>
                  <a:lnTo>
                    <a:pt x="580" y="783"/>
                  </a:lnTo>
                  <a:lnTo>
                    <a:pt x="580" y="785"/>
                  </a:lnTo>
                  <a:lnTo>
                    <a:pt x="587" y="773"/>
                  </a:lnTo>
                  <a:lnTo>
                    <a:pt x="590" y="764"/>
                  </a:lnTo>
                  <a:lnTo>
                    <a:pt x="590" y="757"/>
                  </a:lnTo>
                  <a:lnTo>
                    <a:pt x="590" y="745"/>
                  </a:lnTo>
                  <a:lnTo>
                    <a:pt x="590" y="740"/>
                  </a:lnTo>
                  <a:lnTo>
                    <a:pt x="592" y="738"/>
                  </a:lnTo>
                  <a:lnTo>
                    <a:pt x="594" y="738"/>
                  </a:lnTo>
                  <a:lnTo>
                    <a:pt x="594" y="735"/>
                  </a:lnTo>
                  <a:lnTo>
                    <a:pt x="594" y="733"/>
                  </a:lnTo>
                  <a:lnTo>
                    <a:pt x="597" y="728"/>
                  </a:lnTo>
                  <a:lnTo>
                    <a:pt x="594" y="726"/>
                  </a:lnTo>
                  <a:lnTo>
                    <a:pt x="597" y="721"/>
                  </a:lnTo>
                  <a:lnTo>
                    <a:pt x="597" y="716"/>
                  </a:lnTo>
                  <a:lnTo>
                    <a:pt x="594" y="714"/>
                  </a:lnTo>
                  <a:lnTo>
                    <a:pt x="590" y="709"/>
                  </a:lnTo>
                  <a:lnTo>
                    <a:pt x="587" y="709"/>
                  </a:lnTo>
                  <a:lnTo>
                    <a:pt x="580" y="709"/>
                  </a:lnTo>
                  <a:lnTo>
                    <a:pt x="582" y="714"/>
                  </a:lnTo>
                  <a:lnTo>
                    <a:pt x="582" y="714"/>
                  </a:lnTo>
                  <a:lnTo>
                    <a:pt x="585" y="714"/>
                  </a:lnTo>
                  <a:lnTo>
                    <a:pt x="585" y="712"/>
                  </a:lnTo>
                  <a:lnTo>
                    <a:pt x="582" y="716"/>
                  </a:lnTo>
                  <a:lnTo>
                    <a:pt x="575" y="712"/>
                  </a:lnTo>
                  <a:lnTo>
                    <a:pt x="568" y="705"/>
                  </a:lnTo>
                  <a:lnTo>
                    <a:pt x="564" y="702"/>
                  </a:lnTo>
                  <a:lnTo>
                    <a:pt x="561" y="700"/>
                  </a:lnTo>
                  <a:lnTo>
                    <a:pt x="556" y="698"/>
                  </a:lnTo>
                  <a:lnTo>
                    <a:pt x="556" y="693"/>
                  </a:lnTo>
                  <a:lnTo>
                    <a:pt x="552" y="690"/>
                  </a:lnTo>
                  <a:lnTo>
                    <a:pt x="547" y="688"/>
                  </a:lnTo>
                  <a:lnTo>
                    <a:pt x="542" y="683"/>
                  </a:lnTo>
                  <a:lnTo>
                    <a:pt x="547" y="690"/>
                  </a:lnTo>
                  <a:lnTo>
                    <a:pt x="549" y="695"/>
                  </a:lnTo>
                  <a:lnTo>
                    <a:pt x="549" y="700"/>
                  </a:lnTo>
                  <a:lnTo>
                    <a:pt x="545" y="707"/>
                  </a:lnTo>
                  <a:lnTo>
                    <a:pt x="540" y="702"/>
                  </a:lnTo>
                  <a:lnTo>
                    <a:pt x="542" y="700"/>
                  </a:lnTo>
                  <a:lnTo>
                    <a:pt x="542" y="700"/>
                  </a:lnTo>
                  <a:lnTo>
                    <a:pt x="545" y="700"/>
                  </a:lnTo>
                  <a:lnTo>
                    <a:pt x="547" y="698"/>
                  </a:lnTo>
                  <a:lnTo>
                    <a:pt x="545" y="695"/>
                  </a:lnTo>
                  <a:lnTo>
                    <a:pt x="542" y="690"/>
                  </a:lnTo>
                  <a:lnTo>
                    <a:pt x="538" y="683"/>
                  </a:lnTo>
                  <a:lnTo>
                    <a:pt x="533" y="679"/>
                  </a:lnTo>
                  <a:lnTo>
                    <a:pt x="526" y="674"/>
                  </a:lnTo>
                  <a:lnTo>
                    <a:pt x="528" y="679"/>
                  </a:lnTo>
                  <a:lnTo>
                    <a:pt x="528" y="679"/>
                  </a:lnTo>
                  <a:lnTo>
                    <a:pt x="528" y="681"/>
                  </a:lnTo>
                  <a:lnTo>
                    <a:pt x="523" y="681"/>
                  </a:lnTo>
                  <a:lnTo>
                    <a:pt x="519" y="679"/>
                  </a:lnTo>
                  <a:lnTo>
                    <a:pt x="519" y="672"/>
                  </a:lnTo>
                  <a:lnTo>
                    <a:pt x="519" y="660"/>
                  </a:lnTo>
                  <a:lnTo>
                    <a:pt x="521" y="662"/>
                  </a:lnTo>
                  <a:lnTo>
                    <a:pt x="521" y="667"/>
                  </a:lnTo>
                  <a:lnTo>
                    <a:pt x="521" y="669"/>
                  </a:lnTo>
                  <a:lnTo>
                    <a:pt x="526" y="672"/>
                  </a:lnTo>
                  <a:lnTo>
                    <a:pt x="528" y="672"/>
                  </a:lnTo>
                  <a:lnTo>
                    <a:pt x="523" y="655"/>
                  </a:lnTo>
                  <a:lnTo>
                    <a:pt x="521" y="641"/>
                  </a:lnTo>
                  <a:lnTo>
                    <a:pt x="519" y="636"/>
                  </a:lnTo>
                  <a:lnTo>
                    <a:pt x="514" y="631"/>
                  </a:lnTo>
                  <a:lnTo>
                    <a:pt x="511" y="624"/>
                  </a:lnTo>
                  <a:lnTo>
                    <a:pt x="514" y="617"/>
                  </a:lnTo>
                  <a:lnTo>
                    <a:pt x="509" y="619"/>
                  </a:lnTo>
                  <a:lnTo>
                    <a:pt x="504" y="627"/>
                  </a:lnTo>
                  <a:lnTo>
                    <a:pt x="500" y="631"/>
                  </a:lnTo>
                  <a:lnTo>
                    <a:pt x="502" y="631"/>
                  </a:lnTo>
                  <a:lnTo>
                    <a:pt x="502" y="631"/>
                  </a:lnTo>
                  <a:lnTo>
                    <a:pt x="502" y="634"/>
                  </a:lnTo>
                  <a:lnTo>
                    <a:pt x="497" y="634"/>
                  </a:lnTo>
                  <a:lnTo>
                    <a:pt x="493" y="631"/>
                  </a:lnTo>
                  <a:lnTo>
                    <a:pt x="488" y="627"/>
                  </a:lnTo>
                  <a:lnTo>
                    <a:pt x="488" y="622"/>
                  </a:lnTo>
                  <a:lnTo>
                    <a:pt x="485" y="619"/>
                  </a:lnTo>
                  <a:lnTo>
                    <a:pt x="483" y="617"/>
                  </a:lnTo>
                  <a:lnTo>
                    <a:pt x="485" y="615"/>
                  </a:lnTo>
                  <a:lnTo>
                    <a:pt x="488" y="612"/>
                  </a:lnTo>
                  <a:lnTo>
                    <a:pt x="485" y="605"/>
                  </a:lnTo>
                  <a:lnTo>
                    <a:pt x="485" y="598"/>
                  </a:lnTo>
                  <a:lnTo>
                    <a:pt x="483" y="596"/>
                  </a:lnTo>
                  <a:lnTo>
                    <a:pt x="476" y="593"/>
                  </a:lnTo>
                  <a:lnTo>
                    <a:pt x="478" y="598"/>
                  </a:lnTo>
                  <a:lnTo>
                    <a:pt x="478" y="603"/>
                  </a:lnTo>
                  <a:lnTo>
                    <a:pt x="476" y="610"/>
                  </a:lnTo>
                  <a:lnTo>
                    <a:pt x="474" y="612"/>
                  </a:lnTo>
                  <a:lnTo>
                    <a:pt x="471" y="610"/>
                  </a:lnTo>
                  <a:lnTo>
                    <a:pt x="467" y="603"/>
                  </a:lnTo>
                  <a:lnTo>
                    <a:pt x="462" y="598"/>
                  </a:lnTo>
                  <a:lnTo>
                    <a:pt x="462" y="589"/>
                  </a:lnTo>
                  <a:lnTo>
                    <a:pt x="464" y="589"/>
                  </a:lnTo>
                  <a:lnTo>
                    <a:pt x="469" y="589"/>
                  </a:lnTo>
                  <a:lnTo>
                    <a:pt x="474" y="591"/>
                  </a:lnTo>
                  <a:lnTo>
                    <a:pt x="478" y="589"/>
                  </a:lnTo>
                  <a:lnTo>
                    <a:pt x="481" y="586"/>
                  </a:lnTo>
                  <a:lnTo>
                    <a:pt x="481" y="582"/>
                  </a:lnTo>
                  <a:lnTo>
                    <a:pt x="483" y="575"/>
                  </a:lnTo>
                  <a:lnTo>
                    <a:pt x="481" y="570"/>
                  </a:lnTo>
                  <a:lnTo>
                    <a:pt x="481" y="567"/>
                  </a:lnTo>
                  <a:lnTo>
                    <a:pt x="485" y="567"/>
                  </a:lnTo>
                  <a:lnTo>
                    <a:pt x="485" y="565"/>
                  </a:lnTo>
                  <a:lnTo>
                    <a:pt x="485" y="560"/>
                  </a:lnTo>
                  <a:lnTo>
                    <a:pt x="485" y="558"/>
                  </a:lnTo>
                  <a:lnTo>
                    <a:pt x="485" y="556"/>
                  </a:lnTo>
                  <a:lnTo>
                    <a:pt x="488" y="551"/>
                  </a:lnTo>
                  <a:lnTo>
                    <a:pt x="485" y="549"/>
                  </a:lnTo>
                  <a:lnTo>
                    <a:pt x="483" y="544"/>
                  </a:lnTo>
                  <a:lnTo>
                    <a:pt x="483" y="539"/>
                  </a:lnTo>
                  <a:lnTo>
                    <a:pt x="485" y="534"/>
                  </a:lnTo>
                  <a:lnTo>
                    <a:pt x="483" y="537"/>
                  </a:lnTo>
                  <a:lnTo>
                    <a:pt x="483" y="532"/>
                  </a:lnTo>
                  <a:lnTo>
                    <a:pt x="488" y="520"/>
                  </a:lnTo>
                  <a:lnTo>
                    <a:pt x="497" y="508"/>
                  </a:lnTo>
                  <a:lnTo>
                    <a:pt x="507" y="499"/>
                  </a:lnTo>
                  <a:lnTo>
                    <a:pt x="519" y="499"/>
                  </a:lnTo>
                  <a:lnTo>
                    <a:pt x="516" y="504"/>
                  </a:lnTo>
                  <a:lnTo>
                    <a:pt x="521" y="504"/>
                  </a:lnTo>
                  <a:lnTo>
                    <a:pt x="526" y="501"/>
                  </a:lnTo>
                  <a:lnTo>
                    <a:pt x="530" y="499"/>
                  </a:lnTo>
                  <a:lnTo>
                    <a:pt x="530" y="496"/>
                  </a:lnTo>
                  <a:lnTo>
                    <a:pt x="519" y="494"/>
                  </a:lnTo>
                  <a:lnTo>
                    <a:pt x="516" y="489"/>
                  </a:lnTo>
                  <a:lnTo>
                    <a:pt x="519" y="482"/>
                  </a:lnTo>
                  <a:lnTo>
                    <a:pt x="523" y="492"/>
                  </a:lnTo>
                  <a:lnTo>
                    <a:pt x="526" y="492"/>
                  </a:lnTo>
                  <a:lnTo>
                    <a:pt x="526" y="489"/>
                  </a:lnTo>
                  <a:lnTo>
                    <a:pt x="533" y="492"/>
                  </a:lnTo>
                  <a:lnTo>
                    <a:pt x="538" y="492"/>
                  </a:lnTo>
                  <a:lnTo>
                    <a:pt x="538" y="489"/>
                  </a:lnTo>
                  <a:lnTo>
                    <a:pt x="533" y="485"/>
                  </a:lnTo>
                  <a:lnTo>
                    <a:pt x="538" y="478"/>
                  </a:lnTo>
                  <a:lnTo>
                    <a:pt x="542" y="468"/>
                  </a:lnTo>
                  <a:lnTo>
                    <a:pt x="549" y="463"/>
                  </a:lnTo>
                  <a:lnTo>
                    <a:pt x="552" y="470"/>
                  </a:lnTo>
                  <a:lnTo>
                    <a:pt x="554" y="473"/>
                  </a:lnTo>
                  <a:lnTo>
                    <a:pt x="561" y="478"/>
                  </a:lnTo>
                  <a:lnTo>
                    <a:pt x="564" y="478"/>
                  </a:lnTo>
                  <a:lnTo>
                    <a:pt x="568" y="470"/>
                  </a:lnTo>
                  <a:lnTo>
                    <a:pt x="573" y="468"/>
                  </a:lnTo>
                  <a:lnTo>
                    <a:pt x="571" y="475"/>
                  </a:lnTo>
                  <a:lnTo>
                    <a:pt x="568" y="480"/>
                  </a:lnTo>
                  <a:lnTo>
                    <a:pt x="564" y="482"/>
                  </a:lnTo>
                  <a:lnTo>
                    <a:pt x="559" y="482"/>
                  </a:lnTo>
                  <a:lnTo>
                    <a:pt x="556" y="487"/>
                  </a:lnTo>
                  <a:lnTo>
                    <a:pt x="556" y="492"/>
                  </a:lnTo>
                  <a:lnTo>
                    <a:pt x="556" y="496"/>
                  </a:lnTo>
                  <a:lnTo>
                    <a:pt x="549" y="499"/>
                  </a:lnTo>
                  <a:lnTo>
                    <a:pt x="549" y="496"/>
                  </a:lnTo>
                  <a:lnTo>
                    <a:pt x="554" y="496"/>
                  </a:lnTo>
                  <a:lnTo>
                    <a:pt x="554" y="496"/>
                  </a:lnTo>
                  <a:lnTo>
                    <a:pt x="554" y="494"/>
                  </a:lnTo>
                  <a:lnTo>
                    <a:pt x="552" y="494"/>
                  </a:lnTo>
                  <a:lnTo>
                    <a:pt x="552" y="492"/>
                  </a:lnTo>
                  <a:lnTo>
                    <a:pt x="552" y="494"/>
                  </a:lnTo>
                  <a:lnTo>
                    <a:pt x="552" y="492"/>
                  </a:lnTo>
                  <a:lnTo>
                    <a:pt x="547" y="494"/>
                  </a:lnTo>
                  <a:lnTo>
                    <a:pt x="545" y="494"/>
                  </a:lnTo>
                  <a:lnTo>
                    <a:pt x="542" y="494"/>
                  </a:lnTo>
                  <a:lnTo>
                    <a:pt x="547" y="499"/>
                  </a:lnTo>
                  <a:lnTo>
                    <a:pt x="545" y="501"/>
                  </a:lnTo>
                  <a:lnTo>
                    <a:pt x="542" y="504"/>
                  </a:lnTo>
                  <a:lnTo>
                    <a:pt x="542" y="501"/>
                  </a:lnTo>
                  <a:lnTo>
                    <a:pt x="540" y="496"/>
                  </a:lnTo>
                  <a:lnTo>
                    <a:pt x="538" y="499"/>
                  </a:lnTo>
                  <a:lnTo>
                    <a:pt x="538" y="501"/>
                  </a:lnTo>
                  <a:lnTo>
                    <a:pt x="538" y="504"/>
                  </a:lnTo>
                  <a:lnTo>
                    <a:pt x="535" y="506"/>
                  </a:lnTo>
                  <a:lnTo>
                    <a:pt x="533" y="506"/>
                  </a:lnTo>
                  <a:lnTo>
                    <a:pt x="535" y="508"/>
                  </a:lnTo>
                  <a:lnTo>
                    <a:pt x="533" y="513"/>
                  </a:lnTo>
                  <a:lnTo>
                    <a:pt x="530" y="520"/>
                  </a:lnTo>
                  <a:lnTo>
                    <a:pt x="530" y="525"/>
                  </a:lnTo>
                  <a:lnTo>
                    <a:pt x="533" y="525"/>
                  </a:lnTo>
                  <a:lnTo>
                    <a:pt x="540" y="518"/>
                  </a:lnTo>
                  <a:lnTo>
                    <a:pt x="552" y="513"/>
                  </a:lnTo>
                  <a:lnTo>
                    <a:pt x="554" y="511"/>
                  </a:lnTo>
                  <a:lnTo>
                    <a:pt x="559" y="506"/>
                  </a:lnTo>
                  <a:lnTo>
                    <a:pt x="585" y="492"/>
                  </a:lnTo>
                  <a:lnTo>
                    <a:pt x="630" y="459"/>
                  </a:lnTo>
                  <a:lnTo>
                    <a:pt x="672" y="421"/>
                  </a:lnTo>
                  <a:lnTo>
                    <a:pt x="684" y="416"/>
                  </a:lnTo>
                  <a:lnTo>
                    <a:pt x="705" y="411"/>
                  </a:lnTo>
                  <a:lnTo>
                    <a:pt x="713" y="407"/>
                  </a:lnTo>
                  <a:lnTo>
                    <a:pt x="715" y="402"/>
                  </a:lnTo>
                  <a:lnTo>
                    <a:pt x="710" y="397"/>
                  </a:lnTo>
                  <a:lnTo>
                    <a:pt x="708" y="395"/>
                  </a:lnTo>
                  <a:lnTo>
                    <a:pt x="698" y="376"/>
                  </a:lnTo>
                  <a:lnTo>
                    <a:pt x="696" y="376"/>
                  </a:lnTo>
                  <a:lnTo>
                    <a:pt x="694" y="371"/>
                  </a:lnTo>
                  <a:lnTo>
                    <a:pt x="691" y="369"/>
                  </a:lnTo>
                  <a:lnTo>
                    <a:pt x="689" y="369"/>
                  </a:lnTo>
                  <a:lnTo>
                    <a:pt x="689" y="364"/>
                  </a:lnTo>
                  <a:lnTo>
                    <a:pt x="689" y="364"/>
                  </a:lnTo>
                  <a:lnTo>
                    <a:pt x="689" y="364"/>
                  </a:lnTo>
                  <a:lnTo>
                    <a:pt x="687" y="362"/>
                  </a:lnTo>
                  <a:lnTo>
                    <a:pt x="679" y="352"/>
                  </a:lnTo>
                  <a:lnTo>
                    <a:pt x="679" y="352"/>
                  </a:lnTo>
                  <a:lnTo>
                    <a:pt x="677" y="350"/>
                  </a:lnTo>
                  <a:lnTo>
                    <a:pt x="677" y="345"/>
                  </a:lnTo>
                  <a:lnTo>
                    <a:pt x="675" y="340"/>
                  </a:lnTo>
                  <a:lnTo>
                    <a:pt x="675" y="336"/>
                  </a:lnTo>
                  <a:lnTo>
                    <a:pt x="675" y="336"/>
                  </a:lnTo>
                  <a:lnTo>
                    <a:pt x="672" y="331"/>
                  </a:lnTo>
                  <a:lnTo>
                    <a:pt x="668" y="328"/>
                  </a:lnTo>
                  <a:lnTo>
                    <a:pt x="663" y="333"/>
                  </a:lnTo>
                  <a:lnTo>
                    <a:pt x="663" y="338"/>
                  </a:lnTo>
                  <a:lnTo>
                    <a:pt x="663" y="338"/>
                  </a:lnTo>
                  <a:lnTo>
                    <a:pt x="661" y="340"/>
                  </a:lnTo>
                  <a:lnTo>
                    <a:pt x="658" y="340"/>
                  </a:lnTo>
                  <a:lnTo>
                    <a:pt x="644" y="340"/>
                  </a:lnTo>
                  <a:lnTo>
                    <a:pt x="644" y="338"/>
                  </a:lnTo>
                  <a:lnTo>
                    <a:pt x="642" y="338"/>
                  </a:lnTo>
                  <a:lnTo>
                    <a:pt x="642" y="336"/>
                  </a:lnTo>
                  <a:lnTo>
                    <a:pt x="642" y="333"/>
                  </a:lnTo>
                  <a:lnTo>
                    <a:pt x="642" y="333"/>
                  </a:lnTo>
                  <a:lnTo>
                    <a:pt x="639" y="333"/>
                  </a:lnTo>
                  <a:lnTo>
                    <a:pt x="637" y="331"/>
                  </a:lnTo>
                  <a:lnTo>
                    <a:pt x="637" y="331"/>
                  </a:lnTo>
                  <a:lnTo>
                    <a:pt x="635" y="331"/>
                  </a:lnTo>
                  <a:lnTo>
                    <a:pt x="632" y="333"/>
                  </a:lnTo>
                  <a:lnTo>
                    <a:pt x="630" y="336"/>
                  </a:lnTo>
                  <a:lnTo>
                    <a:pt x="630" y="338"/>
                  </a:lnTo>
                  <a:lnTo>
                    <a:pt x="627" y="340"/>
                  </a:lnTo>
                  <a:lnTo>
                    <a:pt x="627" y="343"/>
                  </a:lnTo>
                  <a:lnTo>
                    <a:pt x="627" y="343"/>
                  </a:lnTo>
                  <a:lnTo>
                    <a:pt x="625" y="343"/>
                  </a:lnTo>
                  <a:lnTo>
                    <a:pt x="623" y="343"/>
                  </a:lnTo>
                  <a:lnTo>
                    <a:pt x="623" y="340"/>
                  </a:lnTo>
                  <a:lnTo>
                    <a:pt x="620" y="340"/>
                  </a:lnTo>
                  <a:lnTo>
                    <a:pt x="620" y="338"/>
                  </a:lnTo>
                  <a:lnTo>
                    <a:pt x="620" y="336"/>
                  </a:lnTo>
                  <a:lnTo>
                    <a:pt x="620" y="336"/>
                  </a:lnTo>
                  <a:lnTo>
                    <a:pt x="620" y="333"/>
                  </a:lnTo>
                  <a:lnTo>
                    <a:pt x="618" y="333"/>
                  </a:lnTo>
                  <a:lnTo>
                    <a:pt x="616" y="333"/>
                  </a:lnTo>
                  <a:lnTo>
                    <a:pt x="613" y="331"/>
                  </a:lnTo>
                  <a:lnTo>
                    <a:pt x="611" y="331"/>
                  </a:lnTo>
                  <a:lnTo>
                    <a:pt x="611" y="333"/>
                  </a:lnTo>
                  <a:lnTo>
                    <a:pt x="611" y="336"/>
                  </a:lnTo>
                  <a:lnTo>
                    <a:pt x="608" y="338"/>
                  </a:lnTo>
                  <a:lnTo>
                    <a:pt x="608" y="340"/>
                  </a:lnTo>
                  <a:lnTo>
                    <a:pt x="606" y="340"/>
                  </a:lnTo>
                  <a:lnTo>
                    <a:pt x="601" y="343"/>
                  </a:lnTo>
                  <a:lnTo>
                    <a:pt x="599" y="345"/>
                  </a:lnTo>
                  <a:lnTo>
                    <a:pt x="597" y="347"/>
                  </a:lnTo>
                  <a:lnTo>
                    <a:pt x="590" y="357"/>
                  </a:lnTo>
                  <a:lnTo>
                    <a:pt x="587" y="359"/>
                  </a:lnTo>
                  <a:lnTo>
                    <a:pt x="582" y="359"/>
                  </a:lnTo>
                  <a:lnTo>
                    <a:pt x="580" y="355"/>
                  </a:lnTo>
                  <a:lnTo>
                    <a:pt x="578" y="352"/>
                  </a:lnTo>
                  <a:lnTo>
                    <a:pt x="573" y="350"/>
                  </a:lnTo>
                  <a:lnTo>
                    <a:pt x="571" y="347"/>
                  </a:lnTo>
                  <a:lnTo>
                    <a:pt x="568" y="347"/>
                  </a:lnTo>
                  <a:lnTo>
                    <a:pt x="568" y="350"/>
                  </a:lnTo>
                  <a:lnTo>
                    <a:pt x="566" y="350"/>
                  </a:lnTo>
                  <a:lnTo>
                    <a:pt x="564" y="352"/>
                  </a:lnTo>
                  <a:lnTo>
                    <a:pt x="561" y="352"/>
                  </a:lnTo>
                  <a:lnTo>
                    <a:pt x="561" y="352"/>
                  </a:lnTo>
                  <a:lnTo>
                    <a:pt x="549" y="350"/>
                  </a:lnTo>
                  <a:lnTo>
                    <a:pt x="547" y="347"/>
                  </a:lnTo>
                  <a:lnTo>
                    <a:pt x="547" y="345"/>
                  </a:lnTo>
                  <a:lnTo>
                    <a:pt x="545" y="343"/>
                  </a:lnTo>
                  <a:lnTo>
                    <a:pt x="535" y="324"/>
                  </a:lnTo>
                  <a:lnTo>
                    <a:pt x="533" y="319"/>
                  </a:lnTo>
                  <a:lnTo>
                    <a:pt x="533" y="319"/>
                  </a:lnTo>
                  <a:lnTo>
                    <a:pt x="533" y="317"/>
                  </a:lnTo>
                  <a:lnTo>
                    <a:pt x="530" y="314"/>
                  </a:lnTo>
                  <a:lnTo>
                    <a:pt x="528" y="314"/>
                  </a:lnTo>
                  <a:lnTo>
                    <a:pt x="523" y="312"/>
                  </a:lnTo>
                  <a:lnTo>
                    <a:pt x="521" y="312"/>
                  </a:lnTo>
                  <a:lnTo>
                    <a:pt x="514" y="307"/>
                  </a:lnTo>
                  <a:lnTo>
                    <a:pt x="511" y="305"/>
                  </a:lnTo>
                  <a:lnTo>
                    <a:pt x="511" y="305"/>
                  </a:lnTo>
                  <a:lnTo>
                    <a:pt x="509" y="305"/>
                  </a:lnTo>
                  <a:lnTo>
                    <a:pt x="507" y="302"/>
                  </a:lnTo>
                  <a:lnTo>
                    <a:pt x="504" y="300"/>
                  </a:lnTo>
                  <a:lnTo>
                    <a:pt x="502" y="288"/>
                  </a:lnTo>
                  <a:lnTo>
                    <a:pt x="500" y="279"/>
                  </a:lnTo>
                  <a:lnTo>
                    <a:pt x="493" y="267"/>
                  </a:lnTo>
                  <a:lnTo>
                    <a:pt x="495" y="260"/>
                  </a:lnTo>
                  <a:lnTo>
                    <a:pt x="495" y="258"/>
                  </a:lnTo>
                  <a:lnTo>
                    <a:pt x="495" y="255"/>
                  </a:lnTo>
                  <a:lnTo>
                    <a:pt x="497" y="253"/>
                  </a:lnTo>
                  <a:lnTo>
                    <a:pt x="497" y="250"/>
                  </a:lnTo>
                  <a:lnTo>
                    <a:pt x="497" y="250"/>
                  </a:lnTo>
                  <a:lnTo>
                    <a:pt x="500" y="250"/>
                  </a:lnTo>
                  <a:lnTo>
                    <a:pt x="500" y="248"/>
                  </a:lnTo>
                  <a:lnTo>
                    <a:pt x="507" y="246"/>
                  </a:lnTo>
                  <a:lnTo>
                    <a:pt x="509" y="243"/>
                  </a:lnTo>
                  <a:lnTo>
                    <a:pt x="511" y="241"/>
                  </a:lnTo>
                  <a:lnTo>
                    <a:pt x="511" y="241"/>
                  </a:lnTo>
                  <a:lnTo>
                    <a:pt x="511" y="239"/>
                  </a:lnTo>
                  <a:lnTo>
                    <a:pt x="511" y="236"/>
                  </a:lnTo>
                  <a:lnTo>
                    <a:pt x="511" y="234"/>
                  </a:lnTo>
                  <a:lnTo>
                    <a:pt x="511" y="229"/>
                  </a:lnTo>
                  <a:lnTo>
                    <a:pt x="509" y="222"/>
                  </a:lnTo>
                  <a:lnTo>
                    <a:pt x="507" y="220"/>
                  </a:lnTo>
                  <a:lnTo>
                    <a:pt x="504" y="217"/>
                  </a:lnTo>
                  <a:lnTo>
                    <a:pt x="500" y="213"/>
                  </a:lnTo>
                  <a:lnTo>
                    <a:pt x="497" y="210"/>
                  </a:lnTo>
                  <a:lnTo>
                    <a:pt x="497" y="210"/>
                  </a:lnTo>
                  <a:lnTo>
                    <a:pt x="495" y="210"/>
                  </a:lnTo>
                  <a:lnTo>
                    <a:pt x="495" y="208"/>
                  </a:lnTo>
                  <a:lnTo>
                    <a:pt x="493" y="201"/>
                  </a:lnTo>
                  <a:lnTo>
                    <a:pt x="493" y="198"/>
                  </a:lnTo>
                  <a:lnTo>
                    <a:pt x="490" y="198"/>
                  </a:lnTo>
                  <a:lnTo>
                    <a:pt x="490" y="198"/>
                  </a:lnTo>
                  <a:lnTo>
                    <a:pt x="485" y="198"/>
                  </a:lnTo>
                  <a:lnTo>
                    <a:pt x="485" y="198"/>
                  </a:lnTo>
                  <a:lnTo>
                    <a:pt x="483" y="196"/>
                  </a:lnTo>
                  <a:lnTo>
                    <a:pt x="483" y="196"/>
                  </a:lnTo>
                  <a:lnTo>
                    <a:pt x="483" y="194"/>
                  </a:lnTo>
                  <a:lnTo>
                    <a:pt x="481" y="194"/>
                  </a:lnTo>
                  <a:lnTo>
                    <a:pt x="481" y="191"/>
                  </a:lnTo>
                  <a:lnTo>
                    <a:pt x="478" y="191"/>
                  </a:lnTo>
                  <a:lnTo>
                    <a:pt x="474" y="194"/>
                  </a:lnTo>
                  <a:lnTo>
                    <a:pt x="471" y="194"/>
                  </a:lnTo>
                  <a:lnTo>
                    <a:pt x="469" y="191"/>
                  </a:lnTo>
                  <a:lnTo>
                    <a:pt x="462" y="187"/>
                  </a:lnTo>
                  <a:lnTo>
                    <a:pt x="457" y="182"/>
                  </a:lnTo>
                  <a:lnTo>
                    <a:pt x="455" y="182"/>
                  </a:lnTo>
                  <a:lnTo>
                    <a:pt x="455" y="179"/>
                  </a:lnTo>
                  <a:lnTo>
                    <a:pt x="452" y="177"/>
                  </a:lnTo>
                  <a:lnTo>
                    <a:pt x="455" y="175"/>
                  </a:lnTo>
                  <a:lnTo>
                    <a:pt x="455" y="172"/>
                  </a:lnTo>
                  <a:lnTo>
                    <a:pt x="459" y="165"/>
                  </a:lnTo>
                  <a:lnTo>
                    <a:pt x="462" y="161"/>
                  </a:lnTo>
                  <a:lnTo>
                    <a:pt x="464" y="156"/>
                  </a:lnTo>
                  <a:lnTo>
                    <a:pt x="478" y="146"/>
                  </a:lnTo>
                  <a:lnTo>
                    <a:pt x="481" y="144"/>
                  </a:lnTo>
                  <a:lnTo>
                    <a:pt x="485" y="134"/>
                  </a:lnTo>
                  <a:lnTo>
                    <a:pt x="493" y="116"/>
                  </a:lnTo>
                  <a:lnTo>
                    <a:pt x="493" y="106"/>
                  </a:lnTo>
                  <a:lnTo>
                    <a:pt x="495" y="97"/>
                  </a:lnTo>
                  <a:lnTo>
                    <a:pt x="495" y="94"/>
                  </a:lnTo>
                  <a:lnTo>
                    <a:pt x="497" y="94"/>
                  </a:lnTo>
                  <a:lnTo>
                    <a:pt x="502" y="90"/>
                  </a:lnTo>
                  <a:lnTo>
                    <a:pt x="514" y="85"/>
                  </a:lnTo>
                  <a:lnTo>
                    <a:pt x="528" y="82"/>
                  </a:lnTo>
                  <a:lnTo>
                    <a:pt x="530" y="82"/>
                  </a:lnTo>
                  <a:lnTo>
                    <a:pt x="535" y="82"/>
                  </a:lnTo>
                  <a:lnTo>
                    <a:pt x="535" y="82"/>
                  </a:lnTo>
                  <a:lnTo>
                    <a:pt x="538" y="82"/>
                  </a:lnTo>
                  <a:lnTo>
                    <a:pt x="538" y="80"/>
                  </a:lnTo>
                  <a:lnTo>
                    <a:pt x="538" y="78"/>
                  </a:lnTo>
                  <a:lnTo>
                    <a:pt x="535" y="75"/>
                  </a:lnTo>
                  <a:lnTo>
                    <a:pt x="535" y="73"/>
                  </a:lnTo>
                  <a:lnTo>
                    <a:pt x="533" y="73"/>
                  </a:lnTo>
                  <a:lnTo>
                    <a:pt x="530" y="73"/>
                  </a:lnTo>
                  <a:lnTo>
                    <a:pt x="528" y="73"/>
                  </a:lnTo>
                  <a:lnTo>
                    <a:pt x="528" y="71"/>
                  </a:lnTo>
                  <a:lnTo>
                    <a:pt x="526" y="71"/>
                  </a:lnTo>
                  <a:lnTo>
                    <a:pt x="526" y="68"/>
                  </a:lnTo>
                  <a:lnTo>
                    <a:pt x="528" y="66"/>
                  </a:lnTo>
                  <a:lnTo>
                    <a:pt x="530" y="59"/>
                  </a:lnTo>
                  <a:lnTo>
                    <a:pt x="533" y="56"/>
                  </a:lnTo>
                  <a:lnTo>
                    <a:pt x="533" y="56"/>
                  </a:lnTo>
                  <a:lnTo>
                    <a:pt x="535" y="54"/>
                  </a:lnTo>
                  <a:lnTo>
                    <a:pt x="538" y="52"/>
                  </a:lnTo>
                  <a:lnTo>
                    <a:pt x="556" y="47"/>
                  </a:lnTo>
                  <a:lnTo>
                    <a:pt x="556" y="45"/>
                  </a:lnTo>
                  <a:lnTo>
                    <a:pt x="559" y="45"/>
                  </a:lnTo>
                  <a:lnTo>
                    <a:pt x="556" y="40"/>
                  </a:lnTo>
                  <a:lnTo>
                    <a:pt x="556" y="35"/>
                  </a:lnTo>
                  <a:lnTo>
                    <a:pt x="556" y="30"/>
                  </a:lnTo>
                  <a:lnTo>
                    <a:pt x="552" y="21"/>
                  </a:lnTo>
                  <a:lnTo>
                    <a:pt x="547" y="2"/>
                  </a:lnTo>
                  <a:lnTo>
                    <a:pt x="545" y="2"/>
                  </a:lnTo>
                  <a:lnTo>
                    <a:pt x="542" y="2"/>
                  </a:lnTo>
                  <a:lnTo>
                    <a:pt x="538" y="4"/>
                  </a:lnTo>
                  <a:lnTo>
                    <a:pt x="535" y="4"/>
                  </a:lnTo>
                  <a:lnTo>
                    <a:pt x="533" y="4"/>
                  </a:lnTo>
                  <a:lnTo>
                    <a:pt x="526" y="2"/>
                  </a:lnTo>
                  <a:lnTo>
                    <a:pt x="523" y="0"/>
                  </a:lnTo>
                  <a:lnTo>
                    <a:pt x="509" y="2"/>
                  </a:lnTo>
                  <a:lnTo>
                    <a:pt x="493" y="7"/>
                  </a:lnTo>
                  <a:lnTo>
                    <a:pt x="488" y="7"/>
                  </a:lnTo>
                  <a:lnTo>
                    <a:pt x="483" y="4"/>
                  </a:lnTo>
                  <a:lnTo>
                    <a:pt x="474" y="0"/>
                  </a:lnTo>
                  <a:lnTo>
                    <a:pt x="464" y="0"/>
                  </a:lnTo>
                  <a:lnTo>
                    <a:pt x="459" y="7"/>
                  </a:lnTo>
                  <a:lnTo>
                    <a:pt x="455" y="9"/>
                  </a:lnTo>
                  <a:close/>
                  <a:moveTo>
                    <a:pt x="509" y="567"/>
                  </a:moveTo>
                  <a:lnTo>
                    <a:pt x="509" y="567"/>
                  </a:lnTo>
                  <a:lnTo>
                    <a:pt x="509" y="567"/>
                  </a:lnTo>
                  <a:lnTo>
                    <a:pt x="509" y="567"/>
                  </a:lnTo>
                  <a:lnTo>
                    <a:pt x="509" y="567"/>
                  </a:lnTo>
                  <a:close/>
                  <a:moveTo>
                    <a:pt x="521" y="534"/>
                  </a:moveTo>
                  <a:lnTo>
                    <a:pt x="521" y="534"/>
                  </a:lnTo>
                  <a:lnTo>
                    <a:pt x="509" y="567"/>
                  </a:lnTo>
                  <a:lnTo>
                    <a:pt x="509" y="565"/>
                  </a:lnTo>
                  <a:lnTo>
                    <a:pt x="509" y="556"/>
                  </a:lnTo>
                  <a:lnTo>
                    <a:pt x="514" y="541"/>
                  </a:lnTo>
                  <a:lnTo>
                    <a:pt x="519" y="532"/>
                  </a:lnTo>
                  <a:lnTo>
                    <a:pt x="523" y="527"/>
                  </a:lnTo>
                  <a:lnTo>
                    <a:pt x="530" y="530"/>
                  </a:lnTo>
                  <a:lnTo>
                    <a:pt x="538" y="534"/>
                  </a:lnTo>
                  <a:lnTo>
                    <a:pt x="533" y="532"/>
                  </a:lnTo>
                  <a:lnTo>
                    <a:pt x="528" y="532"/>
                  </a:lnTo>
                  <a:lnTo>
                    <a:pt x="521" y="53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txBody>
            <a:bodyPr lIns="134408" tIns="67204" rIns="134408" bIns="67204"/>
            <a:lstStyle/>
            <a:p>
              <a:pPr marL="0" marR="0" lvl="0" indent="0" algn="l" defTabSz="121917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2" name="Freeform 59">
            <a:extLst>
              <a:ext uri="{FF2B5EF4-FFF2-40B4-BE49-F238E27FC236}">
                <a16:creationId xmlns:a16="http://schemas.microsoft.com/office/drawing/2014/main" id="{99A1C32E-D269-418A-9AF3-BF07FBDBB41A}"/>
              </a:ext>
            </a:extLst>
          </p:cNvPr>
          <p:cNvSpPr>
            <a:spLocks noEditPoints="1"/>
          </p:cNvSpPr>
          <p:nvPr/>
        </p:nvSpPr>
        <p:spPr bwMode="auto">
          <a:xfrm>
            <a:off x="9231499" y="3832792"/>
            <a:ext cx="548691" cy="642731"/>
          </a:xfrm>
          <a:custGeom>
            <a:avLst/>
            <a:gdLst>
              <a:gd name="T0" fmla="*/ 2077 w 3960"/>
              <a:gd name="T1" fmla="*/ 4332 h 4860"/>
              <a:gd name="T2" fmla="*/ 3097 w 3960"/>
              <a:gd name="T3" fmla="*/ 3778 h 4860"/>
              <a:gd name="T4" fmla="*/ 3182 w 3960"/>
              <a:gd name="T5" fmla="*/ 4065 h 4860"/>
              <a:gd name="T6" fmla="*/ 2877 w 3960"/>
              <a:gd name="T7" fmla="*/ 4150 h 4860"/>
              <a:gd name="T8" fmla="*/ 2233 w 3960"/>
              <a:gd name="T9" fmla="*/ 3958 h 4860"/>
              <a:gd name="T10" fmla="*/ 2266 w 3960"/>
              <a:gd name="T11" fmla="*/ 3734 h 4860"/>
              <a:gd name="T12" fmla="*/ 2567 w 3960"/>
              <a:gd name="T13" fmla="*/ 3752 h 4860"/>
              <a:gd name="T14" fmla="*/ 3054 w 3960"/>
              <a:gd name="T15" fmla="*/ 3596 h 4860"/>
              <a:gd name="T16" fmla="*/ 2959 w 3960"/>
              <a:gd name="T17" fmla="*/ 3459 h 4860"/>
              <a:gd name="T18" fmla="*/ 3026 w 3960"/>
              <a:gd name="T19" fmla="*/ 3336 h 4860"/>
              <a:gd name="T20" fmla="*/ 752 w 3960"/>
              <a:gd name="T21" fmla="*/ 3532 h 4860"/>
              <a:gd name="T22" fmla="*/ 664 w 3960"/>
              <a:gd name="T23" fmla="*/ 2730 h 4860"/>
              <a:gd name="T24" fmla="*/ 981 w 3960"/>
              <a:gd name="T25" fmla="*/ 2603 h 4860"/>
              <a:gd name="T26" fmla="*/ 1076 w 3960"/>
              <a:gd name="T27" fmla="*/ 2629 h 4860"/>
              <a:gd name="T28" fmla="*/ 1097 w 3960"/>
              <a:gd name="T29" fmla="*/ 2719 h 4860"/>
              <a:gd name="T30" fmla="*/ 1164 w 3960"/>
              <a:gd name="T31" fmla="*/ 2941 h 4860"/>
              <a:gd name="T32" fmla="*/ 1173 w 3960"/>
              <a:gd name="T33" fmla="*/ 3253 h 4860"/>
              <a:gd name="T34" fmla="*/ 1050 w 3960"/>
              <a:gd name="T35" fmla="*/ 3445 h 4860"/>
              <a:gd name="T36" fmla="*/ 929 w 3960"/>
              <a:gd name="T37" fmla="*/ 3596 h 4860"/>
              <a:gd name="T38" fmla="*/ 776 w 3960"/>
              <a:gd name="T39" fmla="*/ 3476 h 4860"/>
              <a:gd name="T40" fmla="*/ 809 w 3960"/>
              <a:gd name="T41" fmla="*/ 3218 h 4860"/>
              <a:gd name="T42" fmla="*/ 752 w 3960"/>
              <a:gd name="T43" fmla="*/ 3005 h 4860"/>
              <a:gd name="T44" fmla="*/ 655 w 3960"/>
              <a:gd name="T45" fmla="*/ 2745 h 4860"/>
              <a:gd name="T46" fmla="*/ 967 w 3960"/>
              <a:gd name="T47" fmla="*/ 2588 h 4860"/>
              <a:gd name="T48" fmla="*/ 1164 w 3960"/>
              <a:gd name="T49" fmla="*/ 1983 h 4860"/>
              <a:gd name="T50" fmla="*/ 1213 w 3960"/>
              <a:gd name="T51" fmla="*/ 1888 h 4860"/>
              <a:gd name="T52" fmla="*/ 1563 w 3960"/>
              <a:gd name="T53" fmla="*/ 85 h 4860"/>
              <a:gd name="T54" fmla="*/ 2001 w 3960"/>
              <a:gd name="T55" fmla="*/ 196 h 4860"/>
              <a:gd name="T56" fmla="*/ 2006 w 3960"/>
              <a:gd name="T57" fmla="*/ 400 h 4860"/>
              <a:gd name="T58" fmla="*/ 1975 w 3960"/>
              <a:gd name="T59" fmla="*/ 532 h 4860"/>
              <a:gd name="T60" fmla="*/ 1713 w 3960"/>
              <a:gd name="T61" fmla="*/ 660 h 4860"/>
              <a:gd name="T62" fmla="*/ 1672 w 3960"/>
              <a:gd name="T63" fmla="*/ 667 h 4860"/>
              <a:gd name="T64" fmla="*/ 1694 w 3960"/>
              <a:gd name="T65" fmla="*/ 795 h 4860"/>
              <a:gd name="T66" fmla="*/ 1769 w 3960"/>
              <a:gd name="T67" fmla="*/ 894 h 4860"/>
              <a:gd name="T68" fmla="*/ 1748 w 3960"/>
              <a:gd name="T69" fmla="*/ 1145 h 4860"/>
              <a:gd name="T70" fmla="*/ 2261 w 3960"/>
              <a:gd name="T71" fmla="*/ 1545 h 4860"/>
              <a:gd name="T72" fmla="*/ 3092 w 3960"/>
              <a:gd name="T73" fmla="*/ 1978 h 4860"/>
              <a:gd name="T74" fmla="*/ 3726 w 3960"/>
              <a:gd name="T75" fmla="*/ 2361 h 4860"/>
              <a:gd name="T76" fmla="*/ 3910 w 3960"/>
              <a:gd name="T77" fmla="*/ 2688 h 4860"/>
              <a:gd name="T78" fmla="*/ 3530 w 3960"/>
              <a:gd name="T79" fmla="*/ 2496 h 4860"/>
              <a:gd name="T80" fmla="*/ 3470 w 3960"/>
              <a:gd name="T81" fmla="*/ 2891 h 4860"/>
              <a:gd name="T82" fmla="*/ 3482 w 3960"/>
              <a:gd name="T83" fmla="*/ 3215 h 4860"/>
              <a:gd name="T84" fmla="*/ 3210 w 3960"/>
              <a:gd name="T85" fmla="*/ 3525 h 4860"/>
              <a:gd name="T86" fmla="*/ 3132 w 3960"/>
              <a:gd name="T87" fmla="*/ 2875 h 4860"/>
              <a:gd name="T88" fmla="*/ 2827 w 3960"/>
              <a:gd name="T89" fmla="*/ 2711 h 4860"/>
              <a:gd name="T90" fmla="*/ 2586 w 3960"/>
              <a:gd name="T91" fmla="*/ 2527 h 4860"/>
              <a:gd name="T92" fmla="*/ 2164 w 3960"/>
              <a:gd name="T93" fmla="*/ 2418 h 4860"/>
              <a:gd name="T94" fmla="*/ 1708 w 3960"/>
              <a:gd name="T95" fmla="*/ 2111 h 4860"/>
              <a:gd name="T96" fmla="*/ 1450 w 3960"/>
              <a:gd name="T97" fmla="*/ 1917 h 4860"/>
              <a:gd name="T98" fmla="*/ 1097 w 3960"/>
              <a:gd name="T99" fmla="*/ 1379 h 4860"/>
              <a:gd name="T100" fmla="*/ 889 w 3960"/>
              <a:gd name="T101" fmla="*/ 1313 h 4860"/>
              <a:gd name="T102" fmla="*/ 544 w 3960"/>
              <a:gd name="T103" fmla="*/ 1389 h 4860"/>
              <a:gd name="T104" fmla="*/ 321 w 3960"/>
              <a:gd name="T105" fmla="*/ 1408 h 4860"/>
              <a:gd name="T106" fmla="*/ 139 w 3960"/>
              <a:gd name="T107" fmla="*/ 1174 h 4860"/>
              <a:gd name="T108" fmla="*/ 99 w 3960"/>
              <a:gd name="T109" fmla="*/ 980 h 4860"/>
              <a:gd name="T110" fmla="*/ 47 w 3960"/>
              <a:gd name="T111" fmla="*/ 708 h 4860"/>
              <a:gd name="T112" fmla="*/ 376 w 3960"/>
              <a:gd name="T113" fmla="*/ 611 h 4860"/>
              <a:gd name="T114" fmla="*/ 575 w 3960"/>
              <a:gd name="T115" fmla="*/ 549 h 4860"/>
              <a:gd name="T116" fmla="*/ 688 w 3960"/>
              <a:gd name="T117" fmla="*/ 551 h 4860"/>
              <a:gd name="T118" fmla="*/ 866 w 3960"/>
              <a:gd name="T119" fmla="*/ 421 h 4860"/>
              <a:gd name="T120" fmla="*/ 963 w 3960"/>
              <a:gd name="T121" fmla="*/ 284 h 4860"/>
              <a:gd name="T122" fmla="*/ 1145 w 3960"/>
              <a:gd name="T123" fmla="*/ 182 h 4860"/>
              <a:gd name="T124" fmla="*/ 1386 w 3960"/>
              <a:gd name="T125" fmla="*/ 62 h 4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60" h="4860">
                <a:moveTo>
                  <a:pt x="2368" y="4857"/>
                </a:moveTo>
                <a:lnTo>
                  <a:pt x="2368" y="4857"/>
                </a:lnTo>
                <a:lnTo>
                  <a:pt x="2366" y="4860"/>
                </a:lnTo>
                <a:lnTo>
                  <a:pt x="2363" y="4860"/>
                </a:lnTo>
                <a:lnTo>
                  <a:pt x="2361" y="4857"/>
                </a:lnTo>
                <a:lnTo>
                  <a:pt x="2358" y="4860"/>
                </a:lnTo>
                <a:lnTo>
                  <a:pt x="2344" y="4855"/>
                </a:lnTo>
                <a:lnTo>
                  <a:pt x="2337" y="4855"/>
                </a:lnTo>
                <a:lnTo>
                  <a:pt x="2335" y="4853"/>
                </a:lnTo>
                <a:lnTo>
                  <a:pt x="2337" y="4850"/>
                </a:lnTo>
                <a:lnTo>
                  <a:pt x="2344" y="4850"/>
                </a:lnTo>
                <a:lnTo>
                  <a:pt x="2349" y="4850"/>
                </a:lnTo>
                <a:lnTo>
                  <a:pt x="2363" y="4848"/>
                </a:lnTo>
                <a:lnTo>
                  <a:pt x="2368" y="4850"/>
                </a:lnTo>
                <a:lnTo>
                  <a:pt x="2368" y="4850"/>
                </a:lnTo>
                <a:lnTo>
                  <a:pt x="2368" y="4850"/>
                </a:lnTo>
                <a:lnTo>
                  <a:pt x="2368" y="4850"/>
                </a:lnTo>
                <a:lnTo>
                  <a:pt x="2368" y="4855"/>
                </a:lnTo>
                <a:lnTo>
                  <a:pt x="2368" y="4857"/>
                </a:lnTo>
                <a:moveTo>
                  <a:pt x="2434" y="4694"/>
                </a:moveTo>
                <a:lnTo>
                  <a:pt x="2434" y="4694"/>
                </a:lnTo>
                <a:lnTo>
                  <a:pt x="2429" y="4694"/>
                </a:lnTo>
                <a:lnTo>
                  <a:pt x="2427" y="4694"/>
                </a:lnTo>
                <a:lnTo>
                  <a:pt x="2425" y="4692"/>
                </a:lnTo>
                <a:lnTo>
                  <a:pt x="2425" y="4689"/>
                </a:lnTo>
                <a:lnTo>
                  <a:pt x="2427" y="4687"/>
                </a:lnTo>
                <a:lnTo>
                  <a:pt x="2427" y="4687"/>
                </a:lnTo>
                <a:lnTo>
                  <a:pt x="2432" y="4687"/>
                </a:lnTo>
                <a:lnTo>
                  <a:pt x="2434" y="4689"/>
                </a:lnTo>
                <a:lnTo>
                  <a:pt x="2434" y="4692"/>
                </a:lnTo>
                <a:lnTo>
                  <a:pt x="2434" y="4694"/>
                </a:lnTo>
                <a:moveTo>
                  <a:pt x="2082" y="4334"/>
                </a:moveTo>
                <a:lnTo>
                  <a:pt x="2082" y="4334"/>
                </a:lnTo>
                <a:lnTo>
                  <a:pt x="2084" y="4334"/>
                </a:lnTo>
                <a:lnTo>
                  <a:pt x="2084" y="4334"/>
                </a:lnTo>
                <a:lnTo>
                  <a:pt x="2086" y="4330"/>
                </a:lnTo>
                <a:lnTo>
                  <a:pt x="2101" y="4339"/>
                </a:lnTo>
                <a:lnTo>
                  <a:pt x="2108" y="4346"/>
                </a:lnTo>
                <a:lnTo>
                  <a:pt x="2108" y="4356"/>
                </a:lnTo>
                <a:lnTo>
                  <a:pt x="2103" y="4368"/>
                </a:lnTo>
                <a:lnTo>
                  <a:pt x="2091" y="4368"/>
                </a:lnTo>
                <a:lnTo>
                  <a:pt x="2077" y="4361"/>
                </a:lnTo>
                <a:lnTo>
                  <a:pt x="2067" y="4351"/>
                </a:lnTo>
                <a:lnTo>
                  <a:pt x="2067" y="4349"/>
                </a:lnTo>
                <a:lnTo>
                  <a:pt x="2063" y="4342"/>
                </a:lnTo>
                <a:lnTo>
                  <a:pt x="2060" y="4337"/>
                </a:lnTo>
                <a:lnTo>
                  <a:pt x="2065" y="4332"/>
                </a:lnTo>
                <a:lnTo>
                  <a:pt x="2067" y="4332"/>
                </a:lnTo>
                <a:lnTo>
                  <a:pt x="2070" y="4330"/>
                </a:lnTo>
                <a:lnTo>
                  <a:pt x="2070" y="4327"/>
                </a:lnTo>
                <a:lnTo>
                  <a:pt x="2072" y="4330"/>
                </a:lnTo>
                <a:lnTo>
                  <a:pt x="2077" y="4332"/>
                </a:lnTo>
                <a:lnTo>
                  <a:pt x="2077" y="4332"/>
                </a:lnTo>
                <a:lnTo>
                  <a:pt x="2082" y="4334"/>
                </a:lnTo>
                <a:moveTo>
                  <a:pt x="2134" y="3849"/>
                </a:moveTo>
                <a:lnTo>
                  <a:pt x="2134" y="3849"/>
                </a:lnTo>
                <a:lnTo>
                  <a:pt x="2138" y="3852"/>
                </a:lnTo>
                <a:lnTo>
                  <a:pt x="2145" y="3854"/>
                </a:lnTo>
                <a:lnTo>
                  <a:pt x="2150" y="3854"/>
                </a:lnTo>
                <a:lnTo>
                  <a:pt x="2145" y="3859"/>
                </a:lnTo>
                <a:lnTo>
                  <a:pt x="2141" y="3859"/>
                </a:lnTo>
                <a:lnTo>
                  <a:pt x="2136" y="3859"/>
                </a:lnTo>
                <a:lnTo>
                  <a:pt x="2131" y="3857"/>
                </a:lnTo>
                <a:lnTo>
                  <a:pt x="2127" y="3859"/>
                </a:lnTo>
                <a:lnTo>
                  <a:pt x="2124" y="3859"/>
                </a:lnTo>
                <a:lnTo>
                  <a:pt x="2119" y="3857"/>
                </a:lnTo>
                <a:lnTo>
                  <a:pt x="2117" y="3852"/>
                </a:lnTo>
                <a:lnTo>
                  <a:pt x="2122" y="3852"/>
                </a:lnTo>
                <a:lnTo>
                  <a:pt x="2124" y="3849"/>
                </a:lnTo>
                <a:lnTo>
                  <a:pt x="2127" y="3847"/>
                </a:lnTo>
                <a:lnTo>
                  <a:pt x="2131" y="3847"/>
                </a:lnTo>
                <a:lnTo>
                  <a:pt x="2134" y="3849"/>
                </a:lnTo>
                <a:moveTo>
                  <a:pt x="2051" y="3854"/>
                </a:moveTo>
                <a:lnTo>
                  <a:pt x="2051" y="3854"/>
                </a:lnTo>
                <a:lnTo>
                  <a:pt x="2053" y="3857"/>
                </a:lnTo>
                <a:lnTo>
                  <a:pt x="2048" y="3859"/>
                </a:lnTo>
                <a:lnTo>
                  <a:pt x="2041" y="3854"/>
                </a:lnTo>
                <a:lnTo>
                  <a:pt x="2037" y="3849"/>
                </a:lnTo>
                <a:lnTo>
                  <a:pt x="2034" y="3845"/>
                </a:lnTo>
                <a:lnTo>
                  <a:pt x="2037" y="3842"/>
                </a:lnTo>
                <a:lnTo>
                  <a:pt x="2041" y="3840"/>
                </a:lnTo>
                <a:lnTo>
                  <a:pt x="2046" y="3842"/>
                </a:lnTo>
                <a:lnTo>
                  <a:pt x="2048" y="3849"/>
                </a:lnTo>
                <a:lnTo>
                  <a:pt x="2051" y="3854"/>
                </a:lnTo>
                <a:moveTo>
                  <a:pt x="3196" y="3523"/>
                </a:moveTo>
                <a:lnTo>
                  <a:pt x="3196" y="3523"/>
                </a:lnTo>
                <a:lnTo>
                  <a:pt x="3194" y="3525"/>
                </a:lnTo>
                <a:lnTo>
                  <a:pt x="3191" y="3525"/>
                </a:lnTo>
                <a:lnTo>
                  <a:pt x="3179" y="3537"/>
                </a:lnTo>
                <a:lnTo>
                  <a:pt x="3175" y="3544"/>
                </a:lnTo>
                <a:lnTo>
                  <a:pt x="3175" y="3549"/>
                </a:lnTo>
                <a:lnTo>
                  <a:pt x="3175" y="3556"/>
                </a:lnTo>
                <a:lnTo>
                  <a:pt x="3179" y="3554"/>
                </a:lnTo>
                <a:lnTo>
                  <a:pt x="3168" y="3584"/>
                </a:lnTo>
                <a:lnTo>
                  <a:pt x="3163" y="3606"/>
                </a:lnTo>
                <a:lnTo>
                  <a:pt x="3134" y="3660"/>
                </a:lnTo>
                <a:lnTo>
                  <a:pt x="3113" y="3712"/>
                </a:lnTo>
                <a:lnTo>
                  <a:pt x="3111" y="3726"/>
                </a:lnTo>
                <a:lnTo>
                  <a:pt x="3106" y="3736"/>
                </a:lnTo>
                <a:lnTo>
                  <a:pt x="3099" y="3743"/>
                </a:lnTo>
                <a:lnTo>
                  <a:pt x="3092" y="3760"/>
                </a:lnTo>
                <a:lnTo>
                  <a:pt x="3089" y="3767"/>
                </a:lnTo>
                <a:lnTo>
                  <a:pt x="3092" y="3771"/>
                </a:lnTo>
                <a:lnTo>
                  <a:pt x="3097" y="3778"/>
                </a:lnTo>
                <a:lnTo>
                  <a:pt x="3099" y="3783"/>
                </a:lnTo>
                <a:lnTo>
                  <a:pt x="3097" y="3788"/>
                </a:lnTo>
                <a:lnTo>
                  <a:pt x="3094" y="3793"/>
                </a:lnTo>
                <a:lnTo>
                  <a:pt x="3094" y="3797"/>
                </a:lnTo>
                <a:lnTo>
                  <a:pt x="3094" y="3805"/>
                </a:lnTo>
                <a:lnTo>
                  <a:pt x="3092" y="3819"/>
                </a:lnTo>
                <a:lnTo>
                  <a:pt x="3092" y="3828"/>
                </a:lnTo>
                <a:lnTo>
                  <a:pt x="3089" y="3845"/>
                </a:lnTo>
                <a:lnTo>
                  <a:pt x="3075" y="3866"/>
                </a:lnTo>
                <a:lnTo>
                  <a:pt x="3073" y="3878"/>
                </a:lnTo>
                <a:lnTo>
                  <a:pt x="3071" y="3887"/>
                </a:lnTo>
                <a:lnTo>
                  <a:pt x="3073" y="3894"/>
                </a:lnTo>
                <a:lnTo>
                  <a:pt x="3080" y="3935"/>
                </a:lnTo>
                <a:lnTo>
                  <a:pt x="3082" y="3942"/>
                </a:lnTo>
                <a:lnTo>
                  <a:pt x="3085" y="3946"/>
                </a:lnTo>
                <a:lnTo>
                  <a:pt x="3087" y="3949"/>
                </a:lnTo>
                <a:lnTo>
                  <a:pt x="3113" y="3958"/>
                </a:lnTo>
                <a:lnTo>
                  <a:pt x="3125" y="3958"/>
                </a:lnTo>
                <a:lnTo>
                  <a:pt x="3132" y="3961"/>
                </a:lnTo>
                <a:lnTo>
                  <a:pt x="3139" y="3968"/>
                </a:lnTo>
                <a:lnTo>
                  <a:pt x="3144" y="3977"/>
                </a:lnTo>
                <a:lnTo>
                  <a:pt x="3137" y="3972"/>
                </a:lnTo>
                <a:lnTo>
                  <a:pt x="3134" y="3975"/>
                </a:lnTo>
                <a:lnTo>
                  <a:pt x="3132" y="3980"/>
                </a:lnTo>
                <a:lnTo>
                  <a:pt x="3132" y="3984"/>
                </a:lnTo>
                <a:lnTo>
                  <a:pt x="3130" y="3977"/>
                </a:lnTo>
                <a:lnTo>
                  <a:pt x="3127" y="3975"/>
                </a:lnTo>
                <a:lnTo>
                  <a:pt x="3125" y="3977"/>
                </a:lnTo>
                <a:lnTo>
                  <a:pt x="3120" y="3980"/>
                </a:lnTo>
                <a:lnTo>
                  <a:pt x="3123" y="3984"/>
                </a:lnTo>
                <a:lnTo>
                  <a:pt x="3120" y="3994"/>
                </a:lnTo>
                <a:lnTo>
                  <a:pt x="3125" y="4006"/>
                </a:lnTo>
                <a:lnTo>
                  <a:pt x="3134" y="4013"/>
                </a:lnTo>
                <a:lnTo>
                  <a:pt x="3139" y="4008"/>
                </a:lnTo>
                <a:lnTo>
                  <a:pt x="3144" y="4010"/>
                </a:lnTo>
                <a:lnTo>
                  <a:pt x="3144" y="4013"/>
                </a:lnTo>
                <a:lnTo>
                  <a:pt x="3139" y="4015"/>
                </a:lnTo>
                <a:lnTo>
                  <a:pt x="3142" y="4020"/>
                </a:lnTo>
                <a:lnTo>
                  <a:pt x="3146" y="4027"/>
                </a:lnTo>
                <a:lnTo>
                  <a:pt x="3153" y="4029"/>
                </a:lnTo>
                <a:lnTo>
                  <a:pt x="3160" y="4027"/>
                </a:lnTo>
                <a:lnTo>
                  <a:pt x="3168" y="4029"/>
                </a:lnTo>
                <a:lnTo>
                  <a:pt x="3170" y="4036"/>
                </a:lnTo>
                <a:lnTo>
                  <a:pt x="3170" y="4046"/>
                </a:lnTo>
                <a:lnTo>
                  <a:pt x="3163" y="4043"/>
                </a:lnTo>
                <a:lnTo>
                  <a:pt x="3163" y="4048"/>
                </a:lnTo>
                <a:lnTo>
                  <a:pt x="3163" y="4053"/>
                </a:lnTo>
                <a:lnTo>
                  <a:pt x="3168" y="4055"/>
                </a:lnTo>
                <a:lnTo>
                  <a:pt x="3172" y="4053"/>
                </a:lnTo>
                <a:lnTo>
                  <a:pt x="3177" y="4053"/>
                </a:lnTo>
                <a:lnTo>
                  <a:pt x="3179" y="4058"/>
                </a:lnTo>
                <a:lnTo>
                  <a:pt x="3182" y="4065"/>
                </a:lnTo>
                <a:lnTo>
                  <a:pt x="3179" y="4067"/>
                </a:lnTo>
                <a:lnTo>
                  <a:pt x="3177" y="4067"/>
                </a:lnTo>
                <a:lnTo>
                  <a:pt x="3175" y="4065"/>
                </a:lnTo>
                <a:lnTo>
                  <a:pt x="3172" y="4065"/>
                </a:lnTo>
                <a:lnTo>
                  <a:pt x="3160" y="4074"/>
                </a:lnTo>
                <a:lnTo>
                  <a:pt x="3165" y="4077"/>
                </a:lnTo>
                <a:lnTo>
                  <a:pt x="3163" y="4079"/>
                </a:lnTo>
                <a:lnTo>
                  <a:pt x="3160" y="4079"/>
                </a:lnTo>
                <a:lnTo>
                  <a:pt x="3163" y="4081"/>
                </a:lnTo>
                <a:lnTo>
                  <a:pt x="3163" y="4086"/>
                </a:lnTo>
                <a:lnTo>
                  <a:pt x="3156" y="4088"/>
                </a:lnTo>
                <a:lnTo>
                  <a:pt x="3151" y="4091"/>
                </a:lnTo>
                <a:lnTo>
                  <a:pt x="3146" y="4096"/>
                </a:lnTo>
                <a:lnTo>
                  <a:pt x="3142" y="4098"/>
                </a:lnTo>
                <a:lnTo>
                  <a:pt x="3134" y="4103"/>
                </a:lnTo>
                <a:lnTo>
                  <a:pt x="3130" y="4112"/>
                </a:lnTo>
                <a:lnTo>
                  <a:pt x="3120" y="4159"/>
                </a:lnTo>
                <a:lnTo>
                  <a:pt x="3120" y="4164"/>
                </a:lnTo>
                <a:lnTo>
                  <a:pt x="3118" y="4169"/>
                </a:lnTo>
                <a:lnTo>
                  <a:pt x="3120" y="4176"/>
                </a:lnTo>
                <a:lnTo>
                  <a:pt x="3130" y="4190"/>
                </a:lnTo>
                <a:lnTo>
                  <a:pt x="3139" y="4214"/>
                </a:lnTo>
                <a:lnTo>
                  <a:pt x="3139" y="4219"/>
                </a:lnTo>
                <a:lnTo>
                  <a:pt x="3134" y="4226"/>
                </a:lnTo>
                <a:lnTo>
                  <a:pt x="3127" y="4228"/>
                </a:lnTo>
                <a:lnTo>
                  <a:pt x="3120" y="4228"/>
                </a:lnTo>
                <a:lnTo>
                  <a:pt x="3113" y="4226"/>
                </a:lnTo>
                <a:lnTo>
                  <a:pt x="3108" y="4219"/>
                </a:lnTo>
                <a:lnTo>
                  <a:pt x="3104" y="4216"/>
                </a:lnTo>
                <a:lnTo>
                  <a:pt x="3101" y="4216"/>
                </a:lnTo>
                <a:lnTo>
                  <a:pt x="3097" y="4214"/>
                </a:lnTo>
                <a:lnTo>
                  <a:pt x="3092" y="4216"/>
                </a:lnTo>
                <a:lnTo>
                  <a:pt x="3092" y="4219"/>
                </a:lnTo>
                <a:lnTo>
                  <a:pt x="3087" y="4221"/>
                </a:lnTo>
                <a:lnTo>
                  <a:pt x="3080" y="4219"/>
                </a:lnTo>
                <a:lnTo>
                  <a:pt x="3066" y="4214"/>
                </a:lnTo>
                <a:lnTo>
                  <a:pt x="3052" y="4211"/>
                </a:lnTo>
                <a:lnTo>
                  <a:pt x="3040" y="4214"/>
                </a:lnTo>
                <a:lnTo>
                  <a:pt x="3021" y="4230"/>
                </a:lnTo>
                <a:lnTo>
                  <a:pt x="3018" y="4226"/>
                </a:lnTo>
                <a:lnTo>
                  <a:pt x="3018" y="4226"/>
                </a:lnTo>
                <a:lnTo>
                  <a:pt x="3014" y="4228"/>
                </a:lnTo>
                <a:lnTo>
                  <a:pt x="3007" y="4223"/>
                </a:lnTo>
                <a:lnTo>
                  <a:pt x="2988" y="4226"/>
                </a:lnTo>
                <a:lnTo>
                  <a:pt x="2981" y="4219"/>
                </a:lnTo>
                <a:lnTo>
                  <a:pt x="2976" y="4214"/>
                </a:lnTo>
                <a:lnTo>
                  <a:pt x="2957" y="4211"/>
                </a:lnTo>
                <a:lnTo>
                  <a:pt x="2950" y="4209"/>
                </a:lnTo>
                <a:lnTo>
                  <a:pt x="2945" y="4209"/>
                </a:lnTo>
                <a:lnTo>
                  <a:pt x="2917" y="4209"/>
                </a:lnTo>
                <a:lnTo>
                  <a:pt x="2912" y="4204"/>
                </a:lnTo>
                <a:lnTo>
                  <a:pt x="2877" y="4150"/>
                </a:lnTo>
                <a:lnTo>
                  <a:pt x="2867" y="4140"/>
                </a:lnTo>
                <a:lnTo>
                  <a:pt x="2832" y="4117"/>
                </a:lnTo>
                <a:lnTo>
                  <a:pt x="2808" y="4105"/>
                </a:lnTo>
                <a:lnTo>
                  <a:pt x="2777" y="4098"/>
                </a:lnTo>
                <a:lnTo>
                  <a:pt x="2765" y="4098"/>
                </a:lnTo>
                <a:lnTo>
                  <a:pt x="2727" y="4107"/>
                </a:lnTo>
                <a:lnTo>
                  <a:pt x="2725" y="4107"/>
                </a:lnTo>
                <a:lnTo>
                  <a:pt x="2720" y="4112"/>
                </a:lnTo>
                <a:lnTo>
                  <a:pt x="2716" y="4114"/>
                </a:lnTo>
                <a:lnTo>
                  <a:pt x="2701" y="4114"/>
                </a:lnTo>
                <a:lnTo>
                  <a:pt x="2680" y="4103"/>
                </a:lnTo>
                <a:lnTo>
                  <a:pt x="2666" y="4100"/>
                </a:lnTo>
                <a:lnTo>
                  <a:pt x="2652" y="4100"/>
                </a:lnTo>
                <a:lnTo>
                  <a:pt x="2638" y="4096"/>
                </a:lnTo>
                <a:lnTo>
                  <a:pt x="2626" y="4091"/>
                </a:lnTo>
                <a:lnTo>
                  <a:pt x="2595" y="4067"/>
                </a:lnTo>
                <a:lnTo>
                  <a:pt x="2583" y="4062"/>
                </a:lnTo>
                <a:lnTo>
                  <a:pt x="2571" y="4060"/>
                </a:lnTo>
                <a:lnTo>
                  <a:pt x="2557" y="4060"/>
                </a:lnTo>
                <a:lnTo>
                  <a:pt x="2543" y="4058"/>
                </a:lnTo>
                <a:lnTo>
                  <a:pt x="2533" y="4053"/>
                </a:lnTo>
                <a:lnTo>
                  <a:pt x="2515" y="4043"/>
                </a:lnTo>
                <a:lnTo>
                  <a:pt x="2498" y="4036"/>
                </a:lnTo>
                <a:lnTo>
                  <a:pt x="2491" y="4032"/>
                </a:lnTo>
                <a:lnTo>
                  <a:pt x="2489" y="4029"/>
                </a:lnTo>
                <a:lnTo>
                  <a:pt x="2484" y="4029"/>
                </a:lnTo>
                <a:lnTo>
                  <a:pt x="2481" y="4027"/>
                </a:lnTo>
                <a:lnTo>
                  <a:pt x="2470" y="4013"/>
                </a:lnTo>
                <a:lnTo>
                  <a:pt x="2467" y="4013"/>
                </a:lnTo>
                <a:lnTo>
                  <a:pt x="2460" y="4008"/>
                </a:lnTo>
                <a:lnTo>
                  <a:pt x="2455" y="4003"/>
                </a:lnTo>
                <a:lnTo>
                  <a:pt x="2453" y="4003"/>
                </a:lnTo>
                <a:lnTo>
                  <a:pt x="2448" y="4001"/>
                </a:lnTo>
                <a:lnTo>
                  <a:pt x="2446" y="4001"/>
                </a:lnTo>
                <a:lnTo>
                  <a:pt x="2441" y="3996"/>
                </a:lnTo>
                <a:lnTo>
                  <a:pt x="2441" y="3994"/>
                </a:lnTo>
                <a:lnTo>
                  <a:pt x="2399" y="3996"/>
                </a:lnTo>
                <a:lnTo>
                  <a:pt x="2394" y="3999"/>
                </a:lnTo>
                <a:lnTo>
                  <a:pt x="2392" y="4001"/>
                </a:lnTo>
                <a:lnTo>
                  <a:pt x="2387" y="3999"/>
                </a:lnTo>
                <a:lnTo>
                  <a:pt x="2384" y="3996"/>
                </a:lnTo>
                <a:lnTo>
                  <a:pt x="2382" y="3987"/>
                </a:lnTo>
                <a:lnTo>
                  <a:pt x="2380" y="3984"/>
                </a:lnTo>
                <a:lnTo>
                  <a:pt x="2370" y="3975"/>
                </a:lnTo>
                <a:lnTo>
                  <a:pt x="2358" y="3972"/>
                </a:lnTo>
                <a:lnTo>
                  <a:pt x="2332" y="3975"/>
                </a:lnTo>
                <a:lnTo>
                  <a:pt x="2306" y="3980"/>
                </a:lnTo>
                <a:lnTo>
                  <a:pt x="2278" y="3989"/>
                </a:lnTo>
                <a:lnTo>
                  <a:pt x="2266" y="3989"/>
                </a:lnTo>
                <a:lnTo>
                  <a:pt x="2257" y="3984"/>
                </a:lnTo>
                <a:lnTo>
                  <a:pt x="2240" y="3963"/>
                </a:lnTo>
                <a:lnTo>
                  <a:pt x="2233" y="3958"/>
                </a:lnTo>
                <a:lnTo>
                  <a:pt x="2228" y="3956"/>
                </a:lnTo>
                <a:lnTo>
                  <a:pt x="2216" y="3958"/>
                </a:lnTo>
                <a:lnTo>
                  <a:pt x="2209" y="3956"/>
                </a:lnTo>
                <a:lnTo>
                  <a:pt x="2202" y="3949"/>
                </a:lnTo>
                <a:lnTo>
                  <a:pt x="2198" y="3942"/>
                </a:lnTo>
                <a:lnTo>
                  <a:pt x="2193" y="3935"/>
                </a:lnTo>
                <a:lnTo>
                  <a:pt x="2190" y="3928"/>
                </a:lnTo>
                <a:lnTo>
                  <a:pt x="2190" y="3923"/>
                </a:lnTo>
                <a:lnTo>
                  <a:pt x="2188" y="3918"/>
                </a:lnTo>
                <a:lnTo>
                  <a:pt x="2183" y="3913"/>
                </a:lnTo>
                <a:lnTo>
                  <a:pt x="2181" y="3909"/>
                </a:lnTo>
                <a:lnTo>
                  <a:pt x="2176" y="3904"/>
                </a:lnTo>
                <a:lnTo>
                  <a:pt x="2176" y="3899"/>
                </a:lnTo>
                <a:lnTo>
                  <a:pt x="2181" y="3894"/>
                </a:lnTo>
                <a:lnTo>
                  <a:pt x="2181" y="3897"/>
                </a:lnTo>
                <a:lnTo>
                  <a:pt x="2186" y="3892"/>
                </a:lnTo>
                <a:lnTo>
                  <a:pt x="2188" y="3892"/>
                </a:lnTo>
                <a:lnTo>
                  <a:pt x="2186" y="3890"/>
                </a:lnTo>
                <a:lnTo>
                  <a:pt x="2188" y="3878"/>
                </a:lnTo>
                <a:lnTo>
                  <a:pt x="2188" y="3878"/>
                </a:lnTo>
                <a:lnTo>
                  <a:pt x="2188" y="3871"/>
                </a:lnTo>
                <a:lnTo>
                  <a:pt x="2188" y="3866"/>
                </a:lnTo>
                <a:lnTo>
                  <a:pt x="2188" y="3864"/>
                </a:lnTo>
                <a:lnTo>
                  <a:pt x="2183" y="3859"/>
                </a:lnTo>
                <a:lnTo>
                  <a:pt x="2183" y="3857"/>
                </a:lnTo>
                <a:lnTo>
                  <a:pt x="2181" y="3854"/>
                </a:lnTo>
                <a:lnTo>
                  <a:pt x="2181" y="3854"/>
                </a:lnTo>
                <a:lnTo>
                  <a:pt x="2183" y="3852"/>
                </a:lnTo>
                <a:lnTo>
                  <a:pt x="2188" y="3835"/>
                </a:lnTo>
                <a:lnTo>
                  <a:pt x="2188" y="3823"/>
                </a:lnTo>
                <a:lnTo>
                  <a:pt x="2190" y="3816"/>
                </a:lnTo>
                <a:lnTo>
                  <a:pt x="2190" y="3809"/>
                </a:lnTo>
                <a:lnTo>
                  <a:pt x="2186" y="3807"/>
                </a:lnTo>
                <a:lnTo>
                  <a:pt x="2195" y="3800"/>
                </a:lnTo>
                <a:lnTo>
                  <a:pt x="2202" y="3790"/>
                </a:lnTo>
                <a:lnTo>
                  <a:pt x="2209" y="3781"/>
                </a:lnTo>
                <a:lnTo>
                  <a:pt x="2221" y="3783"/>
                </a:lnTo>
                <a:lnTo>
                  <a:pt x="2231" y="3774"/>
                </a:lnTo>
                <a:lnTo>
                  <a:pt x="2233" y="3769"/>
                </a:lnTo>
                <a:lnTo>
                  <a:pt x="2233" y="3762"/>
                </a:lnTo>
                <a:lnTo>
                  <a:pt x="2235" y="3757"/>
                </a:lnTo>
                <a:lnTo>
                  <a:pt x="2240" y="3757"/>
                </a:lnTo>
                <a:lnTo>
                  <a:pt x="2245" y="3757"/>
                </a:lnTo>
                <a:lnTo>
                  <a:pt x="2250" y="3757"/>
                </a:lnTo>
                <a:lnTo>
                  <a:pt x="2254" y="3750"/>
                </a:lnTo>
                <a:lnTo>
                  <a:pt x="2254" y="3741"/>
                </a:lnTo>
                <a:lnTo>
                  <a:pt x="2250" y="3731"/>
                </a:lnTo>
                <a:lnTo>
                  <a:pt x="2254" y="3722"/>
                </a:lnTo>
                <a:lnTo>
                  <a:pt x="2257" y="3726"/>
                </a:lnTo>
                <a:lnTo>
                  <a:pt x="2259" y="3726"/>
                </a:lnTo>
                <a:lnTo>
                  <a:pt x="2264" y="3726"/>
                </a:lnTo>
                <a:lnTo>
                  <a:pt x="2266" y="3734"/>
                </a:lnTo>
                <a:lnTo>
                  <a:pt x="2278" y="3750"/>
                </a:lnTo>
                <a:lnTo>
                  <a:pt x="2287" y="3767"/>
                </a:lnTo>
                <a:lnTo>
                  <a:pt x="2292" y="3769"/>
                </a:lnTo>
                <a:lnTo>
                  <a:pt x="2302" y="3771"/>
                </a:lnTo>
                <a:lnTo>
                  <a:pt x="2306" y="3774"/>
                </a:lnTo>
                <a:lnTo>
                  <a:pt x="2306" y="3778"/>
                </a:lnTo>
                <a:lnTo>
                  <a:pt x="2318" y="3783"/>
                </a:lnTo>
                <a:lnTo>
                  <a:pt x="2332" y="3778"/>
                </a:lnTo>
                <a:lnTo>
                  <a:pt x="2358" y="3762"/>
                </a:lnTo>
                <a:lnTo>
                  <a:pt x="2368" y="3750"/>
                </a:lnTo>
                <a:lnTo>
                  <a:pt x="2370" y="3748"/>
                </a:lnTo>
                <a:lnTo>
                  <a:pt x="2370" y="3745"/>
                </a:lnTo>
                <a:lnTo>
                  <a:pt x="2370" y="3743"/>
                </a:lnTo>
                <a:lnTo>
                  <a:pt x="2368" y="3738"/>
                </a:lnTo>
                <a:lnTo>
                  <a:pt x="2368" y="3734"/>
                </a:lnTo>
                <a:lnTo>
                  <a:pt x="2363" y="3731"/>
                </a:lnTo>
                <a:lnTo>
                  <a:pt x="2363" y="3726"/>
                </a:lnTo>
                <a:lnTo>
                  <a:pt x="2373" y="3715"/>
                </a:lnTo>
                <a:lnTo>
                  <a:pt x="2370" y="3712"/>
                </a:lnTo>
                <a:lnTo>
                  <a:pt x="2370" y="3708"/>
                </a:lnTo>
                <a:lnTo>
                  <a:pt x="2375" y="3703"/>
                </a:lnTo>
                <a:lnTo>
                  <a:pt x="2377" y="3703"/>
                </a:lnTo>
                <a:lnTo>
                  <a:pt x="2382" y="3703"/>
                </a:lnTo>
                <a:lnTo>
                  <a:pt x="2394" y="3705"/>
                </a:lnTo>
                <a:lnTo>
                  <a:pt x="2401" y="3705"/>
                </a:lnTo>
                <a:lnTo>
                  <a:pt x="2410" y="3703"/>
                </a:lnTo>
                <a:lnTo>
                  <a:pt x="2418" y="3698"/>
                </a:lnTo>
                <a:lnTo>
                  <a:pt x="2418" y="3689"/>
                </a:lnTo>
                <a:lnTo>
                  <a:pt x="2425" y="3691"/>
                </a:lnTo>
                <a:lnTo>
                  <a:pt x="2427" y="3689"/>
                </a:lnTo>
                <a:lnTo>
                  <a:pt x="2432" y="3686"/>
                </a:lnTo>
                <a:lnTo>
                  <a:pt x="2436" y="3684"/>
                </a:lnTo>
                <a:lnTo>
                  <a:pt x="2441" y="3679"/>
                </a:lnTo>
                <a:lnTo>
                  <a:pt x="2444" y="3679"/>
                </a:lnTo>
                <a:lnTo>
                  <a:pt x="2446" y="3679"/>
                </a:lnTo>
                <a:lnTo>
                  <a:pt x="2446" y="3681"/>
                </a:lnTo>
                <a:lnTo>
                  <a:pt x="2448" y="3686"/>
                </a:lnTo>
                <a:lnTo>
                  <a:pt x="2448" y="3686"/>
                </a:lnTo>
                <a:lnTo>
                  <a:pt x="2463" y="3693"/>
                </a:lnTo>
                <a:lnTo>
                  <a:pt x="2465" y="3696"/>
                </a:lnTo>
                <a:lnTo>
                  <a:pt x="2467" y="3710"/>
                </a:lnTo>
                <a:lnTo>
                  <a:pt x="2467" y="3712"/>
                </a:lnTo>
                <a:lnTo>
                  <a:pt x="2474" y="3724"/>
                </a:lnTo>
                <a:lnTo>
                  <a:pt x="2515" y="3715"/>
                </a:lnTo>
                <a:lnTo>
                  <a:pt x="2524" y="3719"/>
                </a:lnTo>
                <a:lnTo>
                  <a:pt x="2524" y="3726"/>
                </a:lnTo>
                <a:lnTo>
                  <a:pt x="2526" y="3731"/>
                </a:lnTo>
                <a:lnTo>
                  <a:pt x="2529" y="3736"/>
                </a:lnTo>
                <a:lnTo>
                  <a:pt x="2533" y="3738"/>
                </a:lnTo>
                <a:lnTo>
                  <a:pt x="2543" y="3741"/>
                </a:lnTo>
                <a:lnTo>
                  <a:pt x="2555" y="3748"/>
                </a:lnTo>
                <a:lnTo>
                  <a:pt x="2567" y="3752"/>
                </a:lnTo>
                <a:lnTo>
                  <a:pt x="2581" y="3752"/>
                </a:lnTo>
                <a:lnTo>
                  <a:pt x="2586" y="3755"/>
                </a:lnTo>
                <a:lnTo>
                  <a:pt x="2586" y="3757"/>
                </a:lnTo>
                <a:lnTo>
                  <a:pt x="2586" y="3757"/>
                </a:lnTo>
                <a:lnTo>
                  <a:pt x="2586" y="3757"/>
                </a:lnTo>
                <a:lnTo>
                  <a:pt x="2593" y="3757"/>
                </a:lnTo>
                <a:lnTo>
                  <a:pt x="2614" y="3757"/>
                </a:lnTo>
                <a:lnTo>
                  <a:pt x="2621" y="3752"/>
                </a:lnTo>
                <a:lnTo>
                  <a:pt x="2633" y="3743"/>
                </a:lnTo>
                <a:lnTo>
                  <a:pt x="2647" y="3738"/>
                </a:lnTo>
                <a:lnTo>
                  <a:pt x="2652" y="3734"/>
                </a:lnTo>
                <a:lnTo>
                  <a:pt x="2654" y="3729"/>
                </a:lnTo>
                <a:lnTo>
                  <a:pt x="2659" y="3724"/>
                </a:lnTo>
                <a:lnTo>
                  <a:pt x="2680" y="3717"/>
                </a:lnTo>
                <a:lnTo>
                  <a:pt x="2683" y="3712"/>
                </a:lnTo>
                <a:lnTo>
                  <a:pt x="2699" y="3717"/>
                </a:lnTo>
                <a:lnTo>
                  <a:pt x="2706" y="3719"/>
                </a:lnTo>
                <a:lnTo>
                  <a:pt x="2713" y="3719"/>
                </a:lnTo>
                <a:lnTo>
                  <a:pt x="2718" y="3717"/>
                </a:lnTo>
                <a:lnTo>
                  <a:pt x="2727" y="3712"/>
                </a:lnTo>
                <a:lnTo>
                  <a:pt x="2768" y="3712"/>
                </a:lnTo>
                <a:lnTo>
                  <a:pt x="2787" y="3708"/>
                </a:lnTo>
                <a:lnTo>
                  <a:pt x="2803" y="3698"/>
                </a:lnTo>
                <a:lnTo>
                  <a:pt x="2817" y="3689"/>
                </a:lnTo>
                <a:lnTo>
                  <a:pt x="2829" y="3691"/>
                </a:lnTo>
                <a:lnTo>
                  <a:pt x="2843" y="3684"/>
                </a:lnTo>
                <a:lnTo>
                  <a:pt x="2881" y="3663"/>
                </a:lnTo>
                <a:lnTo>
                  <a:pt x="2891" y="3653"/>
                </a:lnTo>
                <a:lnTo>
                  <a:pt x="2900" y="3641"/>
                </a:lnTo>
                <a:lnTo>
                  <a:pt x="2910" y="3625"/>
                </a:lnTo>
                <a:lnTo>
                  <a:pt x="2912" y="3622"/>
                </a:lnTo>
                <a:lnTo>
                  <a:pt x="2924" y="3620"/>
                </a:lnTo>
                <a:lnTo>
                  <a:pt x="2929" y="3620"/>
                </a:lnTo>
                <a:lnTo>
                  <a:pt x="2952" y="3608"/>
                </a:lnTo>
                <a:lnTo>
                  <a:pt x="2957" y="3603"/>
                </a:lnTo>
                <a:lnTo>
                  <a:pt x="2959" y="3603"/>
                </a:lnTo>
                <a:lnTo>
                  <a:pt x="2964" y="3601"/>
                </a:lnTo>
                <a:lnTo>
                  <a:pt x="2974" y="3601"/>
                </a:lnTo>
                <a:lnTo>
                  <a:pt x="2976" y="3601"/>
                </a:lnTo>
                <a:lnTo>
                  <a:pt x="2983" y="3608"/>
                </a:lnTo>
                <a:lnTo>
                  <a:pt x="2985" y="3608"/>
                </a:lnTo>
                <a:lnTo>
                  <a:pt x="2990" y="3608"/>
                </a:lnTo>
                <a:lnTo>
                  <a:pt x="2997" y="3611"/>
                </a:lnTo>
                <a:lnTo>
                  <a:pt x="3009" y="3608"/>
                </a:lnTo>
                <a:lnTo>
                  <a:pt x="3011" y="3608"/>
                </a:lnTo>
                <a:lnTo>
                  <a:pt x="3014" y="3608"/>
                </a:lnTo>
                <a:lnTo>
                  <a:pt x="3016" y="3613"/>
                </a:lnTo>
                <a:lnTo>
                  <a:pt x="3018" y="3615"/>
                </a:lnTo>
                <a:lnTo>
                  <a:pt x="3026" y="3615"/>
                </a:lnTo>
                <a:lnTo>
                  <a:pt x="3030" y="3611"/>
                </a:lnTo>
                <a:lnTo>
                  <a:pt x="3035" y="3608"/>
                </a:lnTo>
                <a:lnTo>
                  <a:pt x="3054" y="3596"/>
                </a:lnTo>
                <a:lnTo>
                  <a:pt x="3059" y="3584"/>
                </a:lnTo>
                <a:lnTo>
                  <a:pt x="3068" y="3558"/>
                </a:lnTo>
                <a:lnTo>
                  <a:pt x="3066" y="3556"/>
                </a:lnTo>
                <a:lnTo>
                  <a:pt x="3066" y="3554"/>
                </a:lnTo>
                <a:lnTo>
                  <a:pt x="3066" y="3554"/>
                </a:lnTo>
                <a:lnTo>
                  <a:pt x="3066" y="3549"/>
                </a:lnTo>
                <a:lnTo>
                  <a:pt x="3066" y="3549"/>
                </a:lnTo>
                <a:lnTo>
                  <a:pt x="3066" y="3549"/>
                </a:lnTo>
                <a:lnTo>
                  <a:pt x="3068" y="3551"/>
                </a:lnTo>
                <a:lnTo>
                  <a:pt x="3068" y="3563"/>
                </a:lnTo>
                <a:lnTo>
                  <a:pt x="3071" y="3568"/>
                </a:lnTo>
                <a:lnTo>
                  <a:pt x="3075" y="3570"/>
                </a:lnTo>
                <a:lnTo>
                  <a:pt x="3080" y="3570"/>
                </a:lnTo>
                <a:lnTo>
                  <a:pt x="3087" y="3570"/>
                </a:lnTo>
                <a:lnTo>
                  <a:pt x="3097" y="3566"/>
                </a:lnTo>
                <a:lnTo>
                  <a:pt x="3120" y="3551"/>
                </a:lnTo>
                <a:lnTo>
                  <a:pt x="3125" y="3544"/>
                </a:lnTo>
                <a:lnTo>
                  <a:pt x="3130" y="3542"/>
                </a:lnTo>
                <a:lnTo>
                  <a:pt x="3142" y="3532"/>
                </a:lnTo>
                <a:lnTo>
                  <a:pt x="3151" y="3518"/>
                </a:lnTo>
                <a:lnTo>
                  <a:pt x="3156" y="3514"/>
                </a:lnTo>
                <a:lnTo>
                  <a:pt x="3168" y="3514"/>
                </a:lnTo>
                <a:lnTo>
                  <a:pt x="3186" y="3518"/>
                </a:lnTo>
                <a:lnTo>
                  <a:pt x="3198" y="3518"/>
                </a:lnTo>
                <a:lnTo>
                  <a:pt x="3198" y="3521"/>
                </a:lnTo>
                <a:lnTo>
                  <a:pt x="3196" y="3523"/>
                </a:lnTo>
                <a:moveTo>
                  <a:pt x="2981" y="3518"/>
                </a:moveTo>
                <a:lnTo>
                  <a:pt x="2981" y="3518"/>
                </a:lnTo>
                <a:lnTo>
                  <a:pt x="2976" y="3523"/>
                </a:lnTo>
                <a:lnTo>
                  <a:pt x="2969" y="3516"/>
                </a:lnTo>
                <a:lnTo>
                  <a:pt x="2962" y="3511"/>
                </a:lnTo>
                <a:lnTo>
                  <a:pt x="2959" y="3504"/>
                </a:lnTo>
                <a:lnTo>
                  <a:pt x="2964" y="3495"/>
                </a:lnTo>
                <a:lnTo>
                  <a:pt x="2966" y="3495"/>
                </a:lnTo>
                <a:lnTo>
                  <a:pt x="2966" y="3502"/>
                </a:lnTo>
                <a:lnTo>
                  <a:pt x="2971" y="3502"/>
                </a:lnTo>
                <a:lnTo>
                  <a:pt x="2976" y="3506"/>
                </a:lnTo>
                <a:lnTo>
                  <a:pt x="2981" y="3511"/>
                </a:lnTo>
                <a:lnTo>
                  <a:pt x="2983" y="3516"/>
                </a:lnTo>
                <a:lnTo>
                  <a:pt x="2981" y="3518"/>
                </a:lnTo>
                <a:moveTo>
                  <a:pt x="2964" y="3487"/>
                </a:moveTo>
                <a:lnTo>
                  <a:pt x="2964" y="3487"/>
                </a:lnTo>
                <a:lnTo>
                  <a:pt x="2959" y="3487"/>
                </a:lnTo>
                <a:lnTo>
                  <a:pt x="2955" y="3485"/>
                </a:lnTo>
                <a:lnTo>
                  <a:pt x="2948" y="3483"/>
                </a:lnTo>
                <a:lnTo>
                  <a:pt x="2943" y="3480"/>
                </a:lnTo>
                <a:lnTo>
                  <a:pt x="2940" y="3478"/>
                </a:lnTo>
                <a:lnTo>
                  <a:pt x="2940" y="3471"/>
                </a:lnTo>
                <a:lnTo>
                  <a:pt x="2940" y="3464"/>
                </a:lnTo>
                <a:lnTo>
                  <a:pt x="2945" y="3459"/>
                </a:lnTo>
                <a:lnTo>
                  <a:pt x="2957" y="3459"/>
                </a:lnTo>
                <a:lnTo>
                  <a:pt x="2959" y="3459"/>
                </a:lnTo>
                <a:lnTo>
                  <a:pt x="2959" y="3466"/>
                </a:lnTo>
                <a:lnTo>
                  <a:pt x="2962" y="3469"/>
                </a:lnTo>
                <a:lnTo>
                  <a:pt x="2964" y="3471"/>
                </a:lnTo>
                <a:lnTo>
                  <a:pt x="2966" y="3471"/>
                </a:lnTo>
                <a:lnTo>
                  <a:pt x="2966" y="3473"/>
                </a:lnTo>
                <a:lnTo>
                  <a:pt x="2957" y="3476"/>
                </a:lnTo>
                <a:lnTo>
                  <a:pt x="2959" y="3480"/>
                </a:lnTo>
                <a:lnTo>
                  <a:pt x="2962" y="3483"/>
                </a:lnTo>
                <a:lnTo>
                  <a:pt x="2964" y="3483"/>
                </a:lnTo>
                <a:lnTo>
                  <a:pt x="2964" y="3487"/>
                </a:lnTo>
                <a:moveTo>
                  <a:pt x="2763" y="3487"/>
                </a:moveTo>
                <a:lnTo>
                  <a:pt x="2763" y="3487"/>
                </a:lnTo>
                <a:lnTo>
                  <a:pt x="2758" y="3490"/>
                </a:lnTo>
                <a:lnTo>
                  <a:pt x="2756" y="3485"/>
                </a:lnTo>
                <a:lnTo>
                  <a:pt x="2761" y="3483"/>
                </a:lnTo>
                <a:lnTo>
                  <a:pt x="2763" y="3487"/>
                </a:lnTo>
                <a:moveTo>
                  <a:pt x="2924" y="3452"/>
                </a:moveTo>
                <a:lnTo>
                  <a:pt x="2924" y="3452"/>
                </a:lnTo>
                <a:lnTo>
                  <a:pt x="2924" y="3457"/>
                </a:lnTo>
                <a:lnTo>
                  <a:pt x="2912" y="3454"/>
                </a:lnTo>
                <a:lnTo>
                  <a:pt x="2900" y="3447"/>
                </a:lnTo>
                <a:lnTo>
                  <a:pt x="2907" y="3440"/>
                </a:lnTo>
                <a:lnTo>
                  <a:pt x="2919" y="3438"/>
                </a:lnTo>
                <a:lnTo>
                  <a:pt x="2924" y="3438"/>
                </a:lnTo>
                <a:lnTo>
                  <a:pt x="2926" y="3443"/>
                </a:lnTo>
                <a:lnTo>
                  <a:pt x="2926" y="3445"/>
                </a:lnTo>
                <a:lnTo>
                  <a:pt x="2926" y="3447"/>
                </a:lnTo>
                <a:lnTo>
                  <a:pt x="2924" y="3452"/>
                </a:lnTo>
                <a:moveTo>
                  <a:pt x="2834" y="3466"/>
                </a:moveTo>
                <a:lnTo>
                  <a:pt x="2834" y="3466"/>
                </a:lnTo>
                <a:lnTo>
                  <a:pt x="2829" y="3466"/>
                </a:lnTo>
                <a:lnTo>
                  <a:pt x="2822" y="3466"/>
                </a:lnTo>
                <a:lnTo>
                  <a:pt x="2820" y="3461"/>
                </a:lnTo>
                <a:lnTo>
                  <a:pt x="2817" y="3457"/>
                </a:lnTo>
                <a:lnTo>
                  <a:pt x="2820" y="3454"/>
                </a:lnTo>
                <a:lnTo>
                  <a:pt x="2824" y="3457"/>
                </a:lnTo>
                <a:lnTo>
                  <a:pt x="2829" y="3459"/>
                </a:lnTo>
                <a:lnTo>
                  <a:pt x="2832" y="3461"/>
                </a:lnTo>
                <a:lnTo>
                  <a:pt x="2834" y="3464"/>
                </a:lnTo>
                <a:lnTo>
                  <a:pt x="2834" y="3466"/>
                </a:lnTo>
                <a:moveTo>
                  <a:pt x="2368" y="3487"/>
                </a:moveTo>
                <a:lnTo>
                  <a:pt x="2368" y="3487"/>
                </a:lnTo>
                <a:lnTo>
                  <a:pt x="2366" y="3490"/>
                </a:lnTo>
                <a:lnTo>
                  <a:pt x="2361" y="3490"/>
                </a:lnTo>
                <a:lnTo>
                  <a:pt x="2361" y="3485"/>
                </a:lnTo>
                <a:lnTo>
                  <a:pt x="2361" y="3483"/>
                </a:lnTo>
                <a:lnTo>
                  <a:pt x="2366" y="3478"/>
                </a:lnTo>
                <a:lnTo>
                  <a:pt x="2370" y="3478"/>
                </a:lnTo>
                <a:lnTo>
                  <a:pt x="2373" y="3480"/>
                </a:lnTo>
                <a:lnTo>
                  <a:pt x="2375" y="3480"/>
                </a:lnTo>
                <a:lnTo>
                  <a:pt x="2368" y="3487"/>
                </a:lnTo>
                <a:moveTo>
                  <a:pt x="3026" y="3336"/>
                </a:moveTo>
                <a:lnTo>
                  <a:pt x="3026" y="3336"/>
                </a:lnTo>
                <a:lnTo>
                  <a:pt x="3023" y="3336"/>
                </a:lnTo>
                <a:lnTo>
                  <a:pt x="3018" y="3336"/>
                </a:lnTo>
                <a:lnTo>
                  <a:pt x="3011" y="3331"/>
                </a:lnTo>
                <a:lnTo>
                  <a:pt x="3011" y="3331"/>
                </a:lnTo>
                <a:lnTo>
                  <a:pt x="3014" y="3329"/>
                </a:lnTo>
                <a:lnTo>
                  <a:pt x="3016" y="3327"/>
                </a:lnTo>
                <a:lnTo>
                  <a:pt x="3018" y="3324"/>
                </a:lnTo>
                <a:lnTo>
                  <a:pt x="3018" y="3322"/>
                </a:lnTo>
                <a:lnTo>
                  <a:pt x="3021" y="3322"/>
                </a:lnTo>
                <a:lnTo>
                  <a:pt x="3023" y="3322"/>
                </a:lnTo>
                <a:lnTo>
                  <a:pt x="3026" y="3322"/>
                </a:lnTo>
                <a:lnTo>
                  <a:pt x="3028" y="3322"/>
                </a:lnTo>
                <a:lnTo>
                  <a:pt x="3028" y="3327"/>
                </a:lnTo>
                <a:lnTo>
                  <a:pt x="3026" y="3329"/>
                </a:lnTo>
                <a:lnTo>
                  <a:pt x="3026" y="3331"/>
                </a:lnTo>
                <a:lnTo>
                  <a:pt x="3026" y="3336"/>
                </a:lnTo>
                <a:moveTo>
                  <a:pt x="776" y="3521"/>
                </a:moveTo>
                <a:lnTo>
                  <a:pt x="776" y="3521"/>
                </a:lnTo>
                <a:lnTo>
                  <a:pt x="783" y="3525"/>
                </a:lnTo>
                <a:lnTo>
                  <a:pt x="795" y="3523"/>
                </a:lnTo>
                <a:lnTo>
                  <a:pt x="804" y="3525"/>
                </a:lnTo>
                <a:lnTo>
                  <a:pt x="809" y="3537"/>
                </a:lnTo>
                <a:lnTo>
                  <a:pt x="809" y="3540"/>
                </a:lnTo>
                <a:lnTo>
                  <a:pt x="811" y="3540"/>
                </a:lnTo>
                <a:lnTo>
                  <a:pt x="813" y="3540"/>
                </a:lnTo>
                <a:lnTo>
                  <a:pt x="816" y="3537"/>
                </a:lnTo>
                <a:lnTo>
                  <a:pt x="816" y="3537"/>
                </a:lnTo>
                <a:lnTo>
                  <a:pt x="816" y="3537"/>
                </a:lnTo>
                <a:lnTo>
                  <a:pt x="818" y="3537"/>
                </a:lnTo>
                <a:lnTo>
                  <a:pt x="811" y="3544"/>
                </a:lnTo>
                <a:lnTo>
                  <a:pt x="811" y="3547"/>
                </a:lnTo>
                <a:lnTo>
                  <a:pt x="811" y="3549"/>
                </a:lnTo>
                <a:lnTo>
                  <a:pt x="809" y="3556"/>
                </a:lnTo>
                <a:lnTo>
                  <a:pt x="809" y="3570"/>
                </a:lnTo>
                <a:lnTo>
                  <a:pt x="806" y="3582"/>
                </a:lnTo>
                <a:lnTo>
                  <a:pt x="804" y="3584"/>
                </a:lnTo>
                <a:lnTo>
                  <a:pt x="802" y="3584"/>
                </a:lnTo>
                <a:lnTo>
                  <a:pt x="797" y="3584"/>
                </a:lnTo>
                <a:lnTo>
                  <a:pt x="797" y="3584"/>
                </a:lnTo>
                <a:lnTo>
                  <a:pt x="795" y="3580"/>
                </a:lnTo>
                <a:lnTo>
                  <a:pt x="795" y="3577"/>
                </a:lnTo>
                <a:lnTo>
                  <a:pt x="780" y="3558"/>
                </a:lnTo>
                <a:lnTo>
                  <a:pt x="773" y="3544"/>
                </a:lnTo>
                <a:lnTo>
                  <a:pt x="773" y="3537"/>
                </a:lnTo>
                <a:lnTo>
                  <a:pt x="773" y="3532"/>
                </a:lnTo>
                <a:lnTo>
                  <a:pt x="771" y="3532"/>
                </a:lnTo>
                <a:lnTo>
                  <a:pt x="771" y="3530"/>
                </a:lnTo>
                <a:lnTo>
                  <a:pt x="776" y="3521"/>
                </a:lnTo>
                <a:moveTo>
                  <a:pt x="757" y="3528"/>
                </a:moveTo>
                <a:lnTo>
                  <a:pt x="757" y="3528"/>
                </a:lnTo>
                <a:lnTo>
                  <a:pt x="752" y="3532"/>
                </a:lnTo>
                <a:lnTo>
                  <a:pt x="745" y="3532"/>
                </a:lnTo>
                <a:lnTo>
                  <a:pt x="740" y="3530"/>
                </a:lnTo>
                <a:lnTo>
                  <a:pt x="740" y="3525"/>
                </a:lnTo>
                <a:lnTo>
                  <a:pt x="740" y="3523"/>
                </a:lnTo>
                <a:lnTo>
                  <a:pt x="733" y="3514"/>
                </a:lnTo>
                <a:lnTo>
                  <a:pt x="728" y="3509"/>
                </a:lnTo>
                <a:lnTo>
                  <a:pt x="731" y="3502"/>
                </a:lnTo>
                <a:lnTo>
                  <a:pt x="735" y="3499"/>
                </a:lnTo>
                <a:lnTo>
                  <a:pt x="750" y="3495"/>
                </a:lnTo>
                <a:lnTo>
                  <a:pt x="754" y="3492"/>
                </a:lnTo>
                <a:lnTo>
                  <a:pt x="757" y="3504"/>
                </a:lnTo>
                <a:lnTo>
                  <a:pt x="759" y="3523"/>
                </a:lnTo>
                <a:lnTo>
                  <a:pt x="757" y="3528"/>
                </a:lnTo>
                <a:moveTo>
                  <a:pt x="2489" y="2598"/>
                </a:moveTo>
                <a:lnTo>
                  <a:pt x="2489" y="2598"/>
                </a:lnTo>
                <a:lnTo>
                  <a:pt x="2486" y="2603"/>
                </a:lnTo>
                <a:lnTo>
                  <a:pt x="2481" y="2603"/>
                </a:lnTo>
                <a:lnTo>
                  <a:pt x="2477" y="2603"/>
                </a:lnTo>
                <a:lnTo>
                  <a:pt x="2472" y="2605"/>
                </a:lnTo>
                <a:lnTo>
                  <a:pt x="2470" y="2610"/>
                </a:lnTo>
                <a:lnTo>
                  <a:pt x="2467" y="2607"/>
                </a:lnTo>
                <a:lnTo>
                  <a:pt x="2458" y="2605"/>
                </a:lnTo>
                <a:lnTo>
                  <a:pt x="2455" y="2603"/>
                </a:lnTo>
                <a:lnTo>
                  <a:pt x="2455" y="2593"/>
                </a:lnTo>
                <a:lnTo>
                  <a:pt x="2458" y="2591"/>
                </a:lnTo>
                <a:lnTo>
                  <a:pt x="2460" y="2588"/>
                </a:lnTo>
                <a:lnTo>
                  <a:pt x="2458" y="2586"/>
                </a:lnTo>
                <a:lnTo>
                  <a:pt x="2455" y="2581"/>
                </a:lnTo>
                <a:lnTo>
                  <a:pt x="2463" y="2581"/>
                </a:lnTo>
                <a:lnTo>
                  <a:pt x="2484" y="2584"/>
                </a:lnTo>
                <a:lnTo>
                  <a:pt x="2491" y="2588"/>
                </a:lnTo>
                <a:lnTo>
                  <a:pt x="2489" y="2591"/>
                </a:lnTo>
                <a:lnTo>
                  <a:pt x="2491" y="2593"/>
                </a:lnTo>
                <a:lnTo>
                  <a:pt x="2491" y="2596"/>
                </a:lnTo>
                <a:lnTo>
                  <a:pt x="2489" y="2598"/>
                </a:lnTo>
                <a:moveTo>
                  <a:pt x="2316" y="2593"/>
                </a:moveTo>
                <a:lnTo>
                  <a:pt x="2316" y="2593"/>
                </a:lnTo>
                <a:lnTo>
                  <a:pt x="2313" y="2596"/>
                </a:lnTo>
                <a:lnTo>
                  <a:pt x="2313" y="2593"/>
                </a:lnTo>
                <a:lnTo>
                  <a:pt x="2316" y="2591"/>
                </a:lnTo>
                <a:lnTo>
                  <a:pt x="2318" y="2588"/>
                </a:lnTo>
                <a:lnTo>
                  <a:pt x="2316" y="2593"/>
                </a:lnTo>
                <a:moveTo>
                  <a:pt x="686" y="2681"/>
                </a:moveTo>
                <a:lnTo>
                  <a:pt x="686" y="2681"/>
                </a:lnTo>
                <a:lnTo>
                  <a:pt x="690" y="2683"/>
                </a:lnTo>
                <a:lnTo>
                  <a:pt x="690" y="2688"/>
                </a:lnTo>
                <a:lnTo>
                  <a:pt x="690" y="2693"/>
                </a:lnTo>
                <a:lnTo>
                  <a:pt x="688" y="2697"/>
                </a:lnTo>
                <a:lnTo>
                  <a:pt x="669" y="2702"/>
                </a:lnTo>
                <a:lnTo>
                  <a:pt x="662" y="2709"/>
                </a:lnTo>
                <a:lnTo>
                  <a:pt x="664" y="2721"/>
                </a:lnTo>
                <a:lnTo>
                  <a:pt x="664" y="2730"/>
                </a:lnTo>
                <a:lnTo>
                  <a:pt x="653" y="2730"/>
                </a:lnTo>
                <a:lnTo>
                  <a:pt x="655" y="2726"/>
                </a:lnTo>
                <a:lnTo>
                  <a:pt x="655" y="2723"/>
                </a:lnTo>
                <a:lnTo>
                  <a:pt x="655" y="2719"/>
                </a:lnTo>
                <a:lnTo>
                  <a:pt x="655" y="2714"/>
                </a:lnTo>
                <a:lnTo>
                  <a:pt x="655" y="2711"/>
                </a:lnTo>
                <a:lnTo>
                  <a:pt x="660" y="2707"/>
                </a:lnTo>
                <a:lnTo>
                  <a:pt x="664" y="2700"/>
                </a:lnTo>
                <a:lnTo>
                  <a:pt x="669" y="2697"/>
                </a:lnTo>
                <a:lnTo>
                  <a:pt x="669" y="2693"/>
                </a:lnTo>
                <a:lnTo>
                  <a:pt x="669" y="2685"/>
                </a:lnTo>
                <a:lnTo>
                  <a:pt x="669" y="2683"/>
                </a:lnTo>
                <a:lnTo>
                  <a:pt x="672" y="2681"/>
                </a:lnTo>
                <a:lnTo>
                  <a:pt x="676" y="2681"/>
                </a:lnTo>
                <a:lnTo>
                  <a:pt x="679" y="2681"/>
                </a:lnTo>
                <a:lnTo>
                  <a:pt x="679" y="2678"/>
                </a:lnTo>
                <a:lnTo>
                  <a:pt x="681" y="2676"/>
                </a:lnTo>
                <a:lnTo>
                  <a:pt x="683" y="2671"/>
                </a:lnTo>
                <a:lnTo>
                  <a:pt x="683" y="2676"/>
                </a:lnTo>
                <a:lnTo>
                  <a:pt x="686" y="2678"/>
                </a:lnTo>
                <a:lnTo>
                  <a:pt x="686" y="2681"/>
                </a:lnTo>
                <a:moveTo>
                  <a:pt x="1045" y="2605"/>
                </a:moveTo>
                <a:lnTo>
                  <a:pt x="1045" y="2605"/>
                </a:lnTo>
                <a:lnTo>
                  <a:pt x="1045" y="2607"/>
                </a:lnTo>
                <a:lnTo>
                  <a:pt x="1045" y="2610"/>
                </a:lnTo>
                <a:lnTo>
                  <a:pt x="1045" y="2612"/>
                </a:lnTo>
                <a:lnTo>
                  <a:pt x="1043" y="2612"/>
                </a:lnTo>
                <a:lnTo>
                  <a:pt x="1041" y="2610"/>
                </a:lnTo>
                <a:lnTo>
                  <a:pt x="1038" y="2607"/>
                </a:lnTo>
                <a:lnTo>
                  <a:pt x="1036" y="2607"/>
                </a:lnTo>
                <a:lnTo>
                  <a:pt x="1033" y="2607"/>
                </a:lnTo>
                <a:lnTo>
                  <a:pt x="1036" y="2598"/>
                </a:lnTo>
                <a:lnTo>
                  <a:pt x="1036" y="2596"/>
                </a:lnTo>
                <a:lnTo>
                  <a:pt x="1036" y="2593"/>
                </a:lnTo>
                <a:lnTo>
                  <a:pt x="1038" y="2586"/>
                </a:lnTo>
                <a:lnTo>
                  <a:pt x="1038" y="2581"/>
                </a:lnTo>
                <a:lnTo>
                  <a:pt x="1041" y="2584"/>
                </a:lnTo>
                <a:lnTo>
                  <a:pt x="1043" y="2584"/>
                </a:lnTo>
                <a:lnTo>
                  <a:pt x="1045" y="2588"/>
                </a:lnTo>
                <a:lnTo>
                  <a:pt x="1045" y="2588"/>
                </a:lnTo>
                <a:lnTo>
                  <a:pt x="1045" y="2593"/>
                </a:lnTo>
                <a:lnTo>
                  <a:pt x="1045" y="2605"/>
                </a:lnTo>
                <a:moveTo>
                  <a:pt x="967" y="2588"/>
                </a:moveTo>
                <a:lnTo>
                  <a:pt x="967" y="2588"/>
                </a:lnTo>
                <a:lnTo>
                  <a:pt x="972" y="2588"/>
                </a:lnTo>
                <a:lnTo>
                  <a:pt x="974" y="2586"/>
                </a:lnTo>
                <a:lnTo>
                  <a:pt x="979" y="2593"/>
                </a:lnTo>
                <a:lnTo>
                  <a:pt x="979" y="2607"/>
                </a:lnTo>
                <a:lnTo>
                  <a:pt x="984" y="2610"/>
                </a:lnTo>
                <a:lnTo>
                  <a:pt x="981" y="2607"/>
                </a:lnTo>
                <a:lnTo>
                  <a:pt x="981" y="2605"/>
                </a:lnTo>
                <a:lnTo>
                  <a:pt x="981" y="2603"/>
                </a:lnTo>
                <a:lnTo>
                  <a:pt x="981" y="2598"/>
                </a:lnTo>
                <a:lnTo>
                  <a:pt x="984" y="2598"/>
                </a:lnTo>
                <a:lnTo>
                  <a:pt x="986" y="2603"/>
                </a:lnTo>
                <a:lnTo>
                  <a:pt x="986" y="2605"/>
                </a:lnTo>
                <a:lnTo>
                  <a:pt x="986" y="2607"/>
                </a:lnTo>
                <a:lnTo>
                  <a:pt x="986" y="2610"/>
                </a:lnTo>
                <a:lnTo>
                  <a:pt x="991" y="2607"/>
                </a:lnTo>
                <a:lnTo>
                  <a:pt x="991" y="2607"/>
                </a:lnTo>
                <a:lnTo>
                  <a:pt x="993" y="2605"/>
                </a:lnTo>
                <a:lnTo>
                  <a:pt x="996" y="2607"/>
                </a:lnTo>
                <a:lnTo>
                  <a:pt x="1000" y="2610"/>
                </a:lnTo>
                <a:lnTo>
                  <a:pt x="1000" y="2600"/>
                </a:lnTo>
                <a:lnTo>
                  <a:pt x="1005" y="2600"/>
                </a:lnTo>
                <a:lnTo>
                  <a:pt x="1019" y="2612"/>
                </a:lnTo>
                <a:lnTo>
                  <a:pt x="1019" y="2607"/>
                </a:lnTo>
                <a:lnTo>
                  <a:pt x="1022" y="2610"/>
                </a:lnTo>
                <a:lnTo>
                  <a:pt x="1024" y="2610"/>
                </a:lnTo>
                <a:lnTo>
                  <a:pt x="1026" y="2610"/>
                </a:lnTo>
                <a:lnTo>
                  <a:pt x="1029" y="2610"/>
                </a:lnTo>
                <a:lnTo>
                  <a:pt x="1031" y="2612"/>
                </a:lnTo>
                <a:lnTo>
                  <a:pt x="1029" y="2614"/>
                </a:lnTo>
                <a:lnTo>
                  <a:pt x="1029" y="2614"/>
                </a:lnTo>
                <a:lnTo>
                  <a:pt x="1026" y="2617"/>
                </a:lnTo>
                <a:lnTo>
                  <a:pt x="1026" y="2619"/>
                </a:lnTo>
                <a:lnTo>
                  <a:pt x="1031" y="2622"/>
                </a:lnTo>
                <a:lnTo>
                  <a:pt x="1033" y="2624"/>
                </a:lnTo>
                <a:lnTo>
                  <a:pt x="1036" y="2626"/>
                </a:lnTo>
                <a:lnTo>
                  <a:pt x="1038" y="2629"/>
                </a:lnTo>
                <a:lnTo>
                  <a:pt x="1036" y="2633"/>
                </a:lnTo>
                <a:lnTo>
                  <a:pt x="1038" y="2638"/>
                </a:lnTo>
                <a:lnTo>
                  <a:pt x="1041" y="2648"/>
                </a:lnTo>
                <a:lnTo>
                  <a:pt x="1043" y="2638"/>
                </a:lnTo>
                <a:lnTo>
                  <a:pt x="1045" y="2633"/>
                </a:lnTo>
                <a:lnTo>
                  <a:pt x="1048" y="2631"/>
                </a:lnTo>
                <a:lnTo>
                  <a:pt x="1045" y="2629"/>
                </a:lnTo>
                <a:lnTo>
                  <a:pt x="1045" y="2629"/>
                </a:lnTo>
                <a:lnTo>
                  <a:pt x="1045" y="2626"/>
                </a:lnTo>
                <a:lnTo>
                  <a:pt x="1043" y="2626"/>
                </a:lnTo>
                <a:lnTo>
                  <a:pt x="1045" y="2624"/>
                </a:lnTo>
                <a:lnTo>
                  <a:pt x="1050" y="2622"/>
                </a:lnTo>
                <a:lnTo>
                  <a:pt x="1055" y="2624"/>
                </a:lnTo>
                <a:lnTo>
                  <a:pt x="1060" y="2624"/>
                </a:lnTo>
                <a:lnTo>
                  <a:pt x="1060" y="2622"/>
                </a:lnTo>
                <a:lnTo>
                  <a:pt x="1062" y="2619"/>
                </a:lnTo>
                <a:lnTo>
                  <a:pt x="1064" y="2619"/>
                </a:lnTo>
                <a:lnTo>
                  <a:pt x="1067" y="2624"/>
                </a:lnTo>
                <a:lnTo>
                  <a:pt x="1064" y="2626"/>
                </a:lnTo>
                <a:lnTo>
                  <a:pt x="1067" y="2629"/>
                </a:lnTo>
                <a:lnTo>
                  <a:pt x="1069" y="2631"/>
                </a:lnTo>
                <a:lnTo>
                  <a:pt x="1071" y="2631"/>
                </a:lnTo>
                <a:lnTo>
                  <a:pt x="1074" y="2629"/>
                </a:lnTo>
                <a:lnTo>
                  <a:pt x="1076" y="2629"/>
                </a:lnTo>
                <a:lnTo>
                  <a:pt x="1076" y="2629"/>
                </a:lnTo>
                <a:lnTo>
                  <a:pt x="1076" y="2631"/>
                </a:lnTo>
                <a:lnTo>
                  <a:pt x="1076" y="2631"/>
                </a:lnTo>
                <a:lnTo>
                  <a:pt x="1078" y="2631"/>
                </a:lnTo>
                <a:lnTo>
                  <a:pt x="1078" y="2636"/>
                </a:lnTo>
                <a:lnTo>
                  <a:pt x="1078" y="2640"/>
                </a:lnTo>
                <a:lnTo>
                  <a:pt x="1076" y="2645"/>
                </a:lnTo>
                <a:lnTo>
                  <a:pt x="1074" y="2650"/>
                </a:lnTo>
                <a:lnTo>
                  <a:pt x="1074" y="2648"/>
                </a:lnTo>
                <a:lnTo>
                  <a:pt x="1071" y="2645"/>
                </a:lnTo>
                <a:lnTo>
                  <a:pt x="1071" y="2643"/>
                </a:lnTo>
                <a:lnTo>
                  <a:pt x="1069" y="2669"/>
                </a:lnTo>
                <a:lnTo>
                  <a:pt x="1067" y="2676"/>
                </a:lnTo>
                <a:lnTo>
                  <a:pt x="1071" y="2676"/>
                </a:lnTo>
                <a:lnTo>
                  <a:pt x="1069" y="2669"/>
                </a:lnTo>
                <a:lnTo>
                  <a:pt x="1074" y="2667"/>
                </a:lnTo>
                <a:lnTo>
                  <a:pt x="1078" y="2667"/>
                </a:lnTo>
                <a:lnTo>
                  <a:pt x="1081" y="2671"/>
                </a:lnTo>
                <a:lnTo>
                  <a:pt x="1078" y="2678"/>
                </a:lnTo>
                <a:lnTo>
                  <a:pt x="1081" y="2678"/>
                </a:lnTo>
                <a:lnTo>
                  <a:pt x="1081" y="2676"/>
                </a:lnTo>
                <a:lnTo>
                  <a:pt x="1081" y="2676"/>
                </a:lnTo>
                <a:lnTo>
                  <a:pt x="1081" y="2674"/>
                </a:lnTo>
                <a:lnTo>
                  <a:pt x="1083" y="2676"/>
                </a:lnTo>
                <a:lnTo>
                  <a:pt x="1083" y="2676"/>
                </a:lnTo>
                <a:lnTo>
                  <a:pt x="1086" y="2676"/>
                </a:lnTo>
                <a:lnTo>
                  <a:pt x="1090" y="2671"/>
                </a:lnTo>
                <a:lnTo>
                  <a:pt x="1100" y="2671"/>
                </a:lnTo>
                <a:lnTo>
                  <a:pt x="1107" y="2674"/>
                </a:lnTo>
                <a:lnTo>
                  <a:pt x="1114" y="2676"/>
                </a:lnTo>
                <a:lnTo>
                  <a:pt x="1112" y="2681"/>
                </a:lnTo>
                <a:lnTo>
                  <a:pt x="1107" y="2681"/>
                </a:lnTo>
                <a:lnTo>
                  <a:pt x="1100" y="2681"/>
                </a:lnTo>
                <a:lnTo>
                  <a:pt x="1095" y="2678"/>
                </a:lnTo>
                <a:lnTo>
                  <a:pt x="1090" y="2683"/>
                </a:lnTo>
                <a:lnTo>
                  <a:pt x="1090" y="2690"/>
                </a:lnTo>
                <a:lnTo>
                  <a:pt x="1090" y="2697"/>
                </a:lnTo>
                <a:lnTo>
                  <a:pt x="1086" y="2702"/>
                </a:lnTo>
                <a:lnTo>
                  <a:pt x="1088" y="2709"/>
                </a:lnTo>
                <a:lnTo>
                  <a:pt x="1083" y="2711"/>
                </a:lnTo>
                <a:lnTo>
                  <a:pt x="1069" y="2711"/>
                </a:lnTo>
                <a:lnTo>
                  <a:pt x="1069" y="2714"/>
                </a:lnTo>
                <a:lnTo>
                  <a:pt x="1069" y="2714"/>
                </a:lnTo>
                <a:lnTo>
                  <a:pt x="1067" y="2714"/>
                </a:lnTo>
                <a:lnTo>
                  <a:pt x="1071" y="2719"/>
                </a:lnTo>
                <a:lnTo>
                  <a:pt x="1074" y="2719"/>
                </a:lnTo>
                <a:lnTo>
                  <a:pt x="1076" y="2716"/>
                </a:lnTo>
                <a:lnTo>
                  <a:pt x="1078" y="2716"/>
                </a:lnTo>
                <a:lnTo>
                  <a:pt x="1083" y="2716"/>
                </a:lnTo>
                <a:lnTo>
                  <a:pt x="1088" y="2721"/>
                </a:lnTo>
                <a:lnTo>
                  <a:pt x="1090" y="2721"/>
                </a:lnTo>
                <a:lnTo>
                  <a:pt x="1097" y="2719"/>
                </a:lnTo>
                <a:lnTo>
                  <a:pt x="1100" y="2714"/>
                </a:lnTo>
                <a:lnTo>
                  <a:pt x="1104" y="2711"/>
                </a:lnTo>
                <a:lnTo>
                  <a:pt x="1112" y="2711"/>
                </a:lnTo>
                <a:lnTo>
                  <a:pt x="1112" y="2716"/>
                </a:lnTo>
                <a:lnTo>
                  <a:pt x="1109" y="2719"/>
                </a:lnTo>
                <a:lnTo>
                  <a:pt x="1107" y="2721"/>
                </a:lnTo>
                <a:lnTo>
                  <a:pt x="1104" y="2721"/>
                </a:lnTo>
                <a:lnTo>
                  <a:pt x="1104" y="2726"/>
                </a:lnTo>
                <a:lnTo>
                  <a:pt x="1116" y="2728"/>
                </a:lnTo>
                <a:lnTo>
                  <a:pt x="1119" y="2730"/>
                </a:lnTo>
                <a:lnTo>
                  <a:pt x="1119" y="2735"/>
                </a:lnTo>
                <a:lnTo>
                  <a:pt x="1121" y="2737"/>
                </a:lnTo>
                <a:lnTo>
                  <a:pt x="1123" y="2737"/>
                </a:lnTo>
                <a:lnTo>
                  <a:pt x="1128" y="2733"/>
                </a:lnTo>
                <a:lnTo>
                  <a:pt x="1130" y="2737"/>
                </a:lnTo>
                <a:lnTo>
                  <a:pt x="1133" y="2740"/>
                </a:lnTo>
                <a:lnTo>
                  <a:pt x="1138" y="2740"/>
                </a:lnTo>
                <a:lnTo>
                  <a:pt x="1142" y="2740"/>
                </a:lnTo>
                <a:lnTo>
                  <a:pt x="1130" y="2745"/>
                </a:lnTo>
                <a:lnTo>
                  <a:pt x="1128" y="2749"/>
                </a:lnTo>
                <a:lnTo>
                  <a:pt x="1133" y="2754"/>
                </a:lnTo>
                <a:lnTo>
                  <a:pt x="1133" y="2756"/>
                </a:lnTo>
                <a:lnTo>
                  <a:pt x="1128" y="2756"/>
                </a:lnTo>
                <a:lnTo>
                  <a:pt x="1123" y="2759"/>
                </a:lnTo>
                <a:lnTo>
                  <a:pt x="1123" y="2764"/>
                </a:lnTo>
                <a:lnTo>
                  <a:pt x="1126" y="2766"/>
                </a:lnTo>
                <a:lnTo>
                  <a:pt x="1126" y="2761"/>
                </a:lnTo>
                <a:lnTo>
                  <a:pt x="1128" y="2766"/>
                </a:lnTo>
                <a:lnTo>
                  <a:pt x="1140" y="2778"/>
                </a:lnTo>
                <a:lnTo>
                  <a:pt x="1142" y="2782"/>
                </a:lnTo>
                <a:lnTo>
                  <a:pt x="1145" y="2792"/>
                </a:lnTo>
                <a:lnTo>
                  <a:pt x="1157" y="2808"/>
                </a:lnTo>
                <a:lnTo>
                  <a:pt x="1157" y="2816"/>
                </a:lnTo>
                <a:lnTo>
                  <a:pt x="1161" y="2842"/>
                </a:lnTo>
                <a:lnTo>
                  <a:pt x="1164" y="2846"/>
                </a:lnTo>
                <a:lnTo>
                  <a:pt x="1166" y="2849"/>
                </a:lnTo>
                <a:lnTo>
                  <a:pt x="1168" y="2849"/>
                </a:lnTo>
                <a:lnTo>
                  <a:pt x="1173" y="2849"/>
                </a:lnTo>
                <a:lnTo>
                  <a:pt x="1173" y="2853"/>
                </a:lnTo>
                <a:lnTo>
                  <a:pt x="1175" y="2856"/>
                </a:lnTo>
                <a:lnTo>
                  <a:pt x="1178" y="2861"/>
                </a:lnTo>
                <a:lnTo>
                  <a:pt x="1187" y="2868"/>
                </a:lnTo>
                <a:lnTo>
                  <a:pt x="1190" y="2870"/>
                </a:lnTo>
                <a:lnTo>
                  <a:pt x="1190" y="2875"/>
                </a:lnTo>
                <a:lnTo>
                  <a:pt x="1187" y="2882"/>
                </a:lnTo>
                <a:lnTo>
                  <a:pt x="1185" y="2887"/>
                </a:lnTo>
                <a:lnTo>
                  <a:pt x="1185" y="2896"/>
                </a:lnTo>
                <a:lnTo>
                  <a:pt x="1185" y="2903"/>
                </a:lnTo>
                <a:lnTo>
                  <a:pt x="1178" y="2915"/>
                </a:lnTo>
                <a:lnTo>
                  <a:pt x="1175" y="2931"/>
                </a:lnTo>
                <a:lnTo>
                  <a:pt x="1171" y="2939"/>
                </a:lnTo>
                <a:lnTo>
                  <a:pt x="1164" y="2941"/>
                </a:lnTo>
                <a:lnTo>
                  <a:pt x="1159" y="2943"/>
                </a:lnTo>
                <a:lnTo>
                  <a:pt x="1157" y="2950"/>
                </a:lnTo>
                <a:lnTo>
                  <a:pt x="1152" y="2962"/>
                </a:lnTo>
                <a:lnTo>
                  <a:pt x="1149" y="2967"/>
                </a:lnTo>
                <a:lnTo>
                  <a:pt x="1142" y="2976"/>
                </a:lnTo>
                <a:lnTo>
                  <a:pt x="1140" y="2981"/>
                </a:lnTo>
                <a:lnTo>
                  <a:pt x="1138" y="2991"/>
                </a:lnTo>
                <a:lnTo>
                  <a:pt x="1138" y="2998"/>
                </a:lnTo>
                <a:lnTo>
                  <a:pt x="1140" y="3014"/>
                </a:lnTo>
                <a:lnTo>
                  <a:pt x="1142" y="3019"/>
                </a:lnTo>
                <a:lnTo>
                  <a:pt x="1152" y="3040"/>
                </a:lnTo>
                <a:lnTo>
                  <a:pt x="1157" y="3045"/>
                </a:lnTo>
                <a:lnTo>
                  <a:pt x="1161" y="3047"/>
                </a:lnTo>
                <a:lnTo>
                  <a:pt x="1164" y="3050"/>
                </a:lnTo>
                <a:lnTo>
                  <a:pt x="1171" y="3059"/>
                </a:lnTo>
                <a:lnTo>
                  <a:pt x="1180" y="3062"/>
                </a:lnTo>
                <a:lnTo>
                  <a:pt x="1180" y="3069"/>
                </a:lnTo>
                <a:lnTo>
                  <a:pt x="1171" y="3102"/>
                </a:lnTo>
                <a:lnTo>
                  <a:pt x="1171" y="3116"/>
                </a:lnTo>
                <a:lnTo>
                  <a:pt x="1175" y="3128"/>
                </a:lnTo>
                <a:lnTo>
                  <a:pt x="1178" y="3125"/>
                </a:lnTo>
                <a:lnTo>
                  <a:pt x="1178" y="3123"/>
                </a:lnTo>
                <a:lnTo>
                  <a:pt x="1180" y="3123"/>
                </a:lnTo>
                <a:lnTo>
                  <a:pt x="1183" y="3125"/>
                </a:lnTo>
                <a:lnTo>
                  <a:pt x="1180" y="3130"/>
                </a:lnTo>
                <a:lnTo>
                  <a:pt x="1180" y="3133"/>
                </a:lnTo>
                <a:lnTo>
                  <a:pt x="1178" y="3133"/>
                </a:lnTo>
                <a:lnTo>
                  <a:pt x="1175" y="3133"/>
                </a:lnTo>
                <a:lnTo>
                  <a:pt x="1173" y="3140"/>
                </a:lnTo>
                <a:lnTo>
                  <a:pt x="1173" y="3144"/>
                </a:lnTo>
                <a:lnTo>
                  <a:pt x="1173" y="3149"/>
                </a:lnTo>
                <a:lnTo>
                  <a:pt x="1175" y="3154"/>
                </a:lnTo>
                <a:lnTo>
                  <a:pt x="1173" y="3154"/>
                </a:lnTo>
                <a:lnTo>
                  <a:pt x="1173" y="3156"/>
                </a:lnTo>
                <a:lnTo>
                  <a:pt x="1175" y="3156"/>
                </a:lnTo>
                <a:lnTo>
                  <a:pt x="1178" y="3159"/>
                </a:lnTo>
                <a:lnTo>
                  <a:pt x="1178" y="3159"/>
                </a:lnTo>
                <a:lnTo>
                  <a:pt x="1178" y="3161"/>
                </a:lnTo>
                <a:lnTo>
                  <a:pt x="1175" y="3168"/>
                </a:lnTo>
                <a:lnTo>
                  <a:pt x="1173" y="3178"/>
                </a:lnTo>
                <a:lnTo>
                  <a:pt x="1173" y="3187"/>
                </a:lnTo>
                <a:lnTo>
                  <a:pt x="1173" y="3199"/>
                </a:lnTo>
                <a:lnTo>
                  <a:pt x="1175" y="3204"/>
                </a:lnTo>
                <a:lnTo>
                  <a:pt x="1178" y="3213"/>
                </a:lnTo>
                <a:lnTo>
                  <a:pt x="1178" y="3220"/>
                </a:lnTo>
                <a:lnTo>
                  <a:pt x="1178" y="3222"/>
                </a:lnTo>
                <a:lnTo>
                  <a:pt x="1175" y="3232"/>
                </a:lnTo>
                <a:lnTo>
                  <a:pt x="1175" y="3237"/>
                </a:lnTo>
                <a:lnTo>
                  <a:pt x="1175" y="3239"/>
                </a:lnTo>
                <a:lnTo>
                  <a:pt x="1173" y="3244"/>
                </a:lnTo>
                <a:lnTo>
                  <a:pt x="1173" y="3249"/>
                </a:lnTo>
                <a:lnTo>
                  <a:pt x="1173" y="3253"/>
                </a:lnTo>
                <a:lnTo>
                  <a:pt x="1178" y="3272"/>
                </a:lnTo>
                <a:lnTo>
                  <a:pt x="1178" y="3284"/>
                </a:lnTo>
                <a:lnTo>
                  <a:pt x="1173" y="3312"/>
                </a:lnTo>
                <a:lnTo>
                  <a:pt x="1178" y="3319"/>
                </a:lnTo>
                <a:lnTo>
                  <a:pt x="1178" y="3334"/>
                </a:lnTo>
                <a:lnTo>
                  <a:pt x="1173" y="3357"/>
                </a:lnTo>
                <a:lnTo>
                  <a:pt x="1171" y="3376"/>
                </a:lnTo>
                <a:lnTo>
                  <a:pt x="1171" y="3381"/>
                </a:lnTo>
                <a:lnTo>
                  <a:pt x="1173" y="3388"/>
                </a:lnTo>
                <a:lnTo>
                  <a:pt x="1175" y="3390"/>
                </a:lnTo>
                <a:lnTo>
                  <a:pt x="1183" y="3395"/>
                </a:lnTo>
                <a:lnTo>
                  <a:pt x="1185" y="3400"/>
                </a:lnTo>
                <a:lnTo>
                  <a:pt x="1175" y="3402"/>
                </a:lnTo>
                <a:lnTo>
                  <a:pt x="1168" y="3414"/>
                </a:lnTo>
                <a:lnTo>
                  <a:pt x="1166" y="3426"/>
                </a:lnTo>
                <a:lnTo>
                  <a:pt x="1168" y="3435"/>
                </a:lnTo>
                <a:lnTo>
                  <a:pt x="1166" y="3440"/>
                </a:lnTo>
                <a:lnTo>
                  <a:pt x="1166" y="3443"/>
                </a:lnTo>
                <a:lnTo>
                  <a:pt x="1171" y="3445"/>
                </a:lnTo>
                <a:lnTo>
                  <a:pt x="1171" y="3447"/>
                </a:lnTo>
                <a:lnTo>
                  <a:pt x="1171" y="3450"/>
                </a:lnTo>
                <a:lnTo>
                  <a:pt x="1168" y="3459"/>
                </a:lnTo>
                <a:lnTo>
                  <a:pt x="1168" y="3464"/>
                </a:lnTo>
                <a:lnTo>
                  <a:pt x="1166" y="3469"/>
                </a:lnTo>
                <a:lnTo>
                  <a:pt x="1161" y="3471"/>
                </a:lnTo>
                <a:lnTo>
                  <a:pt x="1154" y="3476"/>
                </a:lnTo>
                <a:lnTo>
                  <a:pt x="1154" y="3485"/>
                </a:lnTo>
                <a:lnTo>
                  <a:pt x="1152" y="3483"/>
                </a:lnTo>
                <a:lnTo>
                  <a:pt x="1152" y="3483"/>
                </a:lnTo>
                <a:lnTo>
                  <a:pt x="1152" y="3480"/>
                </a:lnTo>
                <a:lnTo>
                  <a:pt x="1152" y="3476"/>
                </a:lnTo>
                <a:lnTo>
                  <a:pt x="1147" y="3473"/>
                </a:lnTo>
                <a:lnTo>
                  <a:pt x="1140" y="3473"/>
                </a:lnTo>
                <a:lnTo>
                  <a:pt x="1135" y="3476"/>
                </a:lnTo>
                <a:lnTo>
                  <a:pt x="1130" y="3478"/>
                </a:lnTo>
                <a:lnTo>
                  <a:pt x="1128" y="3480"/>
                </a:lnTo>
                <a:lnTo>
                  <a:pt x="1128" y="3476"/>
                </a:lnTo>
                <a:lnTo>
                  <a:pt x="1123" y="3473"/>
                </a:lnTo>
                <a:lnTo>
                  <a:pt x="1116" y="3471"/>
                </a:lnTo>
                <a:lnTo>
                  <a:pt x="1107" y="3461"/>
                </a:lnTo>
                <a:lnTo>
                  <a:pt x="1107" y="3461"/>
                </a:lnTo>
                <a:lnTo>
                  <a:pt x="1102" y="3459"/>
                </a:lnTo>
                <a:lnTo>
                  <a:pt x="1095" y="3452"/>
                </a:lnTo>
                <a:lnTo>
                  <a:pt x="1090" y="3452"/>
                </a:lnTo>
                <a:lnTo>
                  <a:pt x="1088" y="3450"/>
                </a:lnTo>
                <a:lnTo>
                  <a:pt x="1083" y="3450"/>
                </a:lnTo>
                <a:lnTo>
                  <a:pt x="1078" y="3447"/>
                </a:lnTo>
                <a:lnTo>
                  <a:pt x="1076" y="3445"/>
                </a:lnTo>
                <a:lnTo>
                  <a:pt x="1074" y="3447"/>
                </a:lnTo>
                <a:lnTo>
                  <a:pt x="1069" y="3445"/>
                </a:lnTo>
                <a:lnTo>
                  <a:pt x="1062" y="3445"/>
                </a:lnTo>
                <a:lnTo>
                  <a:pt x="1050" y="3445"/>
                </a:lnTo>
                <a:lnTo>
                  <a:pt x="1045" y="3447"/>
                </a:lnTo>
                <a:lnTo>
                  <a:pt x="1041" y="3454"/>
                </a:lnTo>
                <a:lnTo>
                  <a:pt x="1036" y="3461"/>
                </a:lnTo>
                <a:lnTo>
                  <a:pt x="1036" y="3464"/>
                </a:lnTo>
                <a:lnTo>
                  <a:pt x="1026" y="3461"/>
                </a:lnTo>
                <a:lnTo>
                  <a:pt x="1017" y="3454"/>
                </a:lnTo>
                <a:lnTo>
                  <a:pt x="1003" y="3440"/>
                </a:lnTo>
                <a:lnTo>
                  <a:pt x="1000" y="3443"/>
                </a:lnTo>
                <a:lnTo>
                  <a:pt x="998" y="3443"/>
                </a:lnTo>
                <a:lnTo>
                  <a:pt x="993" y="3438"/>
                </a:lnTo>
                <a:lnTo>
                  <a:pt x="991" y="3435"/>
                </a:lnTo>
                <a:lnTo>
                  <a:pt x="986" y="3435"/>
                </a:lnTo>
                <a:lnTo>
                  <a:pt x="984" y="3435"/>
                </a:lnTo>
                <a:lnTo>
                  <a:pt x="981" y="3438"/>
                </a:lnTo>
                <a:lnTo>
                  <a:pt x="986" y="3440"/>
                </a:lnTo>
                <a:lnTo>
                  <a:pt x="989" y="3443"/>
                </a:lnTo>
                <a:lnTo>
                  <a:pt x="986" y="3445"/>
                </a:lnTo>
                <a:lnTo>
                  <a:pt x="989" y="3447"/>
                </a:lnTo>
                <a:lnTo>
                  <a:pt x="991" y="3450"/>
                </a:lnTo>
                <a:lnTo>
                  <a:pt x="993" y="3452"/>
                </a:lnTo>
                <a:lnTo>
                  <a:pt x="993" y="3450"/>
                </a:lnTo>
                <a:lnTo>
                  <a:pt x="996" y="3452"/>
                </a:lnTo>
                <a:lnTo>
                  <a:pt x="1005" y="3450"/>
                </a:lnTo>
                <a:lnTo>
                  <a:pt x="1005" y="3450"/>
                </a:lnTo>
                <a:lnTo>
                  <a:pt x="1007" y="3454"/>
                </a:lnTo>
                <a:lnTo>
                  <a:pt x="1007" y="3457"/>
                </a:lnTo>
                <a:lnTo>
                  <a:pt x="996" y="3471"/>
                </a:lnTo>
                <a:lnTo>
                  <a:pt x="991" y="3478"/>
                </a:lnTo>
                <a:lnTo>
                  <a:pt x="989" y="3485"/>
                </a:lnTo>
                <a:lnTo>
                  <a:pt x="989" y="3495"/>
                </a:lnTo>
                <a:lnTo>
                  <a:pt x="991" y="3504"/>
                </a:lnTo>
                <a:lnTo>
                  <a:pt x="993" y="3511"/>
                </a:lnTo>
                <a:lnTo>
                  <a:pt x="998" y="3518"/>
                </a:lnTo>
                <a:lnTo>
                  <a:pt x="998" y="3521"/>
                </a:lnTo>
                <a:lnTo>
                  <a:pt x="1000" y="3523"/>
                </a:lnTo>
                <a:lnTo>
                  <a:pt x="1003" y="3525"/>
                </a:lnTo>
                <a:lnTo>
                  <a:pt x="998" y="3535"/>
                </a:lnTo>
                <a:lnTo>
                  <a:pt x="996" y="3549"/>
                </a:lnTo>
                <a:lnTo>
                  <a:pt x="998" y="3549"/>
                </a:lnTo>
                <a:lnTo>
                  <a:pt x="996" y="3551"/>
                </a:lnTo>
                <a:lnTo>
                  <a:pt x="993" y="3551"/>
                </a:lnTo>
                <a:lnTo>
                  <a:pt x="991" y="3551"/>
                </a:lnTo>
                <a:lnTo>
                  <a:pt x="989" y="3556"/>
                </a:lnTo>
                <a:lnTo>
                  <a:pt x="960" y="3594"/>
                </a:lnTo>
                <a:lnTo>
                  <a:pt x="958" y="3594"/>
                </a:lnTo>
                <a:lnTo>
                  <a:pt x="953" y="3596"/>
                </a:lnTo>
                <a:lnTo>
                  <a:pt x="953" y="3596"/>
                </a:lnTo>
                <a:lnTo>
                  <a:pt x="948" y="3603"/>
                </a:lnTo>
                <a:lnTo>
                  <a:pt x="946" y="3606"/>
                </a:lnTo>
                <a:lnTo>
                  <a:pt x="941" y="3606"/>
                </a:lnTo>
                <a:lnTo>
                  <a:pt x="936" y="3601"/>
                </a:lnTo>
                <a:lnTo>
                  <a:pt x="929" y="3596"/>
                </a:lnTo>
                <a:lnTo>
                  <a:pt x="929" y="3603"/>
                </a:lnTo>
                <a:lnTo>
                  <a:pt x="925" y="3596"/>
                </a:lnTo>
                <a:lnTo>
                  <a:pt x="915" y="3592"/>
                </a:lnTo>
                <a:lnTo>
                  <a:pt x="906" y="3587"/>
                </a:lnTo>
                <a:lnTo>
                  <a:pt x="899" y="3587"/>
                </a:lnTo>
                <a:lnTo>
                  <a:pt x="892" y="3592"/>
                </a:lnTo>
                <a:lnTo>
                  <a:pt x="884" y="3599"/>
                </a:lnTo>
                <a:lnTo>
                  <a:pt x="880" y="3606"/>
                </a:lnTo>
                <a:lnTo>
                  <a:pt x="882" y="3615"/>
                </a:lnTo>
                <a:lnTo>
                  <a:pt x="877" y="3618"/>
                </a:lnTo>
                <a:lnTo>
                  <a:pt x="875" y="3615"/>
                </a:lnTo>
                <a:lnTo>
                  <a:pt x="877" y="3608"/>
                </a:lnTo>
                <a:lnTo>
                  <a:pt x="873" y="3606"/>
                </a:lnTo>
                <a:lnTo>
                  <a:pt x="868" y="3606"/>
                </a:lnTo>
                <a:lnTo>
                  <a:pt x="863" y="3606"/>
                </a:lnTo>
                <a:lnTo>
                  <a:pt x="863" y="3603"/>
                </a:lnTo>
                <a:lnTo>
                  <a:pt x="866" y="3594"/>
                </a:lnTo>
                <a:lnTo>
                  <a:pt x="866" y="3584"/>
                </a:lnTo>
                <a:lnTo>
                  <a:pt x="861" y="3577"/>
                </a:lnTo>
                <a:lnTo>
                  <a:pt x="854" y="3580"/>
                </a:lnTo>
                <a:lnTo>
                  <a:pt x="849" y="3558"/>
                </a:lnTo>
                <a:lnTo>
                  <a:pt x="842" y="3540"/>
                </a:lnTo>
                <a:lnTo>
                  <a:pt x="839" y="3540"/>
                </a:lnTo>
                <a:lnTo>
                  <a:pt x="837" y="3542"/>
                </a:lnTo>
                <a:lnTo>
                  <a:pt x="830" y="3540"/>
                </a:lnTo>
                <a:lnTo>
                  <a:pt x="825" y="3540"/>
                </a:lnTo>
                <a:lnTo>
                  <a:pt x="825" y="3537"/>
                </a:lnTo>
                <a:lnTo>
                  <a:pt x="828" y="3530"/>
                </a:lnTo>
                <a:lnTo>
                  <a:pt x="823" y="3528"/>
                </a:lnTo>
                <a:lnTo>
                  <a:pt x="816" y="3532"/>
                </a:lnTo>
                <a:lnTo>
                  <a:pt x="816" y="3532"/>
                </a:lnTo>
                <a:lnTo>
                  <a:pt x="813" y="3528"/>
                </a:lnTo>
                <a:lnTo>
                  <a:pt x="813" y="3523"/>
                </a:lnTo>
                <a:lnTo>
                  <a:pt x="809" y="3516"/>
                </a:lnTo>
                <a:lnTo>
                  <a:pt x="806" y="3516"/>
                </a:lnTo>
                <a:lnTo>
                  <a:pt x="802" y="3518"/>
                </a:lnTo>
                <a:lnTo>
                  <a:pt x="799" y="3514"/>
                </a:lnTo>
                <a:lnTo>
                  <a:pt x="799" y="3504"/>
                </a:lnTo>
                <a:lnTo>
                  <a:pt x="797" y="3499"/>
                </a:lnTo>
                <a:lnTo>
                  <a:pt x="795" y="3495"/>
                </a:lnTo>
                <a:lnTo>
                  <a:pt x="792" y="3495"/>
                </a:lnTo>
                <a:lnTo>
                  <a:pt x="790" y="3495"/>
                </a:lnTo>
                <a:lnTo>
                  <a:pt x="792" y="3499"/>
                </a:lnTo>
                <a:lnTo>
                  <a:pt x="790" y="3497"/>
                </a:lnTo>
                <a:lnTo>
                  <a:pt x="787" y="3497"/>
                </a:lnTo>
                <a:lnTo>
                  <a:pt x="785" y="3492"/>
                </a:lnTo>
                <a:lnTo>
                  <a:pt x="785" y="3490"/>
                </a:lnTo>
                <a:lnTo>
                  <a:pt x="785" y="3485"/>
                </a:lnTo>
                <a:lnTo>
                  <a:pt x="783" y="3483"/>
                </a:lnTo>
                <a:lnTo>
                  <a:pt x="780" y="3483"/>
                </a:lnTo>
                <a:lnTo>
                  <a:pt x="778" y="3483"/>
                </a:lnTo>
                <a:lnTo>
                  <a:pt x="776" y="3476"/>
                </a:lnTo>
                <a:lnTo>
                  <a:pt x="773" y="3473"/>
                </a:lnTo>
                <a:lnTo>
                  <a:pt x="776" y="3471"/>
                </a:lnTo>
                <a:lnTo>
                  <a:pt x="790" y="3450"/>
                </a:lnTo>
                <a:lnTo>
                  <a:pt x="792" y="3440"/>
                </a:lnTo>
                <a:lnTo>
                  <a:pt x="785" y="3433"/>
                </a:lnTo>
                <a:lnTo>
                  <a:pt x="785" y="3426"/>
                </a:lnTo>
                <a:lnTo>
                  <a:pt x="773" y="3419"/>
                </a:lnTo>
                <a:lnTo>
                  <a:pt x="769" y="3409"/>
                </a:lnTo>
                <a:lnTo>
                  <a:pt x="771" y="3407"/>
                </a:lnTo>
                <a:lnTo>
                  <a:pt x="776" y="3400"/>
                </a:lnTo>
                <a:lnTo>
                  <a:pt x="776" y="3395"/>
                </a:lnTo>
                <a:lnTo>
                  <a:pt x="778" y="3388"/>
                </a:lnTo>
                <a:lnTo>
                  <a:pt x="776" y="3386"/>
                </a:lnTo>
                <a:lnTo>
                  <a:pt x="771" y="3374"/>
                </a:lnTo>
                <a:lnTo>
                  <a:pt x="769" y="3374"/>
                </a:lnTo>
                <a:lnTo>
                  <a:pt x="769" y="3372"/>
                </a:lnTo>
                <a:lnTo>
                  <a:pt x="771" y="3367"/>
                </a:lnTo>
                <a:lnTo>
                  <a:pt x="780" y="3355"/>
                </a:lnTo>
                <a:lnTo>
                  <a:pt x="783" y="3346"/>
                </a:lnTo>
                <a:lnTo>
                  <a:pt x="787" y="3331"/>
                </a:lnTo>
                <a:lnTo>
                  <a:pt x="790" y="3324"/>
                </a:lnTo>
                <a:lnTo>
                  <a:pt x="787" y="3319"/>
                </a:lnTo>
                <a:lnTo>
                  <a:pt x="790" y="3315"/>
                </a:lnTo>
                <a:lnTo>
                  <a:pt x="787" y="3308"/>
                </a:lnTo>
                <a:lnTo>
                  <a:pt x="783" y="3289"/>
                </a:lnTo>
                <a:lnTo>
                  <a:pt x="780" y="3270"/>
                </a:lnTo>
                <a:lnTo>
                  <a:pt x="778" y="3265"/>
                </a:lnTo>
                <a:lnTo>
                  <a:pt x="778" y="3263"/>
                </a:lnTo>
                <a:lnTo>
                  <a:pt x="778" y="3258"/>
                </a:lnTo>
                <a:lnTo>
                  <a:pt x="778" y="3249"/>
                </a:lnTo>
                <a:lnTo>
                  <a:pt x="778" y="3246"/>
                </a:lnTo>
                <a:lnTo>
                  <a:pt x="783" y="3246"/>
                </a:lnTo>
                <a:lnTo>
                  <a:pt x="785" y="3249"/>
                </a:lnTo>
                <a:lnTo>
                  <a:pt x="797" y="3263"/>
                </a:lnTo>
                <a:lnTo>
                  <a:pt x="804" y="3270"/>
                </a:lnTo>
                <a:lnTo>
                  <a:pt x="811" y="3270"/>
                </a:lnTo>
                <a:lnTo>
                  <a:pt x="818" y="3267"/>
                </a:lnTo>
                <a:lnTo>
                  <a:pt x="802" y="3263"/>
                </a:lnTo>
                <a:lnTo>
                  <a:pt x="797" y="3260"/>
                </a:lnTo>
                <a:lnTo>
                  <a:pt x="797" y="3253"/>
                </a:lnTo>
                <a:lnTo>
                  <a:pt x="802" y="3246"/>
                </a:lnTo>
                <a:lnTo>
                  <a:pt x="806" y="3239"/>
                </a:lnTo>
                <a:lnTo>
                  <a:pt x="809" y="3234"/>
                </a:lnTo>
                <a:lnTo>
                  <a:pt x="806" y="3234"/>
                </a:lnTo>
                <a:lnTo>
                  <a:pt x="806" y="3237"/>
                </a:lnTo>
                <a:lnTo>
                  <a:pt x="804" y="3239"/>
                </a:lnTo>
                <a:lnTo>
                  <a:pt x="802" y="3241"/>
                </a:lnTo>
                <a:lnTo>
                  <a:pt x="802" y="3244"/>
                </a:lnTo>
                <a:lnTo>
                  <a:pt x="804" y="3239"/>
                </a:lnTo>
                <a:lnTo>
                  <a:pt x="806" y="3232"/>
                </a:lnTo>
                <a:lnTo>
                  <a:pt x="809" y="3222"/>
                </a:lnTo>
                <a:lnTo>
                  <a:pt x="809" y="3218"/>
                </a:lnTo>
                <a:lnTo>
                  <a:pt x="809" y="3204"/>
                </a:lnTo>
                <a:lnTo>
                  <a:pt x="809" y="3199"/>
                </a:lnTo>
                <a:lnTo>
                  <a:pt x="804" y="3194"/>
                </a:lnTo>
                <a:lnTo>
                  <a:pt x="797" y="3185"/>
                </a:lnTo>
                <a:lnTo>
                  <a:pt x="787" y="3180"/>
                </a:lnTo>
                <a:lnTo>
                  <a:pt x="776" y="3180"/>
                </a:lnTo>
                <a:lnTo>
                  <a:pt x="769" y="3187"/>
                </a:lnTo>
                <a:lnTo>
                  <a:pt x="771" y="3189"/>
                </a:lnTo>
                <a:lnTo>
                  <a:pt x="771" y="3187"/>
                </a:lnTo>
                <a:lnTo>
                  <a:pt x="773" y="3187"/>
                </a:lnTo>
                <a:lnTo>
                  <a:pt x="776" y="3187"/>
                </a:lnTo>
                <a:lnTo>
                  <a:pt x="778" y="3187"/>
                </a:lnTo>
                <a:lnTo>
                  <a:pt x="773" y="3189"/>
                </a:lnTo>
                <a:lnTo>
                  <a:pt x="771" y="3194"/>
                </a:lnTo>
                <a:lnTo>
                  <a:pt x="771" y="3206"/>
                </a:lnTo>
                <a:lnTo>
                  <a:pt x="769" y="3204"/>
                </a:lnTo>
                <a:lnTo>
                  <a:pt x="771" y="3196"/>
                </a:lnTo>
                <a:lnTo>
                  <a:pt x="769" y="3194"/>
                </a:lnTo>
                <a:lnTo>
                  <a:pt x="764" y="3192"/>
                </a:lnTo>
                <a:lnTo>
                  <a:pt x="759" y="3187"/>
                </a:lnTo>
                <a:lnTo>
                  <a:pt x="757" y="3187"/>
                </a:lnTo>
                <a:lnTo>
                  <a:pt x="757" y="3187"/>
                </a:lnTo>
                <a:lnTo>
                  <a:pt x="754" y="3185"/>
                </a:lnTo>
                <a:lnTo>
                  <a:pt x="754" y="3180"/>
                </a:lnTo>
                <a:lnTo>
                  <a:pt x="754" y="3178"/>
                </a:lnTo>
                <a:lnTo>
                  <a:pt x="757" y="3175"/>
                </a:lnTo>
                <a:lnTo>
                  <a:pt x="757" y="3173"/>
                </a:lnTo>
                <a:lnTo>
                  <a:pt x="752" y="3156"/>
                </a:lnTo>
                <a:lnTo>
                  <a:pt x="752" y="3152"/>
                </a:lnTo>
                <a:lnTo>
                  <a:pt x="754" y="3142"/>
                </a:lnTo>
                <a:lnTo>
                  <a:pt x="754" y="3137"/>
                </a:lnTo>
                <a:lnTo>
                  <a:pt x="750" y="3130"/>
                </a:lnTo>
                <a:lnTo>
                  <a:pt x="745" y="3135"/>
                </a:lnTo>
                <a:lnTo>
                  <a:pt x="745" y="3133"/>
                </a:lnTo>
                <a:lnTo>
                  <a:pt x="747" y="3130"/>
                </a:lnTo>
                <a:lnTo>
                  <a:pt x="752" y="3125"/>
                </a:lnTo>
                <a:lnTo>
                  <a:pt x="752" y="3125"/>
                </a:lnTo>
                <a:lnTo>
                  <a:pt x="761" y="3123"/>
                </a:lnTo>
                <a:lnTo>
                  <a:pt x="769" y="3121"/>
                </a:lnTo>
                <a:lnTo>
                  <a:pt x="771" y="3121"/>
                </a:lnTo>
                <a:lnTo>
                  <a:pt x="773" y="3118"/>
                </a:lnTo>
                <a:lnTo>
                  <a:pt x="776" y="3111"/>
                </a:lnTo>
                <a:lnTo>
                  <a:pt x="778" y="3107"/>
                </a:lnTo>
                <a:lnTo>
                  <a:pt x="778" y="3099"/>
                </a:lnTo>
                <a:lnTo>
                  <a:pt x="776" y="3095"/>
                </a:lnTo>
                <a:lnTo>
                  <a:pt x="769" y="3083"/>
                </a:lnTo>
                <a:lnTo>
                  <a:pt x="766" y="3076"/>
                </a:lnTo>
                <a:lnTo>
                  <a:pt x="764" y="3052"/>
                </a:lnTo>
                <a:lnTo>
                  <a:pt x="766" y="3033"/>
                </a:lnTo>
                <a:lnTo>
                  <a:pt x="766" y="3019"/>
                </a:lnTo>
                <a:lnTo>
                  <a:pt x="761" y="3012"/>
                </a:lnTo>
                <a:lnTo>
                  <a:pt x="752" y="3005"/>
                </a:lnTo>
                <a:lnTo>
                  <a:pt x="745" y="3000"/>
                </a:lnTo>
                <a:lnTo>
                  <a:pt x="742" y="3002"/>
                </a:lnTo>
                <a:lnTo>
                  <a:pt x="733" y="2998"/>
                </a:lnTo>
                <a:lnTo>
                  <a:pt x="733" y="2991"/>
                </a:lnTo>
                <a:lnTo>
                  <a:pt x="733" y="2967"/>
                </a:lnTo>
                <a:lnTo>
                  <a:pt x="733" y="2960"/>
                </a:lnTo>
                <a:lnTo>
                  <a:pt x="728" y="2948"/>
                </a:lnTo>
                <a:lnTo>
                  <a:pt x="721" y="2939"/>
                </a:lnTo>
                <a:lnTo>
                  <a:pt x="716" y="2936"/>
                </a:lnTo>
                <a:lnTo>
                  <a:pt x="709" y="2931"/>
                </a:lnTo>
                <a:lnTo>
                  <a:pt x="707" y="2924"/>
                </a:lnTo>
                <a:lnTo>
                  <a:pt x="705" y="2915"/>
                </a:lnTo>
                <a:lnTo>
                  <a:pt x="702" y="2905"/>
                </a:lnTo>
                <a:lnTo>
                  <a:pt x="695" y="2898"/>
                </a:lnTo>
                <a:lnTo>
                  <a:pt x="686" y="2898"/>
                </a:lnTo>
                <a:lnTo>
                  <a:pt x="672" y="2910"/>
                </a:lnTo>
                <a:lnTo>
                  <a:pt x="664" y="2908"/>
                </a:lnTo>
                <a:lnTo>
                  <a:pt x="667" y="2901"/>
                </a:lnTo>
                <a:lnTo>
                  <a:pt x="669" y="2894"/>
                </a:lnTo>
                <a:lnTo>
                  <a:pt x="662" y="2891"/>
                </a:lnTo>
                <a:lnTo>
                  <a:pt x="657" y="2896"/>
                </a:lnTo>
                <a:lnTo>
                  <a:pt x="655" y="2905"/>
                </a:lnTo>
                <a:lnTo>
                  <a:pt x="653" y="2915"/>
                </a:lnTo>
                <a:lnTo>
                  <a:pt x="650" y="2910"/>
                </a:lnTo>
                <a:lnTo>
                  <a:pt x="648" y="2903"/>
                </a:lnTo>
                <a:lnTo>
                  <a:pt x="645" y="2894"/>
                </a:lnTo>
                <a:lnTo>
                  <a:pt x="645" y="2891"/>
                </a:lnTo>
                <a:lnTo>
                  <a:pt x="650" y="2887"/>
                </a:lnTo>
                <a:lnTo>
                  <a:pt x="655" y="2882"/>
                </a:lnTo>
                <a:lnTo>
                  <a:pt x="657" y="2875"/>
                </a:lnTo>
                <a:lnTo>
                  <a:pt x="657" y="2865"/>
                </a:lnTo>
                <a:lnTo>
                  <a:pt x="657" y="2865"/>
                </a:lnTo>
                <a:lnTo>
                  <a:pt x="660" y="2863"/>
                </a:lnTo>
                <a:lnTo>
                  <a:pt x="660" y="2861"/>
                </a:lnTo>
                <a:lnTo>
                  <a:pt x="657" y="2858"/>
                </a:lnTo>
                <a:lnTo>
                  <a:pt x="655" y="2861"/>
                </a:lnTo>
                <a:lnTo>
                  <a:pt x="653" y="2858"/>
                </a:lnTo>
                <a:lnTo>
                  <a:pt x="650" y="2856"/>
                </a:lnTo>
                <a:lnTo>
                  <a:pt x="645" y="2849"/>
                </a:lnTo>
                <a:lnTo>
                  <a:pt x="643" y="2846"/>
                </a:lnTo>
                <a:lnTo>
                  <a:pt x="638" y="2846"/>
                </a:lnTo>
                <a:lnTo>
                  <a:pt x="657" y="2787"/>
                </a:lnTo>
                <a:lnTo>
                  <a:pt x="657" y="2780"/>
                </a:lnTo>
                <a:lnTo>
                  <a:pt x="657" y="2771"/>
                </a:lnTo>
                <a:lnTo>
                  <a:pt x="655" y="2766"/>
                </a:lnTo>
                <a:lnTo>
                  <a:pt x="650" y="2764"/>
                </a:lnTo>
                <a:lnTo>
                  <a:pt x="645" y="2761"/>
                </a:lnTo>
                <a:lnTo>
                  <a:pt x="645" y="2754"/>
                </a:lnTo>
                <a:lnTo>
                  <a:pt x="648" y="2745"/>
                </a:lnTo>
                <a:lnTo>
                  <a:pt x="650" y="2740"/>
                </a:lnTo>
                <a:lnTo>
                  <a:pt x="653" y="2740"/>
                </a:lnTo>
                <a:lnTo>
                  <a:pt x="655" y="2745"/>
                </a:lnTo>
                <a:lnTo>
                  <a:pt x="657" y="2745"/>
                </a:lnTo>
                <a:lnTo>
                  <a:pt x="660" y="2745"/>
                </a:lnTo>
                <a:lnTo>
                  <a:pt x="662" y="2747"/>
                </a:lnTo>
                <a:lnTo>
                  <a:pt x="662" y="2752"/>
                </a:lnTo>
                <a:lnTo>
                  <a:pt x="662" y="2756"/>
                </a:lnTo>
                <a:lnTo>
                  <a:pt x="662" y="2761"/>
                </a:lnTo>
                <a:lnTo>
                  <a:pt x="662" y="2766"/>
                </a:lnTo>
                <a:lnTo>
                  <a:pt x="679" y="2785"/>
                </a:lnTo>
                <a:lnTo>
                  <a:pt x="690" y="2790"/>
                </a:lnTo>
                <a:lnTo>
                  <a:pt x="726" y="2790"/>
                </a:lnTo>
                <a:lnTo>
                  <a:pt x="745" y="2794"/>
                </a:lnTo>
                <a:lnTo>
                  <a:pt x="752" y="2794"/>
                </a:lnTo>
                <a:lnTo>
                  <a:pt x="759" y="2792"/>
                </a:lnTo>
                <a:lnTo>
                  <a:pt x="783" y="2778"/>
                </a:lnTo>
                <a:lnTo>
                  <a:pt x="787" y="2773"/>
                </a:lnTo>
                <a:lnTo>
                  <a:pt x="792" y="2766"/>
                </a:lnTo>
                <a:lnTo>
                  <a:pt x="795" y="2759"/>
                </a:lnTo>
                <a:lnTo>
                  <a:pt x="813" y="2747"/>
                </a:lnTo>
                <a:lnTo>
                  <a:pt x="823" y="2745"/>
                </a:lnTo>
                <a:lnTo>
                  <a:pt x="828" y="2745"/>
                </a:lnTo>
                <a:lnTo>
                  <a:pt x="832" y="2747"/>
                </a:lnTo>
                <a:lnTo>
                  <a:pt x="849" y="2730"/>
                </a:lnTo>
                <a:lnTo>
                  <a:pt x="854" y="2723"/>
                </a:lnTo>
                <a:lnTo>
                  <a:pt x="863" y="2702"/>
                </a:lnTo>
                <a:lnTo>
                  <a:pt x="868" y="2700"/>
                </a:lnTo>
                <a:lnTo>
                  <a:pt x="866" y="2697"/>
                </a:lnTo>
                <a:lnTo>
                  <a:pt x="866" y="2697"/>
                </a:lnTo>
                <a:lnTo>
                  <a:pt x="866" y="2697"/>
                </a:lnTo>
                <a:lnTo>
                  <a:pt x="866" y="2697"/>
                </a:lnTo>
                <a:lnTo>
                  <a:pt x="875" y="2690"/>
                </a:lnTo>
                <a:lnTo>
                  <a:pt x="877" y="2690"/>
                </a:lnTo>
                <a:lnTo>
                  <a:pt x="880" y="2685"/>
                </a:lnTo>
                <a:lnTo>
                  <a:pt x="882" y="2678"/>
                </a:lnTo>
                <a:lnTo>
                  <a:pt x="884" y="2676"/>
                </a:lnTo>
                <a:lnTo>
                  <a:pt x="887" y="2674"/>
                </a:lnTo>
                <a:lnTo>
                  <a:pt x="892" y="2669"/>
                </a:lnTo>
                <a:lnTo>
                  <a:pt x="896" y="2662"/>
                </a:lnTo>
                <a:lnTo>
                  <a:pt x="901" y="2650"/>
                </a:lnTo>
                <a:lnTo>
                  <a:pt x="906" y="2648"/>
                </a:lnTo>
                <a:lnTo>
                  <a:pt x="927" y="2640"/>
                </a:lnTo>
                <a:lnTo>
                  <a:pt x="932" y="2638"/>
                </a:lnTo>
                <a:lnTo>
                  <a:pt x="939" y="2629"/>
                </a:lnTo>
                <a:lnTo>
                  <a:pt x="941" y="2631"/>
                </a:lnTo>
                <a:lnTo>
                  <a:pt x="946" y="2624"/>
                </a:lnTo>
                <a:lnTo>
                  <a:pt x="948" y="2619"/>
                </a:lnTo>
                <a:lnTo>
                  <a:pt x="946" y="2600"/>
                </a:lnTo>
                <a:lnTo>
                  <a:pt x="946" y="2593"/>
                </a:lnTo>
                <a:lnTo>
                  <a:pt x="953" y="2588"/>
                </a:lnTo>
                <a:lnTo>
                  <a:pt x="960" y="2586"/>
                </a:lnTo>
                <a:lnTo>
                  <a:pt x="965" y="2581"/>
                </a:lnTo>
                <a:lnTo>
                  <a:pt x="967" y="2586"/>
                </a:lnTo>
                <a:lnTo>
                  <a:pt x="967" y="2588"/>
                </a:lnTo>
                <a:moveTo>
                  <a:pt x="1031" y="2593"/>
                </a:moveTo>
                <a:lnTo>
                  <a:pt x="1031" y="2593"/>
                </a:lnTo>
                <a:lnTo>
                  <a:pt x="1019" y="2598"/>
                </a:lnTo>
                <a:lnTo>
                  <a:pt x="1015" y="2598"/>
                </a:lnTo>
                <a:lnTo>
                  <a:pt x="1012" y="2596"/>
                </a:lnTo>
                <a:lnTo>
                  <a:pt x="1012" y="2591"/>
                </a:lnTo>
                <a:lnTo>
                  <a:pt x="1012" y="2588"/>
                </a:lnTo>
                <a:lnTo>
                  <a:pt x="1015" y="2588"/>
                </a:lnTo>
                <a:lnTo>
                  <a:pt x="1017" y="2586"/>
                </a:lnTo>
                <a:lnTo>
                  <a:pt x="1019" y="2584"/>
                </a:lnTo>
                <a:lnTo>
                  <a:pt x="1019" y="2579"/>
                </a:lnTo>
                <a:lnTo>
                  <a:pt x="1019" y="2579"/>
                </a:lnTo>
                <a:lnTo>
                  <a:pt x="1022" y="2577"/>
                </a:lnTo>
                <a:lnTo>
                  <a:pt x="1024" y="2577"/>
                </a:lnTo>
                <a:lnTo>
                  <a:pt x="1026" y="2577"/>
                </a:lnTo>
                <a:lnTo>
                  <a:pt x="1029" y="2579"/>
                </a:lnTo>
                <a:lnTo>
                  <a:pt x="1029" y="2581"/>
                </a:lnTo>
                <a:lnTo>
                  <a:pt x="1029" y="2586"/>
                </a:lnTo>
                <a:lnTo>
                  <a:pt x="1029" y="2588"/>
                </a:lnTo>
                <a:lnTo>
                  <a:pt x="1031" y="2591"/>
                </a:lnTo>
                <a:lnTo>
                  <a:pt x="1031" y="2593"/>
                </a:lnTo>
                <a:lnTo>
                  <a:pt x="1031" y="2593"/>
                </a:lnTo>
                <a:moveTo>
                  <a:pt x="1254" y="2084"/>
                </a:moveTo>
                <a:lnTo>
                  <a:pt x="1254" y="2084"/>
                </a:lnTo>
                <a:lnTo>
                  <a:pt x="1254" y="2092"/>
                </a:lnTo>
                <a:lnTo>
                  <a:pt x="1246" y="2089"/>
                </a:lnTo>
                <a:lnTo>
                  <a:pt x="1246" y="2082"/>
                </a:lnTo>
                <a:lnTo>
                  <a:pt x="1249" y="2080"/>
                </a:lnTo>
                <a:lnTo>
                  <a:pt x="1254" y="2084"/>
                </a:lnTo>
                <a:moveTo>
                  <a:pt x="1443" y="2063"/>
                </a:moveTo>
                <a:lnTo>
                  <a:pt x="1443" y="2063"/>
                </a:lnTo>
                <a:lnTo>
                  <a:pt x="1438" y="2066"/>
                </a:lnTo>
                <a:lnTo>
                  <a:pt x="1426" y="2054"/>
                </a:lnTo>
                <a:lnTo>
                  <a:pt x="1422" y="2051"/>
                </a:lnTo>
                <a:lnTo>
                  <a:pt x="1424" y="2047"/>
                </a:lnTo>
                <a:lnTo>
                  <a:pt x="1424" y="2042"/>
                </a:lnTo>
                <a:lnTo>
                  <a:pt x="1426" y="2040"/>
                </a:lnTo>
                <a:lnTo>
                  <a:pt x="1431" y="2042"/>
                </a:lnTo>
                <a:lnTo>
                  <a:pt x="1436" y="2044"/>
                </a:lnTo>
                <a:lnTo>
                  <a:pt x="1440" y="2054"/>
                </a:lnTo>
                <a:lnTo>
                  <a:pt x="1445" y="2056"/>
                </a:lnTo>
                <a:lnTo>
                  <a:pt x="1443" y="2058"/>
                </a:lnTo>
                <a:lnTo>
                  <a:pt x="1443" y="2063"/>
                </a:lnTo>
                <a:moveTo>
                  <a:pt x="1173" y="1992"/>
                </a:moveTo>
                <a:lnTo>
                  <a:pt x="1173" y="1992"/>
                </a:lnTo>
                <a:lnTo>
                  <a:pt x="1171" y="1995"/>
                </a:lnTo>
                <a:lnTo>
                  <a:pt x="1166" y="1995"/>
                </a:lnTo>
                <a:lnTo>
                  <a:pt x="1161" y="1995"/>
                </a:lnTo>
                <a:lnTo>
                  <a:pt x="1159" y="1992"/>
                </a:lnTo>
                <a:lnTo>
                  <a:pt x="1159" y="1990"/>
                </a:lnTo>
                <a:lnTo>
                  <a:pt x="1161" y="1987"/>
                </a:lnTo>
                <a:lnTo>
                  <a:pt x="1164" y="1983"/>
                </a:lnTo>
                <a:lnTo>
                  <a:pt x="1166" y="1978"/>
                </a:lnTo>
                <a:lnTo>
                  <a:pt x="1168" y="1978"/>
                </a:lnTo>
                <a:lnTo>
                  <a:pt x="1168" y="1983"/>
                </a:lnTo>
                <a:lnTo>
                  <a:pt x="1171" y="1985"/>
                </a:lnTo>
                <a:lnTo>
                  <a:pt x="1173" y="1987"/>
                </a:lnTo>
                <a:lnTo>
                  <a:pt x="1173" y="1987"/>
                </a:lnTo>
                <a:lnTo>
                  <a:pt x="1173" y="1990"/>
                </a:lnTo>
                <a:lnTo>
                  <a:pt x="1173" y="1992"/>
                </a:lnTo>
                <a:moveTo>
                  <a:pt x="1265" y="1879"/>
                </a:moveTo>
                <a:lnTo>
                  <a:pt x="1265" y="1879"/>
                </a:lnTo>
                <a:lnTo>
                  <a:pt x="1268" y="1883"/>
                </a:lnTo>
                <a:lnTo>
                  <a:pt x="1265" y="1890"/>
                </a:lnTo>
                <a:lnTo>
                  <a:pt x="1263" y="1895"/>
                </a:lnTo>
                <a:lnTo>
                  <a:pt x="1261" y="1900"/>
                </a:lnTo>
                <a:lnTo>
                  <a:pt x="1254" y="1902"/>
                </a:lnTo>
                <a:lnTo>
                  <a:pt x="1261" y="1905"/>
                </a:lnTo>
                <a:lnTo>
                  <a:pt x="1268" y="1909"/>
                </a:lnTo>
                <a:lnTo>
                  <a:pt x="1270" y="1919"/>
                </a:lnTo>
                <a:lnTo>
                  <a:pt x="1265" y="1924"/>
                </a:lnTo>
                <a:lnTo>
                  <a:pt x="1263" y="1921"/>
                </a:lnTo>
                <a:lnTo>
                  <a:pt x="1261" y="1921"/>
                </a:lnTo>
                <a:lnTo>
                  <a:pt x="1258" y="1921"/>
                </a:lnTo>
                <a:lnTo>
                  <a:pt x="1254" y="1919"/>
                </a:lnTo>
                <a:lnTo>
                  <a:pt x="1254" y="1919"/>
                </a:lnTo>
                <a:lnTo>
                  <a:pt x="1249" y="1909"/>
                </a:lnTo>
                <a:lnTo>
                  <a:pt x="1246" y="1909"/>
                </a:lnTo>
                <a:lnTo>
                  <a:pt x="1244" y="1907"/>
                </a:lnTo>
                <a:lnTo>
                  <a:pt x="1239" y="1905"/>
                </a:lnTo>
                <a:lnTo>
                  <a:pt x="1235" y="1905"/>
                </a:lnTo>
                <a:lnTo>
                  <a:pt x="1232" y="1914"/>
                </a:lnTo>
                <a:lnTo>
                  <a:pt x="1227" y="1907"/>
                </a:lnTo>
                <a:lnTo>
                  <a:pt x="1218" y="1914"/>
                </a:lnTo>
                <a:lnTo>
                  <a:pt x="1211" y="1909"/>
                </a:lnTo>
                <a:lnTo>
                  <a:pt x="1209" y="1917"/>
                </a:lnTo>
                <a:lnTo>
                  <a:pt x="1209" y="1919"/>
                </a:lnTo>
                <a:lnTo>
                  <a:pt x="1206" y="1921"/>
                </a:lnTo>
                <a:lnTo>
                  <a:pt x="1180" y="1924"/>
                </a:lnTo>
                <a:lnTo>
                  <a:pt x="1173" y="1921"/>
                </a:lnTo>
                <a:lnTo>
                  <a:pt x="1168" y="1917"/>
                </a:lnTo>
                <a:lnTo>
                  <a:pt x="1164" y="1905"/>
                </a:lnTo>
                <a:lnTo>
                  <a:pt x="1166" y="1898"/>
                </a:lnTo>
                <a:lnTo>
                  <a:pt x="1173" y="1893"/>
                </a:lnTo>
                <a:lnTo>
                  <a:pt x="1180" y="1888"/>
                </a:lnTo>
                <a:lnTo>
                  <a:pt x="1187" y="1888"/>
                </a:lnTo>
                <a:lnTo>
                  <a:pt x="1190" y="1888"/>
                </a:lnTo>
                <a:lnTo>
                  <a:pt x="1197" y="1890"/>
                </a:lnTo>
                <a:lnTo>
                  <a:pt x="1201" y="1890"/>
                </a:lnTo>
                <a:lnTo>
                  <a:pt x="1206" y="1890"/>
                </a:lnTo>
                <a:lnTo>
                  <a:pt x="1213" y="1890"/>
                </a:lnTo>
                <a:lnTo>
                  <a:pt x="1213" y="1888"/>
                </a:lnTo>
                <a:lnTo>
                  <a:pt x="1213" y="1888"/>
                </a:lnTo>
                <a:lnTo>
                  <a:pt x="1213" y="1888"/>
                </a:lnTo>
                <a:lnTo>
                  <a:pt x="1211" y="1886"/>
                </a:lnTo>
                <a:lnTo>
                  <a:pt x="1216" y="1883"/>
                </a:lnTo>
                <a:lnTo>
                  <a:pt x="1216" y="1881"/>
                </a:lnTo>
                <a:lnTo>
                  <a:pt x="1216" y="1881"/>
                </a:lnTo>
                <a:lnTo>
                  <a:pt x="1220" y="1881"/>
                </a:lnTo>
                <a:lnTo>
                  <a:pt x="1232" y="1879"/>
                </a:lnTo>
                <a:lnTo>
                  <a:pt x="1232" y="1883"/>
                </a:lnTo>
                <a:lnTo>
                  <a:pt x="1235" y="1886"/>
                </a:lnTo>
                <a:lnTo>
                  <a:pt x="1239" y="1886"/>
                </a:lnTo>
                <a:lnTo>
                  <a:pt x="1242" y="1886"/>
                </a:lnTo>
                <a:lnTo>
                  <a:pt x="1242" y="1881"/>
                </a:lnTo>
                <a:lnTo>
                  <a:pt x="1244" y="1879"/>
                </a:lnTo>
                <a:lnTo>
                  <a:pt x="1246" y="1876"/>
                </a:lnTo>
                <a:lnTo>
                  <a:pt x="1249" y="1874"/>
                </a:lnTo>
                <a:lnTo>
                  <a:pt x="1251" y="1862"/>
                </a:lnTo>
                <a:lnTo>
                  <a:pt x="1251" y="1857"/>
                </a:lnTo>
                <a:lnTo>
                  <a:pt x="1256" y="1855"/>
                </a:lnTo>
                <a:lnTo>
                  <a:pt x="1258" y="1855"/>
                </a:lnTo>
                <a:lnTo>
                  <a:pt x="1263" y="1857"/>
                </a:lnTo>
                <a:lnTo>
                  <a:pt x="1265" y="1862"/>
                </a:lnTo>
                <a:lnTo>
                  <a:pt x="1268" y="1864"/>
                </a:lnTo>
                <a:lnTo>
                  <a:pt x="1265" y="1869"/>
                </a:lnTo>
                <a:lnTo>
                  <a:pt x="1263" y="1874"/>
                </a:lnTo>
                <a:lnTo>
                  <a:pt x="1265" y="1879"/>
                </a:lnTo>
                <a:moveTo>
                  <a:pt x="1071" y="1798"/>
                </a:moveTo>
                <a:lnTo>
                  <a:pt x="1071" y="1798"/>
                </a:lnTo>
                <a:lnTo>
                  <a:pt x="1071" y="1798"/>
                </a:lnTo>
                <a:lnTo>
                  <a:pt x="1074" y="1798"/>
                </a:lnTo>
                <a:lnTo>
                  <a:pt x="1071" y="1808"/>
                </a:lnTo>
                <a:lnTo>
                  <a:pt x="1069" y="1815"/>
                </a:lnTo>
                <a:lnTo>
                  <a:pt x="1062" y="1817"/>
                </a:lnTo>
                <a:lnTo>
                  <a:pt x="1057" y="1810"/>
                </a:lnTo>
                <a:lnTo>
                  <a:pt x="1062" y="1793"/>
                </a:lnTo>
                <a:lnTo>
                  <a:pt x="1064" y="1789"/>
                </a:lnTo>
                <a:lnTo>
                  <a:pt x="1069" y="1796"/>
                </a:lnTo>
                <a:lnTo>
                  <a:pt x="1071" y="1796"/>
                </a:lnTo>
                <a:lnTo>
                  <a:pt x="1071" y="1798"/>
                </a:lnTo>
                <a:moveTo>
                  <a:pt x="1521" y="50"/>
                </a:moveTo>
                <a:lnTo>
                  <a:pt x="1521" y="50"/>
                </a:lnTo>
                <a:lnTo>
                  <a:pt x="1523" y="59"/>
                </a:lnTo>
                <a:lnTo>
                  <a:pt x="1528" y="64"/>
                </a:lnTo>
                <a:lnTo>
                  <a:pt x="1530" y="66"/>
                </a:lnTo>
                <a:lnTo>
                  <a:pt x="1530" y="71"/>
                </a:lnTo>
                <a:lnTo>
                  <a:pt x="1526" y="76"/>
                </a:lnTo>
                <a:lnTo>
                  <a:pt x="1530" y="76"/>
                </a:lnTo>
                <a:lnTo>
                  <a:pt x="1537" y="76"/>
                </a:lnTo>
                <a:lnTo>
                  <a:pt x="1540" y="78"/>
                </a:lnTo>
                <a:lnTo>
                  <a:pt x="1545" y="81"/>
                </a:lnTo>
                <a:lnTo>
                  <a:pt x="1547" y="83"/>
                </a:lnTo>
                <a:lnTo>
                  <a:pt x="1547" y="85"/>
                </a:lnTo>
                <a:lnTo>
                  <a:pt x="1552" y="85"/>
                </a:lnTo>
                <a:lnTo>
                  <a:pt x="1563" y="85"/>
                </a:lnTo>
                <a:lnTo>
                  <a:pt x="1568" y="88"/>
                </a:lnTo>
                <a:lnTo>
                  <a:pt x="1573" y="95"/>
                </a:lnTo>
                <a:lnTo>
                  <a:pt x="1573" y="102"/>
                </a:lnTo>
                <a:lnTo>
                  <a:pt x="1573" y="104"/>
                </a:lnTo>
                <a:lnTo>
                  <a:pt x="1573" y="107"/>
                </a:lnTo>
                <a:lnTo>
                  <a:pt x="1573" y="111"/>
                </a:lnTo>
                <a:lnTo>
                  <a:pt x="1573" y="118"/>
                </a:lnTo>
                <a:lnTo>
                  <a:pt x="1575" y="121"/>
                </a:lnTo>
                <a:lnTo>
                  <a:pt x="1578" y="121"/>
                </a:lnTo>
                <a:lnTo>
                  <a:pt x="1580" y="123"/>
                </a:lnTo>
                <a:lnTo>
                  <a:pt x="1587" y="126"/>
                </a:lnTo>
                <a:lnTo>
                  <a:pt x="1592" y="126"/>
                </a:lnTo>
                <a:lnTo>
                  <a:pt x="1597" y="128"/>
                </a:lnTo>
                <a:lnTo>
                  <a:pt x="1601" y="135"/>
                </a:lnTo>
                <a:lnTo>
                  <a:pt x="1608" y="149"/>
                </a:lnTo>
                <a:lnTo>
                  <a:pt x="1620" y="156"/>
                </a:lnTo>
                <a:lnTo>
                  <a:pt x="1632" y="159"/>
                </a:lnTo>
                <a:lnTo>
                  <a:pt x="1649" y="159"/>
                </a:lnTo>
                <a:lnTo>
                  <a:pt x="1658" y="163"/>
                </a:lnTo>
                <a:lnTo>
                  <a:pt x="1663" y="166"/>
                </a:lnTo>
                <a:lnTo>
                  <a:pt x="1668" y="166"/>
                </a:lnTo>
                <a:lnTo>
                  <a:pt x="1684" y="161"/>
                </a:lnTo>
                <a:lnTo>
                  <a:pt x="1698" y="159"/>
                </a:lnTo>
                <a:lnTo>
                  <a:pt x="1701" y="161"/>
                </a:lnTo>
                <a:lnTo>
                  <a:pt x="1708" y="163"/>
                </a:lnTo>
                <a:lnTo>
                  <a:pt x="1710" y="163"/>
                </a:lnTo>
                <a:lnTo>
                  <a:pt x="1713" y="163"/>
                </a:lnTo>
                <a:lnTo>
                  <a:pt x="1717" y="161"/>
                </a:lnTo>
                <a:lnTo>
                  <a:pt x="1720" y="161"/>
                </a:lnTo>
                <a:lnTo>
                  <a:pt x="1729" y="163"/>
                </a:lnTo>
                <a:lnTo>
                  <a:pt x="1748" y="170"/>
                </a:lnTo>
                <a:lnTo>
                  <a:pt x="1814" y="166"/>
                </a:lnTo>
                <a:lnTo>
                  <a:pt x="1840" y="166"/>
                </a:lnTo>
                <a:lnTo>
                  <a:pt x="1859" y="175"/>
                </a:lnTo>
                <a:lnTo>
                  <a:pt x="1866" y="175"/>
                </a:lnTo>
                <a:lnTo>
                  <a:pt x="1878" y="175"/>
                </a:lnTo>
                <a:lnTo>
                  <a:pt x="1907" y="163"/>
                </a:lnTo>
                <a:lnTo>
                  <a:pt x="1918" y="163"/>
                </a:lnTo>
                <a:lnTo>
                  <a:pt x="1935" y="159"/>
                </a:lnTo>
                <a:lnTo>
                  <a:pt x="1937" y="161"/>
                </a:lnTo>
                <a:lnTo>
                  <a:pt x="1942" y="163"/>
                </a:lnTo>
                <a:lnTo>
                  <a:pt x="1944" y="166"/>
                </a:lnTo>
                <a:lnTo>
                  <a:pt x="1959" y="163"/>
                </a:lnTo>
                <a:lnTo>
                  <a:pt x="1994" y="168"/>
                </a:lnTo>
                <a:lnTo>
                  <a:pt x="1999" y="168"/>
                </a:lnTo>
                <a:lnTo>
                  <a:pt x="2004" y="168"/>
                </a:lnTo>
                <a:lnTo>
                  <a:pt x="2004" y="170"/>
                </a:lnTo>
                <a:lnTo>
                  <a:pt x="2004" y="173"/>
                </a:lnTo>
                <a:lnTo>
                  <a:pt x="2004" y="175"/>
                </a:lnTo>
                <a:lnTo>
                  <a:pt x="2001" y="180"/>
                </a:lnTo>
                <a:lnTo>
                  <a:pt x="2004" y="189"/>
                </a:lnTo>
                <a:lnTo>
                  <a:pt x="2001" y="196"/>
                </a:lnTo>
                <a:lnTo>
                  <a:pt x="1996" y="201"/>
                </a:lnTo>
                <a:lnTo>
                  <a:pt x="1989" y="201"/>
                </a:lnTo>
                <a:lnTo>
                  <a:pt x="1980" y="204"/>
                </a:lnTo>
                <a:lnTo>
                  <a:pt x="1973" y="213"/>
                </a:lnTo>
                <a:lnTo>
                  <a:pt x="1970" y="223"/>
                </a:lnTo>
                <a:lnTo>
                  <a:pt x="1963" y="230"/>
                </a:lnTo>
                <a:lnTo>
                  <a:pt x="1951" y="241"/>
                </a:lnTo>
                <a:lnTo>
                  <a:pt x="1947" y="246"/>
                </a:lnTo>
                <a:lnTo>
                  <a:pt x="1942" y="249"/>
                </a:lnTo>
                <a:lnTo>
                  <a:pt x="1940" y="251"/>
                </a:lnTo>
                <a:lnTo>
                  <a:pt x="1937" y="253"/>
                </a:lnTo>
                <a:lnTo>
                  <a:pt x="1935" y="263"/>
                </a:lnTo>
                <a:lnTo>
                  <a:pt x="1930" y="275"/>
                </a:lnTo>
                <a:lnTo>
                  <a:pt x="1923" y="279"/>
                </a:lnTo>
                <a:lnTo>
                  <a:pt x="1925" y="284"/>
                </a:lnTo>
                <a:lnTo>
                  <a:pt x="1928" y="289"/>
                </a:lnTo>
                <a:lnTo>
                  <a:pt x="1933" y="298"/>
                </a:lnTo>
                <a:lnTo>
                  <a:pt x="1933" y="298"/>
                </a:lnTo>
                <a:lnTo>
                  <a:pt x="1933" y="298"/>
                </a:lnTo>
                <a:lnTo>
                  <a:pt x="1937" y="303"/>
                </a:lnTo>
                <a:lnTo>
                  <a:pt x="1940" y="310"/>
                </a:lnTo>
                <a:lnTo>
                  <a:pt x="1942" y="312"/>
                </a:lnTo>
                <a:lnTo>
                  <a:pt x="1949" y="310"/>
                </a:lnTo>
                <a:lnTo>
                  <a:pt x="1944" y="303"/>
                </a:lnTo>
                <a:lnTo>
                  <a:pt x="1949" y="303"/>
                </a:lnTo>
                <a:lnTo>
                  <a:pt x="1959" y="303"/>
                </a:lnTo>
                <a:lnTo>
                  <a:pt x="1963" y="305"/>
                </a:lnTo>
                <a:lnTo>
                  <a:pt x="1970" y="305"/>
                </a:lnTo>
                <a:lnTo>
                  <a:pt x="1977" y="308"/>
                </a:lnTo>
                <a:lnTo>
                  <a:pt x="1987" y="315"/>
                </a:lnTo>
                <a:lnTo>
                  <a:pt x="1994" y="315"/>
                </a:lnTo>
                <a:lnTo>
                  <a:pt x="2004" y="312"/>
                </a:lnTo>
                <a:lnTo>
                  <a:pt x="2011" y="312"/>
                </a:lnTo>
                <a:lnTo>
                  <a:pt x="2013" y="320"/>
                </a:lnTo>
                <a:lnTo>
                  <a:pt x="2008" y="338"/>
                </a:lnTo>
                <a:lnTo>
                  <a:pt x="1980" y="367"/>
                </a:lnTo>
                <a:lnTo>
                  <a:pt x="1975" y="379"/>
                </a:lnTo>
                <a:lnTo>
                  <a:pt x="1977" y="379"/>
                </a:lnTo>
                <a:lnTo>
                  <a:pt x="1977" y="383"/>
                </a:lnTo>
                <a:lnTo>
                  <a:pt x="1977" y="386"/>
                </a:lnTo>
                <a:lnTo>
                  <a:pt x="1977" y="388"/>
                </a:lnTo>
                <a:lnTo>
                  <a:pt x="1975" y="390"/>
                </a:lnTo>
                <a:lnTo>
                  <a:pt x="1970" y="395"/>
                </a:lnTo>
                <a:lnTo>
                  <a:pt x="1975" y="400"/>
                </a:lnTo>
                <a:lnTo>
                  <a:pt x="1977" y="400"/>
                </a:lnTo>
                <a:lnTo>
                  <a:pt x="1977" y="400"/>
                </a:lnTo>
                <a:lnTo>
                  <a:pt x="1977" y="400"/>
                </a:lnTo>
                <a:lnTo>
                  <a:pt x="1977" y="400"/>
                </a:lnTo>
                <a:lnTo>
                  <a:pt x="1977" y="402"/>
                </a:lnTo>
                <a:lnTo>
                  <a:pt x="1987" y="409"/>
                </a:lnTo>
                <a:lnTo>
                  <a:pt x="1996" y="407"/>
                </a:lnTo>
                <a:lnTo>
                  <a:pt x="2006" y="400"/>
                </a:lnTo>
                <a:lnTo>
                  <a:pt x="2015" y="398"/>
                </a:lnTo>
                <a:lnTo>
                  <a:pt x="2020" y="405"/>
                </a:lnTo>
                <a:lnTo>
                  <a:pt x="2020" y="421"/>
                </a:lnTo>
                <a:lnTo>
                  <a:pt x="2013" y="450"/>
                </a:lnTo>
                <a:lnTo>
                  <a:pt x="2015" y="464"/>
                </a:lnTo>
                <a:lnTo>
                  <a:pt x="2020" y="471"/>
                </a:lnTo>
                <a:lnTo>
                  <a:pt x="2030" y="476"/>
                </a:lnTo>
                <a:lnTo>
                  <a:pt x="2039" y="476"/>
                </a:lnTo>
                <a:lnTo>
                  <a:pt x="2044" y="476"/>
                </a:lnTo>
                <a:lnTo>
                  <a:pt x="2060" y="485"/>
                </a:lnTo>
                <a:lnTo>
                  <a:pt x="2082" y="490"/>
                </a:lnTo>
                <a:lnTo>
                  <a:pt x="2112" y="525"/>
                </a:lnTo>
                <a:lnTo>
                  <a:pt x="2115" y="528"/>
                </a:lnTo>
                <a:lnTo>
                  <a:pt x="2119" y="530"/>
                </a:lnTo>
                <a:lnTo>
                  <a:pt x="2124" y="530"/>
                </a:lnTo>
                <a:lnTo>
                  <a:pt x="2124" y="530"/>
                </a:lnTo>
                <a:lnTo>
                  <a:pt x="2122" y="537"/>
                </a:lnTo>
                <a:lnTo>
                  <a:pt x="2115" y="554"/>
                </a:lnTo>
                <a:lnTo>
                  <a:pt x="2101" y="556"/>
                </a:lnTo>
                <a:lnTo>
                  <a:pt x="2089" y="554"/>
                </a:lnTo>
                <a:lnTo>
                  <a:pt x="2074" y="556"/>
                </a:lnTo>
                <a:lnTo>
                  <a:pt x="2074" y="554"/>
                </a:lnTo>
                <a:lnTo>
                  <a:pt x="2077" y="547"/>
                </a:lnTo>
                <a:lnTo>
                  <a:pt x="2086" y="547"/>
                </a:lnTo>
                <a:lnTo>
                  <a:pt x="2093" y="544"/>
                </a:lnTo>
                <a:lnTo>
                  <a:pt x="2101" y="542"/>
                </a:lnTo>
                <a:lnTo>
                  <a:pt x="2096" y="542"/>
                </a:lnTo>
                <a:lnTo>
                  <a:pt x="2093" y="540"/>
                </a:lnTo>
                <a:lnTo>
                  <a:pt x="2089" y="535"/>
                </a:lnTo>
                <a:lnTo>
                  <a:pt x="2077" y="532"/>
                </a:lnTo>
                <a:lnTo>
                  <a:pt x="2082" y="528"/>
                </a:lnTo>
                <a:lnTo>
                  <a:pt x="2079" y="521"/>
                </a:lnTo>
                <a:lnTo>
                  <a:pt x="2074" y="514"/>
                </a:lnTo>
                <a:lnTo>
                  <a:pt x="2070" y="509"/>
                </a:lnTo>
                <a:lnTo>
                  <a:pt x="2044" y="490"/>
                </a:lnTo>
                <a:lnTo>
                  <a:pt x="2037" y="485"/>
                </a:lnTo>
                <a:lnTo>
                  <a:pt x="2020" y="480"/>
                </a:lnTo>
                <a:lnTo>
                  <a:pt x="2013" y="480"/>
                </a:lnTo>
                <a:lnTo>
                  <a:pt x="2008" y="485"/>
                </a:lnTo>
                <a:lnTo>
                  <a:pt x="2008" y="495"/>
                </a:lnTo>
                <a:lnTo>
                  <a:pt x="2011" y="504"/>
                </a:lnTo>
                <a:lnTo>
                  <a:pt x="2018" y="504"/>
                </a:lnTo>
                <a:lnTo>
                  <a:pt x="2008" y="511"/>
                </a:lnTo>
                <a:lnTo>
                  <a:pt x="2006" y="514"/>
                </a:lnTo>
                <a:lnTo>
                  <a:pt x="2006" y="516"/>
                </a:lnTo>
                <a:lnTo>
                  <a:pt x="1999" y="518"/>
                </a:lnTo>
                <a:lnTo>
                  <a:pt x="1994" y="521"/>
                </a:lnTo>
                <a:lnTo>
                  <a:pt x="1992" y="528"/>
                </a:lnTo>
                <a:lnTo>
                  <a:pt x="1985" y="535"/>
                </a:lnTo>
                <a:lnTo>
                  <a:pt x="1977" y="537"/>
                </a:lnTo>
                <a:lnTo>
                  <a:pt x="1970" y="535"/>
                </a:lnTo>
                <a:lnTo>
                  <a:pt x="1975" y="532"/>
                </a:lnTo>
                <a:lnTo>
                  <a:pt x="1980" y="530"/>
                </a:lnTo>
                <a:lnTo>
                  <a:pt x="1982" y="525"/>
                </a:lnTo>
                <a:lnTo>
                  <a:pt x="1985" y="523"/>
                </a:lnTo>
                <a:lnTo>
                  <a:pt x="1980" y="516"/>
                </a:lnTo>
                <a:lnTo>
                  <a:pt x="1968" y="516"/>
                </a:lnTo>
                <a:lnTo>
                  <a:pt x="1963" y="509"/>
                </a:lnTo>
                <a:lnTo>
                  <a:pt x="1959" y="514"/>
                </a:lnTo>
                <a:lnTo>
                  <a:pt x="1930" y="511"/>
                </a:lnTo>
                <a:lnTo>
                  <a:pt x="1928" y="509"/>
                </a:lnTo>
                <a:lnTo>
                  <a:pt x="1918" y="504"/>
                </a:lnTo>
                <a:lnTo>
                  <a:pt x="1916" y="502"/>
                </a:lnTo>
                <a:lnTo>
                  <a:pt x="1914" y="504"/>
                </a:lnTo>
                <a:lnTo>
                  <a:pt x="1904" y="509"/>
                </a:lnTo>
                <a:lnTo>
                  <a:pt x="1902" y="516"/>
                </a:lnTo>
                <a:lnTo>
                  <a:pt x="1899" y="518"/>
                </a:lnTo>
                <a:lnTo>
                  <a:pt x="1897" y="516"/>
                </a:lnTo>
                <a:lnTo>
                  <a:pt x="1892" y="511"/>
                </a:lnTo>
                <a:lnTo>
                  <a:pt x="1890" y="511"/>
                </a:lnTo>
                <a:lnTo>
                  <a:pt x="1888" y="514"/>
                </a:lnTo>
                <a:lnTo>
                  <a:pt x="1888" y="516"/>
                </a:lnTo>
                <a:lnTo>
                  <a:pt x="1888" y="521"/>
                </a:lnTo>
                <a:lnTo>
                  <a:pt x="1892" y="521"/>
                </a:lnTo>
                <a:lnTo>
                  <a:pt x="1892" y="525"/>
                </a:lnTo>
                <a:lnTo>
                  <a:pt x="1885" y="525"/>
                </a:lnTo>
                <a:lnTo>
                  <a:pt x="1880" y="530"/>
                </a:lnTo>
                <a:lnTo>
                  <a:pt x="1878" y="537"/>
                </a:lnTo>
                <a:lnTo>
                  <a:pt x="1880" y="544"/>
                </a:lnTo>
                <a:lnTo>
                  <a:pt x="1888" y="547"/>
                </a:lnTo>
                <a:lnTo>
                  <a:pt x="1892" y="544"/>
                </a:lnTo>
                <a:lnTo>
                  <a:pt x="1902" y="537"/>
                </a:lnTo>
                <a:lnTo>
                  <a:pt x="1899" y="544"/>
                </a:lnTo>
                <a:lnTo>
                  <a:pt x="1892" y="554"/>
                </a:lnTo>
                <a:lnTo>
                  <a:pt x="1890" y="561"/>
                </a:lnTo>
                <a:lnTo>
                  <a:pt x="1888" y="568"/>
                </a:lnTo>
                <a:lnTo>
                  <a:pt x="1880" y="570"/>
                </a:lnTo>
                <a:lnTo>
                  <a:pt x="1859" y="575"/>
                </a:lnTo>
                <a:lnTo>
                  <a:pt x="1847" y="580"/>
                </a:lnTo>
                <a:lnTo>
                  <a:pt x="1805" y="618"/>
                </a:lnTo>
                <a:lnTo>
                  <a:pt x="1760" y="651"/>
                </a:lnTo>
                <a:lnTo>
                  <a:pt x="1734" y="665"/>
                </a:lnTo>
                <a:lnTo>
                  <a:pt x="1729" y="672"/>
                </a:lnTo>
                <a:lnTo>
                  <a:pt x="1727" y="672"/>
                </a:lnTo>
                <a:lnTo>
                  <a:pt x="1717" y="677"/>
                </a:lnTo>
                <a:lnTo>
                  <a:pt x="1708" y="684"/>
                </a:lnTo>
                <a:lnTo>
                  <a:pt x="1705" y="686"/>
                </a:lnTo>
                <a:lnTo>
                  <a:pt x="1705" y="679"/>
                </a:lnTo>
                <a:lnTo>
                  <a:pt x="1708" y="672"/>
                </a:lnTo>
                <a:lnTo>
                  <a:pt x="1710" y="667"/>
                </a:lnTo>
                <a:lnTo>
                  <a:pt x="1708" y="665"/>
                </a:lnTo>
                <a:lnTo>
                  <a:pt x="1710" y="665"/>
                </a:lnTo>
                <a:lnTo>
                  <a:pt x="1713" y="663"/>
                </a:lnTo>
                <a:lnTo>
                  <a:pt x="1713" y="660"/>
                </a:lnTo>
                <a:lnTo>
                  <a:pt x="1713" y="658"/>
                </a:lnTo>
                <a:lnTo>
                  <a:pt x="1715" y="658"/>
                </a:lnTo>
                <a:lnTo>
                  <a:pt x="1717" y="660"/>
                </a:lnTo>
                <a:lnTo>
                  <a:pt x="1717" y="663"/>
                </a:lnTo>
                <a:lnTo>
                  <a:pt x="1720" y="660"/>
                </a:lnTo>
                <a:lnTo>
                  <a:pt x="1722" y="658"/>
                </a:lnTo>
                <a:lnTo>
                  <a:pt x="1717" y="653"/>
                </a:lnTo>
                <a:lnTo>
                  <a:pt x="1720" y="653"/>
                </a:lnTo>
                <a:lnTo>
                  <a:pt x="1722" y="653"/>
                </a:lnTo>
                <a:lnTo>
                  <a:pt x="1727" y="651"/>
                </a:lnTo>
                <a:lnTo>
                  <a:pt x="1727" y="653"/>
                </a:lnTo>
                <a:lnTo>
                  <a:pt x="1727" y="651"/>
                </a:lnTo>
                <a:lnTo>
                  <a:pt x="1727" y="653"/>
                </a:lnTo>
                <a:lnTo>
                  <a:pt x="1729" y="653"/>
                </a:lnTo>
                <a:lnTo>
                  <a:pt x="1729" y="655"/>
                </a:lnTo>
                <a:lnTo>
                  <a:pt x="1729" y="655"/>
                </a:lnTo>
                <a:lnTo>
                  <a:pt x="1724" y="655"/>
                </a:lnTo>
                <a:lnTo>
                  <a:pt x="1727" y="658"/>
                </a:lnTo>
                <a:lnTo>
                  <a:pt x="1731" y="655"/>
                </a:lnTo>
                <a:lnTo>
                  <a:pt x="1734" y="651"/>
                </a:lnTo>
                <a:lnTo>
                  <a:pt x="1731" y="646"/>
                </a:lnTo>
                <a:lnTo>
                  <a:pt x="1734" y="641"/>
                </a:lnTo>
                <a:lnTo>
                  <a:pt x="1739" y="641"/>
                </a:lnTo>
                <a:lnTo>
                  <a:pt x="1743" y="639"/>
                </a:lnTo>
                <a:lnTo>
                  <a:pt x="1746" y="634"/>
                </a:lnTo>
                <a:lnTo>
                  <a:pt x="1748" y="627"/>
                </a:lnTo>
                <a:lnTo>
                  <a:pt x="1743" y="629"/>
                </a:lnTo>
                <a:lnTo>
                  <a:pt x="1739" y="637"/>
                </a:lnTo>
                <a:lnTo>
                  <a:pt x="1736" y="637"/>
                </a:lnTo>
                <a:lnTo>
                  <a:pt x="1729" y="632"/>
                </a:lnTo>
                <a:lnTo>
                  <a:pt x="1727" y="629"/>
                </a:lnTo>
                <a:lnTo>
                  <a:pt x="1724" y="622"/>
                </a:lnTo>
                <a:lnTo>
                  <a:pt x="1720" y="627"/>
                </a:lnTo>
                <a:lnTo>
                  <a:pt x="1713" y="637"/>
                </a:lnTo>
                <a:lnTo>
                  <a:pt x="1708" y="644"/>
                </a:lnTo>
                <a:lnTo>
                  <a:pt x="1713" y="648"/>
                </a:lnTo>
                <a:lnTo>
                  <a:pt x="1713" y="651"/>
                </a:lnTo>
                <a:lnTo>
                  <a:pt x="1708" y="651"/>
                </a:lnTo>
                <a:lnTo>
                  <a:pt x="1701" y="648"/>
                </a:lnTo>
                <a:lnTo>
                  <a:pt x="1701" y="651"/>
                </a:lnTo>
                <a:lnTo>
                  <a:pt x="1698" y="651"/>
                </a:lnTo>
                <a:lnTo>
                  <a:pt x="1694" y="641"/>
                </a:lnTo>
                <a:lnTo>
                  <a:pt x="1691" y="651"/>
                </a:lnTo>
                <a:lnTo>
                  <a:pt x="1694" y="653"/>
                </a:lnTo>
                <a:lnTo>
                  <a:pt x="1705" y="655"/>
                </a:lnTo>
                <a:lnTo>
                  <a:pt x="1705" y="658"/>
                </a:lnTo>
                <a:lnTo>
                  <a:pt x="1701" y="660"/>
                </a:lnTo>
                <a:lnTo>
                  <a:pt x="1696" y="663"/>
                </a:lnTo>
                <a:lnTo>
                  <a:pt x="1694" y="663"/>
                </a:lnTo>
                <a:lnTo>
                  <a:pt x="1694" y="658"/>
                </a:lnTo>
                <a:lnTo>
                  <a:pt x="1684" y="658"/>
                </a:lnTo>
                <a:lnTo>
                  <a:pt x="1672" y="667"/>
                </a:lnTo>
                <a:lnTo>
                  <a:pt x="1663" y="679"/>
                </a:lnTo>
                <a:lnTo>
                  <a:pt x="1658" y="693"/>
                </a:lnTo>
                <a:lnTo>
                  <a:pt x="1660" y="696"/>
                </a:lnTo>
                <a:lnTo>
                  <a:pt x="1660" y="696"/>
                </a:lnTo>
                <a:lnTo>
                  <a:pt x="1658" y="698"/>
                </a:lnTo>
                <a:lnTo>
                  <a:pt x="1658" y="703"/>
                </a:lnTo>
                <a:lnTo>
                  <a:pt x="1660" y="708"/>
                </a:lnTo>
                <a:lnTo>
                  <a:pt x="1663" y="710"/>
                </a:lnTo>
                <a:lnTo>
                  <a:pt x="1660" y="715"/>
                </a:lnTo>
                <a:lnTo>
                  <a:pt x="1660" y="717"/>
                </a:lnTo>
                <a:lnTo>
                  <a:pt x="1663" y="719"/>
                </a:lnTo>
                <a:lnTo>
                  <a:pt x="1660" y="724"/>
                </a:lnTo>
                <a:lnTo>
                  <a:pt x="1660" y="726"/>
                </a:lnTo>
                <a:lnTo>
                  <a:pt x="1656" y="726"/>
                </a:lnTo>
                <a:lnTo>
                  <a:pt x="1656" y="729"/>
                </a:lnTo>
                <a:lnTo>
                  <a:pt x="1658" y="734"/>
                </a:lnTo>
                <a:lnTo>
                  <a:pt x="1656" y="741"/>
                </a:lnTo>
                <a:lnTo>
                  <a:pt x="1656" y="745"/>
                </a:lnTo>
                <a:lnTo>
                  <a:pt x="1653" y="748"/>
                </a:lnTo>
                <a:lnTo>
                  <a:pt x="1649" y="750"/>
                </a:lnTo>
                <a:lnTo>
                  <a:pt x="1644" y="748"/>
                </a:lnTo>
                <a:lnTo>
                  <a:pt x="1639" y="748"/>
                </a:lnTo>
                <a:lnTo>
                  <a:pt x="1637" y="748"/>
                </a:lnTo>
                <a:lnTo>
                  <a:pt x="1637" y="757"/>
                </a:lnTo>
                <a:lnTo>
                  <a:pt x="1642" y="762"/>
                </a:lnTo>
                <a:lnTo>
                  <a:pt x="1646" y="769"/>
                </a:lnTo>
                <a:lnTo>
                  <a:pt x="1649" y="771"/>
                </a:lnTo>
                <a:lnTo>
                  <a:pt x="1651" y="769"/>
                </a:lnTo>
                <a:lnTo>
                  <a:pt x="1653" y="762"/>
                </a:lnTo>
                <a:lnTo>
                  <a:pt x="1653" y="757"/>
                </a:lnTo>
                <a:lnTo>
                  <a:pt x="1651" y="752"/>
                </a:lnTo>
                <a:lnTo>
                  <a:pt x="1658" y="755"/>
                </a:lnTo>
                <a:lnTo>
                  <a:pt x="1660" y="757"/>
                </a:lnTo>
                <a:lnTo>
                  <a:pt x="1660" y="764"/>
                </a:lnTo>
                <a:lnTo>
                  <a:pt x="1663" y="771"/>
                </a:lnTo>
                <a:lnTo>
                  <a:pt x="1660" y="774"/>
                </a:lnTo>
                <a:lnTo>
                  <a:pt x="1658" y="776"/>
                </a:lnTo>
                <a:lnTo>
                  <a:pt x="1660" y="778"/>
                </a:lnTo>
                <a:lnTo>
                  <a:pt x="1663" y="781"/>
                </a:lnTo>
                <a:lnTo>
                  <a:pt x="1663" y="786"/>
                </a:lnTo>
                <a:lnTo>
                  <a:pt x="1668" y="790"/>
                </a:lnTo>
                <a:lnTo>
                  <a:pt x="1672" y="793"/>
                </a:lnTo>
                <a:lnTo>
                  <a:pt x="1679" y="793"/>
                </a:lnTo>
                <a:lnTo>
                  <a:pt x="1677" y="790"/>
                </a:lnTo>
                <a:lnTo>
                  <a:pt x="1677" y="790"/>
                </a:lnTo>
                <a:lnTo>
                  <a:pt x="1675" y="790"/>
                </a:lnTo>
                <a:lnTo>
                  <a:pt x="1679" y="786"/>
                </a:lnTo>
                <a:lnTo>
                  <a:pt x="1684" y="778"/>
                </a:lnTo>
                <a:lnTo>
                  <a:pt x="1689" y="776"/>
                </a:lnTo>
                <a:lnTo>
                  <a:pt x="1686" y="783"/>
                </a:lnTo>
                <a:lnTo>
                  <a:pt x="1689" y="790"/>
                </a:lnTo>
                <a:lnTo>
                  <a:pt x="1694" y="795"/>
                </a:lnTo>
                <a:lnTo>
                  <a:pt x="1696" y="800"/>
                </a:lnTo>
                <a:lnTo>
                  <a:pt x="1698" y="814"/>
                </a:lnTo>
                <a:lnTo>
                  <a:pt x="1703" y="831"/>
                </a:lnTo>
                <a:lnTo>
                  <a:pt x="1701" y="831"/>
                </a:lnTo>
                <a:lnTo>
                  <a:pt x="1696" y="828"/>
                </a:lnTo>
                <a:lnTo>
                  <a:pt x="1696" y="826"/>
                </a:lnTo>
                <a:lnTo>
                  <a:pt x="1696" y="821"/>
                </a:lnTo>
                <a:lnTo>
                  <a:pt x="1696" y="819"/>
                </a:lnTo>
                <a:lnTo>
                  <a:pt x="1694" y="831"/>
                </a:lnTo>
                <a:lnTo>
                  <a:pt x="1694" y="838"/>
                </a:lnTo>
                <a:lnTo>
                  <a:pt x="1698" y="840"/>
                </a:lnTo>
                <a:lnTo>
                  <a:pt x="1703" y="840"/>
                </a:lnTo>
                <a:lnTo>
                  <a:pt x="1703" y="838"/>
                </a:lnTo>
                <a:lnTo>
                  <a:pt x="1703" y="838"/>
                </a:lnTo>
                <a:lnTo>
                  <a:pt x="1701" y="833"/>
                </a:lnTo>
                <a:lnTo>
                  <a:pt x="1708" y="838"/>
                </a:lnTo>
                <a:lnTo>
                  <a:pt x="1713" y="845"/>
                </a:lnTo>
                <a:lnTo>
                  <a:pt x="1717" y="849"/>
                </a:lnTo>
                <a:lnTo>
                  <a:pt x="1722" y="854"/>
                </a:lnTo>
                <a:lnTo>
                  <a:pt x="1722" y="857"/>
                </a:lnTo>
                <a:lnTo>
                  <a:pt x="1720" y="859"/>
                </a:lnTo>
                <a:lnTo>
                  <a:pt x="1717" y="859"/>
                </a:lnTo>
                <a:lnTo>
                  <a:pt x="1717" y="859"/>
                </a:lnTo>
                <a:lnTo>
                  <a:pt x="1715" y="861"/>
                </a:lnTo>
                <a:lnTo>
                  <a:pt x="1720" y="866"/>
                </a:lnTo>
                <a:lnTo>
                  <a:pt x="1724" y="859"/>
                </a:lnTo>
                <a:lnTo>
                  <a:pt x="1724" y="854"/>
                </a:lnTo>
                <a:lnTo>
                  <a:pt x="1722" y="849"/>
                </a:lnTo>
                <a:lnTo>
                  <a:pt x="1717" y="842"/>
                </a:lnTo>
                <a:lnTo>
                  <a:pt x="1722" y="847"/>
                </a:lnTo>
                <a:lnTo>
                  <a:pt x="1727" y="849"/>
                </a:lnTo>
                <a:lnTo>
                  <a:pt x="1731" y="852"/>
                </a:lnTo>
                <a:lnTo>
                  <a:pt x="1731" y="857"/>
                </a:lnTo>
                <a:lnTo>
                  <a:pt x="1736" y="861"/>
                </a:lnTo>
                <a:lnTo>
                  <a:pt x="1739" y="861"/>
                </a:lnTo>
                <a:lnTo>
                  <a:pt x="1743" y="864"/>
                </a:lnTo>
                <a:lnTo>
                  <a:pt x="1750" y="871"/>
                </a:lnTo>
                <a:lnTo>
                  <a:pt x="1757" y="875"/>
                </a:lnTo>
                <a:lnTo>
                  <a:pt x="1760" y="873"/>
                </a:lnTo>
                <a:lnTo>
                  <a:pt x="1760" y="873"/>
                </a:lnTo>
                <a:lnTo>
                  <a:pt x="1757" y="873"/>
                </a:lnTo>
                <a:lnTo>
                  <a:pt x="1757" y="873"/>
                </a:lnTo>
                <a:lnTo>
                  <a:pt x="1757" y="868"/>
                </a:lnTo>
                <a:lnTo>
                  <a:pt x="1762" y="868"/>
                </a:lnTo>
                <a:lnTo>
                  <a:pt x="1765" y="871"/>
                </a:lnTo>
                <a:lnTo>
                  <a:pt x="1769" y="873"/>
                </a:lnTo>
                <a:lnTo>
                  <a:pt x="1772" y="875"/>
                </a:lnTo>
                <a:lnTo>
                  <a:pt x="1772" y="880"/>
                </a:lnTo>
                <a:lnTo>
                  <a:pt x="1769" y="885"/>
                </a:lnTo>
                <a:lnTo>
                  <a:pt x="1772" y="887"/>
                </a:lnTo>
                <a:lnTo>
                  <a:pt x="1769" y="892"/>
                </a:lnTo>
                <a:lnTo>
                  <a:pt x="1769" y="894"/>
                </a:lnTo>
                <a:lnTo>
                  <a:pt x="1769" y="897"/>
                </a:lnTo>
                <a:lnTo>
                  <a:pt x="1767" y="897"/>
                </a:lnTo>
                <a:lnTo>
                  <a:pt x="1765" y="899"/>
                </a:lnTo>
                <a:lnTo>
                  <a:pt x="1765" y="904"/>
                </a:lnTo>
                <a:lnTo>
                  <a:pt x="1767" y="918"/>
                </a:lnTo>
                <a:lnTo>
                  <a:pt x="1765" y="923"/>
                </a:lnTo>
                <a:lnTo>
                  <a:pt x="1762" y="932"/>
                </a:lnTo>
                <a:lnTo>
                  <a:pt x="1755" y="944"/>
                </a:lnTo>
                <a:lnTo>
                  <a:pt x="1755" y="942"/>
                </a:lnTo>
                <a:lnTo>
                  <a:pt x="1753" y="937"/>
                </a:lnTo>
                <a:lnTo>
                  <a:pt x="1750" y="932"/>
                </a:lnTo>
                <a:lnTo>
                  <a:pt x="1748" y="930"/>
                </a:lnTo>
                <a:lnTo>
                  <a:pt x="1750" y="920"/>
                </a:lnTo>
                <a:lnTo>
                  <a:pt x="1750" y="913"/>
                </a:lnTo>
                <a:lnTo>
                  <a:pt x="1748" y="909"/>
                </a:lnTo>
                <a:lnTo>
                  <a:pt x="1746" y="909"/>
                </a:lnTo>
                <a:lnTo>
                  <a:pt x="1741" y="911"/>
                </a:lnTo>
                <a:lnTo>
                  <a:pt x="1739" y="916"/>
                </a:lnTo>
                <a:lnTo>
                  <a:pt x="1739" y="918"/>
                </a:lnTo>
                <a:lnTo>
                  <a:pt x="1736" y="925"/>
                </a:lnTo>
                <a:lnTo>
                  <a:pt x="1736" y="930"/>
                </a:lnTo>
                <a:lnTo>
                  <a:pt x="1746" y="932"/>
                </a:lnTo>
                <a:lnTo>
                  <a:pt x="1746" y="935"/>
                </a:lnTo>
                <a:lnTo>
                  <a:pt x="1743" y="939"/>
                </a:lnTo>
                <a:lnTo>
                  <a:pt x="1741" y="939"/>
                </a:lnTo>
                <a:lnTo>
                  <a:pt x="1741" y="944"/>
                </a:lnTo>
                <a:lnTo>
                  <a:pt x="1743" y="944"/>
                </a:lnTo>
                <a:lnTo>
                  <a:pt x="1746" y="944"/>
                </a:lnTo>
                <a:lnTo>
                  <a:pt x="1748" y="944"/>
                </a:lnTo>
                <a:lnTo>
                  <a:pt x="1748" y="951"/>
                </a:lnTo>
                <a:lnTo>
                  <a:pt x="1743" y="956"/>
                </a:lnTo>
                <a:lnTo>
                  <a:pt x="1736" y="958"/>
                </a:lnTo>
                <a:lnTo>
                  <a:pt x="1731" y="954"/>
                </a:lnTo>
                <a:lnTo>
                  <a:pt x="1727" y="951"/>
                </a:lnTo>
                <a:lnTo>
                  <a:pt x="1717" y="944"/>
                </a:lnTo>
                <a:lnTo>
                  <a:pt x="1713" y="939"/>
                </a:lnTo>
                <a:lnTo>
                  <a:pt x="1708" y="942"/>
                </a:lnTo>
                <a:lnTo>
                  <a:pt x="1703" y="949"/>
                </a:lnTo>
                <a:lnTo>
                  <a:pt x="1703" y="951"/>
                </a:lnTo>
                <a:lnTo>
                  <a:pt x="1705" y="951"/>
                </a:lnTo>
                <a:lnTo>
                  <a:pt x="1703" y="982"/>
                </a:lnTo>
                <a:lnTo>
                  <a:pt x="1703" y="999"/>
                </a:lnTo>
                <a:lnTo>
                  <a:pt x="1708" y="1017"/>
                </a:lnTo>
                <a:lnTo>
                  <a:pt x="1715" y="1029"/>
                </a:lnTo>
                <a:lnTo>
                  <a:pt x="1717" y="1036"/>
                </a:lnTo>
                <a:lnTo>
                  <a:pt x="1720" y="1039"/>
                </a:lnTo>
                <a:lnTo>
                  <a:pt x="1722" y="1043"/>
                </a:lnTo>
                <a:lnTo>
                  <a:pt x="1724" y="1072"/>
                </a:lnTo>
                <a:lnTo>
                  <a:pt x="1729" y="1091"/>
                </a:lnTo>
                <a:lnTo>
                  <a:pt x="1743" y="1133"/>
                </a:lnTo>
                <a:lnTo>
                  <a:pt x="1748" y="1143"/>
                </a:lnTo>
                <a:lnTo>
                  <a:pt x="1748" y="1145"/>
                </a:lnTo>
                <a:lnTo>
                  <a:pt x="1750" y="1148"/>
                </a:lnTo>
                <a:lnTo>
                  <a:pt x="1755" y="1155"/>
                </a:lnTo>
                <a:lnTo>
                  <a:pt x="1757" y="1155"/>
                </a:lnTo>
                <a:lnTo>
                  <a:pt x="1757" y="1164"/>
                </a:lnTo>
                <a:lnTo>
                  <a:pt x="1762" y="1174"/>
                </a:lnTo>
                <a:lnTo>
                  <a:pt x="1769" y="1188"/>
                </a:lnTo>
                <a:lnTo>
                  <a:pt x="1776" y="1200"/>
                </a:lnTo>
                <a:lnTo>
                  <a:pt x="1788" y="1209"/>
                </a:lnTo>
                <a:lnTo>
                  <a:pt x="1802" y="1219"/>
                </a:lnTo>
                <a:lnTo>
                  <a:pt x="1810" y="1230"/>
                </a:lnTo>
                <a:lnTo>
                  <a:pt x="1821" y="1237"/>
                </a:lnTo>
                <a:lnTo>
                  <a:pt x="1833" y="1245"/>
                </a:lnTo>
                <a:lnTo>
                  <a:pt x="1843" y="1247"/>
                </a:lnTo>
                <a:lnTo>
                  <a:pt x="1862" y="1268"/>
                </a:lnTo>
                <a:lnTo>
                  <a:pt x="1873" y="1275"/>
                </a:lnTo>
                <a:lnTo>
                  <a:pt x="1883" y="1282"/>
                </a:lnTo>
                <a:lnTo>
                  <a:pt x="1890" y="1285"/>
                </a:lnTo>
                <a:lnTo>
                  <a:pt x="1904" y="1287"/>
                </a:lnTo>
                <a:lnTo>
                  <a:pt x="1918" y="1287"/>
                </a:lnTo>
                <a:lnTo>
                  <a:pt x="1925" y="1290"/>
                </a:lnTo>
                <a:lnTo>
                  <a:pt x="1937" y="1297"/>
                </a:lnTo>
                <a:lnTo>
                  <a:pt x="1959" y="1301"/>
                </a:lnTo>
                <a:lnTo>
                  <a:pt x="1963" y="1306"/>
                </a:lnTo>
                <a:lnTo>
                  <a:pt x="1966" y="1308"/>
                </a:lnTo>
                <a:lnTo>
                  <a:pt x="2070" y="1377"/>
                </a:lnTo>
                <a:lnTo>
                  <a:pt x="2110" y="1391"/>
                </a:lnTo>
                <a:lnTo>
                  <a:pt x="2115" y="1394"/>
                </a:lnTo>
                <a:lnTo>
                  <a:pt x="2119" y="1396"/>
                </a:lnTo>
                <a:lnTo>
                  <a:pt x="2134" y="1401"/>
                </a:lnTo>
                <a:lnTo>
                  <a:pt x="2143" y="1403"/>
                </a:lnTo>
                <a:lnTo>
                  <a:pt x="2145" y="1401"/>
                </a:lnTo>
                <a:lnTo>
                  <a:pt x="2148" y="1398"/>
                </a:lnTo>
                <a:lnTo>
                  <a:pt x="2148" y="1396"/>
                </a:lnTo>
                <a:lnTo>
                  <a:pt x="2150" y="1396"/>
                </a:lnTo>
                <a:lnTo>
                  <a:pt x="2150" y="1394"/>
                </a:lnTo>
                <a:lnTo>
                  <a:pt x="2150" y="1394"/>
                </a:lnTo>
                <a:lnTo>
                  <a:pt x="2153" y="1391"/>
                </a:lnTo>
                <a:lnTo>
                  <a:pt x="2155" y="1394"/>
                </a:lnTo>
                <a:lnTo>
                  <a:pt x="2155" y="1394"/>
                </a:lnTo>
                <a:lnTo>
                  <a:pt x="2157" y="1396"/>
                </a:lnTo>
                <a:lnTo>
                  <a:pt x="2157" y="1396"/>
                </a:lnTo>
                <a:lnTo>
                  <a:pt x="2164" y="1398"/>
                </a:lnTo>
                <a:lnTo>
                  <a:pt x="2169" y="1405"/>
                </a:lnTo>
                <a:lnTo>
                  <a:pt x="2174" y="1413"/>
                </a:lnTo>
                <a:lnTo>
                  <a:pt x="2176" y="1415"/>
                </a:lnTo>
                <a:lnTo>
                  <a:pt x="2183" y="1415"/>
                </a:lnTo>
                <a:lnTo>
                  <a:pt x="2190" y="1417"/>
                </a:lnTo>
                <a:lnTo>
                  <a:pt x="2193" y="1422"/>
                </a:lnTo>
                <a:lnTo>
                  <a:pt x="2193" y="1429"/>
                </a:lnTo>
                <a:lnTo>
                  <a:pt x="2254" y="1536"/>
                </a:lnTo>
                <a:lnTo>
                  <a:pt x="2259" y="1543"/>
                </a:lnTo>
                <a:lnTo>
                  <a:pt x="2261" y="1545"/>
                </a:lnTo>
                <a:lnTo>
                  <a:pt x="2266" y="1559"/>
                </a:lnTo>
                <a:lnTo>
                  <a:pt x="2269" y="1564"/>
                </a:lnTo>
                <a:lnTo>
                  <a:pt x="2273" y="1569"/>
                </a:lnTo>
                <a:lnTo>
                  <a:pt x="2285" y="1588"/>
                </a:lnTo>
                <a:lnTo>
                  <a:pt x="2292" y="1602"/>
                </a:lnTo>
                <a:lnTo>
                  <a:pt x="2304" y="1637"/>
                </a:lnTo>
                <a:lnTo>
                  <a:pt x="2342" y="1722"/>
                </a:lnTo>
                <a:lnTo>
                  <a:pt x="2358" y="1749"/>
                </a:lnTo>
                <a:lnTo>
                  <a:pt x="2366" y="1760"/>
                </a:lnTo>
                <a:lnTo>
                  <a:pt x="2389" y="1789"/>
                </a:lnTo>
                <a:lnTo>
                  <a:pt x="2394" y="1793"/>
                </a:lnTo>
                <a:lnTo>
                  <a:pt x="2396" y="1798"/>
                </a:lnTo>
                <a:lnTo>
                  <a:pt x="2448" y="1846"/>
                </a:lnTo>
                <a:lnTo>
                  <a:pt x="2472" y="1860"/>
                </a:lnTo>
                <a:lnTo>
                  <a:pt x="2496" y="1869"/>
                </a:lnTo>
                <a:lnTo>
                  <a:pt x="2507" y="1876"/>
                </a:lnTo>
                <a:lnTo>
                  <a:pt x="2524" y="1895"/>
                </a:lnTo>
                <a:lnTo>
                  <a:pt x="2571" y="1928"/>
                </a:lnTo>
                <a:lnTo>
                  <a:pt x="2583" y="1933"/>
                </a:lnTo>
                <a:lnTo>
                  <a:pt x="2602" y="1938"/>
                </a:lnTo>
                <a:lnTo>
                  <a:pt x="2614" y="1938"/>
                </a:lnTo>
                <a:lnTo>
                  <a:pt x="2619" y="1940"/>
                </a:lnTo>
                <a:lnTo>
                  <a:pt x="2623" y="1947"/>
                </a:lnTo>
                <a:lnTo>
                  <a:pt x="2628" y="1964"/>
                </a:lnTo>
                <a:lnTo>
                  <a:pt x="2630" y="1971"/>
                </a:lnTo>
                <a:lnTo>
                  <a:pt x="2635" y="1978"/>
                </a:lnTo>
                <a:lnTo>
                  <a:pt x="2642" y="1978"/>
                </a:lnTo>
                <a:lnTo>
                  <a:pt x="2649" y="1978"/>
                </a:lnTo>
                <a:lnTo>
                  <a:pt x="2657" y="1983"/>
                </a:lnTo>
                <a:lnTo>
                  <a:pt x="2668" y="1990"/>
                </a:lnTo>
                <a:lnTo>
                  <a:pt x="2680" y="1992"/>
                </a:lnTo>
                <a:lnTo>
                  <a:pt x="2706" y="1992"/>
                </a:lnTo>
                <a:lnTo>
                  <a:pt x="2718" y="1995"/>
                </a:lnTo>
                <a:lnTo>
                  <a:pt x="2725" y="1997"/>
                </a:lnTo>
                <a:lnTo>
                  <a:pt x="2735" y="2006"/>
                </a:lnTo>
                <a:lnTo>
                  <a:pt x="2737" y="2009"/>
                </a:lnTo>
                <a:lnTo>
                  <a:pt x="2744" y="2009"/>
                </a:lnTo>
                <a:lnTo>
                  <a:pt x="2758" y="2016"/>
                </a:lnTo>
                <a:lnTo>
                  <a:pt x="2765" y="2018"/>
                </a:lnTo>
                <a:lnTo>
                  <a:pt x="2777" y="2018"/>
                </a:lnTo>
                <a:lnTo>
                  <a:pt x="2813" y="2011"/>
                </a:lnTo>
                <a:lnTo>
                  <a:pt x="2851" y="2014"/>
                </a:lnTo>
                <a:lnTo>
                  <a:pt x="2865" y="2011"/>
                </a:lnTo>
                <a:lnTo>
                  <a:pt x="2914" y="1992"/>
                </a:lnTo>
                <a:lnTo>
                  <a:pt x="2964" y="1985"/>
                </a:lnTo>
                <a:lnTo>
                  <a:pt x="3040" y="1959"/>
                </a:lnTo>
                <a:lnTo>
                  <a:pt x="3068" y="1961"/>
                </a:lnTo>
                <a:lnTo>
                  <a:pt x="3068" y="1961"/>
                </a:lnTo>
                <a:lnTo>
                  <a:pt x="3078" y="1964"/>
                </a:lnTo>
                <a:lnTo>
                  <a:pt x="3085" y="1973"/>
                </a:lnTo>
                <a:lnTo>
                  <a:pt x="3092" y="1971"/>
                </a:lnTo>
                <a:lnTo>
                  <a:pt x="3092" y="1978"/>
                </a:lnTo>
                <a:lnTo>
                  <a:pt x="3094" y="1985"/>
                </a:lnTo>
                <a:lnTo>
                  <a:pt x="3101" y="2002"/>
                </a:lnTo>
                <a:lnTo>
                  <a:pt x="3101" y="2006"/>
                </a:lnTo>
                <a:lnTo>
                  <a:pt x="3104" y="2014"/>
                </a:lnTo>
                <a:lnTo>
                  <a:pt x="3101" y="2018"/>
                </a:lnTo>
                <a:lnTo>
                  <a:pt x="3097" y="2028"/>
                </a:lnTo>
                <a:lnTo>
                  <a:pt x="3092" y="2035"/>
                </a:lnTo>
                <a:lnTo>
                  <a:pt x="3087" y="2037"/>
                </a:lnTo>
                <a:lnTo>
                  <a:pt x="3080" y="2042"/>
                </a:lnTo>
                <a:lnTo>
                  <a:pt x="3078" y="2047"/>
                </a:lnTo>
                <a:lnTo>
                  <a:pt x="3071" y="2058"/>
                </a:lnTo>
                <a:lnTo>
                  <a:pt x="3061" y="2070"/>
                </a:lnTo>
                <a:lnTo>
                  <a:pt x="3033" y="2094"/>
                </a:lnTo>
                <a:lnTo>
                  <a:pt x="3028" y="2106"/>
                </a:lnTo>
                <a:lnTo>
                  <a:pt x="3028" y="2122"/>
                </a:lnTo>
                <a:lnTo>
                  <a:pt x="3033" y="2139"/>
                </a:lnTo>
                <a:lnTo>
                  <a:pt x="3040" y="2151"/>
                </a:lnTo>
                <a:lnTo>
                  <a:pt x="3049" y="2160"/>
                </a:lnTo>
                <a:lnTo>
                  <a:pt x="3059" y="2167"/>
                </a:lnTo>
                <a:lnTo>
                  <a:pt x="3080" y="2177"/>
                </a:lnTo>
                <a:lnTo>
                  <a:pt x="3099" y="2179"/>
                </a:lnTo>
                <a:lnTo>
                  <a:pt x="3106" y="2181"/>
                </a:lnTo>
                <a:lnTo>
                  <a:pt x="3111" y="2186"/>
                </a:lnTo>
                <a:lnTo>
                  <a:pt x="3172" y="2200"/>
                </a:lnTo>
                <a:lnTo>
                  <a:pt x="3227" y="2217"/>
                </a:lnTo>
                <a:lnTo>
                  <a:pt x="3248" y="2219"/>
                </a:lnTo>
                <a:lnTo>
                  <a:pt x="3253" y="2222"/>
                </a:lnTo>
                <a:lnTo>
                  <a:pt x="3260" y="2226"/>
                </a:lnTo>
                <a:lnTo>
                  <a:pt x="3274" y="2231"/>
                </a:lnTo>
                <a:lnTo>
                  <a:pt x="3350" y="2243"/>
                </a:lnTo>
                <a:lnTo>
                  <a:pt x="3359" y="2245"/>
                </a:lnTo>
                <a:lnTo>
                  <a:pt x="3359" y="2245"/>
                </a:lnTo>
                <a:lnTo>
                  <a:pt x="3359" y="2243"/>
                </a:lnTo>
                <a:lnTo>
                  <a:pt x="3362" y="2243"/>
                </a:lnTo>
                <a:lnTo>
                  <a:pt x="3369" y="2248"/>
                </a:lnTo>
                <a:lnTo>
                  <a:pt x="3425" y="2255"/>
                </a:lnTo>
                <a:lnTo>
                  <a:pt x="3475" y="2269"/>
                </a:lnTo>
                <a:lnTo>
                  <a:pt x="3501" y="2281"/>
                </a:lnTo>
                <a:lnTo>
                  <a:pt x="3515" y="2290"/>
                </a:lnTo>
                <a:lnTo>
                  <a:pt x="3530" y="2305"/>
                </a:lnTo>
                <a:lnTo>
                  <a:pt x="3534" y="2307"/>
                </a:lnTo>
                <a:lnTo>
                  <a:pt x="3539" y="2307"/>
                </a:lnTo>
                <a:lnTo>
                  <a:pt x="3553" y="2314"/>
                </a:lnTo>
                <a:lnTo>
                  <a:pt x="3577" y="2331"/>
                </a:lnTo>
                <a:lnTo>
                  <a:pt x="3582" y="2333"/>
                </a:lnTo>
                <a:lnTo>
                  <a:pt x="3589" y="2333"/>
                </a:lnTo>
                <a:lnTo>
                  <a:pt x="3601" y="2338"/>
                </a:lnTo>
                <a:lnTo>
                  <a:pt x="3629" y="2338"/>
                </a:lnTo>
                <a:lnTo>
                  <a:pt x="3631" y="2340"/>
                </a:lnTo>
                <a:lnTo>
                  <a:pt x="3667" y="2347"/>
                </a:lnTo>
                <a:lnTo>
                  <a:pt x="3700" y="2361"/>
                </a:lnTo>
                <a:lnTo>
                  <a:pt x="3726" y="2361"/>
                </a:lnTo>
                <a:lnTo>
                  <a:pt x="3738" y="2364"/>
                </a:lnTo>
                <a:lnTo>
                  <a:pt x="3740" y="2373"/>
                </a:lnTo>
                <a:lnTo>
                  <a:pt x="3742" y="2373"/>
                </a:lnTo>
                <a:lnTo>
                  <a:pt x="3750" y="2368"/>
                </a:lnTo>
                <a:lnTo>
                  <a:pt x="3754" y="2368"/>
                </a:lnTo>
                <a:lnTo>
                  <a:pt x="3757" y="2371"/>
                </a:lnTo>
                <a:lnTo>
                  <a:pt x="3757" y="2375"/>
                </a:lnTo>
                <a:lnTo>
                  <a:pt x="3759" y="2378"/>
                </a:lnTo>
                <a:lnTo>
                  <a:pt x="3768" y="2385"/>
                </a:lnTo>
                <a:lnTo>
                  <a:pt x="3771" y="2387"/>
                </a:lnTo>
                <a:lnTo>
                  <a:pt x="3773" y="2406"/>
                </a:lnTo>
                <a:lnTo>
                  <a:pt x="3802" y="2420"/>
                </a:lnTo>
                <a:lnTo>
                  <a:pt x="3835" y="2432"/>
                </a:lnTo>
                <a:lnTo>
                  <a:pt x="3839" y="2432"/>
                </a:lnTo>
                <a:lnTo>
                  <a:pt x="3842" y="2432"/>
                </a:lnTo>
                <a:lnTo>
                  <a:pt x="3851" y="2442"/>
                </a:lnTo>
                <a:lnTo>
                  <a:pt x="3856" y="2444"/>
                </a:lnTo>
                <a:lnTo>
                  <a:pt x="3868" y="2451"/>
                </a:lnTo>
                <a:lnTo>
                  <a:pt x="3880" y="2463"/>
                </a:lnTo>
                <a:lnTo>
                  <a:pt x="3884" y="2468"/>
                </a:lnTo>
                <a:lnTo>
                  <a:pt x="3892" y="2470"/>
                </a:lnTo>
                <a:lnTo>
                  <a:pt x="3894" y="2472"/>
                </a:lnTo>
                <a:lnTo>
                  <a:pt x="3920" y="2496"/>
                </a:lnTo>
                <a:lnTo>
                  <a:pt x="3951" y="2541"/>
                </a:lnTo>
                <a:lnTo>
                  <a:pt x="3953" y="2543"/>
                </a:lnTo>
                <a:lnTo>
                  <a:pt x="3953" y="2543"/>
                </a:lnTo>
                <a:lnTo>
                  <a:pt x="3955" y="2543"/>
                </a:lnTo>
                <a:lnTo>
                  <a:pt x="3955" y="2551"/>
                </a:lnTo>
                <a:lnTo>
                  <a:pt x="3958" y="2553"/>
                </a:lnTo>
                <a:lnTo>
                  <a:pt x="3960" y="2555"/>
                </a:lnTo>
                <a:lnTo>
                  <a:pt x="3960" y="2560"/>
                </a:lnTo>
                <a:lnTo>
                  <a:pt x="3958" y="2565"/>
                </a:lnTo>
                <a:lnTo>
                  <a:pt x="3953" y="2570"/>
                </a:lnTo>
                <a:lnTo>
                  <a:pt x="3953" y="2581"/>
                </a:lnTo>
                <a:lnTo>
                  <a:pt x="3951" y="2588"/>
                </a:lnTo>
                <a:lnTo>
                  <a:pt x="3941" y="2598"/>
                </a:lnTo>
                <a:lnTo>
                  <a:pt x="3939" y="2619"/>
                </a:lnTo>
                <a:lnTo>
                  <a:pt x="3939" y="2624"/>
                </a:lnTo>
                <a:lnTo>
                  <a:pt x="3939" y="2633"/>
                </a:lnTo>
                <a:lnTo>
                  <a:pt x="3936" y="2643"/>
                </a:lnTo>
                <a:lnTo>
                  <a:pt x="3936" y="2645"/>
                </a:lnTo>
                <a:lnTo>
                  <a:pt x="3941" y="2657"/>
                </a:lnTo>
                <a:lnTo>
                  <a:pt x="3944" y="2662"/>
                </a:lnTo>
                <a:lnTo>
                  <a:pt x="3944" y="2685"/>
                </a:lnTo>
                <a:lnTo>
                  <a:pt x="3946" y="2688"/>
                </a:lnTo>
                <a:lnTo>
                  <a:pt x="3944" y="2690"/>
                </a:lnTo>
                <a:lnTo>
                  <a:pt x="3941" y="2695"/>
                </a:lnTo>
                <a:lnTo>
                  <a:pt x="3941" y="2697"/>
                </a:lnTo>
                <a:lnTo>
                  <a:pt x="3934" y="2700"/>
                </a:lnTo>
                <a:lnTo>
                  <a:pt x="3932" y="2700"/>
                </a:lnTo>
                <a:lnTo>
                  <a:pt x="3927" y="2697"/>
                </a:lnTo>
                <a:lnTo>
                  <a:pt x="3910" y="2688"/>
                </a:lnTo>
                <a:lnTo>
                  <a:pt x="3906" y="2688"/>
                </a:lnTo>
                <a:lnTo>
                  <a:pt x="3892" y="2690"/>
                </a:lnTo>
                <a:lnTo>
                  <a:pt x="3887" y="2693"/>
                </a:lnTo>
                <a:lnTo>
                  <a:pt x="3880" y="2688"/>
                </a:lnTo>
                <a:lnTo>
                  <a:pt x="3870" y="2685"/>
                </a:lnTo>
                <a:lnTo>
                  <a:pt x="3858" y="2678"/>
                </a:lnTo>
                <a:lnTo>
                  <a:pt x="3847" y="2674"/>
                </a:lnTo>
                <a:lnTo>
                  <a:pt x="3842" y="2674"/>
                </a:lnTo>
                <a:lnTo>
                  <a:pt x="3837" y="2671"/>
                </a:lnTo>
                <a:lnTo>
                  <a:pt x="3811" y="2645"/>
                </a:lnTo>
                <a:lnTo>
                  <a:pt x="3806" y="2643"/>
                </a:lnTo>
                <a:lnTo>
                  <a:pt x="3806" y="2638"/>
                </a:lnTo>
                <a:lnTo>
                  <a:pt x="3811" y="2638"/>
                </a:lnTo>
                <a:lnTo>
                  <a:pt x="3813" y="2633"/>
                </a:lnTo>
                <a:lnTo>
                  <a:pt x="3813" y="2629"/>
                </a:lnTo>
                <a:lnTo>
                  <a:pt x="3811" y="2624"/>
                </a:lnTo>
                <a:lnTo>
                  <a:pt x="3806" y="2622"/>
                </a:lnTo>
                <a:lnTo>
                  <a:pt x="3797" y="2619"/>
                </a:lnTo>
                <a:lnTo>
                  <a:pt x="3792" y="2619"/>
                </a:lnTo>
                <a:lnTo>
                  <a:pt x="3802" y="2610"/>
                </a:lnTo>
                <a:lnTo>
                  <a:pt x="3804" y="2598"/>
                </a:lnTo>
                <a:lnTo>
                  <a:pt x="3797" y="2591"/>
                </a:lnTo>
                <a:lnTo>
                  <a:pt x="3785" y="2581"/>
                </a:lnTo>
                <a:lnTo>
                  <a:pt x="3776" y="2577"/>
                </a:lnTo>
                <a:lnTo>
                  <a:pt x="3771" y="2572"/>
                </a:lnTo>
                <a:lnTo>
                  <a:pt x="3766" y="2567"/>
                </a:lnTo>
                <a:lnTo>
                  <a:pt x="3766" y="2558"/>
                </a:lnTo>
                <a:lnTo>
                  <a:pt x="3764" y="2551"/>
                </a:lnTo>
                <a:lnTo>
                  <a:pt x="3759" y="2546"/>
                </a:lnTo>
                <a:lnTo>
                  <a:pt x="3757" y="2543"/>
                </a:lnTo>
                <a:lnTo>
                  <a:pt x="3759" y="2543"/>
                </a:lnTo>
                <a:lnTo>
                  <a:pt x="3759" y="2539"/>
                </a:lnTo>
                <a:lnTo>
                  <a:pt x="3742" y="2532"/>
                </a:lnTo>
                <a:lnTo>
                  <a:pt x="3735" y="2529"/>
                </a:lnTo>
                <a:lnTo>
                  <a:pt x="3631" y="2548"/>
                </a:lnTo>
                <a:lnTo>
                  <a:pt x="3624" y="2548"/>
                </a:lnTo>
                <a:lnTo>
                  <a:pt x="3605" y="2541"/>
                </a:lnTo>
                <a:lnTo>
                  <a:pt x="3603" y="2541"/>
                </a:lnTo>
                <a:lnTo>
                  <a:pt x="3596" y="2543"/>
                </a:lnTo>
                <a:lnTo>
                  <a:pt x="3593" y="2543"/>
                </a:lnTo>
                <a:lnTo>
                  <a:pt x="3591" y="2543"/>
                </a:lnTo>
                <a:lnTo>
                  <a:pt x="3584" y="2539"/>
                </a:lnTo>
                <a:lnTo>
                  <a:pt x="3582" y="2539"/>
                </a:lnTo>
                <a:lnTo>
                  <a:pt x="3577" y="2536"/>
                </a:lnTo>
                <a:lnTo>
                  <a:pt x="3558" y="2532"/>
                </a:lnTo>
                <a:lnTo>
                  <a:pt x="3539" y="2529"/>
                </a:lnTo>
                <a:lnTo>
                  <a:pt x="3530" y="2525"/>
                </a:lnTo>
                <a:lnTo>
                  <a:pt x="3525" y="2520"/>
                </a:lnTo>
                <a:lnTo>
                  <a:pt x="3532" y="2515"/>
                </a:lnTo>
                <a:lnTo>
                  <a:pt x="3537" y="2508"/>
                </a:lnTo>
                <a:lnTo>
                  <a:pt x="3537" y="2501"/>
                </a:lnTo>
                <a:lnTo>
                  <a:pt x="3530" y="2496"/>
                </a:lnTo>
                <a:lnTo>
                  <a:pt x="3534" y="2491"/>
                </a:lnTo>
                <a:lnTo>
                  <a:pt x="3551" y="2491"/>
                </a:lnTo>
                <a:lnTo>
                  <a:pt x="3556" y="2487"/>
                </a:lnTo>
                <a:lnTo>
                  <a:pt x="3556" y="2480"/>
                </a:lnTo>
                <a:lnTo>
                  <a:pt x="3551" y="2480"/>
                </a:lnTo>
                <a:lnTo>
                  <a:pt x="3539" y="2487"/>
                </a:lnTo>
                <a:lnTo>
                  <a:pt x="3539" y="2487"/>
                </a:lnTo>
                <a:lnTo>
                  <a:pt x="3539" y="2484"/>
                </a:lnTo>
                <a:lnTo>
                  <a:pt x="3532" y="2482"/>
                </a:lnTo>
                <a:lnTo>
                  <a:pt x="3527" y="2487"/>
                </a:lnTo>
                <a:lnTo>
                  <a:pt x="3522" y="2491"/>
                </a:lnTo>
                <a:lnTo>
                  <a:pt x="3515" y="2496"/>
                </a:lnTo>
                <a:lnTo>
                  <a:pt x="3513" y="2494"/>
                </a:lnTo>
                <a:lnTo>
                  <a:pt x="3511" y="2491"/>
                </a:lnTo>
                <a:lnTo>
                  <a:pt x="3508" y="2489"/>
                </a:lnTo>
                <a:lnTo>
                  <a:pt x="3506" y="2487"/>
                </a:lnTo>
                <a:lnTo>
                  <a:pt x="3504" y="2484"/>
                </a:lnTo>
                <a:lnTo>
                  <a:pt x="3496" y="2487"/>
                </a:lnTo>
                <a:lnTo>
                  <a:pt x="3494" y="2487"/>
                </a:lnTo>
                <a:lnTo>
                  <a:pt x="3470" y="2489"/>
                </a:lnTo>
                <a:lnTo>
                  <a:pt x="3449" y="2506"/>
                </a:lnTo>
                <a:lnTo>
                  <a:pt x="3433" y="2529"/>
                </a:lnTo>
                <a:lnTo>
                  <a:pt x="3404" y="2598"/>
                </a:lnTo>
                <a:lnTo>
                  <a:pt x="3399" y="2612"/>
                </a:lnTo>
                <a:lnTo>
                  <a:pt x="3397" y="2638"/>
                </a:lnTo>
                <a:lnTo>
                  <a:pt x="3395" y="2643"/>
                </a:lnTo>
                <a:lnTo>
                  <a:pt x="3392" y="2648"/>
                </a:lnTo>
                <a:lnTo>
                  <a:pt x="3385" y="2669"/>
                </a:lnTo>
                <a:lnTo>
                  <a:pt x="3371" y="2690"/>
                </a:lnTo>
                <a:lnTo>
                  <a:pt x="3366" y="2700"/>
                </a:lnTo>
                <a:lnTo>
                  <a:pt x="3366" y="2716"/>
                </a:lnTo>
                <a:lnTo>
                  <a:pt x="3369" y="2721"/>
                </a:lnTo>
                <a:lnTo>
                  <a:pt x="3376" y="2737"/>
                </a:lnTo>
                <a:lnTo>
                  <a:pt x="3383" y="2749"/>
                </a:lnTo>
                <a:lnTo>
                  <a:pt x="3380" y="2754"/>
                </a:lnTo>
                <a:lnTo>
                  <a:pt x="3376" y="2759"/>
                </a:lnTo>
                <a:lnTo>
                  <a:pt x="3373" y="2771"/>
                </a:lnTo>
                <a:lnTo>
                  <a:pt x="3362" y="2787"/>
                </a:lnTo>
                <a:lnTo>
                  <a:pt x="3354" y="2811"/>
                </a:lnTo>
                <a:lnTo>
                  <a:pt x="3352" y="2825"/>
                </a:lnTo>
                <a:lnTo>
                  <a:pt x="3354" y="2837"/>
                </a:lnTo>
                <a:lnTo>
                  <a:pt x="3359" y="2849"/>
                </a:lnTo>
                <a:lnTo>
                  <a:pt x="3371" y="2858"/>
                </a:lnTo>
                <a:lnTo>
                  <a:pt x="3371" y="2861"/>
                </a:lnTo>
                <a:lnTo>
                  <a:pt x="3369" y="2872"/>
                </a:lnTo>
                <a:lnTo>
                  <a:pt x="3380" y="2882"/>
                </a:lnTo>
                <a:lnTo>
                  <a:pt x="3397" y="2889"/>
                </a:lnTo>
                <a:lnTo>
                  <a:pt x="3409" y="2891"/>
                </a:lnTo>
                <a:lnTo>
                  <a:pt x="3447" y="2884"/>
                </a:lnTo>
                <a:lnTo>
                  <a:pt x="3459" y="2887"/>
                </a:lnTo>
                <a:lnTo>
                  <a:pt x="3463" y="2889"/>
                </a:lnTo>
                <a:lnTo>
                  <a:pt x="3470" y="2891"/>
                </a:lnTo>
                <a:lnTo>
                  <a:pt x="3477" y="2898"/>
                </a:lnTo>
                <a:lnTo>
                  <a:pt x="3480" y="2903"/>
                </a:lnTo>
                <a:lnTo>
                  <a:pt x="3482" y="2905"/>
                </a:lnTo>
                <a:lnTo>
                  <a:pt x="3504" y="2913"/>
                </a:lnTo>
                <a:lnTo>
                  <a:pt x="3520" y="2922"/>
                </a:lnTo>
                <a:lnTo>
                  <a:pt x="3527" y="2922"/>
                </a:lnTo>
                <a:lnTo>
                  <a:pt x="3534" y="2922"/>
                </a:lnTo>
                <a:lnTo>
                  <a:pt x="3541" y="2922"/>
                </a:lnTo>
                <a:lnTo>
                  <a:pt x="3546" y="2927"/>
                </a:lnTo>
                <a:lnTo>
                  <a:pt x="3551" y="2931"/>
                </a:lnTo>
                <a:lnTo>
                  <a:pt x="3558" y="2939"/>
                </a:lnTo>
                <a:lnTo>
                  <a:pt x="3570" y="2943"/>
                </a:lnTo>
                <a:lnTo>
                  <a:pt x="3582" y="2948"/>
                </a:lnTo>
                <a:lnTo>
                  <a:pt x="3593" y="2946"/>
                </a:lnTo>
                <a:lnTo>
                  <a:pt x="3586" y="2976"/>
                </a:lnTo>
                <a:lnTo>
                  <a:pt x="3589" y="3000"/>
                </a:lnTo>
                <a:lnTo>
                  <a:pt x="3591" y="3007"/>
                </a:lnTo>
                <a:lnTo>
                  <a:pt x="3593" y="3012"/>
                </a:lnTo>
                <a:lnTo>
                  <a:pt x="3596" y="3017"/>
                </a:lnTo>
                <a:lnTo>
                  <a:pt x="3603" y="3024"/>
                </a:lnTo>
                <a:lnTo>
                  <a:pt x="3605" y="3028"/>
                </a:lnTo>
                <a:lnTo>
                  <a:pt x="3605" y="3043"/>
                </a:lnTo>
                <a:lnTo>
                  <a:pt x="3605" y="3066"/>
                </a:lnTo>
                <a:lnTo>
                  <a:pt x="3608" y="3081"/>
                </a:lnTo>
                <a:lnTo>
                  <a:pt x="3617" y="3092"/>
                </a:lnTo>
                <a:lnTo>
                  <a:pt x="3619" y="3097"/>
                </a:lnTo>
                <a:lnTo>
                  <a:pt x="3622" y="3099"/>
                </a:lnTo>
                <a:lnTo>
                  <a:pt x="3634" y="3099"/>
                </a:lnTo>
                <a:lnTo>
                  <a:pt x="3638" y="3099"/>
                </a:lnTo>
                <a:lnTo>
                  <a:pt x="3634" y="3107"/>
                </a:lnTo>
                <a:lnTo>
                  <a:pt x="3631" y="3109"/>
                </a:lnTo>
                <a:lnTo>
                  <a:pt x="3629" y="3111"/>
                </a:lnTo>
                <a:lnTo>
                  <a:pt x="3634" y="3128"/>
                </a:lnTo>
                <a:lnTo>
                  <a:pt x="3634" y="3130"/>
                </a:lnTo>
                <a:lnTo>
                  <a:pt x="3624" y="3142"/>
                </a:lnTo>
                <a:lnTo>
                  <a:pt x="3624" y="3144"/>
                </a:lnTo>
                <a:lnTo>
                  <a:pt x="3622" y="3147"/>
                </a:lnTo>
                <a:lnTo>
                  <a:pt x="3619" y="3152"/>
                </a:lnTo>
                <a:lnTo>
                  <a:pt x="3617" y="3161"/>
                </a:lnTo>
                <a:lnTo>
                  <a:pt x="3612" y="3154"/>
                </a:lnTo>
                <a:lnTo>
                  <a:pt x="3603" y="3154"/>
                </a:lnTo>
                <a:lnTo>
                  <a:pt x="3596" y="3159"/>
                </a:lnTo>
                <a:lnTo>
                  <a:pt x="3591" y="3163"/>
                </a:lnTo>
                <a:lnTo>
                  <a:pt x="3579" y="3156"/>
                </a:lnTo>
                <a:lnTo>
                  <a:pt x="3574" y="3154"/>
                </a:lnTo>
                <a:lnTo>
                  <a:pt x="3567" y="3154"/>
                </a:lnTo>
                <a:lnTo>
                  <a:pt x="3560" y="3156"/>
                </a:lnTo>
                <a:lnTo>
                  <a:pt x="3530" y="3170"/>
                </a:lnTo>
                <a:lnTo>
                  <a:pt x="3499" y="3194"/>
                </a:lnTo>
                <a:lnTo>
                  <a:pt x="3487" y="3208"/>
                </a:lnTo>
                <a:lnTo>
                  <a:pt x="3485" y="3211"/>
                </a:lnTo>
                <a:lnTo>
                  <a:pt x="3482" y="3215"/>
                </a:lnTo>
                <a:lnTo>
                  <a:pt x="3466" y="3230"/>
                </a:lnTo>
                <a:lnTo>
                  <a:pt x="3459" y="3239"/>
                </a:lnTo>
                <a:lnTo>
                  <a:pt x="3456" y="3244"/>
                </a:lnTo>
                <a:lnTo>
                  <a:pt x="3456" y="3258"/>
                </a:lnTo>
                <a:lnTo>
                  <a:pt x="3451" y="3265"/>
                </a:lnTo>
                <a:lnTo>
                  <a:pt x="3449" y="3272"/>
                </a:lnTo>
                <a:lnTo>
                  <a:pt x="3451" y="3284"/>
                </a:lnTo>
                <a:lnTo>
                  <a:pt x="3454" y="3284"/>
                </a:lnTo>
                <a:lnTo>
                  <a:pt x="3456" y="3286"/>
                </a:lnTo>
                <a:lnTo>
                  <a:pt x="3456" y="3293"/>
                </a:lnTo>
                <a:lnTo>
                  <a:pt x="3466" y="3324"/>
                </a:lnTo>
                <a:lnTo>
                  <a:pt x="3477" y="3353"/>
                </a:lnTo>
                <a:lnTo>
                  <a:pt x="3480" y="3362"/>
                </a:lnTo>
                <a:lnTo>
                  <a:pt x="3482" y="3393"/>
                </a:lnTo>
                <a:lnTo>
                  <a:pt x="3480" y="3400"/>
                </a:lnTo>
                <a:lnTo>
                  <a:pt x="3470" y="3414"/>
                </a:lnTo>
                <a:lnTo>
                  <a:pt x="3466" y="3421"/>
                </a:lnTo>
                <a:lnTo>
                  <a:pt x="3463" y="3424"/>
                </a:lnTo>
                <a:lnTo>
                  <a:pt x="3456" y="3433"/>
                </a:lnTo>
                <a:lnTo>
                  <a:pt x="3447" y="3440"/>
                </a:lnTo>
                <a:lnTo>
                  <a:pt x="3418" y="3461"/>
                </a:lnTo>
                <a:lnTo>
                  <a:pt x="3409" y="3473"/>
                </a:lnTo>
                <a:lnTo>
                  <a:pt x="3376" y="3540"/>
                </a:lnTo>
                <a:lnTo>
                  <a:pt x="3371" y="3554"/>
                </a:lnTo>
                <a:lnTo>
                  <a:pt x="3371" y="3599"/>
                </a:lnTo>
                <a:lnTo>
                  <a:pt x="3369" y="3613"/>
                </a:lnTo>
                <a:lnTo>
                  <a:pt x="3366" y="3620"/>
                </a:lnTo>
                <a:lnTo>
                  <a:pt x="3364" y="3625"/>
                </a:lnTo>
                <a:lnTo>
                  <a:pt x="3359" y="3629"/>
                </a:lnTo>
                <a:lnTo>
                  <a:pt x="3357" y="3634"/>
                </a:lnTo>
                <a:lnTo>
                  <a:pt x="3340" y="3641"/>
                </a:lnTo>
                <a:lnTo>
                  <a:pt x="3336" y="3644"/>
                </a:lnTo>
                <a:lnTo>
                  <a:pt x="3317" y="3641"/>
                </a:lnTo>
                <a:lnTo>
                  <a:pt x="3257" y="3658"/>
                </a:lnTo>
                <a:lnTo>
                  <a:pt x="3250" y="3655"/>
                </a:lnTo>
                <a:lnTo>
                  <a:pt x="3241" y="3653"/>
                </a:lnTo>
                <a:lnTo>
                  <a:pt x="3231" y="3651"/>
                </a:lnTo>
                <a:lnTo>
                  <a:pt x="3224" y="3646"/>
                </a:lnTo>
                <a:lnTo>
                  <a:pt x="3217" y="3639"/>
                </a:lnTo>
                <a:lnTo>
                  <a:pt x="3213" y="3629"/>
                </a:lnTo>
                <a:lnTo>
                  <a:pt x="3213" y="3622"/>
                </a:lnTo>
                <a:lnTo>
                  <a:pt x="3217" y="3615"/>
                </a:lnTo>
                <a:lnTo>
                  <a:pt x="3205" y="3603"/>
                </a:lnTo>
                <a:lnTo>
                  <a:pt x="3203" y="3596"/>
                </a:lnTo>
                <a:lnTo>
                  <a:pt x="3203" y="3589"/>
                </a:lnTo>
                <a:lnTo>
                  <a:pt x="3205" y="3580"/>
                </a:lnTo>
                <a:lnTo>
                  <a:pt x="3205" y="3573"/>
                </a:lnTo>
                <a:lnTo>
                  <a:pt x="3205" y="3566"/>
                </a:lnTo>
                <a:lnTo>
                  <a:pt x="3201" y="3556"/>
                </a:lnTo>
                <a:lnTo>
                  <a:pt x="3196" y="3542"/>
                </a:lnTo>
                <a:lnTo>
                  <a:pt x="3201" y="3532"/>
                </a:lnTo>
                <a:lnTo>
                  <a:pt x="3210" y="3525"/>
                </a:lnTo>
                <a:lnTo>
                  <a:pt x="3241" y="3509"/>
                </a:lnTo>
                <a:lnTo>
                  <a:pt x="3243" y="3504"/>
                </a:lnTo>
                <a:lnTo>
                  <a:pt x="3243" y="3502"/>
                </a:lnTo>
                <a:lnTo>
                  <a:pt x="3248" y="3497"/>
                </a:lnTo>
                <a:lnTo>
                  <a:pt x="3248" y="3495"/>
                </a:lnTo>
                <a:lnTo>
                  <a:pt x="3250" y="3476"/>
                </a:lnTo>
                <a:lnTo>
                  <a:pt x="3265" y="3419"/>
                </a:lnTo>
                <a:lnTo>
                  <a:pt x="3267" y="3400"/>
                </a:lnTo>
                <a:lnTo>
                  <a:pt x="3262" y="3386"/>
                </a:lnTo>
                <a:lnTo>
                  <a:pt x="3255" y="3376"/>
                </a:lnTo>
                <a:lnTo>
                  <a:pt x="3246" y="3367"/>
                </a:lnTo>
                <a:lnTo>
                  <a:pt x="3243" y="3364"/>
                </a:lnTo>
                <a:lnTo>
                  <a:pt x="3239" y="3364"/>
                </a:lnTo>
                <a:lnTo>
                  <a:pt x="3236" y="3362"/>
                </a:lnTo>
                <a:lnTo>
                  <a:pt x="3231" y="3360"/>
                </a:lnTo>
                <a:lnTo>
                  <a:pt x="3231" y="3357"/>
                </a:lnTo>
                <a:lnTo>
                  <a:pt x="3231" y="3355"/>
                </a:lnTo>
                <a:lnTo>
                  <a:pt x="3231" y="3350"/>
                </a:lnTo>
                <a:lnTo>
                  <a:pt x="3231" y="3346"/>
                </a:lnTo>
                <a:lnTo>
                  <a:pt x="3239" y="3341"/>
                </a:lnTo>
                <a:lnTo>
                  <a:pt x="3250" y="3334"/>
                </a:lnTo>
                <a:lnTo>
                  <a:pt x="3269" y="3315"/>
                </a:lnTo>
                <a:lnTo>
                  <a:pt x="3279" y="3308"/>
                </a:lnTo>
                <a:lnTo>
                  <a:pt x="3293" y="3303"/>
                </a:lnTo>
                <a:lnTo>
                  <a:pt x="3317" y="3301"/>
                </a:lnTo>
                <a:lnTo>
                  <a:pt x="3321" y="3298"/>
                </a:lnTo>
                <a:lnTo>
                  <a:pt x="3326" y="3296"/>
                </a:lnTo>
                <a:lnTo>
                  <a:pt x="3333" y="3286"/>
                </a:lnTo>
                <a:lnTo>
                  <a:pt x="3338" y="3272"/>
                </a:lnTo>
                <a:lnTo>
                  <a:pt x="3340" y="3256"/>
                </a:lnTo>
                <a:lnTo>
                  <a:pt x="3338" y="3239"/>
                </a:lnTo>
                <a:lnTo>
                  <a:pt x="3336" y="3220"/>
                </a:lnTo>
                <a:lnTo>
                  <a:pt x="3331" y="3213"/>
                </a:lnTo>
                <a:lnTo>
                  <a:pt x="3328" y="3206"/>
                </a:lnTo>
                <a:lnTo>
                  <a:pt x="3321" y="3204"/>
                </a:lnTo>
                <a:lnTo>
                  <a:pt x="3314" y="3204"/>
                </a:lnTo>
                <a:lnTo>
                  <a:pt x="3310" y="3201"/>
                </a:lnTo>
                <a:lnTo>
                  <a:pt x="3305" y="3194"/>
                </a:lnTo>
                <a:lnTo>
                  <a:pt x="3279" y="3156"/>
                </a:lnTo>
                <a:lnTo>
                  <a:pt x="3248" y="3062"/>
                </a:lnTo>
                <a:lnTo>
                  <a:pt x="3241" y="3047"/>
                </a:lnTo>
                <a:lnTo>
                  <a:pt x="3205" y="2991"/>
                </a:lnTo>
                <a:lnTo>
                  <a:pt x="3198" y="2984"/>
                </a:lnTo>
                <a:lnTo>
                  <a:pt x="3186" y="2974"/>
                </a:lnTo>
                <a:lnTo>
                  <a:pt x="3177" y="2969"/>
                </a:lnTo>
                <a:lnTo>
                  <a:pt x="3172" y="2967"/>
                </a:lnTo>
                <a:lnTo>
                  <a:pt x="3170" y="2955"/>
                </a:lnTo>
                <a:lnTo>
                  <a:pt x="3163" y="2946"/>
                </a:lnTo>
                <a:lnTo>
                  <a:pt x="3156" y="2931"/>
                </a:lnTo>
                <a:lnTo>
                  <a:pt x="3149" y="2922"/>
                </a:lnTo>
                <a:lnTo>
                  <a:pt x="3144" y="2915"/>
                </a:lnTo>
                <a:lnTo>
                  <a:pt x="3132" y="2875"/>
                </a:lnTo>
                <a:lnTo>
                  <a:pt x="3132" y="2877"/>
                </a:lnTo>
                <a:lnTo>
                  <a:pt x="3127" y="2868"/>
                </a:lnTo>
                <a:lnTo>
                  <a:pt x="3125" y="2865"/>
                </a:lnTo>
                <a:lnTo>
                  <a:pt x="3123" y="2863"/>
                </a:lnTo>
                <a:lnTo>
                  <a:pt x="3123" y="2861"/>
                </a:lnTo>
                <a:lnTo>
                  <a:pt x="3123" y="2844"/>
                </a:lnTo>
                <a:lnTo>
                  <a:pt x="3120" y="2834"/>
                </a:lnTo>
                <a:lnTo>
                  <a:pt x="3106" y="2820"/>
                </a:lnTo>
                <a:lnTo>
                  <a:pt x="3104" y="2816"/>
                </a:lnTo>
                <a:lnTo>
                  <a:pt x="3099" y="2806"/>
                </a:lnTo>
                <a:lnTo>
                  <a:pt x="3094" y="2801"/>
                </a:lnTo>
                <a:lnTo>
                  <a:pt x="3080" y="2792"/>
                </a:lnTo>
                <a:lnTo>
                  <a:pt x="3068" y="2778"/>
                </a:lnTo>
                <a:lnTo>
                  <a:pt x="3061" y="2775"/>
                </a:lnTo>
                <a:lnTo>
                  <a:pt x="3059" y="2771"/>
                </a:lnTo>
                <a:lnTo>
                  <a:pt x="3059" y="2766"/>
                </a:lnTo>
                <a:lnTo>
                  <a:pt x="3054" y="2768"/>
                </a:lnTo>
                <a:lnTo>
                  <a:pt x="3030" y="2771"/>
                </a:lnTo>
                <a:lnTo>
                  <a:pt x="3023" y="2775"/>
                </a:lnTo>
                <a:lnTo>
                  <a:pt x="3018" y="2782"/>
                </a:lnTo>
                <a:lnTo>
                  <a:pt x="3009" y="2797"/>
                </a:lnTo>
                <a:lnTo>
                  <a:pt x="3000" y="2808"/>
                </a:lnTo>
                <a:lnTo>
                  <a:pt x="2995" y="2813"/>
                </a:lnTo>
                <a:lnTo>
                  <a:pt x="2985" y="2813"/>
                </a:lnTo>
                <a:lnTo>
                  <a:pt x="2978" y="2811"/>
                </a:lnTo>
                <a:lnTo>
                  <a:pt x="2964" y="2804"/>
                </a:lnTo>
                <a:lnTo>
                  <a:pt x="2959" y="2804"/>
                </a:lnTo>
                <a:lnTo>
                  <a:pt x="2957" y="2806"/>
                </a:lnTo>
                <a:lnTo>
                  <a:pt x="2955" y="2808"/>
                </a:lnTo>
                <a:lnTo>
                  <a:pt x="2950" y="2808"/>
                </a:lnTo>
                <a:lnTo>
                  <a:pt x="2948" y="2808"/>
                </a:lnTo>
                <a:lnTo>
                  <a:pt x="2948" y="2806"/>
                </a:lnTo>
                <a:lnTo>
                  <a:pt x="2952" y="2799"/>
                </a:lnTo>
                <a:lnTo>
                  <a:pt x="2945" y="2790"/>
                </a:lnTo>
                <a:lnTo>
                  <a:pt x="2933" y="2780"/>
                </a:lnTo>
                <a:lnTo>
                  <a:pt x="2926" y="2778"/>
                </a:lnTo>
                <a:lnTo>
                  <a:pt x="2919" y="2775"/>
                </a:lnTo>
                <a:lnTo>
                  <a:pt x="2895" y="2759"/>
                </a:lnTo>
                <a:lnTo>
                  <a:pt x="2891" y="2756"/>
                </a:lnTo>
                <a:lnTo>
                  <a:pt x="2884" y="2759"/>
                </a:lnTo>
                <a:lnTo>
                  <a:pt x="2877" y="2764"/>
                </a:lnTo>
                <a:lnTo>
                  <a:pt x="2869" y="2764"/>
                </a:lnTo>
                <a:lnTo>
                  <a:pt x="2865" y="2761"/>
                </a:lnTo>
                <a:lnTo>
                  <a:pt x="2858" y="2754"/>
                </a:lnTo>
                <a:lnTo>
                  <a:pt x="2843" y="2745"/>
                </a:lnTo>
                <a:lnTo>
                  <a:pt x="2841" y="2745"/>
                </a:lnTo>
                <a:lnTo>
                  <a:pt x="2836" y="2742"/>
                </a:lnTo>
                <a:lnTo>
                  <a:pt x="2824" y="2742"/>
                </a:lnTo>
                <a:lnTo>
                  <a:pt x="2822" y="2740"/>
                </a:lnTo>
                <a:lnTo>
                  <a:pt x="2820" y="2735"/>
                </a:lnTo>
                <a:lnTo>
                  <a:pt x="2824" y="2721"/>
                </a:lnTo>
                <a:lnTo>
                  <a:pt x="2827" y="2711"/>
                </a:lnTo>
                <a:lnTo>
                  <a:pt x="2822" y="2704"/>
                </a:lnTo>
                <a:lnTo>
                  <a:pt x="2822" y="2702"/>
                </a:lnTo>
                <a:lnTo>
                  <a:pt x="2824" y="2700"/>
                </a:lnTo>
                <a:lnTo>
                  <a:pt x="2829" y="2697"/>
                </a:lnTo>
                <a:lnTo>
                  <a:pt x="2832" y="2695"/>
                </a:lnTo>
                <a:lnTo>
                  <a:pt x="2834" y="2690"/>
                </a:lnTo>
                <a:lnTo>
                  <a:pt x="2834" y="2688"/>
                </a:lnTo>
                <a:lnTo>
                  <a:pt x="2836" y="2671"/>
                </a:lnTo>
                <a:lnTo>
                  <a:pt x="2829" y="2657"/>
                </a:lnTo>
                <a:lnTo>
                  <a:pt x="2791" y="2603"/>
                </a:lnTo>
                <a:lnTo>
                  <a:pt x="2780" y="2591"/>
                </a:lnTo>
                <a:lnTo>
                  <a:pt x="2770" y="2581"/>
                </a:lnTo>
                <a:lnTo>
                  <a:pt x="2761" y="2574"/>
                </a:lnTo>
                <a:lnTo>
                  <a:pt x="2751" y="2570"/>
                </a:lnTo>
                <a:lnTo>
                  <a:pt x="2742" y="2567"/>
                </a:lnTo>
                <a:lnTo>
                  <a:pt x="2732" y="2574"/>
                </a:lnTo>
                <a:lnTo>
                  <a:pt x="2723" y="2584"/>
                </a:lnTo>
                <a:lnTo>
                  <a:pt x="2720" y="2584"/>
                </a:lnTo>
                <a:lnTo>
                  <a:pt x="2704" y="2586"/>
                </a:lnTo>
                <a:lnTo>
                  <a:pt x="2699" y="2588"/>
                </a:lnTo>
                <a:lnTo>
                  <a:pt x="2687" y="2603"/>
                </a:lnTo>
                <a:lnTo>
                  <a:pt x="2680" y="2607"/>
                </a:lnTo>
                <a:lnTo>
                  <a:pt x="2671" y="2605"/>
                </a:lnTo>
                <a:lnTo>
                  <a:pt x="2661" y="2603"/>
                </a:lnTo>
                <a:lnTo>
                  <a:pt x="2657" y="2605"/>
                </a:lnTo>
                <a:lnTo>
                  <a:pt x="2642" y="2612"/>
                </a:lnTo>
                <a:lnTo>
                  <a:pt x="2635" y="2619"/>
                </a:lnTo>
                <a:lnTo>
                  <a:pt x="2623" y="2629"/>
                </a:lnTo>
                <a:lnTo>
                  <a:pt x="2619" y="2636"/>
                </a:lnTo>
                <a:lnTo>
                  <a:pt x="2614" y="2631"/>
                </a:lnTo>
                <a:lnTo>
                  <a:pt x="2614" y="2622"/>
                </a:lnTo>
                <a:lnTo>
                  <a:pt x="2614" y="2614"/>
                </a:lnTo>
                <a:lnTo>
                  <a:pt x="2621" y="2610"/>
                </a:lnTo>
                <a:lnTo>
                  <a:pt x="2628" y="2607"/>
                </a:lnTo>
                <a:lnTo>
                  <a:pt x="2628" y="2605"/>
                </a:lnTo>
                <a:lnTo>
                  <a:pt x="2630" y="2600"/>
                </a:lnTo>
                <a:lnTo>
                  <a:pt x="2633" y="2596"/>
                </a:lnTo>
                <a:lnTo>
                  <a:pt x="2652" y="2574"/>
                </a:lnTo>
                <a:lnTo>
                  <a:pt x="2654" y="2570"/>
                </a:lnTo>
                <a:lnTo>
                  <a:pt x="2649" y="2562"/>
                </a:lnTo>
                <a:lnTo>
                  <a:pt x="2645" y="2555"/>
                </a:lnTo>
                <a:lnTo>
                  <a:pt x="2638" y="2553"/>
                </a:lnTo>
                <a:lnTo>
                  <a:pt x="2633" y="2551"/>
                </a:lnTo>
                <a:lnTo>
                  <a:pt x="2628" y="2551"/>
                </a:lnTo>
                <a:lnTo>
                  <a:pt x="2623" y="2551"/>
                </a:lnTo>
                <a:lnTo>
                  <a:pt x="2621" y="2551"/>
                </a:lnTo>
                <a:lnTo>
                  <a:pt x="2619" y="2548"/>
                </a:lnTo>
                <a:lnTo>
                  <a:pt x="2614" y="2543"/>
                </a:lnTo>
                <a:lnTo>
                  <a:pt x="2612" y="2543"/>
                </a:lnTo>
                <a:lnTo>
                  <a:pt x="2607" y="2541"/>
                </a:lnTo>
                <a:lnTo>
                  <a:pt x="2593" y="2529"/>
                </a:lnTo>
                <a:lnTo>
                  <a:pt x="2586" y="2527"/>
                </a:lnTo>
                <a:lnTo>
                  <a:pt x="2581" y="2527"/>
                </a:lnTo>
                <a:lnTo>
                  <a:pt x="2571" y="2529"/>
                </a:lnTo>
                <a:lnTo>
                  <a:pt x="2564" y="2534"/>
                </a:lnTo>
                <a:lnTo>
                  <a:pt x="2562" y="2539"/>
                </a:lnTo>
                <a:lnTo>
                  <a:pt x="2560" y="2546"/>
                </a:lnTo>
                <a:lnTo>
                  <a:pt x="2552" y="2548"/>
                </a:lnTo>
                <a:lnTo>
                  <a:pt x="2529" y="2541"/>
                </a:lnTo>
                <a:lnTo>
                  <a:pt x="2524" y="2539"/>
                </a:lnTo>
                <a:lnTo>
                  <a:pt x="2519" y="2541"/>
                </a:lnTo>
                <a:lnTo>
                  <a:pt x="2519" y="2546"/>
                </a:lnTo>
                <a:lnTo>
                  <a:pt x="2519" y="2551"/>
                </a:lnTo>
                <a:lnTo>
                  <a:pt x="2522" y="2555"/>
                </a:lnTo>
                <a:lnTo>
                  <a:pt x="2524" y="2560"/>
                </a:lnTo>
                <a:lnTo>
                  <a:pt x="2522" y="2560"/>
                </a:lnTo>
                <a:lnTo>
                  <a:pt x="2510" y="2558"/>
                </a:lnTo>
                <a:lnTo>
                  <a:pt x="2510" y="2541"/>
                </a:lnTo>
                <a:lnTo>
                  <a:pt x="2505" y="2525"/>
                </a:lnTo>
                <a:lnTo>
                  <a:pt x="2472" y="2477"/>
                </a:lnTo>
                <a:lnTo>
                  <a:pt x="2460" y="2472"/>
                </a:lnTo>
                <a:lnTo>
                  <a:pt x="2455" y="2470"/>
                </a:lnTo>
                <a:lnTo>
                  <a:pt x="2453" y="2465"/>
                </a:lnTo>
                <a:lnTo>
                  <a:pt x="2453" y="2456"/>
                </a:lnTo>
                <a:lnTo>
                  <a:pt x="2451" y="2454"/>
                </a:lnTo>
                <a:lnTo>
                  <a:pt x="2439" y="2437"/>
                </a:lnTo>
                <a:lnTo>
                  <a:pt x="2401" y="2402"/>
                </a:lnTo>
                <a:lnTo>
                  <a:pt x="2380" y="2385"/>
                </a:lnTo>
                <a:lnTo>
                  <a:pt x="2375" y="2383"/>
                </a:lnTo>
                <a:lnTo>
                  <a:pt x="2366" y="2387"/>
                </a:lnTo>
                <a:lnTo>
                  <a:pt x="2361" y="2387"/>
                </a:lnTo>
                <a:lnTo>
                  <a:pt x="2358" y="2385"/>
                </a:lnTo>
                <a:lnTo>
                  <a:pt x="2339" y="2390"/>
                </a:lnTo>
                <a:lnTo>
                  <a:pt x="2330" y="2399"/>
                </a:lnTo>
                <a:lnTo>
                  <a:pt x="2337" y="2411"/>
                </a:lnTo>
                <a:lnTo>
                  <a:pt x="2328" y="2413"/>
                </a:lnTo>
                <a:lnTo>
                  <a:pt x="2323" y="2413"/>
                </a:lnTo>
                <a:lnTo>
                  <a:pt x="2321" y="2411"/>
                </a:lnTo>
                <a:lnTo>
                  <a:pt x="2318" y="2406"/>
                </a:lnTo>
                <a:lnTo>
                  <a:pt x="2316" y="2404"/>
                </a:lnTo>
                <a:lnTo>
                  <a:pt x="2313" y="2409"/>
                </a:lnTo>
                <a:lnTo>
                  <a:pt x="2311" y="2409"/>
                </a:lnTo>
                <a:lnTo>
                  <a:pt x="2304" y="2402"/>
                </a:lnTo>
                <a:lnTo>
                  <a:pt x="2252" y="2387"/>
                </a:lnTo>
                <a:lnTo>
                  <a:pt x="2240" y="2390"/>
                </a:lnTo>
                <a:lnTo>
                  <a:pt x="2216" y="2397"/>
                </a:lnTo>
                <a:lnTo>
                  <a:pt x="2209" y="2402"/>
                </a:lnTo>
                <a:lnTo>
                  <a:pt x="2200" y="2411"/>
                </a:lnTo>
                <a:lnTo>
                  <a:pt x="2190" y="2416"/>
                </a:lnTo>
                <a:lnTo>
                  <a:pt x="2183" y="2428"/>
                </a:lnTo>
                <a:lnTo>
                  <a:pt x="2176" y="2432"/>
                </a:lnTo>
                <a:lnTo>
                  <a:pt x="2169" y="2430"/>
                </a:lnTo>
                <a:lnTo>
                  <a:pt x="2167" y="2425"/>
                </a:lnTo>
                <a:lnTo>
                  <a:pt x="2164" y="2418"/>
                </a:lnTo>
                <a:lnTo>
                  <a:pt x="2160" y="2411"/>
                </a:lnTo>
                <a:lnTo>
                  <a:pt x="2155" y="2406"/>
                </a:lnTo>
                <a:lnTo>
                  <a:pt x="2148" y="2394"/>
                </a:lnTo>
                <a:lnTo>
                  <a:pt x="2143" y="2390"/>
                </a:lnTo>
                <a:lnTo>
                  <a:pt x="2122" y="2373"/>
                </a:lnTo>
                <a:lnTo>
                  <a:pt x="2110" y="2366"/>
                </a:lnTo>
                <a:lnTo>
                  <a:pt x="2101" y="2361"/>
                </a:lnTo>
                <a:lnTo>
                  <a:pt x="2093" y="2359"/>
                </a:lnTo>
                <a:lnTo>
                  <a:pt x="2070" y="2364"/>
                </a:lnTo>
                <a:lnTo>
                  <a:pt x="2065" y="2361"/>
                </a:lnTo>
                <a:lnTo>
                  <a:pt x="2039" y="2352"/>
                </a:lnTo>
                <a:lnTo>
                  <a:pt x="2032" y="2349"/>
                </a:lnTo>
                <a:lnTo>
                  <a:pt x="2030" y="2352"/>
                </a:lnTo>
                <a:lnTo>
                  <a:pt x="2027" y="2359"/>
                </a:lnTo>
                <a:lnTo>
                  <a:pt x="2022" y="2354"/>
                </a:lnTo>
                <a:lnTo>
                  <a:pt x="1994" y="2321"/>
                </a:lnTo>
                <a:lnTo>
                  <a:pt x="1959" y="2290"/>
                </a:lnTo>
                <a:lnTo>
                  <a:pt x="1921" y="2264"/>
                </a:lnTo>
                <a:lnTo>
                  <a:pt x="1916" y="2262"/>
                </a:lnTo>
                <a:lnTo>
                  <a:pt x="1907" y="2260"/>
                </a:lnTo>
                <a:lnTo>
                  <a:pt x="1902" y="2257"/>
                </a:lnTo>
                <a:lnTo>
                  <a:pt x="1897" y="2257"/>
                </a:lnTo>
                <a:lnTo>
                  <a:pt x="1888" y="2257"/>
                </a:lnTo>
                <a:lnTo>
                  <a:pt x="1885" y="2255"/>
                </a:lnTo>
                <a:lnTo>
                  <a:pt x="1880" y="2250"/>
                </a:lnTo>
                <a:lnTo>
                  <a:pt x="1876" y="2243"/>
                </a:lnTo>
                <a:lnTo>
                  <a:pt x="1873" y="2236"/>
                </a:lnTo>
                <a:lnTo>
                  <a:pt x="1873" y="2226"/>
                </a:lnTo>
                <a:lnTo>
                  <a:pt x="1871" y="2219"/>
                </a:lnTo>
                <a:lnTo>
                  <a:pt x="1866" y="2210"/>
                </a:lnTo>
                <a:lnTo>
                  <a:pt x="1857" y="2198"/>
                </a:lnTo>
                <a:lnTo>
                  <a:pt x="1847" y="2189"/>
                </a:lnTo>
                <a:lnTo>
                  <a:pt x="1814" y="2170"/>
                </a:lnTo>
                <a:lnTo>
                  <a:pt x="1810" y="2167"/>
                </a:lnTo>
                <a:lnTo>
                  <a:pt x="1807" y="2165"/>
                </a:lnTo>
                <a:lnTo>
                  <a:pt x="1805" y="2160"/>
                </a:lnTo>
                <a:lnTo>
                  <a:pt x="1802" y="2158"/>
                </a:lnTo>
                <a:lnTo>
                  <a:pt x="1793" y="2158"/>
                </a:lnTo>
                <a:lnTo>
                  <a:pt x="1791" y="2155"/>
                </a:lnTo>
                <a:lnTo>
                  <a:pt x="1786" y="2153"/>
                </a:lnTo>
                <a:lnTo>
                  <a:pt x="1779" y="2148"/>
                </a:lnTo>
                <a:lnTo>
                  <a:pt x="1774" y="2146"/>
                </a:lnTo>
                <a:lnTo>
                  <a:pt x="1767" y="2144"/>
                </a:lnTo>
                <a:lnTo>
                  <a:pt x="1743" y="2148"/>
                </a:lnTo>
                <a:lnTo>
                  <a:pt x="1741" y="2148"/>
                </a:lnTo>
                <a:lnTo>
                  <a:pt x="1739" y="2144"/>
                </a:lnTo>
                <a:lnTo>
                  <a:pt x="1734" y="2137"/>
                </a:lnTo>
                <a:lnTo>
                  <a:pt x="1727" y="2129"/>
                </a:lnTo>
                <a:lnTo>
                  <a:pt x="1722" y="2127"/>
                </a:lnTo>
                <a:lnTo>
                  <a:pt x="1720" y="2120"/>
                </a:lnTo>
                <a:lnTo>
                  <a:pt x="1710" y="2113"/>
                </a:lnTo>
                <a:lnTo>
                  <a:pt x="1708" y="2111"/>
                </a:lnTo>
                <a:lnTo>
                  <a:pt x="1708" y="2103"/>
                </a:lnTo>
                <a:lnTo>
                  <a:pt x="1703" y="2096"/>
                </a:lnTo>
                <a:lnTo>
                  <a:pt x="1682" y="2063"/>
                </a:lnTo>
                <a:lnTo>
                  <a:pt x="1672" y="2054"/>
                </a:lnTo>
                <a:lnTo>
                  <a:pt x="1632" y="2030"/>
                </a:lnTo>
                <a:lnTo>
                  <a:pt x="1616" y="2028"/>
                </a:lnTo>
                <a:lnTo>
                  <a:pt x="1594" y="2018"/>
                </a:lnTo>
                <a:lnTo>
                  <a:pt x="1585" y="2016"/>
                </a:lnTo>
                <a:lnTo>
                  <a:pt x="1585" y="2014"/>
                </a:lnTo>
                <a:lnTo>
                  <a:pt x="1582" y="2014"/>
                </a:lnTo>
                <a:lnTo>
                  <a:pt x="1580" y="2011"/>
                </a:lnTo>
                <a:lnTo>
                  <a:pt x="1575" y="2011"/>
                </a:lnTo>
                <a:lnTo>
                  <a:pt x="1573" y="2014"/>
                </a:lnTo>
                <a:lnTo>
                  <a:pt x="1575" y="2016"/>
                </a:lnTo>
                <a:lnTo>
                  <a:pt x="1566" y="2016"/>
                </a:lnTo>
                <a:lnTo>
                  <a:pt x="1542" y="2011"/>
                </a:lnTo>
                <a:lnTo>
                  <a:pt x="1537" y="2011"/>
                </a:lnTo>
                <a:lnTo>
                  <a:pt x="1533" y="2011"/>
                </a:lnTo>
                <a:lnTo>
                  <a:pt x="1528" y="2014"/>
                </a:lnTo>
                <a:lnTo>
                  <a:pt x="1526" y="2018"/>
                </a:lnTo>
                <a:lnTo>
                  <a:pt x="1526" y="2025"/>
                </a:lnTo>
                <a:lnTo>
                  <a:pt x="1521" y="2032"/>
                </a:lnTo>
                <a:lnTo>
                  <a:pt x="1521" y="2037"/>
                </a:lnTo>
                <a:lnTo>
                  <a:pt x="1519" y="2037"/>
                </a:lnTo>
                <a:lnTo>
                  <a:pt x="1516" y="2037"/>
                </a:lnTo>
                <a:lnTo>
                  <a:pt x="1514" y="2037"/>
                </a:lnTo>
                <a:lnTo>
                  <a:pt x="1514" y="2040"/>
                </a:lnTo>
                <a:lnTo>
                  <a:pt x="1509" y="2037"/>
                </a:lnTo>
                <a:lnTo>
                  <a:pt x="1504" y="2032"/>
                </a:lnTo>
                <a:lnTo>
                  <a:pt x="1497" y="2030"/>
                </a:lnTo>
                <a:lnTo>
                  <a:pt x="1492" y="2025"/>
                </a:lnTo>
                <a:lnTo>
                  <a:pt x="1488" y="2018"/>
                </a:lnTo>
                <a:lnTo>
                  <a:pt x="1485" y="2014"/>
                </a:lnTo>
                <a:lnTo>
                  <a:pt x="1490" y="2009"/>
                </a:lnTo>
                <a:lnTo>
                  <a:pt x="1497" y="2006"/>
                </a:lnTo>
                <a:lnTo>
                  <a:pt x="1511" y="2004"/>
                </a:lnTo>
                <a:lnTo>
                  <a:pt x="1514" y="1999"/>
                </a:lnTo>
                <a:lnTo>
                  <a:pt x="1516" y="1990"/>
                </a:lnTo>
                <a:lnTo>
                  <a:pt x="1516" y="1978"/>
                </a:lnTo>
                <a:lnTo>
                  <a:pt x="1514" y="1971"/>
                </a:lnTo>
                <a:lnTo>
                  <a:pt x="1507" y="1961"/>
                </a:lnTo>
                <a:lnTo>
                  <a:pt x="1502" y="1954"/>
                </a:lnTo>
                <a:lnTo>
                  <a:pt x="1500" y="1954"/>
                </a:lnTo>
                <a:lnTo>
                  <a:pt x="1497" y="1957"/>
                </a:lnTo>
                <a:lnTo>
                  <a:pt x="1495" y="1959"/>
                </a:lnTo>
                <a:lnTo>
                  <a:pt x="1490" y="1952"/>
                </a:lnTo>
                <a:lnTo>
                  <a:pt x="1485" y="1945"/>
                </a:lnTo>
                <a:lnTo>
                  <a:pt x="1481" y="1940"/>
                </a:lnTo>
                <a:lnTo>
                  <a:pt x="1476" y="1938"/>
                </a:lnTo>
                <a:lnTo>
                  <a:pt x="1474" y="1928"/>
                </a:lnTo>
                <a:lnTo>
                  <a:pt x="1466" y="1924"/>
                </a:lnTo>
                <a:lnTo>
                  <a:pt x="1450" y="1917"/>
                </a:lnTo>
                <a:lnTo>
                  <a:pt x="1448" y="1912"/>
                </a:lnTo>
                <a:lnTo>
                  <a:pt x="1445" y="1905"/>
                </a:lnTo>
                <a:lnTo>
                  <a:pt x="1443" y="1900"/>
                </a:lnTo>
                <a:lnTo>
                  <a:pt x="1440" y="1898"/>
                </a:lnTo>
                <a:lnTo>
                  <a:pt x="1436" y="1898"/>
                </a:lnTo>
                <a:lnTo>
                  <a:pt x="1426" y="1888"/>
                </a:lnTo>
                <a:lnTo>
                  <a:pt x="1410" y="1881"/>
                </a:lnTo>
                <a:lnTo>
                  <a:pt x="1358" y="1872"/>
                </a:lnTo>
                <a:lnTo>
                  <a:pt x="1365" y="1864"/>
                </a:lnTo>
                <a:lnTo>
                  <a:pt x="1367" y="1857"/>
                </a:lnTo>
                <a:lnTo>
                  <a:pt x="1365" y="1848"/>
                </a:lnTo>
                <a:lnTo>
                  <a:pt x="1365" y="1838"/>
                </a:lnTo>
                <a:lnTo>
                  <a:pt x="1365" y="1836"/>
                </a:lnTo>
                <a:lnTo>
                  <a:pt x="1367" y="1834"/>
                </a:lnTo>
                <a:lnTo>
                  <a:pt x="1367" y="1831"/>
                </a:lnTo>
                <a:lnTo>
                  <a:pt x="1365" y="1824"/>
                </a:lnTo>
                <a:lnTo>
                  <a:pt x="1362" y="1822"/>
                </a:lnTo>
                <a:lnTo>
                  <a:pt x="1358" y="1820"/>
                </a:lnTo>
                <a:lnTo>
                  <a:pt x="1334" y="1812"/>
                </a:lnTo>
                <a:lnTo>
                  <a:pt x="1320" y="1810"/>
                </a:lnTo>
                <a:lnTo>
                  <a:pt x="1303" y="1812"/>
                </a:lnTo>
                <a:lnTo>
                  <a:pt x="1291" y="1817"/>
                </a:lnTo>
                <a:lnTo>
                  <a:pt x="1294" y="1822"/>
                </a:lnTo>
                <a:lnTo>
                  <a:pt x="1294" y="1824"/>
                </a:lnTo>
                <a:lnTo>
                  <a:pt x="1287" y="1829"/>
                </a:lnTo>
                <a:lnTo>
                  <a:pt x="1280" y="1822"/>
                </a:lnTo>
                <a:lnTo>
                  <a:pt x="1270" y="1803"/>
                </a:lnTo>
                <a:lnTo>
                  <a:pt x="1277" y="1796"/>
                </a:lnTo>
                <a:lnTo>
                  <a:pt x="1280" y="1786"/>
                </a:lnTo>
                <a:lnTo>
                  <a:pt x="1284" y="1763"/>
                </a:lnTo>
                <a:lnTo>
                  <a:pt x="1282" y="1758"/>
                </a:lnTo>
                <a:lnTo>
                  <a:pt x="1282" y="1749"/>
                </a:lnTo>
                <a:lnTo>
                  <a:pt x="1282" y="1739"/>
                </a:lnTo>
                <a:lnTo>
                  <a:pt x="1282" y="1734"/>
                </a:lnTo>
                <a:lnTo>
                  <a:pt x="1280" y="1727"/>
                </a:lnTo>
                <a:lnTo>
                  <a:pt x="1277" y="1718"/>
                </a:lnTo>
                <a:lnTo>
                  <a:pt x="1275" y="1701"/>
                </a:lnTo>
                <a:lnTo>
                  <a:pt x="1272" y="1692"/>
                </a:lnTo>
                <a:lnTo>
                  <a:pt x="1268" y="1685"/>
                </a:lnTo>
                <a:lnTo>
                  <a:pt x="1237" y="1635"/>
                </a:lnTo>
                <a:lnTo>
                  <a:pt x="1213" y="1611"/>
                </a:lnTo>
                <a:lnTo>
                  <a:pt x="1209" y="1607"/>
                </a:lnTo>
                <a:lnTo>
                  <a:pt x="1197" y="1602"/>
                </a:lnTo>
                <a:lnTo>
                  <a:pt x="1194" y="1597"/>
                </a:lnTo>
                <a:lnTo>
                  <a:pt x="1183" y="1564"/>
                </a:lnTo>
                <a:lnTo>
                  <a:pt x="1161" y="1465"/>
                </a:lnTo>
                <a:lnTo>
                  <a:pt x="1157" y="1448"/>
                </a:lnTo>
                <a:lnTo>
                  <a:pt x="1140" y="1420"/>
                </a:lnTo>
                <a:lnTo>
                  <a:pt x="1128" y="1405"/>
                </a:lnTo>
                <a:lnTo>
                  <a:pt x="1114" y="1398"/>
                </a:lnTo>
                <a:lnTo>
                  <a:pt x="1102" y="1382"/>
                </a:lnTo>
                <a:lnTo>
                  <a:pt x="1097" y="1379"/>
                </a:lnTo>
                <a:lnTo>
                  <a:pt x="1093" y="1377"/>
                </a:lnTo>
                <a:lnTo>
                  <a:pt x="1078" y="1372"/>
                </a:lnTo>
                <a:lnTo>
                  <a:pt x="1074" y="1370"/>
                </a:lnTo>
                <a:lnTo>
                  <a:pt x="1067" y="1370"/>
                </a:lnTo>
                <a:lnTo>
                  <a:pt x="1064" y="1368"/>
                </a:lnTo>
                <a:lnTo>
                  <a:pt x="1064" y="1370"/>
                </a:lnTo>
                <a:lnTo>
                  <a:pt x="1062" y="1372"/>
                </a:lnTo>
                <a:lnTo>
                  <a:pt x="1060" y="1375"/>
                </a:lnTo>
                <a:lnTo>
                  <a:pt x="1057" y="1375"/>
                </a:lnTo>
                <a:lnTo>
                  <a:pt x="1055" y="1375"/>
                </a:lnTo>
                <a:lnTo>
                  <a:pt x="1050" y="1370"/>
                </a:lnTo>
                <a:lnTo>
                  <a:pt x="1038" y="1363"/>
                </a:lnTo>
                <a:lnTo>
                  <a:pt x="1033" y="1358"/>
                </a:lnTo>
                <a:lnTo>
                  <a:pt x="1029" y="1361"/>
                </a:lnTo>
                <a:lnTo>
                  <a:pt x="1019" y="1353"/>
                </a:lnTo>
                <a:lnTo>
                  <a:pt x="1012" y="1353"/>
                </a:lnTo>
                <a:lnTo>
                  <a:pt x="1015" y="1358"/>
                </a:lnTo>
                <a:lnTo>
                  <a:pt x="1015" y="1358"/>
                </a:lnTo>
                <a:lnTo>
                  <a:pt x="1012" y="1361"/>
                </a:lnTo>
                <a:lnTo>
                  <a:pt x="1012" y="1361"/>
                </a:lnTo>
                <a:lnTo>
                  <a:pt x="1015" y="1363"/>
                </a:lnTo>
                <a:lnTo>
                  <a:pt x="1017" y="1365"/>
                </a:lnTo>
                <a:lnTo>
                  <a:pt x="1019" y="1368"/>
                </a:lnTo>
                <a:lnTo>
                  <a:pt x="1022" y="1368"/>
                </a:lnTo>
                <a:lnTo>
                  <a:pt x="1022" y="1370"/>
                </a:lnTo>
                <a:lnTo>
                  <a:pt x="1019" y="1372"/>
                </a:lnTo>
                <a:lnTo>
                  <a:pt x="1019" y="1375"/>
                </a:lnTo>
                <a:lnTo>
                  <a:pt x="1017" y="1377"/>
                </a:lnTo>
                <a:lnTo>
                  <a:pt x="1022" y="1379"/>
                </a:lnTo>
                <a:lnTo>
                  <a:pt x="1022" y="1382"/>
                </a:lnTo>
                <a:lnTo>
                  <a:pt x="1019" y="1382"/>
                </a:lnTo>
                <a:lnTo>
                  <a:pt x="1017" y="1377"/>
                </a:lnTo>
                <a:lnTo>
                  <a:pt x="1015" y="1372"/>
                </a:lnTo>
                <a:lnTo>
                  <a:pt x="998" y="1368"/>
                </a:lnTo>
                <a:lnTo>
                  <a:pt x="981" y="1356"/>
                </a:lnTo>
                <a:lnTo>
                  <a:pt x="977" y="1353"/>
                </a:lnTo>
                <a:lnTo>
                  <a:pt x="967" y="1346"/>
                </a:lnTo>
                <a:lnTo>
                  <a:pt x="965" y="1346"/>
                </a:lnTo>
                <a:lnTo>
                  <a:pt x="955" y="1346"/>
                </a:lnTo>
                <a:lnTo>
                  <a:pt x="953" y="1346"/>
                </a:lnTo>
                <a:lnTo>
                  <a:pt x="948" y="1344"/>
                </a:lnTo>
                <a:lnTo>
                  <a:pt x="936" y="1332"/>
                </a:lnTo>
                <a:lnTo>
                  <a:pt x="934" y="1332"/>
                </a:lnTo>
                <a:lnTo>
                  <a:pt x="932" y="1327"/>
                </a:lnTo>
                <a:lnTo>
                  <a:pt x="927" y="1325"/>
                </a:lnTo>
                <a:lnTo>
                  <a:pt x="913" y="1320"/>
                </a:lnTo>
                <a:lnTo>
                  <a:pt x="908" y="1318"/>
                </a:lnTo>
                <a:lnTo>
                  <a:pt x="906" y="1313"/>
                </a:lnTo>
                <a:lnTo>
                  <a:pt x="903" y="1308"/>
                </a:lnTo>
                <a:lnTo>
                  <a:pt x="899" y="1311"/>
                </a:lnTo>
                <a:lnTo>
                  <a:pt x="894" y="1313"/>
                </a:lnTo>
                <a:lnTo>
                  <a:pt x="889" y="1313"/>
                </a:lnTo>
                <a:lnTo>
                  <a:pt x="887" y="1308"/>
                </a:lnTo>
                <a:lnTo>
                  <a:pt x="884" y="1306"/>
                </a:lnTo>
                <a:lnTo>
                  <a:pt x="868" y="1301"/>
                </a:lnTo>
                <a:lnTo>
                  <a:pt x="866" y="1292"/>
                </a:lnTo>
                <a:lnTo>
                  <a:pt x="832" y="1278"/>
                </a:lnTo>
                <a:lnTo>
                  <a:pt x="821" y="1271"/>
                </a:lnTo>
                <a:lnTo>
                  <a:pt x="818" y="1275"/>
                </a:lnTo>
                <a:lnTo>
                  <a:pt x="818" y="1280"/>
                </a:lnTo>
                <a:lnTo>
                  <a:pt x="816" y="1285"/>
                </a:lnTo>
                <a:lnTo>
                  <a:pt x="818" y="1292"/>
                </a:lnTo>
                <a:lnTo>
                  <a:pt x="804" y="1290"/>
                </a:lnTo>
                <a:lnTo>
                  <a:pt x="797" y="1285"/>
                </a:lnTo>
                <a:lnTo>
                  <a:pt x="797" y="1280"/>
                </a:lnTo>
                <a:lnTo>
                  <a:pt x="790" y="1271"/>
                </a:lnTo>
                <a:lnTo>
                  <a:pt x="780" y="1266"/>
                </a:lnTo>
                <a:lnTo>
                  <a:pt x="750" y="1266"/>
                </a:lnTo>
                <a:lnTo>
                  <a:pt x="735" y="1261"/>
                </a:lnTo>
                <a:lnTo>
                  <a:pt x="726" y="1256"/>
                </a:lnTo>
                <a:lnTo>
                  <a:pt x="724" y="1259"/>
                </a:lnTo>
                <a:lnTo>
                  <a:pt x="709" y="1259"/>
                </a:lnTo>
                <a:lnTo>
                  <a:pt x="702" y="1259"/>
                </a:lnTo>
                <a:lnTo>
                  <a:pt x="700" y="1256"/>
                </a:lnTo>
                <a:lnTo>
                  <a:pt x="695" y="1254"/>
                </a:lnTo>
                <a:lnTo>
                  <a:pt x="676" y="1254"/>
                </a:lnTo>
                <a:lnTo>
                  <a:pt x="669" y="1256"/>
                </a:lnTo>
                <a:lnTo>
                  <a:pt x="664" y="1259"/>
                </a:lnTo>
                <a:lnTo>
                  <a:pt x="657" y="1266"/>
                </a:lnTo>
                <a:lnTo>
                  <a:pt x="655" y="1271"/>
                </a:lnTo>
                <a:lnTo>
                  <a:pt x="653" y="1273"/>
                </a:lnTo>
                <a:lnTo>
                  <a:pt x="650" y="1273"/>
                </a:lnTo>
                <a:lnTo>
                  <a:pt x="648" y="1273"/>
                </a:lnTo>
                <a:lnTo>
                  <a:pt x="645" y="1273"/>
                </a:lnTo>
                <a:lnTo>
                  <a:pt x="629" y="1290"/>
                </a:lnTo>
                <a:lnTo>
                  <a:pt x="624" y="1290"/>
                </a:lnTo>
                <a:lnTo>
                  <a:pt x="619" y="1292"/>
                </a:lnTo>
                <a:lnTo>
                  <a:pt x="612" y="1299"/>
                </a:lnTo>
                <a:lnTo>
                  <a:pt x="593" y="1318"/>
                </a:lnTo>
                <a:lnTo>
                  <a:pt x="586" y="1327"/>
                </a:lnTo>
                <a:lnTo>
                  <a:pt x="589" y="1334"/>
                </a:lnTo>
                <a:lnTo>
                  <a:pt x="586" y="1339"/>
                </a:lnTo>
                <a:lnTo>
                  <a:pt x="586" y="1342"/>
                </a:lnTo>
                <a:lnTo>
                  <a:pt x="586" y="1346"/>
                </a:lnTo>
                <a:lnTo>
                  <a:pt x="586" y="1346"/>
                </a:lnTo>
                <a:lnTo>
                  <a:pt x="582" y="1351"/>
                </a:lnTo>
                <a:lnTo>
                  <a:pt x="579" y="1351"/>
                </a:lnTo>
                <a:lnTo>
                  <a:pt x="579" y="1358"/>
                </a:lnTo>
                <a:lnTo>
                  <a:pt x="579" y="1363"/>
                </a:lnTo>
                <a:lnTo>
                  <a:pt x="579" y="1368"/>
                </a:lnTo>
                <a:lnTo>
                  <a:pt x="577" y="1372"/>
                </a:lnTo>
                <a:lnTo>
                  <a:pt x="570" y="1377"/>
                </a:lnTo>
                <a:lnTo>
                  <a:pt x="553" y="1384"/>
                </a:lnTo>
                <a:lnTo>
                  <a:pt x="544" y="1389"/>
                </a:lnTo>
                <a:lnTo>
                  <a:pt x="541" y="1394"/>
                </a:lnTo>
                <a:lnTo>
                  <a:pt x="537" y="1398"/>
                </a:lnTo>
                <a:lnTo>
                  <a:pt x="530" y="1410"/>
                </a:lnTo>
                <a:lnTo>
                  <a:pt x="530" y="1413"/>
                </a:lnTo>
                <a:lnTo>
                  <a:pt x="532" y="1420"/>
                </a:lnTo>
                <a:lnTo>
                  <a:pt x="532" y="1424"/>
                </a:lnTo>
                <a:lnTo>
                  <a:pt x="530" y="1429"/>
                </a:lnTo>
                <a:lnTo>
                  <a:pt x="527" y="1436"/>
                </a:lnTo>
                <a:lnTo>
                  <a:pt x="515" y="1453"/>
                </a:lnTo>
                <a:lnTo>
                  <a:pt x="511" y="1465"/>
                </a:lnTo>
                <a:lnTo>
                  <a:pt x="518" y="1472"/>
                </a:lnTo>
                <a:lnTo>
                  <a:pt x="518" y="1474"/>
                </a:lnTo>
                <a:lnTo>
                  <a:pt x="511" y="1476"/>
                </a:lnTo>
                <a:lnTo>
                  <a:pt x="501" y="1488"/>
                </a:lnTo>
                <a:lnTo>
                  <a:pt x="494" y="1493"/>
                </a:lnTo>
                <a:lnTo>
                  <a:pt x="492" y="1495"/>
                </a:lnTo>
                <a:lnTo>
                  <a:pt x="492" y="1498"/>
                </a:lnTo>
                <a:lnTo>
                  <a:pt x="489" y="1500"/>
                </a:lnTo>
                <a:lnTo>
                  <a:pt x="489" y="1502"/>
                </a:lnTo>
                <a:lnTo>
                  <a:pt x="485" y="1505"/>
                </a:lnTo>
                <a:lnTo>
                  <a:pt x="478" y="1507"/>
                </a:lnTo>
                <a:lnTo>
                  <a:pt x="459" y="1526"/>
                </a:lnTo>
                <a:lnTo>
                  <a:pt x="407" y="1543"/>
                </a:lnTo>
                <a:lnTo>
                  <a:pt x="392" y="1555"/>
                </a:lnTo>
                <a:lnTo>
                  <a:pt x="381" y="1559"/>
                </a:lnTo>
                <a:lnTo>
                  <a:pt x="343" y="1562"/>
                </a:lnTo>
                <a:lnTo>
                  <a:pt x="333" y="1566"/>
                </a:lnTo>
                <a:lnTo>
                  <a:pt x="331" y="1566"/>
                </a:lnTo>
                <a:lnTo>
                  <a:pt x="326" y="1564"/>
                </a:lnTo>
                <a:lnTo>
                  <a:pt x="324" y="1564"/>
                </a:lnTo>
                <a:lnTo>
                  <a:pt x="321" y="1564"/>
                </a:lnTo>
                <a:lnTo>
                  <a:pt x="312" y="1545"/>
                </a:lnTo>
                <a:lnTo>
                  <a:pt x="310" y="1533"/>
                </a:lnTo>
                <a:lnTo>
                  <a:pt x="314" y="1524"/>
                </a:lnTo>
                <a:lnTo>
                  <a:pt x="326" y="1510"/>
                </a:lnTo>
                <a:lnTo>
                  <a:pt x="331" y="1498"/>
                </a:lnTo>
                <a:lnTo>
                  <a:pt x="345" y="1484"/>
                </a:lnTo>
                <a:lnTo>
                  <a:pt x="352" y="1474"/>
                </a:lnTo>
                <a:lnTo>
                  <a:pt x="355" y="1469"/>
                </a:lnTo>
                <a:lnTo>
                  <a:pt x="355" y="1460"/>
                </a:lnTo>
                <a:lnTo>
                  <a:pt x="357" y="1455"/>
                </a:lnTo>
                <a:lnTo>
                  <a:pt x="359" y="1450"/>
                </a:lnTo>
                <a:lnTo>
                  <a:pt x="364" y="1446"/>
                </a:lnTo>
                <a:lnTo>
                  <a:pt x="366" y="1441"/>
                </a:lnTo>
                <a:lnTo>
                  <a:pt x="366" y="1434"/>
                </a:lnTo>
                <a:lnTo>
                  <a:pt x="362" y="1424"/>
                </a:lnTo>
                <a:lnTo>
                  <a:pt x="355" y="1417"/>
                </a:lnTo>
                <a:lnTo>
                  <a:pt x="350" y="1410"/>
                </a:lnTo>
                <a:lnTo>
                  <a:pt x="352" y="1396"/>
                </a:lnTo>
                <a:lnTo>
                  <a:pt x="343" y="1396"/>
                </a:lnTo>
                <a:lnTo>
                  <a:pt x="331" y="1405"/>
                </a:lnTo>
                <a:lnTo>
                  <a:pt x="321" y="1408"/>
                </a:lnTo>
                <a:lnTo>
                  <a:pt x="272" y="1427"/>
                </a:lnTo>
                <a:lnTo>
                  <a:pt x="258" y="1427"/>
                </a:lnTo>
                <a:lnTo>
                  <a:pt x="255" y="1427"/>
                </a:lnTo>
                <a:lnTo>
                  <a:pt x="253" y="1424"/>
                </a:lnTo>
                <a:lnTo>
                  <a:pt x="250" y="1422"/>
                </a:lnTo>
                <a:lnTo>
                  <a:pt x="248" y="1420"/>
                </a:lnTo>
                <a:lnTo>
                  <a:pt x="243" y="1417"/>
                </a:lnTo>
                <a:lnTo>
                  <a:pt x="236" y="1417"/>
                </a:lnTo>
                <a:lnTo>
                  <a:pt x="229" y="1415"/>
                </a:lnTo>
                <a:lnTo>
                  <a:pt x="196" y="1398"/>
                </a:lnTo>
                <a:lnTo>
                  <a:pt x="184" y="1394"/>
                </a:lnTo>
                <a:lnTo>
                  <a:pt x="165" y="1387"/>
                </a:lnTo>
                <a:lnTo>
                  <a:pt x="161" y="1384"/>
                </a:lnTo>
                <a:lnTo>
                  <a:pt x="156" y="1387"/>
                </a:lnTo>
                <a:lnTo>
                  <a:pt x="153" y="1387"/>
                </a:lnTo>
                <a:lnTo>
                  <a:pt x="149" y="1389"/>
                </a:lnTo>
                <a:lnTo>
                  <a:pt x="146" y="1387"/>
                </a:lnTo>
                <a:lnTo>
                  <a:pt x="142" y="1384"/>
                </a:lnTo>
                <a:lnTo>
                  <a:pt x="142" y="1379"/>
                </a:lnTo>
                <a:lnTo>
                  <a:pt x="139" y="1377"/>
                </a:lnTo>
                <a:lnTo>
                  <a:pt x="137" y="1372"/>
                </a:lnTo>
                <a:lnTo>
                  <a:pt x="135" y="1370"/>
                </a:lnTo>
                <a:lnTo>
                  <a:pt x="127" y="1365"/>
                </a:lnTo>
                <a:lnTo>
                  <a:pt x="125" y="1363"/>
                </a:lnTo>
                <a:lnTo>
                  <a:pt x="123" y="1361"/>
                </a:lnTo>
                <a:lnTo>
                  <a:pt x="118" y="1351"/>
                </a:lnTo>
                <a:lnTo>
                  <a:pt x="116" y="1349"/>
                </a:lnTo>
                <a:lnTo>
                  <a:pt x="108" y="1339"/>
                </a:lnTo>
                <a:lnTo>
                  <a:pt x="106" y="1339"/>
                </a:lnTo>
                <a:lnTo>
                  <a:pt x="106" y="1334"/>
                </a:lnTo>
                <a:lnTo>
                  <a:pt x="106" y="1332"/>
                </a:lnTo>
                <a:lnTo>
                  <a:pt x="106" y="1330"/>
                </a:lnTo>
                <a:lnTo>
                  <a:pt x="106" y="1316"/>
                </a:lnTo>
                <a:lnTo>
                  <a:pt x="108" y="1313"/>
                </a:lnTo>
                <a:lnTo>
                  <a:pt x="118" y="1306"/>
                </a:lnTo>
                <a:lnTo>
                  <a:pt x="111" y="1299"/>
                </a:lnTo>
                <a:lnTo>
                  <a:pt x="99" y="1292"/>
                </a:lnTo>
                <a:lnTo>
                  <a:pt x="92" y="1280"/>
                </a:lnTo>
                <a:lnTo>
                  <a:pt x="90" y="1266"/>
                </a:lnTo>
                <a:lnTo>
                  <a:pt x="92" y="1261"/>
                </a:lnTo>
                <a:lnTo>
                  <a:pt x="108" y="1247"/>
                </a:lnTo>
                <a:lnTo>
                  <a:pt x="116" y="1228"/>
                </a:lnTo>
                <a:lnTo>
                  <a:pt x="120" y="1226"/>
                </a:lnTo>
                <a:lnTo>
                  <a:pt x="116" y="1216"/>
                </a:lnTo>
                <a:lnTo>
                  <a:pt x="118" y="1207"/>
                </a:lnTo>
                <a:lnTo>
                  <a:pt x="123" y="1200"/>
                </a:lnTo>
                <a:lnTo>
                  <a:pt x="130" y="1195"/>
                </a:lnTo>
                <a:lnTo>
                  <a:pt x="135" y="1195"/>
                </a:lnTo>
                <a:lnTo>
                  <a:pt x="146" y="1197"/>
                </a:lnTo>
                <a:lnTo>
                  <a:pt x="151" y="1197"/>
                </a:lnTo>
                <a:lnTo>
                  <a:pt x="149" y="1190"/>
                </a:lnTo>
                <a:lnTo>
                  <a:pt x="139" y="1174"/>
                </a:lnTo>
                <a:lnTo>
                  <a:pt x="137" y="1171"/>
                </a:lnTo>
                <a:lnTo>
                  <a:pt x="135" y="1162"/>
                </a:lnTo>
                <a:lnTo>
                  <a:pt x="130" y="1152"/>
                </a:lnTo>
                <a:lnTo>
                  <a:pt x="130" y="1152"/>
                </a:lnTo>
                <a:lnTo>
                  <a:pt x="132" y="1145"/>
                </a:lnTo>
                <a:lnTo>
                  <a:pt x="132" y="1145"/>
                </a:lnTo>
                <a:lnTo>
                  <a:pt x="132" y="1143"/>
                </a:lnTo>
                <a:lnTo>
                  <a:pt x="132" y="1140"/>
                </a:lnTo>
                <a:lnTo>
                  <a:pt x="132" y="1140"/>
                </a:lnTo>
                <a:lnTo>
                  <a:pt x="130" y="1138"/>
                </a:lnTo>
                <a:lnTo>
                  <a:pt x="130" y="1136"/>
                </a:lnTo>
                <a:lnTo>
                  <a:pt x="123" y="1129"/>
                </a:lnTo>
                <a:lnTo>
                  <a:pt x="108" y="1124"/>
                </a:lnTo>
                <a:lnTo>
                  <a:pt x="101" y="1124"/>
                </a:lnTo>
                <a:lnTo>
                  <a:pt x="87" y="1129"/>
                </a:lnTo>
                <a:lnTo>
                  <a:pt x="82" y="1129"/>
                </a:lnTo>
                <a:lnTo>
                  <a:pt x="61" y="1117"/>
                </a:lnTo>
                <a:lnTo>
                  <a:pt x="49" y="1110"/>
                </a:lnTo>
                <a:lnTo>
                  <a:pt x="45" y="1100"/>
                </a:lnTo>
                <a:lnTo>
                  <a:pt x="42" y="1077"/>
                </a:lnTo>
                <a:lnTo>
                  <a:pt x="40" y="1065"/>
                </a:lnTo>
                <a:lnTo>
                  <a:pt x="30" y="1060"/>
                </a:lnTo>
                <a:lnTo>
                  <a:pt x="21" y="1060"/>
                </a:lnTo>
                <a:lnTo>
                  <a:pt x="16" y="1058"/>
                </a:lnTo>
                <a:lnTo>
                  <a:pt x="14" y="1051"/>
                </a:lnTo>
                <a:lnTo>
                  <a:pt x="11" y="1048"/>
                </a:lnTo>
                <a:lnTo>
                  <a:pt x="11" y="1043"/>
                </a:lnTo>
                <a:lnTo>
                  <a:pt x="11" y="1041"/>
                </a:lnTo>
                <a:lnTo>
                  <a:pt x="7" y="1039"/>
                </a:lnTo>
                <a:lnTo>
                  <a:pt x="0" y="1029"/>
                </a:lnTo>
                <a:lnTo>
                  <a:pt x="4" y="1025"/>
                </a:lnTo>
                <a:lnTo>
                  <a:pt x="9" y="1020"/>
                </a:lnTo>
                <a:lnTo>
                  <a:pt x="19" y="1013"/>
                </a:lnTo>
                <a:lnTo>
                  <a:pt x="21" y="1013"/>
                </a:lnTo>
                <a:lnTo>
                  <a:pt x="26" y="1013"/>
                </a:lnTo>
                <a:lnTo>
                  <a:pt x="28" y="1010"/>
                </a:lnTo>
                <a:lnTo>
                  <a:pt x="30" y="1010"/>
                </a:lnTo>
                <a:lnTo>
                  <a:pt x="35" y="1006"/>
                </a:lnTo>
                <a:lnTo>
                  <a:pt x="38" y="1003"/>
                </a:lnTo>
                <a:lnTo>
                  <a:pt x="49" y="1006"/>
                </a:lnTo>
                <a:lnTo>
                  <a:pt x="61" y="1010"/>
                </a:lnTo>
                <a:lnTo>
                  <a:pt x="71" y="1013"/>
                </a:lnTo>
                <a:lnTo>
                  <a:pt x="80" y="1008"/>
                </a:lnTo>
                <a:lnTo>
                  <a:pt x="80" y="1003"/>
                </a:lnTo>
                <a:lnTo>
                  <a:pt x="80" y="1003"/>
                </a:lnTo>
                <a:lnTo>
                  <a:pt x="78" y="1001"/>
                </a:lnTo>
                <a:lnTo>
                  <a:pt x="78" y="996"/>
                </a:lnTo>
                <a:lnTo>
                  <a:pt x="80" y="996"/>
                </a:lnTo>
                <a:lnTo>
                  <a:pt x="87" y="994"/>
                </a:lnTo>
                <a:lnTo>
                  <a:pt x="92" y="994"/>
                </a:lnTo>
                <a:lnTo>
                  <a:pt x="94" y="989"/>
                </a:lnTo>
                <a:lnTo>
                  <a:pt x="99" y="980"/>
                </a:lnTo>
                <a:lnTo>
                  <a:pt x="104" y="975"/>
                </a:lnTo>
                <a:lnTo>
                  <a:pt x="113" y="970"/>
                </a:lnTo>
                <a:lnTo>
                  <a:pt x="123" y="965"/>
                </a:lnTo>
                <a:lnTo>
                  <a:pt x="125" y="968"/>
                </a:lnTo>
                <a:lnTo>
                  <a:pt x="130" y="970"/>
                </a:lnTo>
                <a:lnTo>
                  <a:pt x="132" y="973"/>
                </a:lnTo>
                <a:lnTo>
                  <a:pt x="135" y="970"/>
                </a:lnTo>
                <a:lnTo>
                  <a:pt x="139" y="958"/>
                </a:lnTo>
                <a:lnTo>
                  <a:pt x="146" y="951"/>
                </a:lnTo>
                <a:lnTo>
                  <a:pt x="144" y="944"/>
                </a:lnTo>
                <a:lnTo>
                  <a:pt x="142" y="937"/>
                </a:lnTo>
                <a:lnTo>
                  <a:pt x="139" y="923"/>
                </a:lnTo>
                <a:lnTo>
                  <a:pt x="139" y="920"/>
                </a:lnTo>
                <a:lnTo>
                  <a:pt x="149" y="909"/>
                </a:lnTo>
                <a:lnTo>
                  <a:pt x="153" y="897"/>
                </a:lnTo>
                <a:lnTo>
                  <a:pt x="156" y="890"/>
                </a:lnTo>
                <a:lnTo>
                  <a:pt x="156" y="885"/>
                </a:lnTo>
                <a:lnTo>
                  <a:pt x="153" y="883"/>
                </a:lnTo>
                <a:lnTo>
                  <a:pt x="139" y="878"/>
                </a:lnTo>
                <a:lnTo>
                  <a:pt x="135" y="875"/>
                </a:lnTo>
                <a:lnTo>
                  <a:pt x="132" y="871"/>
                </a:lnTo>
                <a:lnTo>
                  <a:pt x="130" y="866"/>
                </a:lnTo>
                <a:lnTo>
                  <a:pt x="127" y="861"/>
                </a:lnTo>
                <a:lnTo>
                  <a:pt x="113" y="854"/>
                </a:lnTo>
                <a:lnTo>
                  <a:pt x="99" y="847"/>
                </a:lnTo>
                <a:lnTo>
                  <a:pt x="97" y="840"/>
                </a:lnTo>
                <a:lnTo>
                  <a:pt x="92" y="823"/>
                </a:lnTo>
                <a:lnTo>
                  <a:pt x="92" y="821"/>
                </a:lnTo>
                <a:lnTo>
                  <a:pt x="87" y="816"/>
                </a:lnTo>
                <a:lnTo>
                  <a:pt x="87" y="812"/>
                </a:lnTo>
                <a:lnTo>
                  <a:pt x="87" y="809"/>
                </a:lnTo>
                <a:lnTo>
                  <a:pt x="90" y="800"/>
                </a:lnTo>
                <a:lnTo>
                  <a:pt x="90" y="797"/>
                </a:lnTo>
                <a:lnTo>
                  <a:pt x="87" y="793"/>
                </a:lnTo>
                <a:lnTo>
                  <a:pt x="85" y="790"/>
                </a:lnTo>
                <a:lnTo>
                  <a:pt x="75" y="788"/>
                </a:lnTo>
                <a:lnTo>
                  <a:pt x="71" y="786"/>
                </a:lnTo>
                <a:lnTo>
                  <a:pt x="64" y="778"/>
                </a:lnTo>
                <a:lnTo>
                  <a:pt x="59" y="778"/>
                </a:lnTo>
                <a:lnTo>
                  <a:pt x="52" y="778"/>
                </a:lnTo>
                <a:lnTo>
                  <a:pt x="42" y="771"/>
                </a:lnTo>
                <a:lnTo>
                  <a:pt x="35" y="764"/>
                </a:lnTo>
                <a:lnTo>
                  <a:pt x="30" y="745"/>
                </a:lnTo>
                <a:lnTo>
                  <a:pt x="30" y="738"/>
                </a:lnTo>
                <a:lnTo>
                  <a:pt x="28" y="731"/>
                </a:lnTo>
                <a:lnTo>
                  <a:pt x="30" y="724"/>
                </a:lnTo>
                <a:lnTo>
                  <a:pt x="33" y="717"/>
                </a:lnTo>
                <a:lnTo>
                  <a:pt x="38" y="715"/>
                </a:lnTo>
                <a:lnTo>
                  <a:pt x="47" y="712"/>
                </a:lnTo>
                <a:lnTo>
                  <a:pt x="47" y="712"/>
                </a:lnTo>
                <a:lnTo>
                  <a:pt x="47" y="710"/>
                </a:lnTo>
                <a:lnTo>
                  <a:pt x="47" y="708"/>
                </a:lnTo>
                <a:lnTo>
                  <a:pt x="49" y="705"/>
                </a:lnTo>
                <a:lnTo>
                  <a:pt x="49" y="705"/>
                </a:lnTo>
                <a:lnTo>
                  <a:pt x="54" y="708"/>
                </a:lnTo>
                <a:lnTo>
                  <a:pt x="54" y="708"/>
                </a:lnTo>
                <a:lnTo>
                  <a:pt x="56" y="708"/>
                </a:lnTo>
                <a:lnTo>
                  <a:pt x="64" y="708"/>
                </a:lnTo>
                <a:lnTo>
                  <a:pt x="71" y="705"/>
                </a:lnTo>
                <a:lnTo>
                  <a:pt x="75" y="700"/>
                </a:lnTo>
                <a:lnTo>
                  <a:pt x="82" y="696"/>
                </a:lnTo>
                <a:lnTo>
                  <a:pt x="85" y="689"/>
                </a:lnTo>
                <a:lnTo>
                  <a:pt x="87" y="681"/>
                </a:lnTo>
                <a:lnTo>
                  <a:pt x="87" y="677"/>
                </a:lnTo>
                <a:lnTo>
                  <a:pt x="92" y="672"/>
                </a:lnTo>
                <a:lnTo>
                  <a:pt x="94" y="670"/>
                </a:lnTo>
                <a:lnTo>
                  <a:pt x="108" y="684"/>
                </a:lnTo>
                <a:lnTo>
                  <a:pt x="118" y="686"/>
                </a:lnTo>
                <a:lnTo>
                  <a:pt x="125" y="689"/>
                </a:lnTo>
                <a:lnTo>
                  <a:pt x="135" y="686"/>
                </a:lnTo>
                <a:lnTo>
                  <a:pt x="144" y="684"/>
                </a:lnTo>
                <a:lnTo>
                  <a:pt x="163" y="674"/>
                </a:lnTo>
                <a:lnTo>
                  <a:pt x="170" y="670"/>
                </a:lnTo>
                <a:lnTo>
                  <a:pt x="172" y="667"/>
                </a:lnTo>
                <a:lnTo>
                  <a:pt x="196" y="667"/>
                </a:lnTo>
                <a:lnTo>
                  <a:pt x="205" y="665"/>
                </a:lnTo>
                <a:lnTo>
                  <a:pt x="222" y="648"/>
                </a:lnTo>
                <a:lnTo>
                  <a:pt x="229" y="644"/>
                </a:lnTo>
                <a:lnTo>
                  <a:pt x="236" y="644"/>
                </a:lnTo>
                <a:lnTo>
                  <a:pt x="239" y="639"/>
                </a:lnTo>
                <a:lnTo>
                  <a:pt x="241" y="634"/>
                </a:lnTo>
                <a:lnTo>
                  <a:pt x="246" y="632"/>
                </a:lnTo>
                <a:lnTo>
                  <a:pt x="276" y="637"/>
                </a:lnTo>
                <a:lnTo>
                  <a:pt x="281" y="637"/>
                </a:lnTo>
                <a:lnTo>
                  <a:pt x="286" y="641"/>
                </a:lnTo>
                <a:lnTo>
                  <a:pt x="293" y="648"/>
                </a:lnTo>
                <a:lnTo>
                  <a:pt x="293" y="651"/>
                </a:lnTo>
                <a:lnTo>
                  <a:pt x="298" y="651"/>
                </a:lnTo>
                <a:lnTo>
                  <a:pt x="300" y="651"/>
                </a:lnTo>
                <a:lnTo>
                  <a:pt x="300" y="648"/>
                </a:lnTo>
                <a:lnTo>
                  <a:pt x="305" y="648"/>
                </a:lnTo>
                <a:lnTo>
                  <a:pt x="319" y="653"/>
                </a:lnTo>
                <a:lnTo>
                  <a:pt x="326" y="651"/>
                </a:lnTo>
                <a:lnTo>
                  <a:pt x="333" y="653"/>
                </a:lnTo>
                <a:lnTo>
                  <a:pt x="333" y="653"/>
                </a:lnTo>
                <a:lnTo>
                  <a:pt x="338" y="651"/>
                </a:lnTo>
                <a:lnTo>
                  <a:pt x="338" y="648"/>
                </a:lnTo>
                <a:lnTo>
                  <a:pt x="338" y="646"/>
                </a:lnTo>
                <a:lnTo>
                  <a:pt x="338" y="641"/>
                </a:lnTo>
                <a:lnTo>
                  <a:pt x="343" y="627"/>
                </a:lnTo>
                <a:lnTo>
                  <a:pt x="350" y="622"/>
                </a:lnTo>
                <a:lnTo>
                  <a:pt x="371" y="615"/>
                </a:lnTo>
                <a:lnTo>
                  <a:pt x="373" y="613"/>
                </a:lnTo>
                <a:lnTo>
                  <a:pt x="376" y="611"/>
                </a:lnTo>
                <a:lnTo>
                  <a:pt x="378" y="606"/>
                </a:lnTo>
                <a:lnTo>
                  <a:pt x="378" y="606"/>
                </a:lnTo>
                <a:lnTo>
                  <a:pt x="381" y="599"/>
                </a:lnTo>
                <a:lnTo>
                  <a:pt x="383" y="599"/>
                </a:lnTo>
                <a:lnTo>
                  <a:pt x="383" y="587"/>
                </a:lnTo>
                <a:lnTo>
                  <a:pt x="381" y="582"/>
                </a:lnTo>
                <a:lnTo>
                  <a:pt x="383" y="575"/>
                </a:lnTo>
                <a:lnTo>
                  <a:pt x="383" y="573"/>
                </a:lnTo>
                <a:lnTo>
                  <a:pt x="385" y="568"/>
                </a:lnTo>
                <a:lnTo>
                  <a:pt x="392" y="568"/>
                </a:lnTo>
                <a:lnTo>
                  <a:pt x="395" y="566"/>
                </a:lnTo>
                <a:lnTo>
                  <a:pt x="407" y="554"/>
                </a:lnTo>
                <a:lnTo>
                  <a:pt x="411" y="540"/>
                </a:lnTo>
                <a:lnTo>
                  <a:pt x="409" y="523"/>
                </a:lnTo>
                <a:lnTo>
                  <a:pt x="399" y="509"/>
                </a:lnTo>
                <a:lnTo>
                  <a:pt x="392" y="502"/>
                </a:lnTo>
                <a:lnTo>
                  <a:pt x="390" y="502"/>
                </a:lnTo>
                <a:lnTo>
                  <a:pt x="392" y="497"/>
                </a:lnTo>
                <a:lnTo>
                  <a:pt x="395" y="492"/>
                </a:lnTo>
                <a:lnTo>
                  <a:pt x="399" y="487"/>
                </a:lnTo>
                <a:lnTo>
                  <a:pt x="404" y="483"/>
                </a:lnTo>
                <a:lnTo>
                  <a:pt x="418" y="478"/>
                </a:lnTo>
                <a:lnTo>
                  <a:pt x="423" y="473"/>
                </a:lnTo>
                <a:lnTo>
                  <a:pt x="435" y="454"/>
                </a:lnTo>
                <a:lnTo>
                  <a:pt x="442" y="447"/>
                </a:lnTo>
                <a:lnTo>
                  <a:pt x="447" y="445"/>
                </a:lnTo>
                <a:lnTo>
                  <a:pt x="449" y="443"/>
                </a:lnTo>
                <a:lnTo>
                  <a:pt x="449" y="438"/>
                </a:lnTo>
                <a:lnTo>
                  <a:pt x="449" y="433"/>
                </a:lnTo>
                <a:lnTo>
                  <a:pt x="447" y="433"/>
                </a:lnTo>
                <a:lnTo>
                  <a:pt x="447" y="431"/>
                </a:lnTo>
                <a:lnTo>
                  <a:pt x="449" y="424"/>
                </a:lnTo>
                <a:lnTo>
                  <a:pt x="454" y="417"/>
                </a:lnTo>
                <a:lnTo>
                  <a:pt x="461" y="412"/>
                </a:lnTo>
                <a:lnTo>
                  <a:pt x="478" y="407"/>
                </a:lnTo>
                <a:lnTo>
                  <a:pt x="485" y="407"/>
                </a:lnTo>
                <a:lnTo>
                  <a:pt x="489" y="414"/>
                </a:lnTo>
                <a:lnTo>
                  <a:pt x="492" y="424"/>
                </a:lnTo>
                <a:lnTo>
                  <a:pt x="494" y="435"/>
                </a:lnTo>
                <a:lnTo>
                  <a:pt x="494" y="447"/>
                </a:lnTo>
                <a:lnTo>
                  <a:pt x="492" y="471"/>
                </a:lnTo>
                <a:lnTo>
                  <a:pt x="492" y="480"/>
                </a:lnTo>
                <a:lnTo>
                  <a:pt x="494" y="492"/>
                </a:lnTo>
                <a:lnTo>
                  <a:pt x="499" y="497"/>
                </a:lnTo>
                <a:lnTo>
                  <a:pt x="504" y="502"/>
                </a:lnTo>
                <a:lnTo>
                  <a:pt x="511" y="504"/>
                </a:lnTo>
                <a:lnTo>
                  <a:pt x="520" y="506"/>
                </a:lnTo>
                <a:lnTo>
                  <a:pt x="530" y="516"/>
                </a:lnTo>
                <a:lnTo>
                  <a:pt x="551" y="540"/>
                </a:lnTo>
                <a:lnTo>
                  <a:pt x="553" y="542"/>
                </a:lnTo>
                <a:lnTo>
                  <a:pt x="560" y="544"/>
                </a:lnTo>
                <a:lnTo>
                  <a:pt x="575" y="549"/>
                </a:lnTo>
                <a:lnTo>
                  <a:pt x="579" y="549"/>
                </a:lnTo>
                <a:lnTo>
                  <a:pt x="582" y="549"/>
                </a:lnTo>
                <a:lnTo>
                  <a:pt x="586" y="544"/>
                </a:lnTo>
                <a:lnTo>
                  <a:pt x="586" y="542"/>
                </a:lnTo>
                <a:lnTo>
                  <a:pt x="589" y="542"/>
                </a:lnTo>
                <a:lnTo>
                  <a:pt x="593" y="547"/>
                </a:lnTo>
                <a:lnTo>
                  <a:pt x="596" y="549"/>
                </a:lnTo>
                <a:lnTo>
                  <a:pt x="601" y="549"/>
                </a:lnTo>
                <a:lnTo>
                  <a:pt x="608" y="547"/>
                </a:lnTo>
                <a:lnTo>
                  <a:pt x="612" y="549"/>
                </a:lnTo>
                <a:lnTo>
                  <a:pt x="622" y="556"/>
                </a:lnTo>
                <a:lnTo>
                  <a:pt x="619" y="568"/>
                </a:lnTo>
                <a:lnTo>
                  <a:pt x="612" y="580"/>
                </a:lnTo>
                <a:lnTo>
                  <a:pt x="608" y="592"/>
                </a:lnTo>
                <a:lnTo>
                  <a:pt x="608" y="594"/>
                </a:lnTo>
                <a:lnTo>
                  <a:pt x="605" y="594"/>
                </a:lnTo>
                <a:lnTo>
                  <a:pt x="612" y="594"/>
                </a:lnTo>
                <a:lnTo>
                  <a:pt x="615" y="596"/>
                </a:lnTo>
                <a:lnTo>
                  <a:pt x="634" y="603"/>
                </a:lnTo>
                <a:lnTo>
                  <a:pt x="636" y="603"/>
                </a:lnTo>
                <a:lnTo>
                  <a:pt x="638" y="606"/>
                </a:lnTo>
                <a:lnTo>
                  <a:pt x="641" y="613"/>
                </a:lnTo>
                <a:lnTo>
                  <a:pt x="648" y="622"/>
                </a:lnTo>
                <a:lnTo>
                  <a:pt x="650" y="627"/>
                </a:lnTo>
                <a:lnTo>
                  <a:pt x="653" y="632"/>
                </a:lnTo>
                <a:lnTo>
                  <a:pt x="655" y="639"/>
                </a:lnTo>
                <a:lnTo>
                  <a:pt x="655" y="646"/>
                </a:lnTo>
                <a:lnTo>
                  <a:pt x="653" y="651"/>
                </a:lnTo>
                <a:lnTo>
                  <a:pt x="653" y="658"/>
                </a:lnTo>
                <a:lnTo>
                  <a:pt x="664" y="653"/>
                </a:lnTo>
                <a:lnTo>
                  <a:pt x="674" y="655"/>
                </a:lnTo>
                <a:lnTo>
                  <a:pt x="683" y="655"/>
                </a:lnTo>
                <a:lnTo>
                  <a:pt x="690" y="644"/>
                </a:lnTo>
                <a:lnTo>
                  <a:pt x="698" y="627"/>
                </a:lnTo>
                <a:lnTo>
                  <a:pt x="698" y="620"/>
                </a:lnTo>
                <a:lnTo>
                  <a:pt x="693" y="615"/>
                </a:lnTo>
                <a:lnTo>
                  <a:pt x="690" y="613"/>
                </a:lnTo>
                <a:lnTo>
                  <a:pt x="683" y="613"/>
                </a:lnTo>
                <a:lnTo>
                  <a:pt x="681" y="611"/>
                </a:lnTo>
                <a:lnTo>
                  <a:pt x="676" y="608"/>
                </a:lnTo>
                <a:lnTo>
                  <a:pt x="674" y="599"/>
                </a:lnTo>
                <a:lnTo>
                  <a:pt x="669" y="596"/>
                </a:lnTo>
                <a:lnTo>
                  <a:pt x="669" y="596"/>
                </a:lnTo>
                <a:lnTo>
                  <a:pt x="669" y="594"/>
                </a:lnTo>
                <a:lnTo>
                  <a:pt x="669" y="594"/>
                </a:lnTo>
                <a:lnTo>
                  <a:pt x="669" y="592"/>
                </a:lnTo>
                <a:lnTo>
                  <a:pt x="679" y="582"/>
                </a:lnTo>
                <a:lnTo>
                  <a:pt x="672" y="568"/>
                </a:lnTo>
                <a:lnTo>
                  <a:pt x="672" y="563"/>
                </a:lnTo>
                <a:lnTo>
                  <a:pt x="679" y="556"/>
                </a:lnTo>
                <a:lnTo>
                  <a:pt x="686" y="554"/>
                </a:lnTo>
                <a:lnTo>
                  <a:pt x="688" y="551"/>
                </a:lnTo>
                <a:lnTo>
                  <a:pt x="690" y="547"/>
                </a:lnTo>
                <a:lnTo>
                  <a:pt x="690" y="542"/>
                </a:lnTo>
                <a:lnTo>
                  <a:pt x="688" y="532"/>
                </a:lnTo>
                <a:lnTo>
                  <a:pt x="688" y="528"/>
                </a:lnTo>
                <a:lnTo>
                  <a:pt x="693" y="518"/>
                </a:lnTo>
                <a:lnTo>
                  <a:pt x="712" y="502"/>
                </a:lnTo>
                <a:lnTo>
                  <a:pt x="714" y="497"/>
                </a:lnTo>
                <a:lnTo>
                  <a:pt x="716" y="492"/>
                </a:lnTo>
                <a:lnTo>
                  <a:pt x="716" y="487"/>
                </a:lnTo>
                <a:lnTo>
                  <a:pt x="719" y="485"/>
                </a:lnTo>
                <a:lnTo>
                  <a:pt x="724" y="483"/>
                </a:lnTo>
                <a:lnTo>
                  <a:pt x="726" y="478"/>
                </a:lnTo>
                <a:lnTo>
                  <a:pt x="728" y="473"/>
                </a:lnTo>
                <a:lnTo>
                  <a:pt x="731" y="459"/>
                </a:lnTo>
                <a:lnTo>
                  <a:pt x="738" y="440"/>
                </a:lnTo>
                <a:lnTo>
                  <a:pt x="738" y="431"/>
                </a:lnTo>
                <a:lnTo>
                  <a:pt x="735" y="424"/>
                </a:lnTo>
                <a:lnTo>
                  <a:pt x="731" y="409"/>
                </a:lnTo>
                <a:lnTo>
                  <a:pt x="731" y="405"/>
                </a:lnTo>
                <a:lnTo>
                  <a:pt x="731" y="398"/>
                </a:lnTo>
                <a:lnTo>
                  <a:pt x="728" y="395"/>
                </a:lnTo>
                <a:lnTo>
                  <a:pt x="726" y="393"/>
                </a:lnTo>
                <a:lnTo>
                  <a:pt x="721" y="386"/>
                </a:lnTo>
                <a:lnTo>
                  <a:pt x="724" y="376"/>
                </a:lnTo>
                <a:lnTo>
                  <a:pt x="726" y="364"/>
                </a:lnTo>
                <a:lnTo>
                  <a:pt x="731" y="360"/>
                </a:lnTo>
                <a:lnTo>
                  <a:pt x="745" y="355"/>
                </a:lnTo>
                <a:lnTo>
                  <a:pt x="752" y="357"/>
                </a:lnTo>
                <a:lnTo>
                  <a:pt x="752" y="362"/>
                </a:lnTo>
                <a:lnTo>
                  <a:pt x="761" y="369"/>
                </a:lnTo>
                <a:lnTo>
                  <a:pt x="764" y="369"/>
                </a:lnTo>
                <a:lnTo>
                  <a:pt x="766" y="367"/>
                </a:lnTo>
                <a:lnTo>
                  <a:pt x="766" y="364"/>
                </a:lnTo>
                <a:lnTo>
                  <a:pt x="769" y="362"/>
                </a:lnTo>
                <a:lnTo>
                  <a:pt x="769" y="360"/>
                </a:lnTo>
                <a:lnTo>
                  <a:pt x="773" y="355"/>
                </a:lnTo>
                <a:lnTo>
                  <a:pt x="776" y="355"/>
                </a:lnTo>
                <a:lnTo>
                  <a:pt x="778" y="357"/>
                </a:lnTo>
                <a:lnTo>
                  <a:pt x="783" y="398"/>
                </a:lnTo>
                <a:lnTo>
                  <a:pt x="783" y="405"/>
                </a:lnTo>
                <a:lnTo>
                  <a:pt x="785" y="405"/>
                </a:lnTo>
                <a:lnTo>
                  <a:pt x="787" y="407"/>
                </a:lnTo>
                <a:lnTo>
                  <a:pt x="795" y="409"/>
                </a:lnTo>
                <a:lnTo>
                  <a:pt x="797" y="412"/>
                </a:lnTo>
                <a:lnTo>
                  <a:pt x="804" y="426"/>
                </a:lnTo>
                <a:lnTo>
                  <a:pt x="809" y="431"/>
                </a:lnTo>
                <a:lnTo>
                  <a:pt x="816" y="435"/>
                </a:lnTo>
                <a:lnTo>
                  <a:pt x="823" y="438"/>
                </a:lnTo>
                <a:lnTo>
                  <a:pt x="856" y="433"/>
                </a:lnTo>
                <a:lnTo>
                  <a:pt x="861" y="431"/>
                </a:lnTo>
                <a:lnTo>
                  <a:pt x="866" y="424"/>
                </a:lnTo>
                <a:lnTo>
                  <a:pt x="866" y="421"/>
                </a:lnTo>
                <a:lnTo>
                  <a:pt x="863" y="417"/>
                </a:lnTo>
                <a:lnTo>
                  <a:pt x="863" y="409"/>
                </a:lnTo>
                <a:lnTo>
                  <a:pt x="866" y="407"/>
                </a:lnTo>
                <a:lnTo>
                  <a:pt x="870" y="407"/>
                </a:lnTo>
                <a:lnTo>
                  <a:pt x="877" y="409"/>
                </a:lnTo>
                <a:lnTo>
                  <a:pt x="880" y="409"/>
                </a:lnTo>
                <a:lnTo>
                  <a:pt x="887" y="407"/>
                </a:lnTo>
                <a:lnTo>
                  <a:pt x="903" y="395"/>
                </a:lnTo>
                <a:lnTo>
                  <a:pt x="918" y="390"/>
                </a:lnTo>
                <a:lnTo>
                  <a:pt x="922" y="390"/>
                </a:lnTo>
                <a:lnTo>
                  <a:pt x="929" y="393"/>
                </a:lnTo>
                <a:lnTo>
                  <a:pt x="936" y="395"/>
                </a:lnTo>
                <a:lnTo>
                  <a:pt x="939" y="402"/>
                </a:lnTo>
                <a:lnTo>
                  <a:pt x="941" y="412"/>
                </a:lnTo>
                <a:lnTo>
                  <a:pt x="944" y="419"/>
                </a:lnTo>
                <a:lnTo>
                  <a:pt x="948" y="426"/>
                </a:lnTo>
                <a:lnTo>
                  <a:pt x="963" y="433"/>
                </a:lnTo>
                <a:lnTo>
                  <a:pt x="965" y="440"/>
                </a:lnTo>
                <a:lnTo>
                  <a:pt x="967" y="450"/>
                </a:lnTo>
                <a:lnTo>
                  <a:pt x="977" y="450"/>
                </a:lnTo>
                <a:lnTo>
                  <a:pt x="989" y="443"/>
                </a:lnTo>
                <a:lnTo>
                  <a:pt x="996" y="438"/>
                </a:lnTo>
                <a:lnTo>
                  <a:pt x="998" y="428"/>
                </a:lnTo>
                <a:lnTo>
                  <a:pt x="993" y="421"/>
                </a:lnTo>
                <a:lnTo>
                  <a:pt x="979" y="409"/>
                </a:lnTo>
                <a:lnTo>
                  <a:pt x="977" y="407"/>
                </a:lnTo>
                <a:lnTo>
                  <a:pt x="974" y="402"/>
                </a:lnTo>
                <a:lnTo>
                  <a:pt x="974" y="398"/>
                </a:lnTo>
                <a:lnTo>
                  <a:pt x="977" y="393"/>
                </a:lnTo>
                <a:lnTo>
                  <a:pt x="977" y="388"/>
                </a:lnTo>
                <a:lnTo>
                  <a:pt x="984" y="381"/>
                </a:lnTo>
                <a:lnTo>
                  <a:pt x="984" y="379"/>
                </a:lnTo>
                <a:lnTo>
                  <a:pt x="986" y="369"/>
                </a:lnTo>
                <a:lnTo>
                  <a:pt x="984" y="364"/>
                </a:lnTo>
                <a:lnTo>
                  <a:pt x="977" y="364"/>
                </a:lnTo>
                <a:lnTo>
                  <a:pt x="965" y="362"/>
                </a:lnTo>
                <a:lnTo>
                  <a:pt x="955" y="360"/>
                </a:lnTo>
                <a:lnTo>
                  <a:pt x="951" y="355"/>
                </a:lnTo>
                <a:lnTo>
                  <a:pt x="953" y="346"/>
                </a:lnTo>
                <a:lnTo>
                  <a:pt x="951" y="346"/>
                </a:lnTo>
                <a:lnTo>
                  <a:pt x="948" y="343"/>
                </a:lnTo>
                <a:lnTo>
                  <a:pt x="948" y="338"/>
                </a:lnTo>
                <a:lnTo>
                  <a:pt x="948" y="336"/>
                </a:lnTo>
                <a:lnTo>
                  <a:pt x="948" y="331"/>
                </a:lnTo>
                <a:lnTo>
                  <a:pt x="946" y="322"/>
                </a:lnTo>
                <a:lnTo>
                  <a:pt x="946" y="317"/>
                </a:lnTo>
                <a:lnTo>
                  <a:pt x="948" y="315"/>
                </a:lnTo>
                <a:lnTo>
                  <a:pt x="955" y="308"/>
                </a:lnTo>
                <a:lnTo>
                  <a:pt x="955" y="303"/>
                </a:lnTo>
                <a:lnTo>
                  <a:pt x="958" y="289"/>
                </a:lnTo>
                <a:lnTo>
                  <a:pt x="960" y="286"/>
                </a:lnTo>
                <a:lnTo>
                  <a:pt x="963" y="284"/>
                </a:lnTo>
                <a:lnTo>
                  <a:pt x="989" y="272"/>
                </a:lnTo>
                <a:lnTo>
                  <a:pt x="996" y="272"/>
                </a:lnTo>
                <a:lnTo>
                  <a:pt x="1000" y="275"/>
                </a:lnTo>
                <a:lnTo>
                  <a:pt x="1003" y="279"/>
                </a:lnTo>
                <a:lnTo>
                  <a:pt x="1000" y="289"/>
                </a:lnTo>
                <a:lnTo>
                  <a:pt x="1003" y="293"/>
                </a:lnTo>
                <a:lnTo>
                  <a:pt x="1015" y="296"/>
                </a:lnTo>
                <a:lnTo>
                  <a:pt x="1019" y="298"/>
                </a:lnTo>
                <a:lnTo>
                  <a:pt x="1019" y="298"/>
                </a:lnTo>
                <a:lnTo>
                  <a:pt x="1022" y="301"/>
                </a:lnTo>
                <a:lnTo>
                  <a:pt x="1026" y="303"/>
                </a:lnTo>
                <a:lnTo>
                  <a:pt x="1029" y="303"/>
                </a:lnTo>
                <a:lnTo>
                  <a:pt x="1038" y="301"/>
                </a:lnTo>
                <a:lnTo>
                  <a:pt x="1060" y="303"/>
                </a:lnTo>
                <a:lnTo>
                  <a:pt x="1067" y="301"/>
                </a:lnTo>
                <a:lnTo>
                  <a:pt x="1069" y="293"/>
                </a:lnTo>
                <a:lnTo>
                  <a:pt x="1069" y="284"/>
                </a:lnTo>
                <a:lnTo>
                  <a:pt x="1069" y="272"/>
                </a:lnTo>
                <a:lnTo>
                  <a:pt x="1064" y="265"/>
                </a:lnTo>
                <a:lnTo>
                  <a:pt x="1060" y="260"/>
                </a:lnTo>
                <a:lnTo>
                  <a:pt x="1045" y="260"/>
                </a:lnTo>
                <a:lnTo>
                  <a:pt x="1041" y="256"/>
                </a:lnTo>
                <a:lnTo>
                  <a:pt x="1036" y="246"/>
                </a:lnTo>
                <a:lnTo>
                  <a:pt x="1038" y="244"/>
                </a:lnTo>
                <a:lnTo>
                  <a:pt x="1041" y="239"/>
                </a:lnTo>
                <a:lnTo>
                  <a:pt x="1043" y="234"/>
                </a:lnTo>
                <a:lnTo>
                  <a:pt x="1043" y="227"/>
                </a:lnTo>
                <a:lnTo>
                  <a:pt x="1041" y="223"/>
                </a:lnTo>
                <a:lnTo>
                  <a:pt x="1043" y="218"/>
                </a:lnTo>
                <a:lnTo>
                  <a:pt x="1045" y="215"/>
                </a:lnTo>
                <a:lnTo>
                  <a:pt x="1050" y="208"/>
                </a:lnTo>
                <a:lnTo>
                  <a:pt x="1048" y="204"/>
                </a:lnTo>
                <a:lnTo>
                  <a:pt x="1045" y="199"/>
                </a:lnTo>
                <a:lnTo>
                  <a:pt x="1043" y="192"/>
                </a:lnTo>
                <a:lnTo>
                  <a:pt x="1048" y="182"/>
                </a:lnTo>
                <a:lnTo>
                  <a:pt x="1050" y="180"/>
                </a:lnTo>
                <a:lnTo>
                  <a:pt x="1050" y="175"/>
                </a:lnTo>
                <a:lnTo>
                  <a:pt x="1050" y="163"/>
                </a:lnTo>
                <a:lnTo>
                  <a:pt x="1060" y="168"/>
                </a:lnTo>
                <a:lnTo>
                  <a:pt x="1074" y="168"/>
                </a:lnTo>
                <a:lnTo>
                  <a:pt x="1100" y="156"/>
                </a:lnTo>
                <a:lnTo>
                  <a:pt x="1107" y="156"/>
                </a:lnTo>
                <a:lnTo>
                  <a:pt x="1109" y="156"/>
                </a:lnTo>
                <a:lnTo>
                  <a:pt x="1133" y="166"/>
                </a:lnTo>
                <a:lnTo>
                  <a:pt x="1138" y="170"/>
                </a:lnTo>
                <a:lnTo>
                  <a:pt x="1138" y="173"/>
                </a:lnTo>
                <a:lnTo>
                  <a:pt x="1130" y="180"/>
                </a:lnTo>
                <a:lnTo>
                  <a:pt x="1130" y="182"/>
                </a:lnTo>
                <a:lnTo>
                  <a:pt x="1133" y="185"/>
                </a:lnTo>
                <a:lnTo>
                  <a:pt x="1135" y="185"/>
                </a:lnTo>
                <a:lnTo>
                  <a:pt x="1140" y="182"/>
                </a:lnTo>
                <a:lnTo>
                  <a:pt x="1145" y="182"/>
                </a:lnTo>
                <a:lnTo>
                  <a:pt x="1154" y="187"/>
                </a:lnTo>
                <a:lnTo>
                  <a:pt x="1157" y="187"/>
                </a:lnTo>
                <a:lnTo>
                  <a:pt x="1161" y="185"/>
                </a:lnTo>
                <a:lnTo>
                  <a:pt x="1164" y="182"/>
                </a:lnTo>
                <a:lnTo>
                  <a:pt x="1166" y="185"/>
                </a:lnTo>
                <a:lnTo>
                  <a:pt x="1173" y="187"/>
                </a:lnTo>
                <a:lnTo>
                  <a:pt x="1175" y="189"/>
                </a:lnTo>
                <a:lnTo>
                  <a:pt x="1178" y="189"/>
                </a:lnTo>
                <a:lnTo>
                  <a:pt x="1187" y="185"/>
                </a:lnTo>
                <a:lnTo>
                  <a:pt x="1192" y="182"/>
                </a:lnTo>
                <a:lnTo>
                  <a:pt x="1201" y="182"/>
                </a:lnTo>
                <a:lnTo>
                  <a:pt x="1209" y="182"/>
                </a:lnTo>
                <a:lnTo>
                  <a:pt x="1211" y="182"/>
                </a:lnTo>
                <a:lnTo>
                  <a:pt x="1216" y="178"/>
                </a:lnTo>
                <a:lnTo>
                  <a:pt x="1220" y="166"/>
                </a:lnTo>
                <a:lnTo>
                  <a:pt x="1220" y="163"/>
                </a:lnTo>
                <a:lnTo>
                  <a:pt x="1223" y="161"/>
                </a:lnTo>
                <a:lnTo>
                  <a:pt x="1225" y="161"/>
                </a:lnTo>
                <a:lnTo>
                  <a:pt x="1225" y="159"/>
                </a:lnTo>
                <a:lnTo>
                  <a:pt x="1225" y="154"/>
                </a:lnTo>
                <a:lnTo>
                  <a:pt x="1225" y="152"/>
                </a:lnTo>
                <a:lnTo>
                  <a:pt x="1227" y="137"/>
                </a:lnTo>
                <a:lnTo>
                  <a:pt x="1230" y="123"/>
                </a:lnTo>
                <a:lnTo>
                  <a:pt x="1230" y="118"/>
                </a:lnTo>
                <a:lnTo>
                  <a:pt x="1246" y="97"/>
                </a:lnTo>
                <a:lnTo>
                  <a:pt x="1251" y="92"/>
                </a:lnTo>
                <a:lnTo>
                  <a:pt x="1270" y="83"/>
                </a:lnTo>
                <a:lnTo>
                  <a:pt x="1289" y="76"/>
                </a:lnTo>
                <a:lnTo>
                  <a:pt x="1301" y="78"/>
                </a:lnTo>
                <a:lnTo>
                  <a:pt x="1310" y="81"/>
                </a:lnTo>
                <a:lnTo>
                  <a:pt x="1317" y="81"/>
                </a:lnTo>
                <a:lnTo>
                  <a:pt x="1327" y="69"/>
                </a:lnTo>
                <a:lnTo>
                  <a:pt x="1327" y="69"/>
                </a:lnTo>
                <a:lnTo>
                  <a:pt x="1329" y="66"/>
                </a:lnTo>
                <a:lnTo>
                  <a:pt x="1332" y="64"/>
                </a:lnTo>
                <a:lnTo>
                  <a:pt x="1334" y="62"/>
                </a:lnTo>
                <a:lnTo>
                  <a:pt x="1339" y="62"/>
                </a:lnTo>
                <a:lnTo>
                  <a:pt x="1341" y="64"/>
                </a:lnTo>
                <a:lnTo>
                  <a:pt x="1343" y="64"/>
                </a:lnTo>
                <a:lnTo>
                  <a:pt x="1343" y="66"/>
                </a:lnTo>
                <a:lnTo>
                  <a:pt x="1346" y="69"/>
                </a:lnTo>
                <a:lnTo>
                  <a:pt x="1351" y="69"/>
                </a:lnTo>
                <a:lnTo>
                  <a:pt x="1353" y="66"/>
                </a:lnTo>
                <a:lnTo>
                  <a:pt x="1355" y="64"/>
                </a:lnTo>
                <a:lnTo>
                  <a:pt x="1355" y="64"/>
                </a:lnTo>
                <a:lnTo>
                  <a:pt x="1355" y="64"/>
                </a:lnTo>
                <a:lnTo>
                  <a:pt x="1355" y="64"/>
                </a:lnTo>
                <a:lnTo>
                  <a:pt x="1362" y="62"/>
                </a:lnTo>
                <a:lnTo>
                  <a:pt x="1369" y="59"/>
                </a:lnTo>
                <a:lnTo>
                  <a:pt x="1384" y="62"/>
                </a:lnTo>
                <a:lnTo>
                  <a:pt x="1384" y="62"/>
                </a:lnTo>
                <a:lnTo>
                  <a:pt x="1386" y="62"/>
                </a:lnTo>
                <a:lnTo>
                  <a:pt x="1386" y="62"/>
                </a:lnTo>
                <a:lnTo>
                  <a:pt x="1388" y="59"/>
                </a:lnTo>
                <a:lnTo>
                  <a:pt x="1395" y="59"/>
                </a:lnTo>
                <a:lnTo>
                  <a:pt x="1405" y="66"/>
                </a:lnTo>
                <a:lnTo>
                  <a:pt x="1410" y="66"/>
                </a:lnTo>
                <a:lnTo>
                  <a:pt x="1414" y="66"/>
                </a:lnTo>
                <a:lnTo>
                  <a:pt x="1419" y="59"/>
                </a:lnTo>
                <a:lnTo>
                  <a:pt x="1422" y="57"/>
                </a:lnTo>
                <a:lnTo>
                  <a:pt x="1433" y="52"/>
                </a:lnTo>
                <a:lnTo>
                  <a:pt x="1443" y="45"/>
                </a:lnTo>
                <a:lnTo>
                  <a:pt x="1455" y="36"/>
                </a:lnTo>
                <a:lnTo>
                  <a:pt x="1466" y="28"/>
                </a:lnTo>
                <a:lnTo>
                  <a:pt x="1485" y="26"/>
                </a:lnTo>
                <a:lnTo>
                  <a:pt x="1511" y="5"/>
                </a:lnTo>
                <a:lnTo>
                  <a:pt x="1530" y="0"/>
                </a:lnTo>
                <a:lnTo>
                  <a:pt x="1537" y="0"/>
                </a:lnTo>
                <a:lnTo>
                  <a:pt x="1540" y="12"/>
                </a:lnTo>
                <a:lnTo>
                  <a:pt x="1535" y="21"/>
                </a:lnTo>
                <a:lnTo>
                  <a:pt x="1519" y="33"/>
                </a:lnTo>
                <a:lnTo>
                  <a:pt x="1516" y="40"/>
                </a:lnTo>
                <a:lnTo>
                  <a:pt x="1519" y="45"/>
                </a:lnTo>
                <a:lnTo>
                  <a:pt x="1521" y="50"/>
                </a:lnTo>
                <a:moveTo>
                  <a:pt x="1805" y="1330"/>
                </a:moveTo>
                <a:lnTo>
                  <a:pt x="1805" y="1330"/>
                </a:lnTo>
                <a:lnTo>
                  <a:pt x="1817" y="1334"/>
                </a:lnTo>
                <a:lnTo>
                  <a:pt x="1824" y="1330"/>
                </a:lnTo>
                <a:lnTo>
                  <a:pt x="1828" y="1320"/>
                </a:lnTo>
                <a:lnTo>
                  <a:pt x="1828" y="1320"/>
                </a:lnTo>
                <a:lnTo>
                  <a:pt x="1828" y="1318"/>
                </a:lnTo>
                <a:lnTo>
                  <a:pt x="1828" y="1318"/>
                </a:lnTo>
                <a:lnTo>
                  <a:pt x="1828" y="1316"/>
                </a:lnTo>
                <a:lnTo>
                  <a:pt x="1831" y="1311"/>
                </a:lnTo>
                <a:lnTo>
                  <a:pt x="1831" y="1304"/>
                </a:lnTo>
                <a:lnTo>
                  <a:pt x="1828" y="1297"/>
                </a:lnTo>
                <a:lnTo>
                  <a:pt x="1826" y="1292"/>
                </a:lnTo>
                <a:lnTo>
                  <a:pt x="1817" y="1297"/>
                </a:lnTo>
                <a:lnTo>
                  <a:pt x="1807" y="1301"/>
                </a:lnTo>
                <a:lnTo>
                  <a:pt x="1802" y="1311"/>
                </a:lnTo>
                <a:lnTo>
                  <a:pt x="1800" y="1323"/>
                </a:lnTo>
                <a:lnTo>
                  <a:pt x="1805" y="1330"/>
                </a:lnTo>
                <a:moveTo>
                  <a:pt x="1940" y="2177"/>
                </a:moveTo>
                <a:lnTo>
                  <a:pt x="1940" y="2177"/>
                </a:lnTo>
                <a:lnTo>
                  <a:pt x="1940" y="2177"/>
                </a:lnTo>
                <a:lnTo>
                  <a:pt x="1944" y="2177"/>
                </a:lnTo>
                <a:lnTo>
                  <a:pt x="1942" y="2174"/>
                </a:lnTo>
                <a:lnTo>
                  <a:pt x="1940" y="2174"/>
                </a:lnTo>
                <a:lnTo>
                  <a:pt x="1940" y="2177"/>
                </a:lnTo>
              </a:path>
            </a:pathLst>
          </a:custGeom>
          <a:solidFill>
            <a:schemeClr val="tx1"/>
          </a:solidFill>
          <a:ln w="6350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179211" tIns="89606" rIns="179211" bIns="89606"/>
          <a:lstStyle/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0" name="Rettangolo 289"/>
          <p:cNvSpPr/>
          <p:nvPr/>
        </p:nvSpPr>
        <p:spPr>
          <a:xfrm>
            <a:off x="642146" y="4576824"/>
            <a:ext cx="201600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ILIENZA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RASTRUTTURALE</a:t>
            </a:r>
          </a:p>
        </p:txBody>
      </p:sp>
      <p:sp>
        <p:nvSpPr>
          <p:cNvPr id="291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1279807" y="3744841"/>
            <a:ext cx="740679" cy="753751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93" name="Connettore diritto 292"/>
          <p:cNvCxnSpPr/>
          <p:nvPr/>
        </p:nvCxnSpPr>
        <p:spPr>
          <a:xfrm>
            <a:off x="1130167" y="4562014"/>
            <a:ext cx="10399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5" name="Picture 2" descr="Costruttore con cappello e un ingranaggio | Icona Gratis"/>
          <p:cNvPicPr>
            <a:picLocks noChangeAspect="1" noChangeArrowheads="1"/>
          </p:cNvPicPr>
          <p:nvPr/>
        </p:nvPicPr>
        <p:blipFill>
          <a:blip r:embed="rId19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2065" y="3869628"/>
            <a:ext cx="491775" cy="491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2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4725912" y="3744841"/>
            <a:ext cx="740679" cy="753751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94" name="Connettore diritto 293"/>
          <p:cNvCxnSpPr/>
          <p:nvPr/>
        </p:nvCxnSpPr>
        <p:spPr>
          <a:xfrm>
            <a:off x="4559734" y="4562014"/>
            <a:ext cx="10399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Rettangolo 296"/>
          <p:cNvSpPr/>
          <p:nvPr/>
        </p:nvSpPr>
        <p:spPr>
          <a:xfrm>
            <a:off x="3883028" y="4576824"/>
            <a:ext cx="2391126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ILUPPO TECNOLOGICO E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OVE SPERIMENTAZIONI</a:t>
            </a:r>
          </a:p>
        </p:txBody>
      </p:sp>
      <p:pic>
        <p:nvPicPr>
          <p:cNvPr id="356" name="Immagine 355">
            <a:extLst>
              <a:ext uri="{FF2B5EF4-FFF2-40B4-BE49-F238E27FC236}">
                <a16:creationId xmlns:a16="http://schemas.microsoft.com/office/drawing/2014/main" id="{4088D501-7079-440F-BA23-A8E17F0F494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screen">
            <a:biLevel thresh="75000"/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6238" y="3812243"/>
            <a:ext cx="614164" cy="642731"/>
          </a:xfrm>
          <a:prstGeom prst="ellipse">
            <a:avLst/>
          </a:prstGeom>
          <a:ln>
            <a:noFill/>
          </a:ln>
        </p:spPr>
      </p:pic>
      <p:sp>
        <p:nvSpPr>
          <p:cNvPr id="311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10747259" y="3744841"/>
            <a:ext cx="740679" cy="753751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3" name="Connettore diritto 312"/>
          <p:cNvCxnSpPr/>
          <p:nvPr/>
        </p:nvCxnSpPr>
        <p:spPr>
          <a:xfrm>
            <a:off x="10597619" y="4562014"/>
            <a:ext cx="10399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Rettangolo 315"/>
          <p:cNvSpPr/>
          <p:nvPr/>
        </p:nvSpPr>
        <p:spPr>
          <a:xfrm>
            <a:off x="10109598" y="4576824"/>
            <a:ext cx="201600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I E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EROPORTI</a:t>
            </a:r>
          </a:p>
        </p:txBody>
      </p:sp>
      <p:sp>
        <p:nvSpPr>
          <p:cNvPr id="357" name="Freeform 3019">
            <a:extLst>
              <a:ext uri="{FF2B5EF4-FFF2-40B4-BE49-F238E27FC236}">
                <a16:creationId xmlns:a16="http://schemas.microsoft.com/office/drawing/2014/main" id="{A079DD7B-A267-4D20-ACA6-9270C842F052}"/>
              </a:ext>
            </a:extLst>
          </p:cNvPr>
          <p:cNvSpPr>
            <a:spLocks/>
          </p:cNvSpPr>
          <p:nvPr/>
        </p:nvSpPr>
        <p:spPr bwMode="auto">
          <a:xfrm>
            <a:off x="10821667" y="3946044"/>
            <a:ext cx="264470" cy="294401"/>
          </a:xfrm>
          <a:custGeom>
            <a:avLst/>
            <a:gdLst/>
            <a:ahLst/>
            <a:cxnLst>
              <a:cxn ang="0">
                <a:pos x="697" y="22"/>
              </a:cxn>
              <a:cxn ang="0">
                <a:pos x="617" y="22"/>
              </a:cxn>
              <a:cxn ang="0">
                <a:pos x="461" y="179"/>
              </a:cxn>
              <a:cxn ang="0">
                <a:pos x="65" y="89"/>
              </a:cxn>
              <a:cxn ang="0">
                <a:pos x="45" y="95"/>
              </a:cxn>
              <a:cxn ang="0">
                <a:pos x="7" y="134"/>
              </a:cxn>
              <a:cxn ang="0">
                <a:pos x="1" y="153"/>
              </a:cxn>
              <a:cxn ang="0">
                <a:pos x="13" y="169"/>
              </a:cxn>
              <a:cxn ang="0">
                <a:pos x="328" y="312"/>
              </a:cxn>
              <a:cxn ang="0">
                <a:pos x="184" y="456"/>
              </a:cxn>
              <a:cxn ang="0">
                <a:pos x="59" y="448"/>
              </a:cxn>
              <a:cxn ang="0">
                <a:pos x="42" y="454"/>
              </a:cxn>
              <a:cxn ang="0">
                <a:pos x="22" y="475"/>
              </a:cxn>
              <a:cxn ang="0">
                <a:pos x="16" y="495"/>
              </a:cxn>
              <a:cxn ang="0">
                <a:pos x="30" y="510"/>
              </a:cxn>
              <a:cxn ang="0">
                <a:pos x="160" y="559"/>
              </a:cxn>
              <a:cxn ang="0">
                <a:pos x="209" y="690"/>
              </a:cxn>
              <a:cxn ang="0">
                <a:pos x="225" y="703"/>
              </a:cxn>
              <a:cxn ang="0">
                <a:pos x="229" y="704"/>
              </a:cxn>
              <a:cxn ang="0">
                <a:pos x="245" y="698"/>
              </a:cxn>
              <a:cxn ang="0">
                <a:pos x="265" y="677"/>
              </a:cxn>
              <a:cxn ang="0">
                <a:pos x="271" y="661"/>
              </a:cxn>
              <a:cxn ang="0">
                <a:pos x="264" y="535"/>
              </a:cxn>
              <a:cxn ang="0">
                <a:pos x="407" y="392"/>
              </a:cxn>
              <a:cxn ang="0">
                <a:pos x="551" y="706"/>
              </a:cxn>
              <a:cxn ang="0">
                <a:pos x="567" y="718"/>
              </a:cxn>
              <a:cxn ang="0">
                <a:pos x="571" y="719"/>
              </a:cxn>
              <a:cxn ang="0">
                <a:pos x="586" y="712"/>
              </a:cxn>
              <a:cxn ang="0">
                <a:pos x="624" y="674"/>
              </a:cxn>
              <a:cxn ang="0">
                <a:pos x="630" y="654"/>
              </a:cxn>
              <a:cxn ang="0">
                <a:pos x="541" y="258"/>
              </a:cxn>
              <a:cxn ang="0">
                <a:pos x="697" y="102"/>
              </a:cxn>
              <a:cxn ang="0">
                <a:pos x="697" y="22"/>
              </a:cxn>
            </a:cxnLst>
            <a:rect l="0" t="0" r="r" b="b"/>
            <a:pathLst>
              <a:path w="719" h="719">
                <a:moveTo>
                  <a:pt x="697" y="22"/>
                </a:moveTo>
                <a:cubicBezTo>
                  <a:pt x="675" y="0"/>
                  <a:pt x="639" y="0"/>
                  <a:pt x="617" y="22"/>
                </a:cubicBezTo>
                <a:cubicBezTo>
                  <a:pt x="461" y="179"/>
                  <a:pt x="461" y="179"/>
                  <a:pt x="461" y="179"/>
                </a:cubicBezTo>
                <a:cubicBezTo>
                  <a:pt x="65" y="89"/>
                  <a:pt x="65" y="89"/>
                  <a:pt x="65" y="89"/>
                </a:cubicBezTo>
                <a:cubicBezTo>
                  <a:pt x="58" y="88"/>
                  <a:pt x="51" y="90"/>
                  <a:pt x="45" y="95"/>
                </a:cubicBezTo>
                <a:cubicBezTo>
                  <a:pt x="7" y="134"/>
                  <a:pt x="7" y="134"/>
                  <a:pt x="7" y="134"/>
                </a:cubicBezTo>
                <a:cubicBezTo>
                  <a:pt x="2" y="139"/>
                  <a:pt x="0" y="146"/>
                  <a:pt x="1" y="153"/>
                </a:cubicBezTo>
                <a:cubicBezTo>
                  <a:pt x="2" y="160"/>
                  <a:pt x="7" y="166"/>
                  <a:pt x="13" y="169"/>
                </a:cubicBezTo>
                <a:cubicBezTo>
                  <a:pt x="328" y="312"/>
                  <a:pt x="328" y="312"/>
                  <a:pt x="328" y="312"/>
                </a:cubicBezTo>
                <a:cubicBezTo>
                  <a:pt x="184" y="456"/>
                  <a:pt x="184" y="456"/>
                  <a:pt x="184" y="456"/>
                </a:cubicBezTo>
                <a:cubicBezTo>
                  <a:pt x="59" y="448"/>
                  <a:pt x="59" y="448"/>
                  <a:pt x="59" y="448"/>
                </a:cubicBezTo>
                <a:cubicBezTo>
                  <a:pt x="53" y="448"/>
                  <a:pt x="47" y="450"/>
                  <a:pt x="42" y="454"/>
                </a:cubicBezTo>
                <a:cubicBezTo>
                  <a:pt x="22" y="475"/>
                  <a:pt x="22" y="475"/>
                  <a:pt x="22" y="475"/>
                </a:cubicBezTo>
                <a:cubicBezTo>
                  <a:pt x="17" y="480"/>
                  <a:pt x="14" y="488"/>
                  <a:pt x="16" y="495"/>
                </a:cubicBezTo>
                <a:cubicBezTo>
                  <a:pt x="18" y="502"/>
                  <a:pt x="23" y="508"/>
                  <a:pt x="30" y="510"/>
                </a:cubicBezTo>
                <a:cubicBezTo>
                  <a:pt x="160" y="559"/>
                  <a:pt x="160" y="559"/>
                  <a:pt x="160" y="559"/>
                </a:cubicBezTo>
                <a:cubicBezTo>
                  <a:pt x="209" y="690"/>
                  <a:pt x="209" y="690"/>
                  <a:pt x="209" y="690"/>
                </a:cubicBezTo>
                <a:cubicBezTo>
                  <a:pt x="212" y="697"/>
                  <a:pt x="217" y="702"/>
                  <a:pt x="225" y="703"/>
                </a:cubicBezTo>
                <a:cubicBezTo>
                  <a:pt x="226" y="704"/>
                  <a:pt x="228" y="704"/>
                  <a:pt x="229" y="704"/>
                </a:cubicBezTo>
                <a:cubicBezTo>
                  <a:pt x="235" y="704"/>
                  <a:pt x="240" y="702"/>
                  <a:pt x="245" y="698"/>
                </a:cubicBezTo>
                <a:cubicBezTo>
                  <a:pt x="265" y="677"/>
                  <a:pt x="265" y="677"/>
                  <a:pt x="265" y="677"/>
                </a:cubicBezTo>
                <a:cubicBezTo>
                  <a:pt x="269" y="673"/>
                  <a:pt x="272" y="667"/>
                  <a:pt x="271" y="661"/>
                </a:cubicBezTo>
                <a:cubicBezTo>
                  <a:pt x="264" y="535"/>
                  <a:pt x="264" y="535"/>
                  <a:pt x="264" y="535"/>
                </a:cubicBezTo>
                <a:cubicBezTo>
                  <a:pt x="407" y="392"/>
                  <a:pt x="407" y="392"/>
                  <a:pt x="407" y="392"/>
                </a:cubicBezTo>
                <a:cubicBezTo>
                  <a:pt x="551" y="706"/>
                  <a:pt x="551" y="706"/>
                  <a:pt x="551" y="706"/>
                </a:cubicBezTo>
                <a:cubicBezTo>
                  <a:pt x="554" y="713"/>
                  <a:pt x="560" y="717"/>
                  <a:pt x="567" y="718"/>
                </a:cubicBezTo>
                <a:cubicBezTo>
                  <a:pt x="568" y="719"/>
                  <a:pt x="569" y="719"/>
                  <a:pt x="571" y="719"/>
                </a:cubicBezTo>
                <a:cubicBezTo>
                  <a:pt x="576" y="719"/>
                  <a:pt x="582" y="717"/>
                  <a:pt x="586" y="712"/>
                </a:cubicBezTo>
                <a:cubicBezTo>
                  <a:pt x="624" y="674"/>
                  <a:pt x="624" y="674"/>
                  <a:pt x="624" y="674"/>
                </a:cubicBezTo>
                <a:cubicBezTo>
                  <a:pt x="630" y="669"/>
                  <a:pt x="632" y="661"/>
                  <a:pt x="630" y="654"/>
                </a:cubicBezTo>
                <a:cubicBezTo>
                  <a:pt x="541" y="258"/>
                  <a:pt x="541" y="258"/>
                  <a:pt x="541" y="258"/>
                </a:cubicBezTo>
                <a:cubicBezTo>
                  <a:pt x="697" y="102"/>
                  <a:pt x="697" y="102"/>
                  <a:pt x="697" y="102"/>
                </a:cubicBezTo>
                <a:cubicBezTo>
                  <a:pt x="719" y="80"/>
                  <a:pt x="719" y="44"/>
                  <a:pt x="697" y="22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8" name="Freeform 581">
            <a:extLst>
              <a:ext uri="{FF2B5EF4-FFF2-40B4-BE49-F238E27FC236}">
                <a16:creationId xmlns:a16="http://schemas.microsoft.com/office/drawing/2014/main" id="{3D3E6481-D54E-4AF3-A12C-3539D9B46817}"/>
              </a:ext>
            </a:extLst>
          </p:cNvPr>
          <p:cNvSpPr>
            <a:spLocks noEditPoints="1"/>
          </p:cNvSpPr>
          <p:nvPr/>
        </p:nvSpPr>
        <p:spPr bwMode="auto">
          <a:xfrm>
            <a:off x="11121017" y="3935364"/>
            <a:ext cx="284968" cy="325057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2944800" y="3744841"/>
            <a:ext cx="740679" cy="753751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8" name="Connettore diritto 167"/>
          <p:cNvCxnSpPr/>
          <p:nvPr/>
        </p:nvCxnSpPr>
        <p:spPr>
          <a:xfrm>
            <a:off x="2795272" y="4562014"/>
            <a:ext cx="10399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ttangolo 168"/>
          <p:cNvSpPr/>
          <p:nvPr/>
        </p:nvSpPr>
        <p:spPr>
          <a:xfrm>
            <a:off x="2118566" y="4576824"/>
            <a:ext cx="2391126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EGUAMENTO A STANDARD TECNICI DI INTEROPERABILITA’</a:t>
            </a:r>
          </a:p>
        </p:txBody>
      </p:sp>
      <p:sp>
        <p:nvSpPr>
          <p:cNvPr id="229" name="Rettangolo 228"/>
          <p:cNvSpPr/>
          <p:nvPr/>
        </p:nvSpPr>
        <p:spPr>
          <a:xfrm>
            <a:off x="6952549" y="4576824"/>
            <a:ext cx="201600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SPORTO</a:t>
            </a:r>
          </a:p>
          <a:p>
            <a:pPr marL="0" marR="0" lvl="0" indent="0" algn="ctr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BBLICO LOCALE</a:t>
            </a:r>
          </a:p>
        </p:txBody>
      </p:sp>
      <p:sp>
        <p:nvSpPr>
          <p:cNvPr id="234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7591443" y="3729825"/>
            <a:ext cx="740679" cy="753751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5" name="Connettore diritto 244"/>
          <p:cNvCxnSpPr/>
          <p:nvPr/>
        </p:nvCxnSpPr>
        <p:spPr>
          <a:xfrm>
            <a:off x="7440570" y="4562014"/>
            <a:ext cx="10399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" name="Picture 18" descr="TRENO - Hotel Properzio Assisi"/>
          <p:cNvPicPr>
            <a:picLocks noChangeAspect="1" noChangeArrowheads="1"/>
          </p:cNvPicPr>
          <p:nvPr/>
        </p:nvPicPr>
        <p:blipFill>
          <a:blip r:embed="rId23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7551" y="3824530"/>
            <a:ext cx="541768" cy="532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8" name="Immagine 267"/>
          <p:cNvPicPr>
            <a:picLocks noChangeAspect="1"/>
          </p:cNvPicPr>
          <p:nvPr/>
        </p:nvPicPr>
        <p:blipFill rotWithShape="1">
          <a:blip r:embed="rId2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2393" y="3872695"/>
            <a:ext cx="655718" cy="485640"/>
          </a:xfrm>
          <a:prstGeom prst="ellipse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600164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832646-3627-4C30-9ADA-A737DDF16C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01" y="1672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832646-3627-4C30-9ADA-A737DDF16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01" y="1672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4AEE02C-ABC8-495A-8A5F-BD5049B9585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it-IT">
                <a:latin typeface="+mn-lt"/>
              </a:rPr>
              <a:t>Resilienza infrastrutturale</a:t>
            </a:r>
          </a:p>
        </p:txBody>
      </p:sp>
      <p:sp>
        <p:nvSpPr>
          <p:cNvPr id="2" name="Segnaposto contenuto 1"/>
          <p:cNvSpPr>
            <a:spLocks noGrp="1"/>
          </p:cNvSpPr>
          <p:nvPr>
            <p:ph idx="13"/>
          </p:nvPr>
        </p:nvSpPr>
        <p:spPr/>
        <p:txBody>
          <a:bodyPr>
            <a:noAutofit/>
          </a:bodyPr>
          <a:lstStyle/>
          <a:p>
            <a:r>
              <a:rPr lang="it-IT"/>
              <a:t>Interventi di prevenzione e mitigazione delle criticità legate alle fragilità del territorio e al climate change</a:t>
            </a:r>
          </a:p>
        </p:txBody>
      </p:sp>
      <p:sp>
        <p:nvSpPr>
          <p:cNvPr id="162" name="Rettangolo 161"/>
          <p:cNvSpPr/>
          <p:nvPr/>
        </p:nvSpPr>
        <p:spPr>
          <a:xfrm>
            <a:off x="4682827" y="5410529"/>
            <a:ext cx="66623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 programma comprende misure atte a gestire/mitigare i fattori di rischio nelle tratte di binario soggette a forti venti trasversali per consentire la circolazione senza limitazione di velocità</a:t>
            </a:r>
          </a:p>
        </p:txBody>
      </p:sp>
      <p:sp>
        <p:nvSpPr>
          <p:cNvPr id="164" name="Rettangolo 163"/>
          <p:cNvSpPr/>
          <p:nvPr/>
        </p:nvSpPr>
        <p:spPr>
          <a:xfrm>
            <a:off x="4682828" y="2480154"/>
            <a:ext cx="682106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 programma prevede la realizzazione di interventi per eliminare / gestire le criticità per la sicurezza della circolazione ferroviaria derivanti da fenomeni di dissesto idrogeologico, sia idraulici sia di tipo franoso, su tutta la rete.</a:t>
            </a: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object 20">
            <a:extLst>
              <a:ext uri="{FF2B5EF4-FFF2-40B4-BE49-F238E27FC236}">
                <a16:creationId xmlns:a16="http://schemas.microsoft.com/office/drawing/2014/main" id="{7391372A-4D32-4AA7-96B7-1FD0D2812628}"/>
              </a:ext>
            </a:extLst>
          </p:cNvPr>
          <p:cNvSpPr txBox="1">
            <a:spLocks/>
          </p:cNvSpPr>
          <p:nvPr/>
        </p:nvSpPr>
        <p:spPr bwMode="gray">
          <a:xfrm>
            <a:off x="3705447" y="1302988"/>
            <a:ext cx="6077181" cy="505260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4" marR="0" lvl="0" indent="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35502" algn="l"/>
              </a:tabLst>
              <a:defRPr/>
            </a:pPr>
            <a:r>
              <a:rPr kumimoji="0" lang="it-IT" sz="1600" b="1" i="0" u="none" strike="noStrike" kern="1200" cap="none" spc="-5" normalizeH="0" baseline="0" noProof="0" dirty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Il Gestore ha messo in atto un piano di interventi per il presidio e la resilienza delle infrastrutture</a:t>
            </a:r>
          </a:p>
        </p:txBody>
      </p:sp>
      <p:cxnSp>
        <p:nvCxnSpPr>
          <p:cNvPr id="166" name="Straight Connector 9">
            <a:extLst>
              <a:ext uri="{FF2B5EF4-FFF2-40B4-BE49-F238E27FC236}">
                <a16:creationId xmlns:a16="http://schemas.microsoft.com/office/drawing/2014/main" id="{BAA2B3F1-8486-4025-8788-47F00A00A78F}"/>
              </a:ext>
            </a:extLst>
          </p:cNvPr>
          <p:cNvCxnSpPr/>
          <p:nvPr/>
        </p:nvCxnSpPr>
        <p:spPr bwMode="gray">
          <a:xfrm>
            <a:off x="3705448" y="1839774"/>
            <a:ext cx="774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67" name="object 20">
            <a:extLst>
              <a:ext uri="{FF2B5EF4-FFF2-40B4-BE49-F238E27FC236}">
                <a16:creationId xmlns:a16="http://schemas.microsoft.com/office/drawing/2014/main" id="{7391372A-4D32-4AA7-96B7-1FD0D2812628}"/>
              </a:ext>
            </a:extLst>
          </p:cNvPr>
          <p:cNvSpPr txBox="1">
            <a:spLocks/>
          </p:cNvSpPr>
          <p:nvPr/>
        </p:nvSpPr>
        <p:spPr bwMode="gray">
          <a:xfrm>
            <a:off x="450328" y="1338399"/>
            <a:ext cx="3094761" cy="505260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4" marR="0" lvl="0" indent="0" algn="l" defTabSz="914400" rtl="0" eaLnBrk="1" fontAlgn="base" latinLnBrk="0" hangingPunct="1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35502" algn="l"/>
              </a:tabLst>
              <a:defRPr/>
            </a:pPr>
            <a:r>
              <a:rPr kumimoji="0" lang="it-IT" sz="1600" b="1" i="0" u="none" strike="noStrike" kern="1200" cap="none" spc="-5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In un territorio fragile e vulnerabile ai rischi ambientali..</a:t>
            </a:r>
          </a:p>
        </p:txBody>
      </p:sp>
      <p:cxnSp>
        <p:nvCxnSpPr>
          <p:cNvPr id="168" name="Straight Connector 9">
            <a:extLst>
              <a:ext uri="{FF2B5EF4-FFF2-40B4-BE49-F238E27FC236}">
                <a16:creationId xmlns:a16="http://schemas.microsoft.com/office/drawing/2014/main" id="{BAA2B3F1-8486-4025-8788-47F00A00A78F}"/>
              </a:ext>
            </a:extLst>
          </p:cNvPr>
          <p:cNvCxnSpPr/>
          <p:nvPr/>
        </p:nvCxnSpPr>
        <p:spPr bwMode="gray">
          <a:xfrm>
            <a:off x="557090" y="1826095"/>
            <a:ext cx="2988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pic>
        <p:nvPicPr>
          <p:cNvPr id="169" name="Immagine 168"/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210"/>
          <a:stretch/>
        </p:blipFill>
        <p:spPr>
          <a:xfrm>
            <a:off x="733561" y="2006093"/>
            <a:ext cx="412261" cy="436484"/>
          </a:xfrm>
          <a:prstGeom prst="rect">
            <a:avLst/>
          </a:prstGeom>
        </p:spPr>
      </p:pic>
      <p:pic>
        <p:nvPicPr>
          <p:cNvPr id="170" name="Immagine 169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108" y="3875392"/>
            <a:ext cx="415166" cy="266736"/>
          </a:xfrm>
          <a:prstGeom prst="rect">
            <a:avLst/>
          </a:prstGeom>
        </p:spPr>
      </p:pic>
      <p:pic>
        <p:nvPicPr>
          <p:cNvPr id="171" name="Immagine 170"/>
          <p:cNvPicPr>
            <a:picLocks noChangeAspect="1"/>
          </p:cNvPicPr>
          <p:nvPr/>
        </p:nvPicPr>
        <p:blipFill>
          <a:blip r:embed="rId8">
            <a:grayscl/>
          </a:blip>
          <a:stretch>
            <a:fillRect/>
          </a:stretch>
        </p:blipFill>
        <p:spPr>
          <a:xfrm>
            <a:off x="611285" y="4595671"/>
            <a:ext cx="653616" cy="453359"/>
          </a:xfrm>
          <a:prstGeom prst="rect">
            <a:avLst/>
          </a:prstGeom>
        </p:spPr>
      </p:pic>
      <p:pic>
        <p:nvPicPr>
          <p:cNvPr id="172" name="Immagine 171"/>
          <p:cNvPicPr>
            <a:picLocks noChangeAspect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2333" y="5498511"/>
            <a:ext cx="511521" cy="462668"/>
          </a:xfrm>
          <a:prstGeom prst="rect">
            <a:avLst/>
          </a:prstGeom>
        </p:spPr>
      </p:pic>
      <p:pic>
        <p:nvPicPr>
          <p:cNvPr id="173" name="Immagine 172"/>
          <p:cNvPicPr>
            <a:picLocks noChangeAspect="1"/>
          </p:cNvPicPr>
          <p:nvPr/>
        </p:nvPicPr>
        <p:blipFill>
          <a:blip r:embed="rId10" cstate="hq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103" y="2877070"/>
            <a:ext cx="521176" cy="518859"/>
          </a:xfrm>
          <a:prstGeom prst="rect">
            <a:avLst/>
          </a:prstGeom>
        </p:spPr>
      </p:pic>
      <p:sp>
        <p:nvSpPr>
          <p:cNvPr id="179" name="object 5">
            <a:extLst>
              <a:ext uri="{FF2B5EF4-FFF2-40B4-BE49-F238E27FC236}">
                <a16:creationId xmlns:a16="http://schemas.microsoft.com/office/drawing/2014/main" id="{0F0BFFC2-B687-4A09-B31F-AF494D419A85}"/>
              </a:ext>
            </a:extLst>
          </p:cNvPr>
          <p:cNvSpPr txBox="1"/>
          <p:nvPr/>
        </p:nvSpPr>
        <p:spPr>
          <a:xfrm>
            <a:off x="1620988" y="2035482"/>
            <a:ext cx="1158447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schio idrogeologico</a:t>
            </a:r>
          </a:p>
        </p:txBody>
      </p:sp>
      <p:sp>
        <p:nvSpPr>
          <p:cNvPr id="180" name="object 5">
            <a:extLst>
              <a:ext uri="{FF2B5EF4-FFF2-40B4-BE49-F238E27FC236}">
                <a16:creationId xmlns:a16="http://schemas.microsoft.com/office/drawing/2014/main" id="{0F0BFFC2-B687-4A09-B31F-AF494D419A85}"/>
              </a:ext>
            </a:extLst>
          </p:cNvPr>
          <p:cNvSpPr txBox="1"/>
          <p:nvPr/>
        </p:nvSpPr>
        <p:spPr>
          <a:xfrm>
            <a:off x="1577571" y="4631232"/>
            <a:ext cx="1175768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emperature estreme</a:t>
            </a:r>
          </a:p>
        </p:txBody>
      </p:sp>
      <p:sp>
        <p:nvSpPr>
          <p:cNvPr id="181" name="object 5">
            <a:extLst>
              <a:ext uri="{FF2B5EF4-FFF2-40B4-BE49-F238E27FC236}">
                <a16:creationId xmlns:a16="http://schemas.microsoft.com/office/drawing/2014/main" id="{0F0BFFC2-B687-4A09-B31F-AF494D419A85}"/>
              </a:ext>
            </a:extLst>
          </p:cNvPr>
          <p:cNvSpPr txBox="1"/>
          <p:nvPr/>
        </p:nvSpPr>
        <p:spPr>
          <a:xfrm>
            <a:off x="1564173" y="3050648"/>
            <a:ext cx="1818143" cy="19684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iogge intense</a:t>
            </a:r>
          </a:p>
        </p:txBody>
      </p:sp>
      <p:sp>
        <p:nvSpPr>
          <p:cNvPr id="183" name="object 5">
            <a:extLst>
              <a:ext uri="{FF2B5EF4-FFF2-40B4-BE49-F238E27FC236}">
                <a16:creationId xmlns:a16="http://schemas.microsoft.com/office/drawing/2014/main" id="{0F0BFFC2-B687-4A09-B31F-AF494D419A85}"/>
              </a:ext>
            </a:extLst>
          </p:cNvPr>
          <p:cNvSpPr txBox="1"/>
          <p:nvPr/>
        </p:nvSpPr>
        <p:spPr>
          <a:xfrm>
            <a:off x="1600337" y="3911128"/>
            <a:ext cx="1818143" cy="19684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luvioni</a:t>
            </a:r>
          </a:p>
        </p:txBody>
      </p:sp>
      <p:sp>
        <p:nvSpPr>
          <p:cNvPr id="184" name="object 5">
            <a:extLst>
              <a:ext uri="{FF2B5EF4-FFF2-40B4-BE49-F238E27FC236}">
                <a16:creationId xmlns:a16="http://schemas.microsoft.com/office/drawing/2014/main" id="{0F0BFFC2-B687-4A09-B31F-AF494D419A85}"/>
              </a:ext>
            </a:extLst>
          </p:cNvPr>
          <p:cNvSpPr txBox="1"/>
          <p:nvPr/>
        </p:nvSpPr>
        <p:spPr>
          <a:xfrm>
            <a:off x="1620988" y="5586440"/>
            <a:ext cx="1773643" cy="19926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ento forte</a:t>
            </a:r>
          </a:p>
        </p:txBody>
      </p:sp>
      <p:sp>
        <p:nvSpPr>
          <p:cNvPr id="198" name="object 5">
            <a:extLst>
              <a:ext uri="{FF2B5EF4-FFF2-40B4-BE49-F238E27FC236}">
                <a16:creationId xmlns:a16="http://schemas.microsoft.com/office/drawing/2014/main" id="{0F0BFFC2-B687-4A09-B31F-AF494D419A85}"/>
              </a:ext>
            </a:extLst>
          </p:cNvPr>
          <p:cNvSpPr txBox="1"/>
          <p:nvPr/>
        </p:nvSpPr>
        <p:spPr>
          <a:xfrm>
            <a:off x="3705448" y="1947634"/>
            <a:ext cx="3466988" cy="19684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-1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VESTIMENTI PRESENTI IN CDP-I </a:t>
            </a:r>
          </a:p>
        </p:txBody>
      </p:sp>
      <p:sp>
        <p:nvSpPr>
          <p:cNvPr id="202" name="TextBox 6">
            <a:extLst>
              <a:ext uri="{FF2B5EF4-FFF2-40B4-BE49-F238E27FC236}">
                <a16:creationId xmlns:a16="http://schemas.microsoft.com/office/drawing/2014/main" id="{36D0B294-3B27-4FA7-BBA0-D2F54C5598B1}"/>
              </a:ext>
            </a:extLst>
          </p:cNvPr>
          <p:cNvSpPr txBox="1"/>
          <p:nvPr/>
        </p:nvSpPr>
        <p:spPr bwMode="gray">
          <a:xfrm>
            <a:off x="3584282" y="3186091"/>
            <a:ext cx="1345965" cy="2631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it-IT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90000"/>
              </a:buClr>
              <a:buSzPct val="100000"/>
              <a:buFontTx/>
              <a:buNone/>
              <a:tabLst/>
              <a:defRPr/>
            </a:pPr>
            <a:r>
              <a:rPr kumimoji="0" lang="it-IT" sz="9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MITIGAZIONE RISCHIO IDROGEOLOGICO</a:t>
            </a:r>
          </a:p>
        </p:txBody>
      </p:sp>
      <p:sp>
        <p:nvSpPr>
          <p:cNvPr id="203" name="TextBox 6">
            <a:extLst>
              <a:ext uri="{FF2B5EF4-FFF2-40B4-BE49-F238E27FC236}">
                <a16:creationId xmlns:a16="http://schemas.microsoft.com/office/drawing/2014/main" id="{36D0B294-3B27-4FA7-BBA0-D2F54C5598B1}"/>
              </a:ext>
            </a:extLst>
          </p:cNvPr>
          <p:cNvSpPr txBox="1"/>
          <p:nvPr/>
        </p:nvSpPr>
        <p:spPr bwMode="gray">
          <a:xfrm>
            <a:off x="3676302" y="6112322"/>
            <a:ext cx="1311344" cy="2631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it-IT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90000"/>
              </a:buClr>
              <a:buSzPct val="100000"/>
              <a:buFontTx/>
              <a:buNone/>
              <a:tabLst/>
              <a:defRPr/>
            </a:pPr>
            <a:r>
              <a:rPr kumimoji="0" lang="it-IT" sz="9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MITIGAZIONI EFFETTI VENTI TRASVERSALII</a:t>
            </a:r>
            <a:endParaRPr kumimoji="0" lang="it-IT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04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 rot="16200000">
            <a:off x="3891854" y="2406174"/>
            <a:ext cx="756000" cy="75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5" name="Immagine 204"/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1854" y="2407837"/>
            <a:ext cx="790973" cy="76629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09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 rot="16200000">
            <a:off x="3891855" y="3858710"/>
            <a:ext cx="756000" cy="75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0" name="Immagine 209"/>
          <p:cNvPicPr>
            <a:picLocks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6162" y="3845523"/>
            <a:ext cx="902355" cy="81331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11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 rot="16200000">
            <a:off x="3891855" y="5275920"/>
            <a:ext cx="756000" cy="756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2" name="Immagine 211"/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4828" y="5289354"/>
            <a:ext cx="801229" cy="763200"/>
          </a:xfrm>
          <a:prstGeom prst="ellipse">
            <a:avLst/>
          </a:prstGeom>
          <a:ln w="38100">
            <a:solidFill>
              <a:schemeClr val="tx1"/>
            </a:solidFill>
          </a:ln>
          <a:effectLst>
            <a:softEdge rad="112500"/>
          </a:effectLst>
        </p:spPr>
      </p:pic>
      <p:sp>
        <p:nvSpPr>
          <p:cNvPr id="213" name="TextBox 6">
            <a:extLst>
              <a:ext uri="{FF2B5EF4-FFF2-40B4-BE49-F238E27FC236}">
                <a16:creationId xmlns:a16="http://schemas.microsoft.com/office/drawing/2014/main" id="{36D0B294-3B27-4FA7-BBA0-D2F54C5598B1}"/>
              </a:ext>
            </a:extLst>
          </p:cNvPr>
          <p:cNvSpPr txBox="1"/>
          <p:nvPr/>
        </p:nvSpPr>
        <p:spPr bwMode="gray">
          <a:xfrm>
            <a:off x="3584282" y="4694101"/>
            <a:ext cx="1464229" cy="2631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it-IT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89535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D90000"/>
              </a:buClr>
              <a:buSzPct val="100000"/>
              <a:buFontTx/>
              <a:buNone/>
              <a:tabLst/>
              <a:defRPr/>
            </a:pPr>
            <a:r>
              <a:rPr kumimoji="0" lang="it-IT" sz="9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CONSERVAZIONE OPERE D'ARTE</a:t>
            </a:r>
          </a:p>
        </p:txBody>
      </p:sp>
      <p:sp>
        <p:nvSpPr>
          <p:cNvPr id="214" name="Rettangolo 213"/>
          <p:cNvSpPr/>
          <p:nvPr/>
        </p:nvSpPr>
        <p:spPr>
          <a:xfrm>
            <a:off x="4682827" y="3920199"/>
            <a:ext cx="665282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 programma prevede di riportare alla piena efficienza opere tra ponti sottovia e viadotti per i quali è stato rilevato uno stato di conservazione tale da necessitare di particolari limitazioni e cautele per il mantenimento in esercizio.</a:t>
            </a:r>
          </a:p>
        </p:txBody>
      </p:sp>
      <p:grpSp>
        <p:nvGrpSpPr>
          <p:cNvPr id="42" name="Gruppo 41"/>
          <p:cNvGrpSpPr/>
          <p:nvPr/>
        </p:nvGrpSpPr>
        <p:grpSpPr>
          <a:xfrm>
            <a:off x="11109042" y="113443"/>
            <a:ext cx="416907" cy="391321"/>
            <a:chOff x="1872365" y="4205487"/>
            <a:chExt cx="753751" cy="740679"/>
          </a:xfrm>
        </p:grpSpPr>
        <p:sp>
          <p:nvSpPr>
            <p:cNvPr id="43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1878901" y="4198951"/>
              <a:ext cx="740679" cy="753751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4" name="Picture 2" descr="Costruttore con cappello e un ingranaggio | Icona Gratis"/>
            <p:cNvPicPr>
              <a:picLocks noChangeAspect="1" noChangeArrowheads="1"/>
            </p:cNvPicPr>
            <p:nvPr/>
          </p:nvPicPr>
          <p:blipFill>
            <a:blip r:embed="rId14" cstate="email">
              <a:biLevel thresh="7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1159" y="4312881"/>
              <a:ext cx="491775" cy="491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215067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832646-3627-4C30-9ADA-A737DDF16C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01" y="1672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832646-3627-4C30-9ADA-A737DDF16C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01" y="1672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4AEE02C-ABC8-495A-8A5F-BD5049B9585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it-IT">
                <a:latin typeface="+mn-lt"/>
              </a:rPr>
              <a:t>Adeguamento a standard tecnici di interoperabilità</a:t>
            </a:r>
          </a:p>
        </p:txBody>
      </p:sp>
      <p:sp>
        <p:nvSpPr>
          <p:cNvPr id="2" name="Segnaposto contenuto 1"/>
          <p:cNvSpPr>
            <a:spLocks noGrp="1"/>
          </p:cNvSpPr>
          <p:nvPr>
            <p:ph idx="13"/>
          </p:nvPr>
        </p:nvSpPr>
        <p:spPr/>
        <p:txBody>
          <a:bodyPr>
            <a:noAutofit/>
          </a:bodyPr>
          <a:lstStyle/>
          <a:p>
            <a:r>
              <a:rPr lang="it-IT"/>
              <a:t>Interventi volti ad accrescere la dotazione infrastrutturale della rete ferroviaria</a:t>
            </a:r>
          </a:p>
        </p:txBody>
      </p:sp>
      <p:sp>
        <p:nvSpPr>
          <p:cNvPr id="43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 noChangeAspect="1"/>
          </p:cNvSpPr>
          <p:nvPr/>
        </p:nvSpPr>
        <p:spPr>
          <a:xfrm rot="16200000">
            <a:off x="11121835" y="100650"/>
            <a:ext cx="391321" cy="41690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1" name="Immagine 40"/>
          <p:cNvPicPr>
            <a:picLocks noChangeAspect="1"/>
          </p:cNvPicPr>
          <p:nvPr/>
        </p:nvPicPr>
        <p:blipFill rotWithShape="1">
          <a:blip r:embed="rId6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2804" y="158646"/>
            <a:ext cx="370959" cy="274741"/>
          </a:xfrm>
          <a:prstGeom prst="ellipse">
            <a:avLst/>
          </a:prstGeom>
          <a:ln>
            <a:noFill/>
          </a:ln>
          <a:effectLst/>
        </p:spPr>
      </p:pic>
      <p:sp>
        <p:nvSpPr>
          <p:cNvPr id="45" name="Rettangolo 16">
            <a:extLst>
              <a:ext uri="{FF2B5EF4-FFF2-40B4-BE49-F238E27FC236}">
                <a16:creationId xmlns:a16="http://schemas.microsoft.com/office/drawing/2014/main" id="{3C1A19F8-D916-4DEE-9EBF-703F317328B1}"/>
              </a:ext>
            </a:extLst>
          </p:cNvPr>
          <p:cNvSpPr>
            <a:spLocks/>
          </p:cNvSpPr>
          <p:nvPr/>
        </p:nvSpPr>
        <p:spPr bwMode="gray">
          <a:xfrm>
            <a:off x="617704" y="2770730"/>
            <a:ext cx="5378120" cy="135537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vert="vert270" lIns="47999" tIns="0" rIns="47999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66FFFCF6-CB50-4E62-A00A-BFD2AFCABF6A}"/>
              </a:ext>
            </a:extLst>
          </p:cNvPr>
          <p:cNvSpPr/>
          <p:nvPr/>
        </p:nvSpPr>
        <p:spPr>
          <a:xfrm>
            <a:off x="1301872" y="2717432"/>
            <a:ext cx="46090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eguamento a Standard Tecnico di interoperabilità (STI)</a:t>
            </a:r>
          </a:p>
        </p:txBody>
      </p:sp>
      <p:sp>
        <p:nvSpPr>
          <p:cNvPr id="47" name="Oval 11">
            <a:extLst>
              <a:ext uri="{FF2B5EF4-FFF2-40B4-BE49-F238E27FC236}">
                <a16:creationId xmlns:a16="http://schemas.microsoft.com/office/drawing/2014/main" id="{597CEFDB-4A4B-4AF1-A540-DB247ED6BDC7}"/>
              </a:ext>
            </a:extLst>
          </p:cNvPr>
          <p:cNvSpPr>
            <a:spLocks noChangeAspect="1"/>
          </p:cNvSpPr>
          <p:nvPr/>
        </p:nvSpPr>
        <p:spPr>
          <a:xfrm>
            <a:off x="198303" y="2858672"/>
            <a:ext cx="1074649" cy="952049"/>
          </a:xfrm>
          <a:prstGeom prst="ellipse">
            <a:avLst/>
          </a:prstGeom>
          <a:solidFill>
            <a:schemeClr val="bg1"/>
          </a:solidFill>
          <a:ln w="38100">
            <a:solidFill>
              <a:srgbClr val="DC002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ttangolo 16">
            <a:extLst>
              <a:ext uri="{FF2B5EF4-FFF2-40B4-BE49-F238E27FC236}">
                <a16:creationId xmlns:a16="http://schemas.microsoft.com/office/drawing/2014/main" id="{D9077A62-6B31-4D85-84AE-4292D0674CF0}"/>
              </a:ext>
            </a:extLst>
          </p:cNvPr>
          <p:cNvSpPr>
            <a:spLocks/>
          </p:cNvSpPr>
          <p:nvPr/>
        </p:nvSpPr>
        <p:spPr bwMode="gray">
          <a:xfrm>
            <a:off x="716707" y="1443856"/>
            <a:ext cx="5279117" cy="126399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vert="vert270" lIns="47999" tIns="0" rIns="47999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Rettangolo 48">
            <a:extLst>
              <a:ext uri="{FF2B5EF4-FFF2-40B4-BE49-F238E27FC236}">
                <a16:creationId xmlns:a16="http://schemas.microsoft.com/office/drawing/2014/main" id="{B35E08B5-7B2F-482D-86B1-F2FCA1E9FA21}"/>
              </a:ext>
            </a:extLst>
          </p:cNvPr>
          <p:cNvSpPr/>
          <p:nvPr/>
        </p:nvSpPr>
        <p:spPr>
          <a:xfrm>
            <a:off x="1301870" y="1443857"/>
            <a:ext cx="4664615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curezza in galleria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eguamento al DM 28/10/2005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le gallerie individuate attraverso un’analisi di rischio,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abilità di accesso agli imbocchi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nitura di mezzi di soccorso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pparati GSM-R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i vigili del fuoco.</a:t>
            </a:r>
          </a:p>
        </p:txBody>
      </p:sp>
      <p:sp>
        <p:nvSpPr>
          <p:cNvPr id="50" name="Oval 11">
            <a:extLst>
              <a:ext uri="{FF2B5EF4-FFF2-40B4-BE49-F238E27FC236}">
                <a16:creationId xmlns:a16="http://schemas.microsoft.com/office/drawing/2014/main" id="{A5E174A4-13C7-4C74-A085-2916D896169B}"/>
              </a:ext>
            </a:extLst>
          </p:cNvPr>
          <p:cNvSpPr>
            <a:spLocks noChangeAspect="1"/>
          </p:cNvSpPr>
          <p:nvPr/>
        </p:nvSpPr>
        <p:spPr>
          <a:xfrm>
            <a:off x="266506" y="1426072"/>
            <a:ext cx="1074649" cy="952049"/>
          </a:xfrm>
          <a:prstGeom prst="ellipse">
            <a:avLst/>
          </a:prstGeom>
          <a:solidFill>
            <a:schemeClr val="bg1"/>
          </a:solidFill>
          <a:ln w="38100">
            <a:solidFill>
              <a:srgbClr val="DC002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Rettangolo 16">
            <a:extLst>
              <a:ext uri="{FF2B5EF4-FFF2-40B4-BE49-F238E27FC236}">
                <a16:creationId xmlns:a16="http://schemas.microsoft.com/office/drawing/2014/main" id="{71DE6398-B634-4CE2-A33E-722C08AAFC2C}"/>
              </a:ext>
            </a:extLst>
          </p:cNvPr>
          <p:cNvSpPr>
            <a:spLocks/>
          </p:cNvSpPr>
          <p:nvPr/>
        </p:nvSpPr>
        <p:spPr bwMode="gray">
          <a:xfrm>
            <a:off x="6652631" y="1443856"/>
            <a:ext cx="4834239" cy="1263991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vert="vert270" lIns="47999" tIns="0" rIns="47999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id="{2268EBC9-3026-4C99-BBFD-77D035A08666}"/>
              </a:ext>
            </a:extLst>
          </p:cNvPr>
          <p:cNvSpPr/>
          <p:nvPr/>
        </p:nvSpPr>
        <p:spPr>
          <a:xfrm>
            <a:off x="7127800" y="1510846"/>
            <a:ext cx="46363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ppressione Passaggi a livello</a:t>
            </a:r>
          </a:p>
        </p:txBody>
      </p:sp>
      <p:sp>
        <p:nvSpPr>
          <p:cNvPr id="53" name="Oval 11">
            <a:extLst>
              <a:ext uri="{FF2B5EF4-FFF2-40B4-BE49-F238E27FC236}">
                <a16:creationId xmlns:a16="http://schemas.microsoft.com/office/drawing/2014/main" id="{111C4EE8-C3C4-4603-8697-869E57E4C92C}"/>
              </a:ext>
            </a:extLst>
          </p:cNvPr>
          <p:cNvSpPr>
            <a:spLocks noChangeAspect="1"/>
          </p:cNvSpPr>
          <p:nvPr/>
        </p:nvSpPr>
        <p:spPr>
          <a:xfrm>
            <a:off x="6094218" y="1431314"/>
            <a:ext cx="1074649" cy="952049"/>
          </a:xfrm>
          <a:prstGeom prst="ellipse">
            <a:avLst/>
          </a:prstGeom>
          <a:solidFill>
            <a:schemeClr val="bg1"/>
          </a:solidFill>
          <a:ln w="38100">
            <a:solidFill>
              <a:srgbClr val="DC002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ttangolo 16">
            <a:extLst>
              <a:ext uri="{FF2B5EF4-FFF2-40B4-BE49-F238E27FC236}">
                <a16:creationId xmlns:a16="http://schemas.microsoft.com/office/drawing/2014/main" id="{A3A90121-8B52-4EFE-AA11-56175B380752}"/>
              </a:ext>
            </a:extLst>
          </p:cNvPr>
          <p:cNvSpPr>
            <a:spLocks/>
          </p:cNvSpPr>
          <p:nvPr/>
        </p:nvSpPr>
        <p:spPr bwMode="gray">
          <a:xfrm>
            <a:off x="6571953" y="4266760"/>
            <a:ext cx="4914917" cy="188267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vert="vert270" lIns="47999" tIns="0" rIns="47999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Rettangolo 54">
            <a:extLst>
              <a:ext uri="{FF2B5EF4-FFF2-40B4-BE49-F238E27FC236}">
                <a16:creationId xmlns:a16="http://schemas.microsoft.com/office/drawing/2014/main" id="{3F341C4E-82D3-4E2C-9AAD-F108407741A0}"/>
              </a:ext>
            </a:extLst>
          </p:cNvPr>
          <p:cNvSpPr/>
          <p:nvPr/>
        </p:nvSpPr>
        <p:spPr>
          <a:xfrm>
            <a:off x="7231238" y="4340750"/>
            <a:ext cx="42556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iluppo e upgrading flotta navale per la continuità territoriale </a:t>
            </a:r>
          </a:p>
        </p:txBody>
      </p:sp>
      <p:sp>
        <p:nvSpPr>
          <p:cNvPr id="56" name="Oval 11">
            <a:extLst>
              <a:ext uri="{FF2B5EF4-FFF2-40B4-BE49-F238E27FC236}">
                <a16:creationId xmlns:a16="http://schemas.microsoft.com/office/drawing/2014/main" id="{137049A6-6EED-4AFD-AA8F-9C5745F369BB}"/>
              </a:ext>
            </a:extLst>
          </p:cNvPr>
          <p:cNvSpPr>
            <a:spLocks noChangeAspect="1"/>
          </p:cNvSpPr>
          <p:nvPr/>
        </p:nvSpPr>
        <p:spPr>
          <a:xfrm>
            <a:off x="6090313" y="4249553"/>
            <a:ext cx="1074649" cy="952049"/>
          </a:xfrm>
          <a:prstGeom prst="ellipse">
            <a:avLst/>
          </a:prstGeom>
          <a:solidFill>
            <a:schemeClr val="bg1"/>
          </a:solidFill>
          <a:ln w="38100">
            <a:solidFill>
              <a:srgbClr val="DC002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7" name="Immagine 56">
            <a:extLst>
              <a:ext uri="{FF2B5EF4-FFF2-40B4-BE49-F238E27FC236}">
                <a16:creationId xmlns:a16="http://schemas.microsoft.com/office/drawing/2014/main" id="{EA50BDA8-5410-4F41-AF65-62E4771D19A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440" y="1404732"/>
            <a:ext cx="1110780" cy="100117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8" name="Immagine 57">
            <a:extLst>
              <a:ext uri="{FF2B5EF4-FFF2-40B4-BE49-F238E27FC236}">
                <a16:creationId xmlns:a16="http://schemas.microsoft.com/office/drawing/2014/main" id="{80495DFA-FA9E-4A40-9296-2DCB4A1DF31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6030" y="1447464"/>
            <a:ext cx="1101391" cy="96720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9" name="Rettangolo 16">
            <a:extLst>
              <a:ext uri="{FF2B5EF4-FFF2-40B4-BE49-F238E27FC236}">
                <a16:creationId xmlns:a16="http://schemas.microsoft.com/office/drawing/2014/main" id="{3F7B0B30-A46E-4963-8046-84DD67DC65ED}"/>
              </a:ext>
            </a:extLst>
          </p:cNvPr>
          <p:cNvSpPr>
            <a:spLocks/>
          </p:cNvSpPr>
          <p:nvPr/>
        </p:nvSpPr>
        <p:spPr bwMode="gray">
          <a:xfrm>
            <a:off x="693699" y="4338886"/>
            <a:ext cx="5302125" cy="1810549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vert="vert270" lIns="47999" tIns="0" rIns="47999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Rettangolo 59">
            <a:extLst>
              <a:ext uri="{FF2B5EF4-FFF2-40B4-BE49-F238E27FC236}">
                <a16:creationId xmlns:a16="http://schemas.microsoft.com/office/drawing/2014/main" id="{BE29F110-1FDB-4CBA-B1C9-C1F391345DBB}"/>
              </a:ext>
            </a:extLst>
          </p:cNvPr>
          <p:cNvSpPr/>
          <p:nvPr/>
        </p:nvSpPr>
        <p:spPr>
          <a:xfrm>
            <a:off x="1301871" y="4370583"/>
            <a:ext cx="35352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sanamento acustico</a:t>
            </a:r>
          </a:p>
        </p:txBody>
      </p:sp>
      <p:sp>
        <p:nvSpPr>
          <p:cNvPr id="61" name="Oval 11">
            <a:extLst>
              <a:ext uri="{FF2B5EF4-FFF2-40B4-BE49-F238E27FC236}">
                <a16:creationId xmlns:a16="http://schemas.microsoft.com/office/drawing/2014/main" id="{3E5EA346-02C3-4140-8DB8-9F63AC8F79C0}"/>
              </a:ext>
            </a:extLst>
          </p:cNvPr>
          <p:cNvSpPr>
            <a:spLocks noChangeAspect="1"/>
          </p:cNvSpPr>
          <p:nvPr/>
        </p:nvSpPr>
        <p:spPr>
          <a:xfrm>
            <a:off x="274298" y="4175629"/>
            <a:ext cx="1074649" cy="952049"/>
          </a:xfrm>
          <a:prstGeom prst="ellipse">
            <a:avLst/>
          </a:prstGeom>
          <a:solidFill>
            <a:schemeClr val="bg1"/>
          </a:solidFill>
          <a:ln w="38100">
            <a:solidFill>
              <a:srgbClr val="DC002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2" name="Immagine 61">
            <a:extLst>
              <a:ext uri="{FF2B5EF4-FFF2-40B4-BE49-F238E27FC236}">
                <a16:creationId xmlns:a16="http://schemas.microsoft.com/office/drawing/2014/main" id="{6D030599-8C40-48A1-AC9C-A107221AF520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887" y="4103500"/>
            <a:ext cx="1068152" cy="1017454"/>
          </a:xfrm>
          <a:prstGeom prst="ellipse">
            <a:avLst/>
          </a:prstGeom>
          <a:ln w="38100">
            <a:solidFill>
              <a:schemeClr val="tx1"/>
            </a:solidFill>
          </a:ln>
          <a:effectLst>
            <a:softEdge rad="112500"/>
          </a:effectLst>
        </p:spPr>
      </p:pic>
      <p:pic>
        <p:nvPicPr>
          <p:cNvPr id="63" name="Immagine 62">
            <a:extLst>
              <a:ext uri="{FF2B5EF4-FFF2-40B4-BE49-F238E27FC236}">
                <a16:creationId xmlns:a16="http://schemas.microsoft.com/office/drawing/2014/main" id="{00A03617-4A0F-4891-A1B0-EB91A93B86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33494" y="4267742"/>
            <a:ext cx="1164245" cy="92757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4" name="Immagine 63">
            <a:extLst>
              <a:ext uri="{FF2B5EF4-FFF2-40B4-BE49-F238E27FC236}">
                <a16:creationId xmlns:a16="http://schemas.microsoft.com/office/drawing/2014/main" id="{5084C199-BB78-4C64-80B7-09A78B8646D3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189892" y="2852248"/>
            <a:ext cx="1008000" cy="1008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5" name="CasellaDiTesto 64">
            <a:extLst>
              <a:ext uri="{FF2B5EF4-FFF2-40B4-BE49-F238E27FC236}">
                <a16:creationId xmlns:a16="http://schemas.microsoft.com/office/drawing/2014/main" id="{427611F7-5468-41A0-9E01-4A0E6C0DCC94}"/>
              </a:ext>
            </a:extLst>
          </p:cNvPr>
          <p:cNvSpPr txBox="1"/>
          <p:nvPr/>
        </p:nvSpPr>
        <p:spPr>
          <a:xfrm>
            <a:off x="7159774" y="1749070"/>
            <a:ext cx="419936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lizzazione di opere sostitutive di tutti passaggi a livello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cadenti sulle linee commerciali, sui nodi e anche su alcune linee complementari secondo criteri e priorità previsti nella L. 354/98 </a:t>
            </a:r>
            <a:endParaRPr kumimoji="0" lang="it-IT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CasellaDiTesto 65">
            <a:extLst>
              <a:ext uri="{FF2B5EF4-FFF2-40B4-BE49-F238E27FC236}">
                <a16:creationId xmlns:a16="http://schemas.microsoft.com/office/drawing/2014/main" id="{061854E7-4905-48EB-93C5-DC31486508CA}"/>
              </a:ext>
            </a:extLst>
          </p:cNvPr>
          <p:cNvSpPr txBox="1"/>
          <p:nvPr/>
        </p:nvSpPr>
        <p:spPr>
          <a:xfrm>
            <a:off x="7127800" y="4907758"/>
            <a:ext cx="423133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Servizi marittimi per la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Sicilia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 assicurati con quattro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navi ferroviarie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Times New Roman" panose="02020603050405020304" pitchFamily="18" charset="0"/>
              </a:rPr>
              <a:t>ad uso esclusivo dei treni passeggeri e merci. Il collegamento con la Sardegna, dedicato esclusivamente a trasporti ferroviari, viene svolto solo su domanda delle Imprese ferroviarie.</a:t>
            </a:r>
          </a:p>
        </p:txBody>
      </p:sp>
      <p:sp>
        <p:nvSpPr>
          <p:cNvPr id="67" name="CasellaDiTesto 66">
            <a:extLst>
              <a:ext uri="{FF2B5EF4-FFF2-40B4-BE49-F238E27FC236}">
                <a16:creationId xmlns:a16="http://schemas.microsoft.com/office/drawing/2014/main" id="{6846CABB-CF79-4B93-AA6F-DECD79F4C2AA}"/>
              </a:ext>
            </a:extLst>
          </p:cNvPr>
          <p:cNvSpPr txBox="1"/>
          <p:nvPr/>
        </p:nvSpPr>
        <p:spPr>
          <a:xfrm>
            <a:off x="1429721" y="3246198"/>
            <a:ext cx="453093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venti di adeguamento della Rete TEN-T alle Specifiche Tecniche di Interoperabilità (STI) a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rget indicati dal Regolamento UE N. 1315/2013.</a:t>
            </a:r>
          </a:p>
        </p:txBody>
      </p:sp>
      <p:sp>
        <p:nvSpPr>
          <p:cNvPr id="68" name="CasellaDiTesto 67">
            <a:extLst>
              <a:ext uri="{FF2B5EF4-FFF2-40B4-BE49-F238E27FC236}">
                <a16:creationId xmlns:a16="http://schemas.microsoft.com/office/drawing/2014/main" id="{A5E472EE-B6D5-49C9-BF4F-36A281471030}"/>
              </a:ext>
            </a:extLst>
          </p:cNvPr>
          <p:cNvSpPr txBox="1"/>
          <p:nvPr/>
        </p:nvSpPr>
        <p:spPr>
          <a:xfrm>
            <a:off x="1491915" y="4755686"/>
            <a:ext cx="426365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venti diffusi sull’intera rete con l’obiettivo d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enere e abbattere l'emissione sonora dei rotabili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raverso l’installazione di opere di mitigazione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barriere antirumore)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 di interventi diretti sui ricettori, secondo le direttive emanate con il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M Ambiente del 29.11.2000</a:t>
            </a:r>
          </a:p>
        </p:txBody>
      </p:sp>
      <p:sp>
        <p:nvSpPr>
          <p:cNvPr id="69" name="Rettangolo 16">
            <a:extLst>
              <a:ext uri="{FF2B5EF4-FFF2-40B4-BE49-F238E27FC236}">
                <a16:creationId xmlns:a16="http://schemas.microsoft.com/office/drawing/2014/main" id="{1D2C4308-15D1-4BD7-85B1-659712872554}"/>
              </a:ext>
            </a:extLst>
          </p:cNvPr>
          <p:cNvSpPr>
            <a:spLocks/>
          </p:cNvSpPr>
          <p:nvPr/>
        </p:nvSpPr>
        <p:spPr bwMode="gray">
          <a:xfrm>
            <a:off x="6571953" y="2838024"/>
            <a:ext cx="4914917" cy="1312129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vert="vert270" lIns="47999" tIns="0" rIns="47999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ttangolo 69">
            <a:extLst>
              <a:ext uri="{FF2B5EF4-FFF2-40B4-BE49-F238E27FC236}">
                <a16:creationId xmlns:a16="http://schemas.microsoft.com/office/drawing/2014/main" id="{75C00154-9C86-4BF7-A6B3-43063989372B}"/>
              </a:ext>
            </a:extLst>
          </p:cNvPr>
          <p:cNvSpPr/>
          <p:nvPr/>
        </p:nvSpPr>
        <p:spPr>
          <a:xfrm>
            <a:off x="7231236" y="2972999"/>
            <a:ext cx="39504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glioramento della sicurezza sismica</a:t>
            </a:r>
          </a:p>
        </p:txBody>
      </p:sp>
      <p:sp>
        <p:nvSpPr>
          <p:cNvPr id="71" name="Oval 11">
            <a:extLst>
              <a:ext uri="{FF2B5EF4-FFF2-40B4-BE49-F238E27FC236}">
                <a16:creationId xmlns:a16="http://schemas.microsoft.com/office/drawing/2014/main" id="{80879B99-FEA3-46EF-A794-E05DA21F9BAE}"/>
              </a:ext>
            </a:extLst>
          </p:cNvPr>
          <p:cNvSpPr>
            <a:spLocks noChangeAspect="1"/>
          </p:cNvSpPr>
          <p:nvPr/>
        </p:nvSpPr>
        <p:spPr>
          <a:xfrm>
            <a:off x="6088384" y="2891358"/>
            <a:ext cx="1074649" cy="952049"/>
          </a:xfrm>
          <a:prstGeom prst="ellipse">
            <a:avLst/>
          </a:prstGeom>
          <a:solidFill>
            <a:schemeClr val="bg1"/>
          </a:solidFill>
          <a:ln w="38100">
            <a:solidFill>
              <a:srgbClr val="DC002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CasellaDiTesto 71">
            <a:extLst>
              <a:ext uri="{FF2B5EF4-FFF2-40B4-BE49-F238E27FC236}">
                <a16:creationId xmlns:a16="http://schemas.microsoft.com/office/drawing/2014/main" id="{F40FD161-78BF-475D-8207-76D1E9E8E553}"/>
              </a:ext>
            </a:extLst>
          </p:cNvPr>
          <p:cNvSpPr txBox="1"/>
          <p:nvPr/>
        </p:nvSpPr>
        <p:spPr>
          <a:xfrm>
            <a:off x="7247564" y="3278884"/>
            <a:ext cx="411157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ecuzione delle Verifiche di Vulnerabilità Sismica sulle opere d'arte e sui fabbricati appartenenti al Sistema di Grande Viabilità ferroviaria.</a:t>
            </a:r>
            <a:endParaRPr kumimoji="0" lang="it-IT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3" name="Immagine 72">
            <a:extLst>
              <a:ext uri="{FF2B5EF4-FFF2-40B4-BE49-F238E27FC236}">
                <a16:creationId xmlns:a16="http://schemas.microsoft.com/office/drawing/2014/main" id="{5C95B915-7BA1-4B52-BEA5-49F1B31E8D7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23557" y="2928990"/>
            <a:ext cx="1025494" cy="911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81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ICONENCLOSURE" val="True"/>
  <p:tag name="THINKCELLPRESENTATIONDONOTDELETE" val="&lt;?xml version=&quot;1.0&quot; encoding=&quot;UTF-16&quot; standalone=&quot;yes&quot;?&gt;&lt;root reqver=&quot;27037&quot;&gt;&lt;version val=&quot;326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89999999999999991118E+00&quot;&gt;&lt;m_msothmcolidx val=&quot;0&quot;/&gt;&lt;m_rgb r=&quot;BF&quot; g=&quot;BF&quot; b=&quot;BF&quot;/&gt;&lt;/elem&gt;&lt;/m_vecMRU&gt;&lt;/m_mruColor&gt;&lt;m_eweekdayFirstOfWeek val=&quot;2&quot;/&gt;&lt;m_eweekdayFirstOfWorkweek val=&quot;2&quot;/&gt;&lt;m_eweekdayFirstOfWeekend val=&quot;7&quot;/&gt;&lt;/CPresentation&gt;&lt;/root&gt;"/>
  <p:tag name="ICONFILLBACKGROUND" val="Color [A=255, R=204, G=204, B=204]"/>
  <p:tag name="ICONLINEFILL" val="Color [A=255, R=0, G=0, B=0]"/>
  <p:tag name="ICONLINEFILLTHEME" val="Text 1"/>
  <p:tag name="MTBTACCENT" val="Accent1ColorBoldText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EIWzutBTmnA8rNBz3idA"/>
</p:tagLst>
</file>

<file path=ppt/theme/theme1.xml><?xml version="1.0" encoding="utf-8"?>
<a:theme xmlns:a="http://schemas.openxmlformats.org/drawingml/2006/main" name="5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 1 - Proiezio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6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6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FS">
    <a:dk1>
      <a:srgbClr val="000000"/>
    </a:dk1>
    <a:lt1>
      <a:srgbClr val="FFFFFF"/>
    </a:lt1>
    <a:dk2>
      <a:srgbClr val="DC002E"/>
    </a:dk2>
    <a:lt2>
      <a:srgbClr val="717073"/>
    </a:lt2>
    <a:accent1>
      <a:srgbClr val="DC002E"/>
    </a:accent1>
    <a:accent2>
      <a:srgbClr val="006666"/>
    </a:accent2>
    <a:accent3>
      <a:srgbClr val="004687"/>
    </a:accent3>
    <a:accent4>
      <a:srgbClr val="F8B322"/>
    </a:accent4>
    <a:accent5>
      <a:srgbClr val="00BE7D"/>
    </a:accent5>
    <a:accent6>
      <a:srgbClr val="5A068C"/>
    </a:accent6>
    <a:hlink>
      <a:srgbClr val="E01F38"/>
    </a:hlink>
    <a:folHlink>
      <a:srgbClr val="E01F38"/>
    </a:folHlink>
  </a:clrScheme>
</a:themeOverride>
</file>

<file path=ppt/theme/themeOverride3.xml><?xml version="1.0" encoding="utf-8"?>
<a:themeOverride xmlns:a="http://schemas.openxmlformats.org/drawingml/2006/main">
  <a:clrScheme name="FS">
    <a:dk1>
      <a:srgbClr val="000000"/>
    </a:dk1>
    <a:lt1>
      <a:srgbClr val="FFFFFF"/>
    </a:lt1>
    <a:dk2>
      <a:srgbClr val="DC002E"/>
    </a:dk2>
    <a:lt2>
      <a:srgbClr val="717073"/>
    </a:lt2>
    <a:accent1>
      <a:srgbClr val="DC002E"/>
    </a:accent1>
    <a:accent2>
      <a:srgbClr val="006666"/>
    </a:accent2>
    <a:accent3>
      <a:srgbClr val="004687"/>
    </a:accent3>
    <a:accent4>
      <a:srgbClr val="F8B322"/>
    </a:accent4>
    <a:accent5>
      <a:srgbClr val="00BE7D"/>
    </a:accent5>
    <a:accent6>
      <a:srgbClr val="5A068C"/>
    </a:accent6>
    <a:hlink>
      <a:srgbClr val="E01F38"/>
    </a:hlink>
    <a:folHlink>
      <a:srgbClr val="E01F38"/>
    </a:folHlink>
  </a:clrScheme>
</a:themeOverride>
</file>

<file path=ppt/theme/themeOverride4.xml><?xml version="1.0" encoding="utf-8"?>
<a:themeOverride xmlns:a="http://schemas.openxmlformats.org/drawingml/2006/main">
  <a:clrScheme name="FS">
    <a:dk1>
      <a:srgbClr val="000000"/>
    </a:dk1>
    <a:lt1>
      <a:srgbClr val="FFFFFF"/>
    </a:lt1>
    <a:dk2>
      <a:srgbClr val="DC002E"/>
    </a:dk2>
    <a:lt2>
      <a:srgbClr val="717073"/>
    </a:lt2>
    <a:accent1>
      <a:srgbClr val="DC002E"/>
    </a:accent1>
    <a:accent2>
      <a:srgbClr val="006666"/>
    </a:accent2>
    <a:accent3>
      <a:srgbClr val="004687"/>
    </a:accent3>
    <a:accent4>
      <a:srgbClr val="F8B322"/>
    </a:accent4>
    <a:accent5>
      <a:srgbClr val="00BE7D"/>
    </a:accent5>
    <a:accent6>
      <a:srgbClr val="5A068C"/>
    </a:accent6>
    <a:hlink>
      <a:srgbClr val="E01F38"/>
    </a:hlink>
    <a:folHlink>
      <a:srgbClr val="E01F38"/>
    </a:folHlink>
  </a:clrScheme>
</a:themeOverride>
</file>

<file path=ppt/theme/themeOverride5.xml><?xml version="1.0" encoding="utf-8"?>
<a:themeOverride xmlns:a="http://schemas.openxmlformats.org/drawingml/2006/main">
  <a:clrScheme name="FS">
    <a:dk1>
      <a:srgbClr val="000000"/>
    </a:dk1>
    <a:lt1>
      <a:srgbClr val="FFFFFF"/>
    </a:lt1>
    <a:dk2>
      <a:srgbClr val="DC002E"/>
    </a:dk2>
    <a:lt2>
      <a:srgbClr val="717073"/>
    </a:lt2>
    <a:accent1>
      <a:srgbClr val="DC002E"/>
    </a:accent1>
    <a:accent2>
      <a:srgbClr val="006666"/>
    </a:accent2>
    <a:accent3>
      <a:srgbClr val="004687"/>
    </a:accent3>
    <a:accent4>
      <a:srgbClr val="F8B322"/>
    </a:accent4>
    <a:accent5>
      <a:srgbClr val="00BE7D"/>
    </a:accent5>
    <a:accent6>
      <a:srgbClr val="5A068C"/>
    </a:accent6>
    <a:hlink>
      <a:srgbClr val="E01F38"/>
    </a:hlink>
    <a:folHlink>
      <a:srgbClr val="E01F38"/>
    </a:folHlink>
  </a:clrScheme>
</a:themeOverride>
</file>

<file path=ppt/theme/themeOverride6.xml><?xml version="1.0" encoding="utf-8"?>
<a:themeOverride xmlns:a="http://schemas.openxmlformats.org/drawingml/2006/main">
  <a:clrScheme name="FS">
    <a:dk1>
      <a:srgbClr val="000000"/>
    </a:dk1>
    <a:lt1>
      <a:srgbClr val="FFFFFF"/>
    </a:lt1>
    <a:dk2>
      <a:srgbClr val="DC002E"/>
    </a:dk2>
    <a:lt2>
      <a:srgbClr val="717073"/>
    </a:lt2>
    <a:accent1>
      <a:srgbClr val="DC002E"/>
    </a:accent1>
    <a:accent2>
      <a:srgbClr val="006666"/>
    </a:accent2>
    <a:accent3>
      <a:srgbClr val="004687"/>
    </a:accent3>
    <a:accent4>
      <a:srgbClr val="F8B322"/>
    </a:accent4>
    <a:accent5>
      <a:srgbClr val="00BE7D"/>
    </a:accent5>
    <a:accent6>
      <a:srgbClr val="5A068C"/>
    </a:accent6>
    <a:hlink>
      <a:srgbClr val="E01F38"/>
    </a:hlink>
    <a:folHlink>
      <a:srgbClr val="E01F38"/>
    </a:folHlink>
  </a:clrScheme>
</a:themeOverride>
</file>

<file path=ppt/theme/themeOverride7.xml><?xml version="1.0" encoding="utf-8"?>
<a:themeOverride xmlns:a="http://schemas.openxmlformats.org/drawingml/2006/main">
  <a:clrScheme name="FS">
    <a:dk1>
      <a:srgbClr val="000000"/>
    </a:dk1>
    <a:lt1>
      <a:srgbClr val="FFFFFF"/>
    </a:lt1>
    <a:dk2>
      <a:srgbClr val="DC002E"/>
    </a:dk2>
    <a:lt2>
      <a:srgbClr val="717073"/>
    </a:lt2>
    <a:accent1>
      <a:srgbClr val="DC002E"/>
    </a:accent1>
    <a:accent2>
      <a:srgbClr val="006666"/>
    </a:accent2>
    <a:accent3>
      <a:srgbClr val="004687"/>
    </a:accent3>
    <a:accent4>
      <a:srgbClr val="F8B322"/>
    </a:accent4>
    <a:accent5>
      <a:srgbClr val="00BE7D"/>
    </a:accent5>
    <a:accent6>
      <a:srgbClr val="5A068C"/>
    </a:accent6>
    <a:hlink>
      <a:srgbClr val="E01F38"/>
    </a:hlink>
    <a:folHlink>
      <a:srgbClr val="E01F38"/>
    </a:folHlink>
  </a:clrScheme>
</a:themeOverride>
</file>

<file path=ppt/theme/themeOverride8.xml><?xml version="1.0" encoding="utf-8"?>
<a:themeOverride xmlns:a="http://schemas.openxmlformats.org/drawingml/2006/main">
  <a:clrScheme name="FS">
    <a:dk1>
      <a:srgbClr val="000000"/>
    </a:dk1>
    <a:lt1>
      <a:srgbClr val="FFFFFF"/>
    </a:lt1>
    <a:dk2>
      <a:srgbClr val="DC002E"/>
    </a:dk2>
    <a:lt2>
      <a:srgbClr val="717073"/>
    </a:lt2>
    <a:accent1>
      <a:srgbClr val="DC002E"/>
    </a:accent1>
    <a:accent2>
      <a:srgbClr val="006666"/>
    </a:accent2>
    <a:accent3>
      <a:srgbClr val="004687"/>
    </a:accent3>
    <a:accent4>
      <a:srgbClr val="F8B322"/>
    </a:accent4>
    <a:accent5>
      <a:srgbClr val="00BE7D"/>
    </a:accent5>
    <a:accent6>
      <a:srgbClr val="5A068C"/>
    </a:accent6>
    <a:hlink>
      <a:srgbClr val="E01F38"/>
    </a:hlink>
    <a:folHlink>
      <a:srgbClr val="E01F3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7fd5df9-8cc8-484c-8e4e-6d3331b1adbb">
      <Terms xmlns="http://schemas.microsoft.com/office/infopath/2007/PartnerControls"/>
    </lcf76f155ced4ddcb4097134ff3c332f>
    <TaxCatchAll xmlns="ba670469-b113-4afe-9231-513d1d646cf5" xsi:nil="true"/>
    <SharedWithUsers xmlns="ba670469-b113-4afe-9231-513d1d646cf5">
      <UserInfo>
        <DisplayName>DARESTA VALENTINA</DisplayName>
        <AccountId>29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13C8E1CBF8C9C478FBCA521FF5AE747" ma:contentTypeVersion="13" ma:contentTypeDescription="Creare un nuovo documento." ma:contentTypeScope="" ma:versionID="de837767e1d932e13acd4f35864b9198">
  <xsd:schema xmlns:xsd="http://www.w3.org/2001/XMLSchema" xmlns:xs="http://www.w3.org/2001/XMLSchema" xmlns:p="http://schemas.microsoft.com/office/2006/metadata/properties" xmlns:ns2="a7fd5df9-8cc8-484c-8e4e-6d3331b1adbb" xmlns:ns3="ba670469-b113-4afe-9231-513d1d646cf5" targetNamespace="http://schemas.microsoft.com/office/2006/metadata/properties" ma:root="true" ma:fieldsID="3144756144e48f733ca056761a6ead0b" ns2:_="" ns3:_="">
    <xsd:import namespace="a7fd5df9-8cc8-484c-8e4e-6d3331b1adbb"/>
    <xsd:import namespace="ba670469-b113-4afe-9231-513d1d646c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fd5df9-8cc8-484c-8e4e-6d3331b1ad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Tag immagine" ma:readOnly="false" ma:fieldId="{5cf76f15-5ced-4ddc-b409-7134ff3c332f}" ma:taxonomyMulti="true" ma:sspId="2f0c148f-5ca2-4a38-b716-16d776545e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670469-b113-4afe-9231-513d1d646cf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9b6323fd-879d-43b3-8577-44944b8cf345}" ma:internalName="TaxCatchAll" ma:showField="CatchAllData" ma:web="ba670469-b113-4afe-9231-513d1d646c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49FEBA-DB03-42CD-893B-7B721B9D58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43200EA-141F-4BDF-8271-1ED0250F02F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a670469-b113-4afe-9231-513d1d646cf5"/>
    <ds:schemaRef ds:uri="http://purl.org/dc/elements/1.1/"/>
    <ds:schemaRef ds:uri="http://schemas.microsoft.com/office/2006/metadata/properties"/>
    <ds:schemaRef ds:uri="a7fd5df9-8cc8-484c-8e4e-6d3331b1adb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D990F6B-7AC4-4233-954D-6EBF30776D55}">
  <ds:schemaRefs>
    <ds:schemaRef ds:uri="a7fd5df9-8cc8-484c-8e4e-6d3331b1adbb"/>
    <ds:schemaRef ds:uri="ba670469-b113-4afe-9231-513d1d646cf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1</TotalTime>
  <Words>6375</Words>
  <Application>Microsoft Office PowerPoint</Application>
  <PresentationFormat>Widescreen</PresentationFormat>
  <Paragraphs>1039</Paragraphs>
  <Slides>38</Slides>
  <Notes>1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6</vt:i4>
      </vt:variant>
      <vt:variant>
        <vt:lpstr>Tema</vt:lpstr>
      </vt:variant>
      <vt:variant>
        <vt:i4>6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38</vt:i4>
      </vt:variant>
    </vt:vector>
  </HeadingPairs>
  <TitlesOfParts>
    <vt:vector size="62" baseType="lpstr">
      <vt:lpstr>맑은 고딕</vt:lpstr>
      <vt:lpstr>MS PGothic</vt:lpstr>
      <vt:lpstr>MS PGothic</vt:lpstr>
      <vt:lpstr>Arial</vt:lpstr>
      <vt:lpstr>Arial MT</vt:lpstr>
      <vt:lpstr>Arial Narrow</vt:lpstr>
      <vt:lpstr>Arial Unicode MS</vt:lpstr>
      <vt:lpstr>Calibri</vt:lpstr>
      <vt:lpstr>Carlito</vt:lpstr>
      <vt:lpstr>DejaVu Sans</vt:lpstr>
      <vt:lpstr>Futura LT</vt:lpstr>
      <vt:lpstr>Georgia</vt:lpstr>
      <vt:lpstr>Roboto</vt:lpstr>
      <vt:lpstr>Symbol</vt:lpstr>
      <vt:lpstr>Times New Roman</vt:lpstr>
      <vt:lpstr>Wingdings</vt:lpstr>
      <vt:lpstr>5_Master Presentazione FSI</vt:lpstr>
      <vt:lpstr>Cover 1 - Proiezione</vt:lpstr>
      <vt:lpstr>16_Master Presentazione FSI</vt:lpstr>
      <vt:lpstr>3_Master Presentazione FSI</vt:lpstr>
      <vt:lpstr>6_Master Presentazione FSI</vt:lpstr>
      <vt:lpstr>7_Master Presentazione FSI</vt:lpstr>
      <vt:lpstr>think-cell Slide</vt:lpstr>
      <vt:lpstr>Diapositiva think-cell</vt:lpstr>
      <vt:lpstr>IX COMMISSIONE PERMANENTE CAMERA DEPUTATI (TRASPORTI, POSTE E TELECOMUNICAZIONI)  Esame Contratti di Programma 2022- 2026 parte Servizi e parte Investimenti</vt:lpstr>
      <vt:lpstr>Agenda</vt:lpstr>
      <vt:lpstr>Il Gestore dell’Infrastruttura Ferroviaria Nazionale</vt:lpstr>
      <vt:lpstr>Gli asset della Rete Ferroviaria Nazionale</vt:lpstr>
      <vt:lpstr>La rete ferroviaria è un’infrastruttura tecnologicamente in evoluzione</vt:lpstr>
      <vt:lpstr>Un ecosistema articolato con cui confrontarsi</vt:lpstr>
      <vt:lpstr>I programmi di investimento strategici in materia di mobilità ferroviaria</vt:lpstr>
      <vt:lpstr>Resilienza infrastrutturale</vt:lpstr>
      <vt:lpstr>Adeguamento a standard tecnici di interoperabilità</vt:lpstr>
      <vt:lpstr>Sviluppo tecnologico e nuove sperimentazioni</vt:lpstr>
      <vt:lpstr>Accessibilità stazioni</vt:lpstr>
      <vt:lpstr>Trasporto Pubblico Locale</vt:lpstr>
      <vt:lpstr>Upgrade e sviluppo infrastrutturale dei corridoi merci</vt:lpstr>
      <vt:lpstr>Una Rete passeggeri più veloce, performante e capillare</vt:lpstr>
      <vt:lpstr>Direttrici di interesse nazionale</vt:lpstr>
      <vt:lpstr>Collegamenti ferroviari a porti e terminali</vt:lpstr>
      <vt:lpstr>Collegamenti ferroviari agli aeroporti</vt:lpstr>
      <vt:lpstr>Principali progettazioni esecutive anno 2022</vt:lpstr>
      <vt:lpstr>Principali gare anno 2022</vt:lpstr>
      <vt:lpstr>Principali cantieri avviati nel 2022</vt:lpstr>
      <vt:lpstr>Principali attivazioni all’esercizio ferroviario 2022</vt:lpstr>
      <vt:lpstr>La spesa per investimenti è ritornata ai livelli storici dei primi anni duemila</vt:lpstr>
      <vt:lpstr>Agenda</vt:lpstr>
      <vt:lpstr>I contratti di programma vigenti hanno seguito il nuovo iter di approvazione</vt:lpstr>
      <vt:lpstr>Focus CdP-Servizi 2022-2026</vt:lpstr>
      <vt:lpstr>Il nuovo contratto di Programma 2022-26 – Parte Servizi</vt:lpstr>
      <vt:lpstr>La Manutenzione Straordinaria del nuovo CdP-S 2022-26</vt:lpstr>
      <vt:lpstr>Il Contratto di Programma parte Servizi 2022-2026</vt:lpstr>
      <vt:lpstr>Focus CdP-Investimenti 2022-2026</vt:lpstr>
      <vt:lpstr>Il Contratto di Programma parte Investimenti 2022-2026</vt:lpstr>
      <vt:lpstr>Il quadro delle nuove risorse finanziarie su IFN</vt:lpstr>
      <vt:lpstr>Nuovi avvii CdP-I 2022-2026 finanziati da risorse aggiuntive VINCOLATE</vt:lpstr>
      <vt:lpstr>Nuovi avvii CdP-I 2022-2026 finanziati da risorse NON VINCOLATE (LdB 2022)</vt:lpstr>
      <vt:lpstr>Clausole flessibilità per la gestione finanziaria delle risorse nel CdP-I 22-26: Art.1, commi 5-6</vt:lpstr>
      <vt:lpstr>Agenda</vt:lpstr>
      <vt:lpstr>Legge di Bilancio 2023</vt:lpstr>
      <vt:lpstr>Focus nuove risorse finanziarie su IFN da Legge di Bilancio 2023</vt:lpstr>
      <vt:lpstr>Focus altre fonti da contrattualizza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Windows User</dc:creator>
  <cp:lastModifiedBy>Cdd</cp:lastModifiedBy>
  <cp:revision>8</cp:revision>
  <cp:lastPrinted>2023-03-20T19:32:30Z</cp:lastPrinted>
  <dcterms:created xsi:type="dcterms:W3CDTF">2018-02-19T10:27:02Z</dcterms:created>
  <dcterms:modified xsi:type="dcterms:W3CDTF">2023-03-21T10:5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13C8E1CBF8C9C478FBCA521FF5AE747</vt:lpwstr>
  </property>
  <property fmtid="{D5CDD505-2E9C-101B-9397-08002B2CF9AE}" pid="3" name="MSIP_Label_df741c83-a9ef-4d42-8d1b-247615bb1e96_Enabled">
    <vt:lpwstr>true</vt:lpwstr>
  </property>
  <property fmtid="{D5CDD505-2E9C-101B-9397-08002B2CF9AE}" pid="4" name="MSIP_Label_df741c83-a9ef-4d42-8d1b-247615bb1e96_SetDate">
    <vt:lpwstr>2022-02-15T15:59:38Z</vt:lpwstr>
  </property>
  <property fmtid="{D5CDD505-2E9C-101B-9397-08002B2CF9AE}" pid="5" name="MSIP_Label_df741c83-a9ef-4d42-8d1b-247615bb1e96_Method">
    <vt:lpwstr>Privileged</vt:lpwstr>
  </property>
  <property fmtid="{D5CDD505-2E9C-101B-9397-08002B2CF9AE}" pid="6" name="MSIP_Label_df741c83-a9ef-4d42-8d1b-247615bb1e96_Name">
    <vt:lpwstr>Internal use without footer</vt:lpwstr>
  </property>
  <property fmtid="{D5CDD505-2E9C-101B-9397-08002B2CF9AE}" pid="7" name="MSIP_Label_df741c83-a9ef-4d42-8d1b-247615bb1e96_SiteId">
    <vt:lpwstr>f57babab-d7b5-4fb8-8ddd-057ce542d039</vt:lpwstr>
  </property>
  <property fmtid="{D5CDD505-2E9C-101B-9397-08002B2CF9AE}" pid="8" name="MSIP_Label_df741c83-a9ef-4d42-8d1b-247615bb1e96_ActionId">
    <vt:lpwstr>1a94bc17-d83f-4580-aecb-05637ac38187</vt:lpwstr>
  </property>
  <property fmtid="{D5CDD505-2E9C-101B-9397-08002B2CF9AE}" pid="9" name="MSIP_Label_df741c83-a9ef-4d42-8d1b-247615bb1e96_ContentBits">
    <vt:lpwstr>0</vt:lpwstr>
  </property>
  <property fmtid="{D5CDD505-2E9C-101B-9397-08002B2CF9AE}" pid="10" name="MediaServiceImageTags">
    <vt:lpwstr/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xd_Signature">
    <vt:bool>false</vt:bool>
  </property>
  <property fmtid="{D5CDD505-2E9C-101B-9397-08002B2CF9AE}" pid="17" name="MSIP_Label_886719c9-282b-4f1b-a005-55ab1b897fee_Enabled">
    <vt:lpwstr>true</vt:lpwstr>
  </property>
  <property fmtid="{D5CDD505-2E9C-101B-9397-08002B2CF9AE}" pid="18" name="MSIP_Label_886719c9-282b-4f1b-a005-55ab1b897fee_SetDate">
    <vt:lpwstr>2023-03-20T10:01:57Z</vt:lpwstr>
  </property>
  <property fmtid="{D5CDD505-2E9C-101B-9397-08002B2CF9AE}" pid="19" name="MSIP_Label_886719c9-282b-4f1b-a005-55ab1b897fee_Method">
    <vt:lpwstr>Privileged</vt:lpwstr>
  </property>
  <property fmtid="{D5CDD505-2E9C-101B-9397-08002B2CF9AE}" pid="20" name="MSIP_Label_886719c9-282b-4f1b-a005-55ab1b897fee_Name">
    <vt:lpwstr>Internal use without protection</vt:lpwstr>
  </property>
  <property fmtid="{D5CDD505-2E9C-101B-9397-08002B2CF9AE}" pid="21" name="MSIP_Label_886719c9-282b-4f1b-a005-55ab1b897fee_SiteId">
    <vt:lpwstr>4c8a6547-459a-4b75-a3dc-f66efe3e9c4e</vt:lpwstr>
  </property>
  <property fmtid="{D5CDD505-2E9C-101B-9397-08002B2CF9AE}" pid="22" name="MSIP_Label_886719c9-282b-4f1b-a005-55ab1b897fee_ActionId">
    <vt:lpwstr>a77bccf7-f90c-48f4-8efa-dc06d27a1dcf</vt:lpwstr>
  </property>
  <property fmtid="{D5CDD505-2E9C-101B-9397-08002B2CF9AE}" pid="23" name="MSIP_Label_886719c9-282b-4f1b-a005-55ab1b897fee_ContentBits">
    <vt:lpwstr>2</vt:lpwstr>
  </property>
</Properties>
</file>